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notesSlides/notesSlide25.xml" ContentType="application/vnd.openxmlformats-officedocument.presentationml.notesSlide+xml"/>
  <Override PartName="/ppt/tags/tag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6.xml" ContentType="application/vnd.openxmlformats-officedocument.presentationml.tags+xml"/>
  <Override PartName="/ppt/notesSlides/notesSlide34.xml" ContentType="application/vnd.openxmlformats-officedocument.presentationml.notesSlide+xml"/>
  <Override PartName="/ppt/tags/tag7.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4"/>
  </p:sldMasterIdLst>
  <p:notesMasterIdLst>
    <p:notesMasterId r:id="rId76"/>
  </p:notesMasterIdLst>
  <p:handoutMasterIdLst>
    <p:handoutMasterId r:id="rId77"/>
  </p:handoutMasterIdLst>
  <p:sldIdLst>
    <p:sldId id="4546" r:id="rId5"/>
    <p:sldId id="4547" r:id="rId6"/>
    <p:sldId id="4548" r:id="rId7"/>
    <p:sldId id="4454" r:id="rId8"/>
    <p:sldId id="4549" r:id="rId9"/>
    <p:sldId id="4306" r:id="rId10"/>
    <p:sldId id="4550" r:id="rId11"/>
    <p:sldId id="4414" r:id="rId12"/>
    <p:sldId id="4572" r:id="rId13"/>
    <p:sldId id="4573" r:id="rId14"/>
    <p:sldId id="4562" r:id="rId15"/>
    <p:sldId id="4353" r:id="rId16"/>
    <p:sldId id="4600" r:id="rId17"/>
    <p:sldId id="4564" r:id="rId18"/>
    <p:sldId id="4574" r:id="rId19"/>
    <p:sldId id="4601" r:id="rId20"/>
    <p:sldId id="4566" r:id="rId21"/>
    <p:sldId id="4575" r:id="rId22"/>
    <p:sldId id="4565" r:id="rId23"/>
    <p:sldId id="4455" r:id="rId24"/>
    <p:sldId id="4581" r:id="rId25"/>
    <p:sldId id="4360" r:id="rId26"/>
    <p:sldId id="4551" r:id="rId27"/>
    <p:sldId id="4585" r:id="rId28"/>
    <p:sldId id="4584" r:id="rId29"/>
    <p:sldId id="4602" r:id="rId30"/>
    <p:sldId id="4503" r:id="rId31"/>
    <p:sldId id="4567" r:id="rId32"/>
    <p:sldId id="4588" r:id="rId33"/>
    <p:sldId id="4506" r:id="rId34"/>
    <p:sldId id="4589" r:id="rId35"/>
    <p:sldId id="4590" r:id="rId36"/>
    <p:sldId id="4579" r:id="rId37"/>
    <p:sldId id="4510" r:id="rId38"/>
    <p:sldId id="4514" r:id="rId39"/>
    <p:sldId id="4586" r:id="rId40"/>
    <p:sldId id="4559" r:id="rId41"/>
    <p:sldId id="4552" r:id="rId42"/>
    <p:sldId id="4597" r:id="rId43"/>
    <p:sldId id="4516" r:id="rId44"/>
    <p:sldId id="4517" r:id="rId45"/>
    <p:sldId id="4568" r:id="rId46"/>
    <p:sldId id="4463" r:id="rId47"/>
    <p:sldId id="4603" r:id="rId48"/>
    <p:sldId id="4587" r:id="rId49"/>
    <p:sldId id="4604" r:id="rId50"/>
    <p:sldId id="4576" r:id="rId51"/>
    <p:sldId id="4520" r:id="rId52"/>
    <p:sldId id="4523" r:id="rId53"/>
    <p:sldId id="4599" r:id="rId54"/>
    <p:sldId id="4580" r:id="rId55"/>
    <p:sldId id="4560" r:id="rId56"/>
    <p:sldId id="4553" r:id="rId57"/>
    <p:sldId id="4591" r:id="rId58"/>
    <p:sldId id="4592" r:id="rId59"/>
    <p:sldId id="4593" r:id="rId60"/>
    <p:sldId id="4594" r:id="rId61"/>
    <p:sldId id="4595" r:id="rId62"/>
    <p:sldId id="4569" r:id="rId63"/>
    <p:sldId id="4583" r:id="rId64"/>
    <p:sldId id="4582" r:id="rId65"/>
    <p:sldId id="4577" r:id="rId66"/>
    <p:sldId id="4578" r:id="rId67"/>
    <p:sldId id="4504" r:id="rId68"/>
    <p:sldId id="4561" r:id="rId69"/>
    <p:sldId id="4554" r:id="rId70"/>
    <p:sldId id="4570" r:id="rId71"/>
    <p:sldId id="4558" r:id="rId72"/>
    <p:sldId id="4557" r:id="rId73"/>
    <p:sldId id="4556" r:id="rId74"/>
    <p:sldId id="4555"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62A844"/>
    <a:srgbClr val="06677F"/>
    <a:srgbClr val="0289AE"/>
    <a:srgbClr val="3D8241"/>
    <a:srgbClr val="EABB22"/>
    <a:srgbClr val="ACC199"/>
    <a:srgbClr val="87A66E"/>
    <a:srgbClr val="0D9390"/>
    <a:srgbClr val="AF7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40" autoAdjust="0"/>
    <p:restoredTop sz="94651" autoAdjust="0"/>
  </p:normalViewPr>
  <p:slideViewPr>
    <p:cSldViewPr snapToGrid="0" snapToObjects="1">
      <p:cViewPr varScale="1">
        <p:scale>
          <a:sx n="59" d="100"/>
          <a:sy n="59" d="100"/>
        </p:scale>
        <p:origin x="884" y="28"/>
      </p:cViewPr>
      <p:guideLst/>
    </p:cSldViewPr>
  </p:slideViewPr>
  <p:outlineViewPr>
    <p:cViewPr>
      <p:scale>
        <a:sx n="33" d="100"/>
        <a:sy n="33" d="100"/>
      </p:scale>
      <p:origin x="0" y="0"/>
    </p:cViewPr>
  </p:outlineViewPr>
  <p:notesTextViewPr>
    <p:cViewPr>
      <p:scale>
        <a:sx n="66" d="100"/>
        <a:sy n="66" d="100"/>
      </p:scale>
      <p:origin x="0" y="0"/>
    </p:cViewPr>
  </p:notesTextViewPr>
  <p:sorterViewPr>
    <p:cViewPr>
      <p:scale>
        <a:sx n="81" d="100"/>
        <a:sy n="81" d="100"/>
      </p:scale>
      <p:origin x="0" y="-6948"/>
    </p:cViewPr>
  </p:sorterViewPr>
  <p:notesViewPr>
    <p:cSldViewPr snapToGrid="0" snapToObjects="1">
      <p:cViewPr varScale="1">
        <p:scale>
          <a:sx n="71" d="100"/>
          <a:sy n="71" d="100"/>
        </p:scale>
        <p:origin x="3464" y="17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16AF9-B2AD-104A-AF9A-F25363C3821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588DA8-91B0-C14B-D779-3889DF35BD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CA55AD-336F-2841-9E44-8096CEA2A7BD}" type="datetimeFigureOut">
              <a:rPr lang="en-US" smtClean="0"/>
              <a:t>5/29/2026</a:t>
            </a:fld>
            <a:endParaRPr lang="en-US"/>
          </a:p>
        </p:txBody>
      </p:sp>
      <p:sp>
        <p:nvSpPr>
          <p:cNvPr id="4" name="Footer Placeholder 3">
            <a:extLst>
              <a:ext uri="{FF2B5EF4-FFF2-40B4-BE49-F238E27FC236}">
                <a16:creationId xmlns:a16="http://schemas.microsoft.com/office/drawing/2014/main" id="{06DE9AC7-AB01-16E6-F784-94958BD727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CF29F86-810F-CB4D-2A95-B03F85C830D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32C195-42C6-9347-A20E-4343730EB34C}" type="slidenum">
              <a:rPr lang="en-US" smtClean="0"/>
              <a:t>‹#›</a:t>
            </a:fld>
            <a:endParaRPr lang="en-US"/>
          </a:p>
        </p:txBody>
      </p:sp>
    </p:spTree>
    <p:extLst>
      <p:ext uri="{BB962C8B-B14F-4D97-AF65-F5344CB8AC3E}">
        <p14:creationId xmlns:p14="http://schemas.microsoft.com/office/powerpoint/2010/main" val="596654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5/2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2951070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CBD2DA-FEA7-0D32-375B-B39C069E6C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7AB79F-77F4-2F78-DABC-2BFD5F2B79A3}"/>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38ED8FB0-49DE-039E-C127-DCF98B36EB13}"/>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8B02B0B1-A300-5941-734A-74D5E896D9BD}"/>
              </a:ext>
            </a:extLst>
          </p:cNvPr>
          <p:cNvSpPr>
            <a:spLocks noGrp="1"/>
          </p:cNvSpPr>
          <p:nvPr>
            <p:ph type="sldNum" sz="quarter" idx="5"/>
          </p:nvPr>
        </p:nvSpPr>
        <p:spPr/>
        <p:txBody>
          <a:bodyPr/>
          <a:lstStyle/>
          <a:p>
            <a:fld id="{4BE5DE82-CF29-044D-9158-06A811149881}" type="slidenum">
              <a:rPr lang="en-US" smtClean="0"/>
              <a:t>14</a:t>
            </a:fld>
            <a:endParaRPr lang="en-US"/>
          </a:p>
        </p:txBody>
      </p:sp>
    </p:spTree>
    <p:extLst>
      <p:ext uri="{BB962C8B-B14F-4D97-AF65-F5344CB8AC3E}">
        <p14:creationId xmlns:p14="http://schemas.microsoft.com/office/powerpoint/2010/main" val="2222398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862F3-6FF7-2A89-5033-F0B8F6B8C4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354F71-D41E-7375-6293-1ACA99DB1903}"/>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7D23E0CA-2A62-3961-46BB-7692733707F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644610E-0124-77EC-49A8-A721836E26DC}"/>
              </a:ext>
            </a:extLst>
          </p:cNvPr>
          <p:cNvSpPr>
            <a:spLocks noGrp="1"/>
          </p:cNvSpPr>
          <p:nvPr>
            <p:ph type="sldNum" sz="quarter" idx="5"/>
          </p:nvPr>
        </p:nvSpPr>
        <p:spPr/>
        <p:txBody>
          <a:bodyPr/>
          <a:lstStyle/>
          <a:p>
            <a:fld id="{4BE5DE82-CF29-044D-9158-06A811149881}" type="slidenum">
              <a:rPr lang="en-US" smtClean="0"/>
              <a:t>15</a:t>
            </a:fld>
            <a:endParaRPr lang="en-US"/>
          </a:p>
        </p:txBody>
      </p:sp>
    </p:spTree>
    <p:extLst>
      <p:ext uri="{BB962C8B-B14F-4D97-AF65-F5344CB8AC3E}">
        <p14:creationId xmlns:p14="http://schemas.microsoft.com/office/powerpoint/2010/main" val="1690515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ADD069-3647-2CCD-5E67-F37BF7D496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0597C1-3FC6-C0F1-B61F-74346807C244}"/>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346AA267-0EF3-7EE6-AFC5-D67C7583A84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A20B471-166C-6E55-229D-95942796A405}"/>
              </a:ext>
            </a:extLst>
          </p:cNvPr>
          <p:cNvSpPr>
            <a:spLocks noGrp="1"/>
          </p:cNvSpPr>
          <p:nvPr>
            <p:ph type="sldNum" sz="quarter" idx="5"/>
          </p:nvPr>
        </p:nvSpPr>
        <p:spPr/>
        <p:txBody>
          <a:bodyPr/>
          <a:lstStyle/>
          <a:p>
            <a:fld id="{4BE5DE82-CF29-044D-9158-06A811149881}" type="slidenum">
              <a:rPr lang="en-US" smtClean="0"/>
              <a:t>16</a:t>
            </a:fld>
            <a:endParaRPr lang="en-US"/>
          </a:p>
        </p:txBody>
      </p:sp>
    </p:spTree>
    <p:extLst>
      <p:ext uri="{BB962C8B-B14F-4D97-AF65-F5344CB8AC3E}">
        <p14:creationId xmlns:p14="http://schemas.microsoft.com/office/powerpoint/2010/main" val="34329715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0E4AE-EA62-968D-1745-4AE5E7A73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B47C56-B882-D323-59CD-BFE2A4B0906A}"/>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510B8C29-F4DB-A3E8-DC03-E6B9D66B40AA}"/>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55D270E2-7517-9AAE-15BF-FC0DF2D74814}"/>
              </a:ext>
            </a:extLst>
          </p:cNvPr>
          <p:cNvSpPr>
            <a:spLocks noGrp="1"/>
          </p:cNvSpPr>
          <p:nvPr>
            <p:ph type="sldNum" sz="quarter" idx="5"/>
          </p:nvPr>
        </p:nvSpPr>
        <p:spPr/>
        <p:txBody>
          <a:bodyPr/>
          <a:lstStyle/>
          <a:p>
            <a:fld id="{4BE5DE82-CF29-044D-9158-06A811149881}" type="slidenum">
              <a:rPr lang="en-US" smtClean="0"/>
              <a:t>17</a:t>
            </a:fld>
            <a:endParaRPr lang="en-US"/>
          </a:p>
        </p:txBody>
      </p:sp>
    </p:spTree>
    <p:extLst>
      <p:ext uri="{BB962C8B-B14F-4D97-AF65-F5344CB8AC3E}">
        <p14:creationId xmlns:p14="http://schemas.microsoft.com/office/powerpoint/2010/main" val="429665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1BE0C-C00A-8F2E-A317-210B2B7CCC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075D71-EEBC-759D-7F78-1635EC344D56}"/>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447D8662-D28E-F93F-B023-D6324405188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B9117BA-1EF9-64ED-B8A4-425FD67E80F8}"/>
              </a:ext>
            </a:extLst>
          </p:cNvPr>
          <p:cNvSpPr>
            <a:spLocks noGrp="1"/>
          </p:cNvSpPr>
          <p:nvPr>
            <p:ph type="sldNum" sz="quarter" idx="5"/>
          </p:nvPr>
        </p:nvSpPr>
        <p:spPr/>
        <p:txBody>
          <a:bodyPr/>
          <a:lstStyle/>
          <a:p>
            <a:fld id="{4BE5DE82-CF29-044D-9158-06A811149881}" type="slidenum">
              <a:rPr lang="en-US" smtClean="0"/>
              <a:t>18</a:t>
            </a:fld>
            <a:endParaRPr lang="en-US"/>
          </a:p>
        </p:txBody>
      </p:sp>
    </p:spTree>
    <p:extLst>
      <p:ext uri="{BB962C8B-B14F-4D97-AF65-F5344CB8AC3E}">
        <p14:creationId xmlns:p14="http://schemas.microsoft.com/office/powerpoint/2010/main" val="27998889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D2D49-55A6-FFF3-4EAF-756510464D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B0DE9A-0CCE-B7AE-DB14-DB5648B82C7D}"/>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3CDD15C2-3258-9151-9A1E-58013A1B1808}"/>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8CDA3F3B-7C7A-F388-9963-F7AD7F4B9B67}"/>
              </a:ext>
            </a:extLst>
          </p:cNvPr>
          <p:cNvSpPr>
            <a:spLocks noGrp="1"/>
          </p:cNvSpPr>
          <p:nvPr>
            <p:ph type="sldNum" sz="quarter" idx="5"/>
          </p:nvPr>
        </p:nvSpPr>
        <p:spPr/>
        <p:txBody>
          <a:bodyPr/>
          <a:lstStyle/>
          <a:p>
            <a:fld id="{4BE5DE82-CF29-044D-9158-06A811149881}" type="slidenum">
              <a:rPr lang="en-US" smtClean="0"/>
              <a:t>19</a:t>
            </a:fld>
            <a:endParaRPr lang="en-US"/>
          </a:p>
        </p:txBody>
      </p:sp>
    </p:spTree>
    <p:extLst>
      <p:ext uri="{BB962C8B-B14F-4D97-AF65-F5344CB8AC3E}">
        <p14:creationId xmlns:p14="http://schemas.microsoft.com/office/powerpoint/2010/main" val="26499502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3A01A-4410-66C0-55F0-296407EED0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A43537-C50A-055C-7D7C-761F8A5B66E1}"/>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C2F1C564-B7B1-73DF-C8BA-CDA84E6E36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9900E67-FE43-4B0B-C8B6-56C1C98B320B}"/>
              </a:ext>
            </a:extLst>
          </p:cNvPr>
          <p:cNvSpPr>
            <a:spLocks noGrp="1"/>
          </p:cNvSpPr>
          <p:nvPr>
            <p:ph type="sldNum" sz="quarter" idx="5"/>
          </p:nvPr>
        </p:nvSpPr>
        <p:spPr/>
        <p:txBody>
          <a:bodyPr/>
          <a:lstStyle/>
          <a:p>
            <a:fld id="{4BE5DE82-CF29-044D-9158-06A811149881}" type="slidenum">
              <a:rPr lang="en-US" smtClean="0"/>
              <a:t>20</a:t>
            </a:fld>
            <a:endParaRPr lang="en-US"/>
          </a:p>
        </p:txBody>
      </p:sp>
    </p:spTree>
    <p:extLst>
      <p:ext uri="{BB962C8B-B14F-4D97-AF65-F5344CB8AC3E}">
        <p14:creationId xmlns:p14="http://schemas.microsoft.com/office/powerpoint/2010/main" val="29555483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591D0-CF2D-FD1E-77E8-068C391AA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E88040-27E6-2DB4-6A4C-C1D74210C6D9}"/>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12D85634-2459-7B59-7969-679B32CA029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423FA78-BEF6-2452-1DC1-EF91D6DAAD22}"/>
              </a:ext>
            </a:extLst>
          </p:cNvPr>
          <p:cNvSpPr>
            <a:spLocks noGrp="1"/>
          </p:cNvSpPr>
          <p:nvPr>
            <p:ph type="sldNum" sz="quarter" idx="5"/>
          </p:nvPr>
        </p:nvSpPr>
        <p:spPr/>
        <p:txBody>
          <a:bodyPr/>
          <a:lstStyle/>
          <a:p>
            <a:fld id="{4BE5DE82-CF29-044D-9158-06A811149881}" type="slidenum">
              <a:rPr lang="en-US" smtClean="0"/>
              <a:t>21</a:t>
            </a:fld>
            <a:endParaRPr lang="en-US"/>
          </a:p>
        </p:txBody>
      </p:sp>
    </p:spTree>
    <p:extLst>
      <p:ext uri="{BB962C8B-B14F-4D97-AF65-F5344CB8AC3E}">
        <p14:creationId xmlns:p14="http://schemas.microsoft.com/office/powerpoint/2010/main" val="30956549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22</a:t>
            </a:fld>
            <a:endParaRPr lang="en-US"/>
          </a:p>
        </p:txBody>
      </p:sp>
    </p:spTree>
    <p:extLst>
      <p:ext uri="{BB962C8B-B14F-4D97-AF65-F5344CB8AC3E}">
        <p14:creationId xmlns:p14="http://schemas.microsoft.com/office/powerpoint/2010/main" val="36989402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AF59D-029A-A437-3487-448E6AD49B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0A54C1-84C3-1641-FDF1-DE3F266B6898}"/>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7E1ADA26-D071-ECB3-A475-DA4F5989400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A4CF5B-C58C-9ED8-B188-F82F665EC96C}"/>
              </a:ext>
            </a:extLst>
          </p:cNvPr>
          <p:cNvSpPr>
            <a:spLocks noGrp="1"/>
          </p:cNvSpPr>
          <p:nvPr>
            <p:ph type="sldNum" sz="quarter" idx="5"/>
          </p:nvPr>
        </p:nvSpPr>
        <p:spPr/>
        <p:txBody>
          <a:bodyPr/>
          <a:lstStyle/>
          <a:p>
            <a:fld id="{4BE5DE82-CF29-044D-9158-06A811149881}" type="slidenum">
              <a:rPr lang="en-US" smtClean="0"/>
              <a:t>23</a:t>
            </a:fld>
            <a:endParaRPr lang="en-US"/>
          </a:p>
        </p:txBody>
      </p:sp>
    </p:spTree>
    <p:extLst>
      <p:ext uri="{BB962C8B-B14F-4D97-AF65-F5344CB8AC3E}">
        <p14:creationId xmlns:p14="http://schemas.microsoft.com/office/powerpoint/2010/main" val="3542400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6</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5E584-52C6-9D8B-EEC8-2065DDBFD0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421AE8-EB59-422E-6AD1-E6E25DE7E776}"/>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DEDEE222-5FAE-13E2-1204-88BB839F832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11548B1-BBA9-2322-760C-2E210FB2A14F}"/>
              </a:ext>
            </a:extLst>
          </p:cNvPr>
          <p:cNvSpPr>
            <a:spLocks noGrp="1"/>
          </p:cNvSpPr>
          <p:nvPr>
            <p:ph type="sldNum" sz="quarter" idx="5"/>
          </p:nvPr>
        </p:nvSpPr>
        <p:spPr/>
        <p:txBody>
          <a:bodyPr/>
          <a:lstStyle/>
          <a:p>
            <a:fld id="{4BE5DE82-CF29-044D-9158-06A811149881}" type="slidenum">
              <a:rPr lang="en-US" smtClean="0"/>
              <a:t>24</a:t>
            </a:fld>
            <a:endParaRPr lang="en-US"/>
          </a:p>
        </p:txBody>
      </p:sp>
    </p:spTree>
    <p:extLst>
      <p:ext uri="{BB962C8B-B14F-4D97-AF65-F5344CB8AC3E}">
        <p14:creationId xmlns:p14="http://schemas.microsoft.com/office/powerpoint/2010/main" val="42039121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2218A-D807-4788-0576-AF450DE45E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E1B8FD-BEB9-BC44-15B0-6E5396572FD9}"/>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F357D995-970F-F885-8DC0-CFDC7ADD46F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B2FE7F-AF64-2B2A-1F12-842D0F1507EB}"/>
              </a:ext>
            </a:extLst>
          </p:cNvPr>
          <p:cNvSpPr>
            <a:spLocks noGrp="1"/>
          </p:cNvSpPr>
          <p:nvPr>
            <p:ph type="sldNum" sz="quarter" idx="5"/>
          </p:nvPr>
        </p:nvSpPr>
        <p:spPr/>
        <p:txBody>
          <a:bodyPr/>
          <a:lstStyle/>
          <a:p>
            <a:fld id="{4BE5DE82-CF29-044D-9158-06A811149881}" type="slidenum">
              <a:rPr lang="en-US" smtClean="0"/>
              <a:t>25</a:t>
            </a:fld>
            <a:endParaRPr lang="en-US"/>
          </a:p>
        </p:txBody>
      </p:sp>
    </p:spTree>
    <p:extLst>
      <p:ext uri="{BB962C8B-B14F-4D97-AF65-F5344CB8AC3E}">
        <p14:creationId xmlns:p14="http://schemas.microsoft.com/office/powerpoint/2010/main" val="9346497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A5C61-C17F-D0C3-2AAA-6DA0255FDF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2702F9-9C87-51C8-4300-38074377DC14}"/>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A374B6A2-A7F5-C426-F8FC-78FBA5F8925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F9F58D0-BB02-BE18-98A2-46B68543EC0D}"/>
              </a:ext>
            </a:extLst>
          </p:cNvPr>
          <p:cNvSpPr>
            <a:spLocks noGrp="1"/>
          </p:cNvSpPr>
          <p:nvPr>
            <p:ph type="sldNum" sz="quarter" idx="5"/>
          </p:nvPr>
        </p:nvSpPr>
        <p:spPr/>
        <p:txBody>
          <a:bodyPr/>
          <a:lstStyle/>
          <a:p>
            <a:fld id="{4BE5DE82-CF29-044D-9158-06A811149881}" type="slidenum">
              <a:rPr lang="en-US" smtClean="0"/>
              <a:t>26</a:t>
            </a:fld>
            <a:endParaRPr lang="en-US"/>
          </a:p>
        </p:txBody>
      </p:sp>
    </p:spTree>
    <p:extLst>
      <p:ext uri="{BB962C8B-B14F-4D97-AF65-F5344CB8AC3E}">
        <p14:creationId xmlns:p14="http://schemas.microsoft.com/office/powerpoint/2010/main" val="35724179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6BBE6-5CBF-1AB3-31B1-CE33AAE2F35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1CBBDB3-4E57-E779-B276-A1DA76D6F2E7}"/>
              </a:ext>
            </a:extLst>
          </p:cNvPr>
          <p:cNvSpPr>
            <a:spLocks noGrp="1" noRot="1" noChangeAspect="1"/>
          </p:cNvSpPr>
          <p:nvPr>
            <p:ph type="sldImg"/>
          </p:nvPr>
        </p:nvSpPr>
        <p:spPr/>
        <p:txBody>
          <a:bodyPr/>
          <a:lstStyle/>
          <a:p>
            <a:endParaRPr lang="en-IE"/>
          </a:p>
        </p:txBody>
      </p:sp>
      <p:sp>
        <p:nvSpPr>
          <p:cNvPr id="3" name="Notizenplatzhalter 2">
            <a:extLst>
              <a:ext uri="{FF2B5EF4-FFF2-40B4-BE49-F238E27FC236}">
                <a16:creationId xmlns:a16="http://schemas.microsoft.com/office/drawing/2014/main" id="{12E6E246-A2CC-36B0-57F5-FD6B8A96CD3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BE358DF-FF9E-1A42-556E-C5C32DAC84C7}"/>
              </a:ext>
            </a:extLst>
          </p:cNvPr>
          <p:cNvSpPr>
            <a:spLocks noGrp="1"/>
          </p:cNvSpPr>
          <p:nvPr>
            <p:ph type="sldNum" sz="quarter" idx="5"/>
          </p:nvPr>
        </p:nvSpPr>
        <p:spPr/>
        <p:txBody>
          <a:bodyPr/>
          <a:lstStyle/>
          <a:p>
            <a:fld id="{4BE5DE82-CF29-044D-9158-06A811149881}" type="slidenum">
              <a:rPr lang="en-US" smtClean="0"/>
              <a:t>27</a:t>
            </a:fld>
            <a:endParaRPr lang="en-US"/>
          </a:p>
        </p:txBody>
      </p:sp>
    </p:spTree>
    <p:extLst>
      <p:ext uri="{BB962C8B-B14F-4D97-AF65-F5344CB8AC3E}">
        <p14:creationId xmlns:p14="http://schemas.microsoft.com/office/powerpoint/2010/main" val="9571905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3485B7-7109-21B5-F147-CD29A2DC9E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7B4AA7-65BC-A730-84A6-823ACB2576D2}"/>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369EB839-FFDE-5DCD-29C5-503C3CC1CBE1}"/>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F608F2D9-2A82-DC96-C6C0-A30FD6705C47}"/>
              </a:ext>
            </a:extLst>
          </p:cNvPr>
          <p:cNvSpPr>
            <a:spLocks noGrp="1"/>
          </p:cNvSpPr>
          <p:nvPr>
            <p:ph type="sldNum" sz="quarter" idx="5"/>
          </p:nvPr>
        </p:nvSpPr>
        <p:spPr/>
        <p:txBody>
          <a:bodyPr/>
          <a:lstStyle/>
          <a:p>
            <a:fld id="{4BE5DE82-CF29-044D-9158-06A811149881}" type="slidenum">
              <a:rPr lang="en-US" smtClean="0"/>
              <a:t>28</a:t>
            </a:fld>
            <a:endParaRPr lang="en-US"/>
          </a:p>
        </p:txBody>
      </p:sp>
    </p:spTree>
    <p:extLst>
      <p:ext uri="{BB962C8B-B14F-4D97-AF65-F5344CB8AC3E}">
        <p14:creationId xmlns:p14="http://schemas.microsoft.com/office/powerpoint/2010/main" val="24009273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23D96-9842-28C1-CCF9-09723BE1ECD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F1C464D-C543-BCCF-0C8F-7CC02D2B58F1}"/>
              </a:ext>
            </a:extLst>
          </p:cNvPr>
          <p:cNvSpPr>
            <a:spLocks noGrp="1" noRot="1" noChangeAspect="1"/>
          </p:cNvSpPr>
          <p:nvPr>
            <p:ph type="sldImg"/>
          </p:nvPr>
        </p:nvSpPr>
        <p:spPr/>
        <p:txBody>
          <a:bodyPr/>
          <a:lstStyle/>
          <a:p>
            <a:endParaRPr lang="en-IE"/>
          </a:p>
        </p:txBody>
      </p:sp>
      <p:sp>
        <p:nvSpPr>
          <p:cNvPr id="3" name="Notizenplatzhalter 2">
            <a:extLst>
              <a:ext uri="{FF2B5EF4-FFF2-40B4-BE49-F238E27FC236}">
                <a16:creationId xmlns:a16="http://schemas.microsoft.com/office/drawing/2014/main" id="{CF8ED776-8F78-4E2C-8B44-E1A0B2F6413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400CC08-06B4-8556-7F8B-503CBCD480AC}"/>
              </a:ext>
            </a:extLst>
          </p:cNvPr>
          <p:cNvSpPr>
            <a:spLocks noGrp="1"/>
          </p:cNvSpPr>
          <p:nvPr>
            <p:ph type="sldNum" sz="quarter" idx="5"/>
          </p:nvPr>
        </p:nvSpPr>
        <p:spPr/>
        <p:txBody>
          <a:bodyPr/>
          <a:lstStyle/>
          <a:p>
            <a:fld id="{4BE5DE82-CF29-044D-9158-06A811149881}" type="slidenum">
              <a:rPr lang="en-US" smtClean="0"/>
              <a:t>31</a:t>
            </a:fld>
            <a:endParaRPr lang="en-US"/>
          </a:p>
        </p:txBody>
      </p:sp>
    </p:spTree>
    <p:extLst>
      <p:ext uri="{BB962C8B-B14F-4D97-AF65-F5344CB8AC3E}">
        <p14:creationId xmlns:p14="http://schemas.microsoft.com/office/powerpoint/2010/main" val="11981948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BF11D-55B3-7C9F-9050-6ED859BC238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E77D917-3E88-45FA-0AA9-35ABB4F4A617}"/>
              </a:ext>
            </a:extLst>
          </p:cNvPr>
          <p:cNvSpPr>
            <a:spLocks noGrp="1" noRot="1" noChangeAspect="1"/>
          </p:cNvSpPr>
          <p:nvPr>
            <p:ph type="sldImg"/>
          </p:nvPr>
        </p:nvSpPr>
        <p:spPr/>
        <p:txBody>
          <a:bodyPr/>
          <a:lstStyle/>
          <a:p>
            <a:endParaRPr lang="en-IE"/>
          </a:p>
        </p:txBody>
      </p:sp>
      <p:sp>
        <p:nvSpPr>
          <p:cNvPr id="3" name="Notizenplatzhalter 2">
            <a:extLst>
              <a:ext uri="{FF2B5EF4-FFF2-40B4-BE49-F238E27FC236}">
                <a16:creationId xmlns:a16="http://schemas.microsoft.com/office/drawing/2014/main" id="{F22EC722-5520-B823-909C-AF65E395C78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AE81A654-02CE-6156-4C1B-E4A5660079E3}"/>
              </a:ext>
            </a:extLst>
          </p:cNvPr>
          <p:cNvSpPr>
            <a:spLocks noGrp="1"/>
          </p:cNvSpPr>
          <p:nvPr>
            <p:ph type="sldNum" sz="quarter" idx="5"/>
          </p:nvPr>
        </p:nvSpPr>
        <p:spPr/>
        <p:txBody>
          <a:bodyPr/>
          <a:lstStyle/>
          <a:p>
            <a:fld id="{4BE5DE82-CF29-044D-9158-06A811149881}" type="slidenum">
              <a:rPr lang="en-US" smtClean="0"/>
              <a:t>32</a:t>
            </a:fld>
            <a:endParaRPr lang="en-US"/>
          </a:p>
        </p:txBody>
      </p:sp>
    </p:spTree>
    <p:extLst>
      <p:ext uri="{BB962C8B-B14F-4D97-AF65-F5344CB8AC3E}">
        <p14:creationId xmlns:p14="http://schemas.microsoft.com/office/powerpoint/2010/main" val="20863962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5DE4F-F95A-79B1-FE64-54C4667ACD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738535-A3B1-43B8-FBB4-20815DD2C249}"/>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9D1DF8A1-C3AD-FAFA-8641-FCC8AE69F4AD}"/>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4E72D015-FD56-DABB-680E-DC9FED0E7862}"/>
              </a:ext>
            </a:extLst>
          </p:cNvPr>
          <p:cNvSpPr>
            <a:spLocks noGrp="1"/>
          </p:cNvSpPr>
          <p:nvPr>
            <p:ph type="sldNum" sz="quarter" idx="5"/>
          </p:nvPr>
        </p:nvSpPr>
        <p:spPr/>
        <p:txBody>
          <a:bodyPr/>
          <a:lstStyle/>
          <a:p>
            <a:fld id="{4BE5DE82-CF29-044D-9158-06A811149881}" type="slidenum">
              <a:rPr lang="en-US" smtClean="0"/>
              <a:t>33</a:t>
            </a:fld>
            <a:endParaRPr lang="en-US"/>
          </a:p>
        </p:txBody>
      </p:sp>
    </p:spTree>
    <p:extLst>
      <p:ext uri="{BB962C8B-B14F-4D97-AF65-F5344CB8AC3E}">
        <p14:creationId xmlns:p14="http://schemas.microsoft.com/office/powerpoint/2010/main" val="35782061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63D219-D110-7DB3-E7A7-86DE73213CF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51E156E-0694-596E-D1B4-F926144391E0}"/>
              </a:ext>
            </a:extLst>
          </p:cNvPr>
          <p:cNvSpPr>
            <a:spLocks noGrp="1" noRot="1" noChangeAspect="1"/>
          </p:cNvSpPr>
          <p:nvPr>
            <p:ph type="sldImg"/>
          </p:nvPr>
        </p:nvSpPr>
        <p:spPr/>
        <p:txBody>
          <a:bodyPr/>
          <a:lstStyle/>
          <a:p>
            <a:endParaRPr lang="en-IE"/>
          </a:p>
        </p:txBody>
      </p:sp>
      <p:sp>
        <p:nvSpPr>
          <p:cNvPr id="3" name="Notizenplatzhalter 2">
            <a:extLst>
              <a:ext uri="{FF2B5EF4-FFF2-40B4-BE49-F238E27FC236}">
                <a16:creationId xmlns:a16="http://schemas.microsoft.com/office/drawing/2014/main" id="{46BDAC27-2114-6FE5-DBC6-ADCDBA99E697}"/>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A5579F5-1643-35BE-4DB3-0879BCAD8E07}"/>
              </a:ext>
            </a:extLst>
          </p:cNvPr>
          <p:cNvSpPr>
            <a:spLocks noGrp="1"/>
          </p:cNvSpPr>
          <p:nvPr>
            <p:ph type="sldNum" sz="quarter" idx="5"/>
          </p:nvPr>
        </p:nvSpPr>
        <p:spPr/>
        <p:txBody>
          <a:bodyPr/>
          <a:lstStyle/>
          <a:p>
            <a:fld id="{4BE5DE82-CF29-044D-9158-06A811149881}" type="slidenum">
              <a:rPr lang="en-US" smtClean="0"/>
              <a:t>34</a:t>
            </a:fld>
            <a:endParaRPr lang="en-US"/>
          </a:p>
        </p:txBody>
      </p:sp>
    </p:spTree>
    <p:extLst>
      <p:ext uri="{BB962C8B-B14F-4D97-AF65-F5344CB8AC3E}">
        <p14:creationId xmlns:p14="http://schemas.microsoft.com/office/powerpoint/2010/main" val="30204947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3A01A-4410-66C0-55F0-296407EED0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A43537-C50A-055C-7D7C-761F8A5B66E1}"/>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C2F1C564-B7B1-73DF-C8BA-CDA84E6E36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9900E67-FE43-4B0B-C8B6-56C1C98B320B}"/>
              </a:ext>
            </a:extLst>
          </p:cNvPr>
          <p:cNvSpPr>
            <a:spLocks noGrp="1"/>
          </p:cNvSpPr>
          <p:nvPr>
            <p:ph type="sldNum" sz="quarter" idx="5"/>
          </p:nvPr>
        </p:nvSpPr>
        <p:spPr/>
        <p:txBody>
          <a:bodyPr/>
          <a:lstStyle/>
          <a:p>
            <a:fld id="{4BE5DE82-CF29-044D-9158-06A811149881}" type="slidenum">
              <a:rPr lang="en-US" smtClean="0"/>
              <a:t>35</a:t>
            </a:fld>
            <a:endParaRPr lang="en-US"/>
          </a:p>
        </p:txBody>
      </p:sp>
    </p:spTree>
    <p:extLst>
      <p:ext uri="{BB962C8B-B14F-4D97-AF65-F5344CB8AC3E}">
        <p14:creationId xmlns:p14="http://schemas.microsoft.com/office/powerpoint/2010/main" val="2955548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9E917-7624-D489-E0AF-DCF42DC96E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781734-39EE-A6A5-09BE-7972AD19A9B1}"/>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B25495E6-E674-8B18-3BC9-0160C99984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23A6459-00D8-4C95-17DD-94F63DB46861}"/>
              </a:ext>
            </a:extLst>
          </p:cNvPr>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6422079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B474D-E63F-F42E-1783-07051688E2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C209B2-DB3C-BE4F-D652-CFFDD0690C55}"/>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46B1F4F2-54E2-01AB-5D81-A3F2E2E26A9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3D16A57-04F1-CFF2-D7B8-993ADE29992E}"/>
              </a:ext>
            </a:extLst>
          </p:cNvPr>
          <p:cNvSpPr>
            <a:spLocks noGrp="1"/>
          </p:cNvSpPr>
          <p:nvPr>
            <p:ph type="sldNum" sz="quarter" idx="5"/>
          </p:nvPr>
        </p:nvSpPr>
        <p:spPr/>
        <p:txBody>
          <a:bodyPr/>
          <a:lstStyle/>
          <a:p>
            <a:fld id="{4BE5DE82-CF29-044D-9158-06A811149881}" type="slidenum">
              <a:rPr lang="en-US" smtClean="0"/>
              <a:t>36</a:t>
            </a:fld>
            <a:endParaRPr lang="en-US"/>
          </a:p>
        </p:txBody>
      </p:sp>
    </p:spTree>
    <p:extLst>
      <p:ext uri="{BB962C8B-B14F-4D97-AF65-F5344CB8AC3E}">
        <p14:creationId xmlns:p14="http://schemas.microsoft.com/office/powerpoint/2010/main" val="10222711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2ED20-115B-B030-0F4E-D8FC94585A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A5152A-545A-9007-FB8C-D9A6E3A5F8D3}"/>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D21B4895-AD48-A9D2-69E0-62FF6307CA3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0BF1543-E6C4-0F3E-2874-04DF949BEF21}"/>
              </a:ext>
            </a:extLst>
          </p:cNvPr>
          <p:cNvSpPr>
            <a:spLocks noGrp="1"/>
          </p:cNvSpPr>
          <p:nvPr>
            <p:ph type="sldNum" sz="quarter" idx="5"/>
          </p:nvPr>
        </p:nvSpPr>
        <p:spPr/>
        <p:txBody>
          <a:bodyPr/>
          <a:lstStyle/>
          <a:p>
            <a:fld id="{4BE5DE82-CF29-044D-9158-06A811149881}" type="slidenum">
              <a:rPr lang="en-US" smtClean="0"/>
              <a:t>37</a:t>
            </a:fld>
            <a:endParaRPr lang="en-US"/>
          </a:p>
        </p:txBody>
      </p:sp>
    </p:spTree>
    <p:extLst>
      <p:ext uri="{BB962C8B-B14F-4D97-AF65-F5344CB8AC3E}">
        <p14:creationId xmlns:p14="http://schemas.microsoft.com/office/powerpoint/2010/main" val="2780946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94E79-3AE2-5B6E-F92B-939EE961A8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9E2268-DBA0-DC72-C51B-17BE0A2E0AED}"/>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CA759A7D-A3B1-02BA-0FCD-AF37546DEEC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A15AA95-D4A7-23AA-C26B-046F35019C91}"/>
              </a:ext>
            </a:extLst>
          </p:cNvPr>
          <p:cNvSpPr>
            <a:spLocks noGrp="1"/>
          </p:cNvSpPr>
          <p:nvPr>
            <p:ph type="sldNum" sz="quarter" idx="5"/>
          </p:nvPr>
        </p:nvSpPr>
        <p:spPr/>
        <p:txBody>
          <a:bodyPr/>
          <a:lstStyle/>
          <a:p>
            <a:fld id="{4BE5DE82-CF29-044D-9158-06A811149881}" type="slidenum">
              <a:rPr lang="en-US" smtClean="0"/>
              <a:t>38</a:t>
            </a:fld>
            <a:endParaRPr lang="en-US"/>
          </a:p>
        </p:txBody>
      </p:sp>
    </p:spTree>
    <p:extLst>
      <p:ext uri="{BB962C8B-B14F-4D97-AF65-F5344CB8AC3E}">
        <p14:creationId xmlns:p14="http://schemas.microsoft.com/office/powerpoint/2010/main" val="1347761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5C778-5C93-334E-139F-FB8B8B24D5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94BBF1-9539-FE21-D33F-3B0ABA5749BB}"/>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782155A7-8A28-249D-EA77-ED9F7233E90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5D16E6D-D942-1F03-CB7B-117D80E5A69E}"/>
              </a:ext>
            </a:extLst>
          </p:cNvPr>
          <p:cNvSpPr>
            <a:spLocks noGrp="1"/>
          </p:cNvSpPr>
          <p:nvPr>
            <p:ph type="sldNum" sz="quarter" idx="5"/>
          </p:nvPr>
        </p:nvSpPr>
        <p:spPr/>
        <p:txBody>
          <a:bodyPr/>
          <a:lstStyle/>
          <a:p>
            <a:fld id="{4BE5DE82-CF29-044D-9158-06A811149881}" type="slidenum">
              <a:rPr lang="en-US" smtClean="0"/>
              <a:t>39</a:t>
            </a:fld>
            <a:endParaRPr lang="en-US"/>
          </a:p>
        </p:txBody>
      </p:sp>
    </p:spTree>
    <p:extLst>
      <p:ext uri="{BB962C8B-B14F-4D97-AF65-F5344CB8AC3E}">
        <p14:creationId xmlns:p14="http://schemas.microsoft.com/office/powerpoint/2010/main" val="21695737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25C83-D4EE-AC88-4F54-A387B89FE51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65BFCC1-EB43-15DA-7BBF-C3CFB2A9700E}"/>
              </a:ext>
            </a:extLst>
          </p:cNvPr>
          <p:cNvSpPr>
            <a:spLocks noGrp="1" noRot="1" noChangeAspect="1"/>
          </p:cNvSpPr>
          <p:nvPr>
            <p:ph type="sldImg"/>
          </p:nvPr>
        </p:nvSpPr>
        <p:spPr/>
        <p:txBody>
          <a:bodyPr/>
          <a:lstStyle/>
          <a:p>
            <a:endParaRPr lang="en-IE"/>
          </a:p>
        </p:txBody>
      </p:sp>
      <p:sp>
        <p:nvSpPr>
          <p:cNvPr id="3" name="Notizenplatzhalter 2">
            <a:extLst>
              <a:ext uri="{FF2B5EF4-FFF2-40B4-BE49-F238E27FC236}">
                <a16:creationId xmlns:a16="http://schemas.microsoft.com/office/drawing/2014/main" id="{C0C94142-9BD4-4449-9BAF-00D61A29FE42}"/>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81B644FC-B422-C33C-0CA3-866C2CFE5F0B}"/>
              </a:ext>
            </a:extLst>
          </p:cNvPr>
          <p:cNvSpPr>
            <a:spLocks noGrp="1"/>
          </p:cNvSpPr>
          <p:nvPr>
            <p:ph type="sldNum" sz="quarter" idx="5"/>
          </p:nvPr>
        </p:nvSpPr>
        <p:spPr/>
        <p:txBody>
          <a:bodyPr/>
          <a:lstStyle/>
          <a:p>
            <a:fld id="{4BE5DE82-CF29-044D-9158-06A811149881}" type="slidenum">
              <a:rPr lang="en-US" smtClean="0"/>
              <a:t>40</a:t>
            </a:fld>
            <a:endParaRPr lang="en-US"/>
          </a:p>
        </p:txBody>
      </p:sp>
    </p:spTree>
    <p:extLst>
      <p:ext uri="{BB962C8B-B14F-4D97-AF65-F5344CB8AC3E}">
        <p14:creationId xmlns:p14="http://schemas.microsoft.com/office/powerpoint/2010/main" val="21535529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C3100-633A-509D-EB2C-3EAB592AF02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B16F0A9-CECD-18C6-FD23-292C2AAEB9BD}"/>
              </a:ext>
            </a:extLst>
          </p:cNvPr>
          <p:cNvSpPr>
            <a:spLocks noGrp="1" noRot="1" noChangeAspect="1"/>
          </p:cNvSpPr>
          <p:nvPr>
            <p:ph type="sldImg"/>
          </p:nvPr>
        </p:nvSpPr>
        <p:spPr/>
        <p:txBody>
          <a:bodyPr/>
          <a:lstStyle/>
          <a:p>
            <a:endParaRPr lang="en-IE"/>
          </a:p>
        </p:txBody>
      </p:sp>
      <p:sp>
        <p:nvSpPr>
          <p:cNvPr id="3" name="Notizenplatzhalter 2">
            <a:extLst>
              <a:ext uri="{FF2B5EF4-FFF2-40B4-BE49-F238E27FC236}">
                <a16:creationId xmlns:a16="http://schemas.microsoft.com/office/drawing/2014/main" id="{A858DA88-5DBC-35DA-65EC-7D0A0D2A44C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134FFF27-5795-DAFA-E26C-BC758635834A}"/>
              </a:ext>
            </a:extLst>
          </p:cNvPr>
          <p:cNvSpPr>
            <a:spLocks noGrp="1"/>
          </p:cNvSpPr>
          <p:nvPr>
            <p:ph type="sldNum" sz="quarter" idx="5"/>
          </p:nvPr>
        </p:nvSpPr>
        <p:spPr/>
        <p:txBody>
          <a:bodyPr/>
          <a:lstStyle/>
          <a:p>
            <a:fld id="{4BE5DE82-CF29-044D-9158-06A811149881}" type="slidenum">
              <a:rPr lang="en-US" smtClean="0"/>
              <a:t>41</a:t>
            </a:fld>
            <a:endParaRPr lang="en-US"/>
          </a:p>
        </p:txBody>
      </p:sp>
    </p:spTree>
    <p:extLst>
      <p:ext uri="{BB962C8B-B14F-4D97-AF65-F5344CB8AC3E}">
        <p14:creationId xmlns:p14="http://schemas.microsoft.com/office/powerpoint/2010/main" val="39863393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1D461-7E27-E42A-952B-197551D242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D3A12F-B207-1610-71E6-7E8D434618AA}"/>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56665EF6-0CE3-70CC-6ADE-DD1169E216F6}"/>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F00D3B81-4440-30B9-7A07-48108543A490}"/>
              </a:ext>
            </a:extLst>
          </p:cNvPr>
          <p:cNvSpPr>
            <a:spLocks noGrp="1"/>
          </p:cNvSpPr>
          <p:nvPr>
            <p:ph type="sldNum" sz="quarter" idx="5"/>
          </p:nvPr>
        </p:nvSpPr>
        <p:spPr/>
        <p:txBody>
          <a:bodyPr/>
          <a:lstStyle/>
          <a:p>
            <a:fld id="{4BE5DE82-CF29-044D-9158-06A811149881}" type="slidenum">
              <a:rPr lang="en-US" smtClean="0"/>
              <a:t>42</a:t>
            </a:fld>
            <a:endParaRPr lang="en-US"/>
          </a:p>
        </p:txBody>
      </p:sp>
    </p:spTree>
    <p:extLst>
      <p:ext uri="{BB962C8B-B14F-4D97-AF65-F5344CB8AC3E}">
        <p14:creationId xmlns:p14="http://schemas.microsoft.com/office/powerpoint/2010/main" val="1442166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5C4E7-5C40-17AB-7F48-0E75048F79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F758BB-6DDD-2C1B-774B-0B68FCDE5C65}"/>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8DA9D856-219D-0C65-EEFB-9E2B1154FD1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791F4E9-FF80-5F54-596F-A5899FE035ED}"/>
              </a:ext>
            </a:extLst>
          </p:cNvPr>
          <p:cNvSpPr>
            <a:spLocks noGrp="1"/>
          </p:cNvSpPr>
          <p:nvPr>
            <p:ph type="sldNum" sz="quarter" idx="5"/>
          </p:nvPr>
        </p:nvSpPr>
        <p:spPr/>
        <p:txBody>
          <a:bodyPr/>
          <a:lstStyle/>
          <a:p>
            <a:fld id="{4BE5DE82-CF29-044D-9158-06A811149881}" type="slidenum">
              <a:rPr lang="en-US" smtClean="0"/>
              <a:t>43</a:t>
            </a:fld>
            <a:endParaRPr lang="en-US"/>
          </a:p>
        </p:txBody>
      </p:sp>
    </p:spTree>
    <p:extLst>
      <p:ext uri="{BB962C8B-B14F-4D97-AF65-F5344CB8AC3E}">
        <p14:creationId xmlns:p14="http://schemas.microsoft.com/office/powerpoint/2010/main" val="25654633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08C44-9CF3-79CA-786F-6AAB13688A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AC2809-5322-EEAE-9C63-9D98244C8A35}"/>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4295579D-9999-6188-B2EB-DC80E00480B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06972B7-C669-D8B3-EAAF-678C8A51528A}"/>
              </a:ext>
            </a:extLst>
          </p:cNvPr>
          <p:cNvSpPr>
            <a:spLocks noGrp="1"/>
          </p:cNvSpPr>
          <p:nvPr>
            <p:ph type="sldNum" sz="quarter" idx="5"/>
          </p:nvPr>
        </p:nvSpPr>
        <p:spPr/>
        <p:txBody>
          <a:bodyPr/>
          <a:lstStyle/>
          <a:p>
            <a:fld id="{4BE5DE82-CF29-044D-9158-06A811149881}" type="slidenum">
              <a:rPr lang="en-US" smtClean="0"/>
              <a:t>44</a:t>
            </a:fld>
            <a:endParaRPr lang="en-US"/>
          </a:p>
        </p:txBody>
      </p:sp>
    </p:spTree>
    <p:extLst>
      <p:ext uri="{BB962C8B-B14F-4D97-AF65-F5344CB8AC3E}">
        <p14:creationId xmlns:p14="http://schemas.microsoft.com/office/powerpoint/2010/main" val="28818739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8A1B3-C2C5-7394-D49C-B87DD975A5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4C5AE6-DB20-A8C7-F4B7-50618D740657}"/>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D7D4C34C-FB9C-420F-B3D0-1749B08C06F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2331B5C-F4A7-C609-24E8-1FD4ED06D11A}"/>
              </a:ext>
            </a:extLst>
          </p:cNvPr>
          <p:cNvSpPr>
            <a:spLocks noGrp="1"/>
          </p:cNvSpPr>
          <p:nvPr>
            <p:ph type="sldNum" sz="quarter" idx="5"/>
          </p:nvPr>
        </p:nvSpPr>
        <p:spPr/>
        <p:txBody>
          <a:bodyPr/>
          <a:lstStyle/>
          <a:p>
            <a:fld id="{4BE5DE82-CF29-044D-9158-06A811149881}" type="slidenum">
              <a:rPr lang="en-US" smtClean="0"/>
              <a:t>45</a:t>
            </a:fld>
            <a:endParaRPr lang="en-US"/>
          </a:p>
        </p:txBody>
      </p:sp>
    </p:spTree>
    <p:extLst>
      <p:ext uri="{BB962C8B-B14F-4D97-AF65-F5344CB8AC3E}">
        <p14:creationId xmlns:p14="http://schemas.microsoft.com/office/powerpoint/2010/main" val="3898048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8</a:t>
            </a:fld>
            <a:endParaRPr lang="en-US"/>
          </a:p>
        </p:txBody>
      </p:sp>
    </p:spTree>
    <p:extLst>
      <p:ext uri="{BB962C8B-B14F-4D97-AF65-F5344CB8AC3E}">
        <p14:creationId xmlns:p14="http://schemas.microsoft.com/office/powerpoint/2010/main" val="30881594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1F4A9-2E88-DB91-5882-55032A3FAE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1077C3-6BD1-E856-679E-361AFF95D957}"/>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6BE7E8F7-3E95-35AD-6122-75A1CE92AB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C7AA11F-8AC8-011B-57A6-D07CED060559}"/>
              </a:ext>
            </a:extLst>
          </p:cNvPr>
          <p:cNvSpPr>
            <a:spLocks noGrp="1"/>
          </p:cNvSpPr>
          <p:nvPr>
            <p:ph type="sldNum" sz="quarter" idx="5"/>
          </p:nvPr>
        </p:nvSpPr>
        <p:spPr/>
        <p:txBody>
          <a:bodyPr/>
          <a:lstStyle/>
          <a:p>
            <a:fld id="{4BE5DE82-CF29-044D-9158-06A811149881}" type="slidenum">
              <a:rPr lang="en-US" smtClean="0"/>
              <a:t>46</a:t>
            </a:fld>
            <a:endParaRPr lang="en-US"/>
          </a:p>
        </p:txBody>
      </p:sp>
    </p:spTree>
    <p:extLst>
      <p:ext uri="{BB962C8B-B14F-4D97-AF65-F5344CB8AC3E}">
        <p14:creationId xmlns:p14="http://schemas.microsoft.com/office/powerpoint/2010/main" val="21291153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EC95F-4331-3CE1-2676-EEC27E09C4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D94BFF-5A6E-234E-FC02-86A5DB8CC8F6}"/>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59C481E9-3F6B-24B4-EAE4-0C81EB6E33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9459630-5BDB-56FF-CE1D-4DD68128C329}"/>
              </a:ext>
            </a:extLst>
          </p:cNvPr>
          <p:cNvSpPr>
            <a:spLocks noGrp="1"/>
          </p:cNvSpPr>
          <p:nvPr>
            <p:ph type="sldNum" sz="quarter" idx="5"/>
          </p:nvPr>
        </p:nvSpPr>
        <p:spPr/>
        <p:txBody>
          <a:bodyPr/>
          <a:lstStyle/>
          <a:p>
            <a:fld id="{4BE5DE82-CF29-044D-9158-06A811149881}" type="slidenum">
              <a:rPr lang="en-US" smtClean="0"/>
              <a:t>47</a:t>
            </a:fld>
            <a:endParaRPr lang="en-US"/>
          </a:p>
        </p:txBody>
      </p:sp>
    </p:spTree>
    <p:extLst>
      <p:ext uri="{BB962C8B-B14F-4D97-AF65-F5344CB8AC3E}">
        <p14:creationId xmlns:p14="http://schemas.microsoft.com/office/powerpoint/2010/main" val="17406794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3A43F-D7C9-2333-BE5E-8B2394CBD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7B1283-63AE-20E6-B27A-CD23A1B5E3E6}"/>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4E255753-67DB-DC79-7898-E5F4099536C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5ADB803-B281-761E-5A12-BCB78997A1C3}"/>
              </a:ext>
            </a:extLst>
          </p:cNvPr>
          <p:cNvSpPr>
            <a:spLocks noGrp="1"/>
          </p:cNvSpPr>
          <p:nvPr>
            <p:ph type="sldNum" sz="quarter" idx="5"/>
          </p:nvPr>
        </p:nvSpPr>
        <p:spPr/>
        <p:txBody>
          <a:bodyPr/>
          <a:lstStyle/>
          <a:p>
            <a:fld id="{4BE5DE82-CF29-044D-9158-06A811149881}" type="slidenum">
              <a:rPr lang="en-US" smtClean="0"/>
              <a:t>48</a:t>
            </a:fld>
            <a:endParaRPr lang="en-US"/>
          </a:p>
        </p:txBody>
      </p:sp>
    </p:spTree>
    <p:extLst>
      <p:ext uri="{BB962C8B-B14F-4D97-AF65-F5344CB8AC3E}">
        <p14:creationId xmlns:p14="http://schemas.microsoft.com/office/powerpoint/2010/main" val="43960445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70D39-A3B0-7534-D69C-0AB2069D2D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F649FD-EB07-FBF3-D35F-5C7A0CD44CB9}"/>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5251C2E9-EFA6-EDF1-E7EC-99CFC2C5FB0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C1EAFB6-67BF-1BF0-8989-455EAE1C5212}"/>
              </a:ext>
            </a:extLst>
          </p:cNvPr>
          <p:cNvSpPr>
            <a:spLocks noGrp="1"/>
          </p:cNvSpPr>
          <p:nvPr>
            <p:ph type="sldNum" sz="quarter" idx="5"/>
          </p:nvPr>
        </p:nvSpPr>
        <p:spPr/>
        <p:txBody>
          <a:bodyPr/>
          <a:lstStyle/>
          <a:p>
            <a:fld id="{4BE5DE82-CF29-044D-9158-06A811149881}" type="slidenum">
              <a:rPr lang="en-US" smtClean="0"/>
              <a:t>51</a:t>
            </a:fld>
            <a:endParaRPr lang="en-US"/>
          </a:p>
        </p:txBody>
      </p:sp>
    </p:spTree>
    <p:extLst>
      <p:ext uri="{BB962C8B-B14F-4D97-AF65-F5344CB8AC3E}">
        <p14:creationId xmlns:p14="http://schemas.microsoft.com/office/powerpoint/2010/main" val="10845369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0B831-6B9E-38B7-2981-297BE19189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E8E96E-46A7-329E-BE9F-B2B861B1BB67}"/>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6D86FCDF-29A9-F036-78CE-7A4DA3A669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EDD7366-C445-9CB5-0E68-1D022C6E1ED8}"/>
              </a:ext>
            </a:extLst>
          </p:cNvPr>
          <p:cNvSpPr>
            <a:spLocks noGrp="1"/>
          </p:cNvSpPr>
          <p:nvPr>
            <p:ph type="sldNum" sz="quarter" idx="5"/>
          </p:nvPr>
        </p:nvSpPr>
        <p:spPr/>
        <p:txBody>
          <a:bodyPr/>
          <a:lstStyle/>
          <a:p>
            <a:fld id="{4BE5DE82-CF29-044D-9158-06A811149881}" type="slidenum">
              <a:rPr lang="en-US" smtClean="0"/>
              <a:t>52</a:t>
            </a:fld>
            <a:endParaRPr lang="en-US"/>
          </a:p>
        </p:txBody>
      </p:sp>
    </p:spTree>
    <p:extLst>
      <p:ext uri="{BB962C8B-B14F-4D97-AF65-F5344CB8AC3E}">
        <p14:creationId xmlns:p14="http://schemas.microsoft.com/office/powerpoint/2010/main" val="31965177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48197-31A5-6D8B-7319-A4AAA734E5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9E7B98-92C4-FAB1-E001-FCA23D7E8E0E}"/>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2BD5ABCB-8398-FC93-394F-A35A156F425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360133B-9F89-A1AD-983B-9B42647F6AEB}"/>
              </a:ext>
            </a:extLst>
          </p:cNvPr>
          <p:cNvSpPr>
            <a:spLocks noGrp="1"/>
          </p:cNvSpPr>
          <p:nvPr>
            <p:ph type="sldNum" sz="quarter" idx="5"/>
          </p:nvPr>
        </p:nvSpPr>
        <p:spPr/>
        <p:txBody>
          <a:bodyPr/>
          <a:lstStyle/>
          <a:p>
            <a:fld id="{4BE5DE82-CF29-044D-9158-06A811149881}" type="slidenum">
              <a:rPr lang="en-US" smtClean="0"/>
              <a:t>53</a:t>
            </a:fld>
            <a:endParaRPr lang="en-US"/>
          </a:p>
        </p:txBody>
      </p:sp>
    </p:spTree>
    <p:extLst>
      <p:ext uri="{BB962C8B-B14F-4D97-AF65-F5344CB8AC3E}">
        <p14:creationId xmlns:p14="http://schemas.microsoft.com/office/powerpoint/2010/main" val="34408995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5A677-55A9-5FC9-322C-A029AD1F5A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89EE6F-346A-8BD0-8618-65FCDBF45378}"/>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83E5763F-3EC2-A286-B405-B1592173485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52D241-A4AE-5DF2-FEAA-261934804380}"/>
              </a:ext>
            </a:extLst>
          </p:cNvPr>
          <p:cNvSpPr>
            <a:spLocks noGrp="1"/>
          </p:cNvSpPr>
          <p:nvPr>
            <p:ph type="sldNum" sz="quarter" idx="5"/>
          </p:nvPr>
        </p:nvSpPr>
        <p:spPr/>
        <p:txBody>
          <a:bodyPr/>
          <a:lstStyle/>
          <a:p>
            <a:fld id="{4BE5DE82-CF29-044D-9158-06A811149881}" type="slidenum">
              <a:rPr lang="en-US" smtClean="0"/>
              <a:t>54</a:t>
            </a:fld>
            <a:endParaRPr lang="en-US"/>
          </a:p>
        </p:txBody>
      </p:sp>
    </p:spTree>
    <p:extLst>
      <p:ext uri="{BB962C8B-B14F-4D97-AF65-F5344CB8AC3E}">
        <p14:creationId xmlns:p14="http://schemas.microsoft.com/office/powerpoint/2010/main" val="28594275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D297C-6604-4CE8-F87D-E8F402D841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8DC65B-1D21-E69D-DEB8-9D37EF1EB6E4}"/>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97D6DE9E-FF88-42B8-1E26-43813330458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1BFB54-941F-EA30-DB53-587755C9EE69}"/>
              </a:ext>
            </a:extLst>
          </p:cNvPr>
          <p:cNvSpPr>
            <a:spLocks noGrp="1"/>
          </p:cNvSpPr>
          <p:nvPr>
            <p:ph type="sldNum" sz="quarter" idx="5"/>
          </p:nvPr>
        </p:nvSpPr>
        <p:spPr/>
        <p:txBody>
          <a:bodyPr/>
          <a:lstStyle/>
          <a:p>
            <a:fld id="{4BE5DE82-CF29-044D-9158-06A811149881}" type="slidenum">
              <a:rPr lang="en-US" smtClean="0"/>
              <a:t>55</a:t>
            </a:fld>
            <a:endParaRPr lang="en-US"/>
          </a:p>
        </p:txBody>
      </p:sp>
    </p:spTree>
    <p:extLst>
      <p:ext uri="{BB962C8B-B14F-4D97-AF65-F5344CB8AC3E}">
        <p14:creationId xmlns:p14="http://schemas.microsoft.com/office/powerpoint/2010/main" val="39786296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2FCC6-AAF1-DFB7-F8C7-F98811BB38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CC810F-139E-675C-0139-F55CAE4A8008}"/>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5A7AC9AF-593D-0386-49E5-E48B83693F9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42DA6B1-3C75-657E-A300-8723BEEE5750}"/>
              </a:ext>
            </a:extLst>
          </p:cNvPr>
          <p:cNvSpPr>
            <a:spLocks noGrp="1"/>
          </p:cNvSpPr>
          <p:nvPr>
            <p:ph type="sldNum" sz="quarter" idx="5"/>
          </p:nvPr>
        </p:nvSpPr>
        <p:spPr/>
        <p:txBody>
          <a:bodyPr/>
          <a:lstStyle/>
          <a:p>
            <a:fld id="{4BE5DE82-CF29-044D-9158-06A811149881}" type="slidenum">
              <a:rPr lang="en-US" smtClean="0"/>
              <a:t>56</a:t>
            </a:fld>
            <a:endParaRPr lang="en-US"/>
          </a:p>
        </p:txBody>
      </p:sp>
    </p:spTree>
    <p:extLst>
      <p:ext uri="{BB962C8B-B14F-4D97-AF65-F5344CB8AC3E}">
        <p14:creationId xmlns:p14="http://schemas.microsoft.com/office/powerpoint/2010/main" val="36254074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94D0A-CB1D-FCC4-697A-E89C07AEE9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DAD800-A370-8E28-201B-F4062806E9E8}"/>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C10A3261-7394-C572-8767-234AE591760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0B8C365-8D86-F6C7-22B8-BB2B60F20F8E}"/>
              </a:ext>
            </a:extLst>
          </p:cNvPr>
          <p:cNvSpPr>
            <a:spLocks noGrp="1"/>
          </p:cNvSpPr>
          <p:nvPr>
            <p:ph type="sldNum" sz="quarter" idx="5"/>
          </p:nvPr>
        </p:nvSpPr>
        <p:spPr/>
        <p:txBody>
          <a:bodyPr/>
          <a:lstStyle/>
          <a:p>
            <a:fld id="{4BE5DE82-CF29-044D-9158-06A811149881}" type="slidenum">
              <a:rPr lang="en-US" smtClean="0"/>
              <a:t>57</a:t>
            </a:fld>
            <a:endParaRPr lang="en-US"/>
          </a:p>
        </p:txBody>
      </p:sp>
    </p:spTree>
    <p:extLst>
      <p:ext uri="{BB962C8B-B14F-4D97-AF65-F5344CB8AC3E}">
        <p14:creationId xmlns:p14="http://schemas.microsoft.com/office/powerpoint/2010/main" val="819165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BB203-3EA1-A474-99A9-364DD77F4C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900761-893A-D987-C6ED-78940950AFA4}"/>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6FE1939B-F6ED-AF82-2556-8CCAA642741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F2C43A1-2F51-372A-469A-CF974EBC692A}"/>
              </a:ext>
            </a:extLst>
          </p:cNvPr>
          <p:cNvSpPr>
            <a:spLocks noGrp="1"/>
          </p:cNvSpPr>
          <p:nvPr>
            <p:ph type="sldNum" sz="quarter" idx="5"/>
          </p:nvPr>
        </p:nvSpPr>
        <p:spPr/>
        <p:txBody>
          <a:bodyPr/>
          <a:lstStyle/>
          <a:p>
            <a:fld id="{4BE5DE82-CF29-044D-9158-06A811149881}" type="slidenum">
              <a:rPr lang="en-US" smtClean="0"/>
              <a:t>9</a:t>
            </a:fld>
            <a:endParaRPr lang="en-US"/>
          </a:p>
        </p:txBody>
      </p:sp>
    </p:spTree>
    <p:extLst>
      <p:ext uri="{BB962C8B-B14F-4D97-AF65-F5344CB8AC3E}">
        <p14:creationId xmlns:p14="http://schemas.microsoft.com/office/powerpoint/2010/main" val="409886873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E570D1-F200-5A75-4664-205E9053F4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C57DE2-0B30-F4F3-E667-8399B081A21C}"/>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52018C23-CA75-B917-B633-4EBF6A6401B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7DC4473-BCC9-24BD-56EB-7E91568E7732}"/>
              </a:ext>
            </a:extLst>
          </p:cNvPr>
          <p:cNvSpPr>
            <a:spLocks noGrp="1"/>
          </p:cNvSpPr>
          <p:nvPr>
            <p:ph type="sldNum" sz="quarter" idx="5"/>
          </p:nvPr>
        </p:nvSpPr>
        <p:spPr/>
        <p:txBody>
          <a:bodyPr/>
          <a:lstStyle/>
          <a:p>
            <a:fld id="{4BE5DE82-CF29-044D-9158-06A811149881}" type="slidenum">
              <a:rPr lang="en-US" smtClean="0"/>
              <a:t>58</a:t>
            </a:fld>
            <a:endParaRPr lang="en-US"/>
          </a:p>
        </p:txBody>
      </p:sp>
    </p:spTree>
    <p:extLst>
      <p:ext uri="{BB962C8B-B14F-4D97-AF65-F5344CB8AC3E}">
        <p14:creationId xmlns:p14="http://schemas.microsoft.com/office/powerpoint/2010/main" val="35108239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51624-A103-6C1E-D203-DE8B03328D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4FE2BA-9A63-B5E4-B967-7492C8E25E50}"/>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C29F50FC-97E8-6839-36FA-2489BDF11B89}"/>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82CD8E53-476B-DFEA-3FCD-D5D27E305F59}"/>
              </a:ext>
            </a:extLst>
          </p:cNvPr>
          <p:cNvSpPr>
            <a:spLocks noGrp="1"/>
          </p:cNvSpPr>
          <p:nvPr>
            <p:ph type="sldNum" sz="quarter" idx="5"/>
          </p:nvPr>
        </p:nvSpPr>
        <p:spPr/>
        <p:txBody>
          <a:bodyPr/>
          <a:lstStyle/>
          <a:p>
            <a:fld id="{4BE5DE82-CF29-044D-9158-06A811149881}" type="slidenum">
              <a:rPr lang="en-US" smtClean="0"/>
              <a:t>59</a:t>
            </a:fld>
            <a:endParaRPr lang="en-US"/>
          </a:p>
        </p:txBody>
      </p:sp>
    </p:spTree>
    <p:extLst>
      <p:ext uri="{BB962C8B-B14F-4D97-AF65-F5344CB8AC3E}">
        <p14:creationId xmlns:p14="http://schemas.microsoft.com/office/powerpoint/2010/main" val="176320523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FCF3-9F8C-E6B0-1AE1-1DCD80010B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A04B2D-52D5-2D7B-20B9-2DB53471933B}"/>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FF0A2F8A-43D1-CB4D-AADE-14CEE114F23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BEA8F3B-858B-5620-DD27-FFDE0DDB9E6F}"/>
              </a:ext>
            </a:extLst>
          </p:cNvPr>
          <p:cNvSpPr>
            <a:spLocks noGrp="1"/>
          </p:cNvSpPr>
          <p:nvPr>
            <p:ph type="sldNum" sz="quarter" idx="5"/>
          </p:nvPr>
        </p:nvSpPr>
        <p:spPr/>
        <p:txBody>
          <a:bodyPr/>
          <a:lstStyle/>
          <a:p>
            <a:fld id="{4BE5DE82-CF29-044D-9158-06A811149881}" type="slidenum">
              <a:rPr lang="en-US" smtClean="0"/>
              <a:t>60</a:t>
            </a:fld>
            <a:endParaRPr lang="en-US"/>
          </a:p>
        </p:txBody>
      </p:sp>
    </p:spTree>
    <p:extLst>
      <p:ext uri="{BB962C8B-B14F-4D97-AF65-F5344CB8AC3E}">
        <p14:creationId xmlns:p14="http://schemas.microsoft.com/office/powerpoint/2010/main" val="24131978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BC279-07A9-B1D1-E85C-570978C9F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83A125-4AFF-681A-0DB0-B3744984BC91}"/>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DE2684F4-F23B-9842-8DFD-3C79411313D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60163A3-72E1-E0C5-3C58-C11B9198EA8D}"/>
              </a:ext>
            </a:extLst>
          </p:cNvPr>
          <p:cNvSpPr>
            <a:spLocks noGrp="1"/>
          </p:cNvSpPr>
          <p:nvPr>
            <p:ph type="sldNum" sz="quarter" idx="5"/>
          </p:nvPr>
        </p:nvSpPr>
        <p:spPr/>
        <p:txBody>
          <a:bodyPr/>
          <a:lstStyle/>
          <a:p>
            <a:fld id="{4BE5DE82-CF29-044D-9158-06A811149881}" type="slidenum">
              <a:rPr lang="en-US" smtClean="0"/>
              <a:t>61</a:t>
            </a:fld>
            <a:endParaRPr lang="en-US"/>
          </a:p>
        </p:txBody>
      </p:sp>
    </p:spTree>
    <p:extLst>
      <p:ext uri="{BB962C8B-B14F-4D97-AF65-F5344CB8AC3E}">
        <p14:creationId xmlns:p14="http://schemas.microsoft.com/office/powerpoint/2010/main" val="3184027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1094FA-2437-7181-FE98-27C774AFB0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B3799A-AAE6-4131-B637-CC65DC30DB13}"/>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B630CC9E-B1F9-7701-0ED0-502DB72B3A70}"/>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1B72A9DA-DE05-07D7-AE2F-CEEF230DE738}"/>
              </a:ext>
            </a:extLst>
          </p:cNvPr>
          <p:cNvSpPr>
            <a:spLocks noGrp="1"/>
          </p:cNvSpPr>
          <p:nvPr>
            <p:ph type="sldNum" sz="quarter" idx="5"/>
          </p:nvPr>
        </p:nvSpPr>
        <p:spPr/>
        <p:txBody>
          <a:bodyPr/>
          <a:lstStyle/>
          <a:p>
            <a:fld id="{4BE5DE82-CF29-044D-9158-06A811149881}" type="slidenum">
              <a:rPr lang="en-US" smtClean="0"/>
              <a:t>62</a:t>
            </a:fld>
            <a:endParaRPr lang="en-US"/>
          </a:p>
        </p:txBody>
      </p:sp>
    </p:spTree>
    <p:extLst>
      <p:ext uri="{BB962C8B-B14F-4D97-AF65-F5344CB8AC3E}">
        <p14:creationId xmlns:p14="http://schemas.microsoft.com/office/powerpoint/2010/main" val="31192020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EECE0-6105-8E29-90FD-A058A3B03E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79113B-7751-C7DD-4BDB-C72441B96403}"/>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13D72A3F-8CAF-6DF3-EBEB-3B5F33B42934}"/>
              </a:ext>
            </a:extLst>
          </p:cNvPr>
          <p:cNvSpPr>
            <a:spLocks noGrp="1"/>
          </p:cNvSpPr>
          <p:nvPr>
            <p:ph type="body" idx="1"/>
          </p:nvPr>
        </p:nvSpPr>
        <p:spPr/>
        <p:txBody>
          <a:bodyPr/>
          <a:lstStyle/>
          <a:p>
            <a:endParaRPr lang="en-IE" dirty="0"/>
          </a:p>
        </p:txBody>
      </p:sp>
      <p:sp>
        <p:nvSpPr>
          <p:cNvPr id="4" name="Slide Number Placeholder 3">
            <a:extLst>
              <a:ext uri="{FF2B5EF4-FFF2-40B4-BE49-F238E27FC236}">
                <a16:creationId xmlns:a16="http://schemas.microsoft.com/office/drawing/2014/main" id="{C8ECE5F7-5B9B-4719-69C6-235F24F019CD}"/>
              </a:ext>
            </a:extLst>
          </p:cNvPr>
          <p:cNvSpPr>
            <a:spLocks noGrp="1"/>
          </p:cNvSpPr>
          <p:nvPr>
            <p:ph type="sldNum" sz="quarter" idx="5"/>
          </p:nvPr>
        </p:nvSpPr>
        <p:spPr/>
        <p:txBody>
          <a:bodyPr/>
          <a:lstStyle/>
          <a:p>
            <a:fld id="{4BE5DE82-CF29-044D-9158-06A811149881}" type="slidenum">
              <a:rPr lang="en-US" smtClean="0"/>
              <a:t>63</a:t>
            </a:fld>
            <a:endParaRPr lang="en-US"/>
          </a:p>
        </p:txBody>
      </p:sp>
    </p:spTree>
    <p:extLst>
      <p:ext uri="{BB962C8B-B14F-4D97-AF65-F5344CB8AC3E}">
        <p14:creationId xmlns:p14="http://schemas.microsoft.com/office/powerpoint/2010/main" val="139079446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4051B-E200-8AAC-7E98-BAF3012588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72EEAE-0E84-BEAD-9882-7D3D85E63B33}"/>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FC7D75F4-C46F-4A56-2579-B1D7EC6DB13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C257109-9BE5-9DC3-60EA-1B9EE0F72466}"/>
              </a:ext>
            </a:extLst>
          </p:cNvPr>
          <p:cNvSpPr>
            <a:spLocks noGrp="1"/>
          </p:cNvSpPr>
          <p:nvPr>
            <p:ph type="sldNum" sz="quarter" idx="5"/>
          </p:nvPr>
        </p:nvSpPr>
        <p:spPr/>
        <p:txBody>
          <a:bodyPr/>
          <a:lstStyle/>
          <a:p>
            <a:fld id="{4BE5DE82-CF29-044D-9158-06A811149881}" type="slidenum">
              <a:rPr lang="en-US" smtClean="0"/>
              <a:t>64</a:t>
            </a:fld>
            <a:endParaRPr lang="en-US"/>
          </a:p>
        </p:txBody>
      </p:sp>
    </p:spTree>
    <p:extLst>
      <p:ext uri="{BB962C8B-B14F-4D97-AF65-F5344CB8AC3E}">
        <p14:creationId xmlns:p14="http://schemas.microsoft.com/office/powerpoint/2010/main" val="159556836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BA176-B121-835C-9A5A-65AEB5BEE7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1E8A46-2A67-F26F-6F18-7B6A341B5DA9}"/>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7C76600B-EC2F-F3CC-A9A3-957293B39D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1A82F32-7E89-0008-AAC2-801FD78B76AF}"/>
              </a:ext>
            </a:extLst>
          </p:cNvPr>
          <p:cNvSpPr>
            <a:spLocks noGrp="1"/>
          </p:cNvSpPr>
          <p:nvPr>
            <p:ph type="sldNum" sz="quarter" idx="5"/>
          </p:nvPr>
        </p:nvSpPr>
        <p:spPr/>
        <p:txBody>
          <a:bodyPr/>
          <a:lstStyle/>
          <a:p>
            <a:fld id="{4BE5DE82-CF29-044D-9158-06A811149881}" type="slidenum">
              <a:rPr lang="en-US" smtClean="0"/>
              <a:t>65</a:t>
            </a:fld>
            <a:endParaRPr lang="en-US"/>
          </a:p>
        </p:txBody>
      </p:sp>
    </p:spTree>
    <p:extLst>
      <p:ext uri="{BB962C8B-B14F-4D97-AF65-F5344CB8AC3E}">
        <p14:creationId xmlns:p14="http://schemas.microsoft.com/office/powerpoint/2010/main" val="137845153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D28DA-5E72-7638-6DE1-F7AD5DE04E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CF7F99-6E5F-37E5-6D9E-D69C97E2C9E5}"/>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47996540-0CB4-58DC-8ACD-82470F7CDB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265E868-11C5-753A-57DD-A4B2A46BBCCD}"/>
              </a:ext>
            </a:extLst>
          </p:cNvPr>
          <p:cNvSpPr>
            <a:spLocks noGrp="1"/>
          </p:cNvSpPr>
          <p:nvPr>
            <p:ph type="sldNum" sz="quarter" idx="5"/>
          </p:nvPr>
        </p:nvSpPr>
        <p:spPr/>
        <p:txBody>
          <a:bodyPr/>
          <a:lstStyle/>
          <a:p>
            <a:fld id="{4BE5DE82-CF29-044D-9158-06A811149881}" type="slidenum">
              <a:rPr lang="en-US" smtClean="0"/>
              <a:t>66</a:t>
            </a:fld>
            <a:endParaRPr lang="en-US"/>
          </a:p>
        </p:txBody>
      </p:sp>
    </p:spTree>
    <p:extLst>
      <p:ext uri="{BB962C8B-B14F-4D97-AF65-F5344CB8AC3E}">
        <p14:creationId xmlns:p14="http://schemas.microsoft.com/office/powerpoint/2010/main" val="29631812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70</a:t>
            </a:fld>
            <a:endParaRPr lang="en-US"/>
          </a:p>
        </p:txBody>
      </p:sp>
    </p:spTree>
    <p:extLst>
      <p:ext uri="{BB962C8B-B14F-4D97-AF65-F5344CB8AC3E}">
        <p14:creationId xmlns:p14="http://schemas.microsoft.com/office/powerpoint/2010/main" val="830520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E6B78-FABF-7861-00D3-6922CEE066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92B79C-51C1-60A4-41D3-9AD9A96F6357}"/>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6B38BB08-E41E-FD62-6BAE-40DCDD168D9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A79222F-A35E-8F57-3B4D-DF5A00437AF4}"/>
              </a:ext>
            </a:extLst>
          </p:cNvPr>
          <p:cNvSpPr>
            <a:spLocks noGrp="1"/>
          </p:cNvSpPr>
          <p:nvPr>
            <p:ph type="sldNum" sz="quarter" idx="5"/>
          </p:nvPr>
        </p:nvSpPr>
        <p:spPr/>
        <p:txBody>
          <a:bodyPr/>
          <a:lstStyle/>
          <a:p>
            <a:fld id="{4BE5DE82-CF29-044D-9158-06A811149881}" type="slidenum">
              <a:rPr lang="en-US" smtClean="0"/>
              <a:t>10</a:t>
            </a:fld>
            <a:endParaRPr lang="en-US"/>
          </a:p>
        </p:txBody>
      </p:sp>
    </p:spTree>
    <p:extLst>
      <p:ext uri="{BB962C8B-B14F-4D97-AF65-F5344CB8AC3E}">
        <p14:creationId xmlns:p14="http://schemas.microsoft.com/office/powerpoint/2010/main" val="2595793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A357A-07EB-4BE8-F30C-4D4F9313FA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F7C85E-5A6D-592B-5B08-3EAF827D1F66}"/>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378D6962-5C72-EC55-B7D4-5FC28F12AE5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77A62AF-CDBF-8EDC-09B6-8FA46E775D30}"/>
              </a:ext>
            </a:extLst>
          </p:cNvPr>
          <p:cNvSpPr>
            <a:spLocks noGrp="1"/>
          </p:cNvSpPr>
          <p:nvPr>
            <p:ph type="sldNum" sz="quarter" idx="5"/>
          </p:nvPr>
        </p:nvSpPr>
        <p:spPr/>
        <p:txBody>
          <a:bodyPr/>
          <a:lstStyle/>
          <a:p>
            <a:fld id="{4BE5DE82-CF29-044D-9158-06A811149881}" type="slidenum">
              <a:rPr lang="en-US" smtClean="0"/>
              <a:t>11</a:t>
            </a:fld>
            <a:endParaRPr lang="en-US"/>
          </a:p>
        </p:txBody>
      </p:sp>
    </p:spTree>
    <p:extLst>
      <p:ext uri="{BB962C8B-B14F-4D97-AF65-F5344CB8AC3E}">
        <p14:creationId xmlns:p14="http://schemas.microsoft.com/office/powerpoint/2010/main" val="135901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4BE5DE82-CF29-044D-9158-06A811149881}" type="slidenum">
              <a:rPr lang="en-US" smtClean="0"/>
              <a:t>12</a:t>
            </a:fld>
            <a:endParaRPr lang="en-US"/>
          </a:p>
        </p:txBody>
      </p:sp>
    </p:spTree>
    <p:extLst>
      <p:ext uri="{BB962C8B-B14F-4D97-AF65-F5344CB8AC3E}">
        <p14:creationId xmlns:p14="http://schemas.microsoft.com/office/powerpoint/2010/main" val="47161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B7568-D5C9-3515-3817-28B4E83D2C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E809A6-3890-4D5F-2C86-9656F269E47F}"/>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27C76846-1A74-1C51-F23E-5073EC9E877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6697A90-A819-421B-F568-FA68AF27D23C}"/>
              </a:ext>
            </a:extLst>
          </p:cNvPr>
          <p:cNvSpPr>
            <a:spLocks noGrp="1"/>
          </p:cNvSpPr>
          <p:nvPr>
            <p:ph type="sldNum" sz="quarter" idx="5"/>
          </p:nvPr>
        </p:nvSpPr>
        <p:spPr/>
        <p:txBody>
          <a:bodyPr/>
          <a:lstStyle/>
          <a:p>
            <a:fld id="{4BE5DE82-CF29-044D-9158-06A811149881}" type="slidenum">
              <a:rPr lang="en-US" smtClean="0"/>
              <a:t>13</a:t>
            </a:fld>
            <a:endParaRPr lang="en-US"/>
          </a:p>
        </p:txBody>
      </p:sp>
    </p:spTree>
    <p:extLst>
      <p:ext uri="{BB962C8B-B14F-4D97-AF65-F5344CB8AC3E}">
        <p14:creationId xmlns:p14="http://schemas.microsoft.com/office/powerpoint/2010/main" val="21100622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198" name="Freeform 197">
            <a:extLst>
              <a:ext uri="{FF2B5EF4-FFF2-40B4-BE49-F238E27FC236}">
                <a16:creationId xmlns:a16="http://schemas.microsoft.com/office/drawing/2014/main" id="{51639FB9-349C-0342-B1A8-F6BC5646FE11}"/>
              </a:ext>
            </a:extLst>
          </p:cNvPr>
          <p:cNvSpPr/>
          <p:nvPr userDrawn="1"/>
        </p:nvSpPr>
        <p:spPr>
          <a:xfrm>
            <a:off x="-1" y="3305907"/>
            <a:ext cx="12172692" cy="2438952"/>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62A844"/>
          </a:solidFill>
          <a:ln w="30808" cap="flat">
            <a:noFill/>
            <a:prstDash val="solid"/>
            <a:miter/>
          </a:ln>
        </p:spPr>
        <p:txBody>
          <a:bodyPr rtlCol="0" anchor="ctr"/>
          <a:lstStyle/>
          <a:p>
            <a:endParaRPr lang="en-US" sz="2069"/>
          </a:p>
        </p:txBody>
      </p:sp>
      <p:pic>
        <p:nvPicPr>
          <p:cNvPr id="6" name="Graphic 5">
            <a:extLst>
              <a:ext uri="{FF2B5EF4-FFF2-40B4-BE49-F238E27FC236}">
                <a16:creationId xmlns:a16="http://schemas.microsoft.com/office/drawing/2014/main" id="{9201AA8D-D2A0-775E-E518-C40B875812F4}"/>
              </a:ext>
            </a:extLst>
          </p:cNvPr>
          <p:cNvPicPr>
            <a:picLocks noChangeAspect="1"/>
          </p:cNvPicPr>
          <p:nvPr userDrawn="1"/>
        </p:nvPicPr>
        <p:blipFill>
          <a:blip>
            <a:extLst>
              <a:ext uri="{96DAC541-7B7A-43D3-8B79-37D633B846F1}">
                <asvg:svgBlip xmlns:asvg="http://schemas.microsoft.com/office/drawing/2016/SVG/main" r:embed="rId2"/>
              </a:ext>
            </a:extLst>
          </a:blip>
          <a:srcRect l="33363" t="45944" r="38153" b="46704"/>
          <a:stretch/>
        </p:blipFill>
        <p:spPr>
          <a:xfrm>
            <a:off x="4986068" y="3105178"/>
            <a:ext cx="7205932" cy="2633460"/>
          </a:xfrm>
          <a:prstGeom prst="rect">
            <a:avLst/>
          </a:prstGeom>
        </p:spPr>
      </p:pic>
      <p:sp>
        <p:nvSpPr>
          <p:cNvPr id="221" name="Text Placeholder 32">
            <a:extLst>
              <a:ext uri="{FF2B5EF4-FFF2-40B4-BE49-F238E27FC236}">
                <a16:creationId xmlns:a16="http://schemas.microsoft.com/office/drawing/2014/main" id="{DFA6FF77-25B5-714D-A338-B30123147AB2}"/>
              </a:ext>
            </a:extLst>
          </p:cNvPr>
          <p:cNvSpPr>
            <a:spLocks noGrp="1"/>
          </p:cNvSpPr>
          <p:nvPr>
            <p:ph type="body" sz="quarter" idx="16" hasCustomPrompt="1"/>
          </p:nvPr>
        </p:nvSpPr>
        <p:spPr>
          <a:xfrm>
            <a:off x="679403" y="4388340"/>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Eco Smart Hospitality</a:t>
            </a:r>
            <a:endParaRPr lang="en-US" dirty="0"/>
          </a:p>
        </p:txBody>
      </p:sp>
      <p:sp>
        <p:nvSpPr>
          <p:cNvPr id="222" name="Text Placeholder 32">
            <a:extLst>
              <a:ext uri="{FF2B5EF4-FFF2-40B4-BE49-F238E27FC236}">
                <a16:creationId xmlns:a16="http://schemas.microsoft.com/office/drawing/2014/main" id="{2AAB8BE5-8520-414F-99D1-3978614F5E99}"/>
              </a:ext>
            </a:extLst>
          </p:cNvPr>
          <p:cNvSpPr>
            <a:spLocks noGrp="1"/>
          </p:cNvSpPr>
          <p:nvPr>
            <p:ph type="body" sz="quarter" idx="19" hasCustomPrompt="1"/>
          </p:nvPr>
        </p:nvSpPr>
        <p:spPr>
          <a:xfrm>
            <a:off x="721528" y="3508096"/>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sp>
        <p:nvSpPr>
          <p:cNvPr id="313" name="Freeform 312">
            <a:extLst>
              <a:ext uri="{FF2B5EF4-FFF2-40B4-BE49-F238E27FC236}">
                <a16:creationId xmlns:a16="http://schemas.microsoft.com/office/drawing/2014/main" id="{41DE6804-49C7-BA4C-98EA-A2FBCF20D006}"/>
              </a:ext>
            </a:extLst>
          </p:cNvPr>
          <p:cNvSpPr/>
          <p:nvPr userDrawn="1"/>
        </p:nvSpPr>
        <p:spPr>
          <a:xfrm>
            <a:off x="12192000" y="153500"/>
            <a:ext cx="3690980" cy="7687732"/>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EBEBEB"/>
          </a:solidFill>
          <a:ln w="30808" cap="flat">
            <a:noFill/>
            <a:prstDash val="solid"/>
            <a:miter/>
          </a:ln>
        </p:spPr>
        <p:txBody>
          <a:bodyPr rtlCol="0" anchor="ctr"/>
          <a:lstStyle/>
          <a:p>
            <a:endParaRPr lang="en-US" sz="2069"/>
          </a:p>
        </p:txBody>
      </p:sp>
      <p:sp>
        <p:nvSpPr>
          <p:cNvPr id="86" name="Freeform 85">
            <a:extLst>
              <a:ext uri="{FF2B5EF4-FFF2-40B4-BE49-F238E27FC236}">
                <a16:creationId xmlns:a16="http://schemas.microsoft.com/office/drawing/2014/main" id="{6A11F79F-713E-E345-9C80-877BA9BBE40E}"/>
              </a:ext>
            </a:extLst>
          </p:cNvPr>
          <p:cNvSpPr/>
          <p:nvPr userDrawn="1"/>
        </p:nvSpPr>
        <p:spPr>
          <a:xfrm>
            <a:off x="8022566" y="5585903"/>
            <a:ext cx="4138530"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0289AE"/>
          </a:solidFill>
          <a:ln w="30808" cap="flat">
            <a:noFill/>
            <a:prstDash val="solid"/>
            <a:miter/>
          </a:ln>
        </p:spPr>
        <p:txBody>
          <a:bodyPr rtlCol="0" anchor="ctr"/>
          <a:lstStyle/>
          <a:p>
            <a:endParaRPr lang="en-US" sz="2069"/>
          </a:p>
        </p:txBody>
      </p:sp>
      <p:sp>
        <p:nvSpPr>
          <p:cNvPr id="87" name="Text Placeholder 23">
            <a:extLst>
              <a:ext uri="{FF2B5EF4-FFF2-40B4-BE49-F238E27FC236}">
                <a16:creationId xmlns:a16="http://schemas.microsoft.com/office/drawing/2014/main" id="{7B083E97-1B7E-AA43-8396-3B3FA19E84FC}"/>
              </a:ext>
            </a:extLst>
          </p:cNvPr>
          <p:cNvSpPr>
            <a:spLocks noGrp="1"/>
          </p:cNvSpPr>
          <p:nvPr>
            <p:ph type="body" sz="quarter" idx="45" hasCustomPrompt="1"/>
          </p:nvPr>
        </p:nvSpPr>
        <p:spPr>
          <a:xfrm>
            <a:off x="8345333" y="5611394"/>
            <a:ext cx="3195486" cy="731140"/>
          </a:xfrm>
          <a:prstGeom prst="rect">
            <a:avLst/>
          </a:prstGeom>
        </p:spPr>
        <p:txBody>
          <a:bodyPr anchor="ctr">
            <a:normAutofit/>
          </a:bodyPr>
          <a:lstStyle>
            <a:lvl1pPr marL="0" indent="0" algn="r">
              <a:buNone/>
              <a:defRPr sz="3000" b="1" baseline="0">
                <a:solidFill>
                  <a:schemeClr val="bg1"/>
                </a:solidFill>
                <a:latin typeface="+mn-lt"/>
              </a:defRPr>
            </a:lvl1pPr>
          </a:lstStyle>
          <a:p>
            <a:pPr lvl="0"/>
            <a:r>
              <a:rPr lang="en-US" dirty="0" err="1"/>
              <a:t>www.ecosmart.eu</a:t>
            </a:r>
            <a:endParaRPr lang="en-US" dirty="0"/>
          </a:p>
        </p:txBody>
      </p:sp>
      <p:pic>
        <p:nvPicPr>
          <p:cNvPr id="7" name="Picture 6">
            <a:extLst>
              <a:ext uri="{FF2B5EF4-FFF2-40B4-BE49-F238E27FC236}">
                <a16:creationId xmlns:a16="http://schemas.microsoft.com/office/drawing/2014/main" id="{4A5A0184-D1EF-84DD-ECA5-04C19284F9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4066" y="509686"/>
            <a:ext cx="4125188" cy="2499202"/>
          </a:xfrm>
          <a:prstGeom prst="rect">
            <a:avLst/>
          </a:prstGeom>
        </p:spPr>
      </p:pic>
      <p:pic>
        <p:nvPicPr>
          <p:cNvPr id="3" name="Picture 2">
            <a:extLst>
              <a:ext uri="{FF2B5EF4-FFF2-40B4-BE49-F238E27FC236}">
                <a16:creationId xmlns:a16="http://schemas.microsoft.com/office/drawing/2014/main" id="{2CEE8CA0-6B16-DF99-419E-AD223F63649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7636" y="5993335"/>
            <a:ext cx="6024421" cy="606937"/>
          </a:xfrm>
          <a:prstGeom prst="rect">
            <a:avLst/>
          </a:prstGeom>
        </p:spPr>
      </p:pic>
    </p:spTree>
    <p:extLst>
      <p:ext uri="{BB962C8B-B14F-4D97-AF65-F5344CB8AC3E}">
        <p14:creationId xmlns:p14="http://schemas.microsoft.com/office/powerpoint/2010/main" val="4220865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5757C479-C257-C247-8E86-AED0A2B9F127}"/>
              </a:ext>
            </a:extLst>
          </p:cNvPr>
          <p:cNvSpPr/>
          <p:nvPr userDrawn="1"/>
        </p:nvSpPr>
        <p:spPr>
          <a:xfrm>
            <a:off x="3058634" y="1"/>
            <a:ext cx="8439100"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DF0D8479-C381-34DD-EE47-BD5DC7B4499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3053750" y="2684947"/>
            <a:ext cx="4641011" cy="4173054"/>
          </a:xfrm>
          <a:prstGeom prst="rect">
            <a:avLst/>
          </a:prstGeom>
        </p:spPr>
      </p:pic>
      <p:sp>
        <p:nvSpPr>
          <p:cNvPr id="16" name="Text Placeholder 17">
            <a:extLst>
              <a:ext uri="{FF2B5EF4-FFF2-40B4-BE49-F238E27FC236}">
                <a16:creationId xmlns:a16="http://schemas.microsoft.com/office/drawing/2014/main" id="{A29AA7C0-E80F-9940-A7DE-B7B4733D7F3D}"/>
              </a:ext>
            </a:extLst>
          </p:cNvPr>
          <p:cNvSpPr>
            <a:spLocks noGrp="1"/>
          </p:cNvSpPr>
          <p:nvPr>
            <p:ph type="body" sz="quarter" idx="18" hasCustomPrompt="1"/>
          </p:nvPr>
        </p:nvSpPr>
        <p:spPr>
          <a:xfrm>
            <a:off x="5943600" y="2076098"/>
            <a:ext cx="4867011" cy="3913188"/>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F13E4322-43A6-A642-9B00-7405BE2B70DA}"/>
              </a:ext>
            </a:extLst>
          </p:cNvPr>
          <p:cNvSpPr>
            <a:spLocks noGrp="1"/>
          </p:cNvSpPr>
          <p:nvPr>
            <p:ph type="body" sz="quarter" idx="16" hasCustomPrompt="1"/>
          </p:nvPr>
        </p:nvSpPr>
        <p:spPr>
          <a:xfrm>
            <a:off x="5943601" y="647039"/>
            <a:ext cx="4990998"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pic>
        <p:nvPicPr>
          <p:cNvPr id="9" name="Picture 8">
            <a:extLst>
              <a:ext uri="{FF2B5EF4-FFF2-40B4-BE49-F238E27FC236}">
                <a16:creationId xmlns:a16="http://schemas.microsoft.com/office/drawing/2014/main" id="{03CBBA07-A014-9824-9079-87459BAD7EC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8315" t="15976" r="29196" b="11083"/>
          <a:stretch/>
        </p:blipFill>
        <p:spPr>
          <a:xfrm flipH="1">
            <a:off x="0" y="1333922"/>
            <a:ext cx="8439100" cy="5375657"/>
          </a:xfrm>
          <a:prstGeom prst="rect">
            <a:avLst/>
          </a:prstGeom>
        </p:spPr>
      </p:pic>
      <p:sp>
        <p:nvSpPr>
          <p:cNvPr id="10" name="Picture Placeholder 17">
            <a:extLst>
              <a:ext uri="{FF2B5EF4-FFF2-40B4-BE49-F238E27FC236}">
                <a16:creationId xmlns:a16="http://schemas.microsoft.com/office/drawing/2014/main" id="{C198CE8B-A951-4723-36EA-05C2EF0324F7}"/>
              </a:ext>
            </a:extLst>
          </p:cNvPr>
          <p:cNvSpPr>
            <a:spLocks noGrp="1"/>
          </p:cNvSpPr>
          <p:nvPr>
            <p:ph type="pic" sz="quarter" idx="10"/>
          </p:nvPr>
        </p:nvSpPr>
        <p:spPr>
          <a:xfrm>
            <a:off x="0" y="1561018"/>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r>
              <a:rPr lang="en-GB"/>
              <a:t>Click icon to add picture</a:t>
            </a:r>
            <a:endParaRPr lang="en-US" dirty="0"/>
          </a:p>
        </p:txBody>
      </p:sp>
    </p:spTree>
    <p:extLst>
      <p:ext uri="{BB962C8B-B14F-4D97-AF65-F5344CB8AC3E}">
        <p14:creationId xmlns:p14="http://schemas.microsoft.com/office/powerpoint/2010/main" val="9566428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C32637B4-C090-664B-9518-5B50FEB1AD29}"/>
              </a:ext>
            </a:extLst>
          </p:cNvPr>
          <p:cNvSpPr/>
          <p:nvPr userDrawn="1"/>
        </p:nvSpPr>
        <p:spPr>
          <a:xfrm>
            <a:off x="0" y="882027"/>
            <a:ext cx="12192000" cy="1437274"/>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35671" y="2727702"/>
            <a:ext cx="7178174" cy="3311641"/>
          </a:xfrm>
          <a:prstGeom prst="rect">
            <a:avLst/>
          </a:prstGeom>
        </p:spPr>
        <p:txBody>
          <a:bodyPr/>
          <a:lstStyle>
            <a:lvl1pPr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1" y="1104337"/>
            <a:ext cx="7178174" cy="1031625"/>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pic>
        <p:nvPicPr>
          <p:cNvPr id="17" name="Picture 16" descr="iPhone6_mockup_front_white.png">
            <a:extLst>
              <a:ext uri="{FF2B5EF4-FFF2-40B4-BE49-F238E27FC236}">
                <a16:creationId xmlns:a16="http://schemas.microsoft.com/office/drawing/2014/main" id="{E4E01626-D8FB-DA4D-8D60-ADB5CDC507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68850" y="226918"/>
            <a:ext cx="4094254" cy="6404164"/>
          </a:xfrm>
          <a:prstGeom prst="rect">
            <a:avLst/>
          </a:prstGeom>
        </p:spPr>
      </p:pic>
      <p:sp>
        <p:nvSpPr>
          <p:cNvPr id="18" name="Picture Placeholder 17">
            <a:extLst>
              <a:ext uri="{FF2B5EF4-FFF2-40B4-BE49-F238E27FC236}">
                <a16:creationId xmlns:a16="http://schemas.microsoft.com/office/drawing/2014/main" id="{2C88D513-C68B-0445-BEAD-F3AA97638FA7}"/>
              </a:ext>
            </a:extLst>
          </p:cNvPr>
          <p:cNvSpPr>
            <a:spLocks noGrp="1"/>
          </p:cNvSpPr>
          <p:nvPr>
            <p:ph type="pic" sz="quarter" idx="10"/>
          </p:nvPr>
        </p:nvSpPr>
        <p:spPr>
          <a:xfrm>
            <a:off x="8583306"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r>
              <a:rPr lang="en-GB"/>
              <a:t>Click icon to add picture</a:t>
            </a:r>
            <a:endParaRPr lang="en-US" dirty="0"/>
          </a:p>
        </p:txBody>
      </p:sp>
    </p:spTree>
    <p:extLst>
      <p:ext uri="{BB962C8B-B14F-4D97-AF65-F5344CB8AC3E}">
        <p14:creationId xmlns:p14="http://schemas.microsoft.com/office/powerpoint/2010/main" val="4108775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006103A0-8832-5CC1-B4F1-21340C1B07EF}"/>
              </a:ext>
            </a:extLst>
          </p:cNvPr>
          <p:cNvSpPr/>
          <p:nvPr userDrawn="1"/>
        </p:nvSpPr>
        <p:spPr>
          <a:xfrm>
            <a:off x="0" y="3088257"/>
            <a:ext cx="12172692" cy="2674188"/>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62A844"/>
          </a:solidFill>
          <a:ln w="30808" cap="flat">
            <a:noFill/>
            <a:prstDash val="solid"/>
            <a:miter/>
          </a:ln>
        </p:spPr>
        <p:txBody>
          <a:bodyPr rtlCol="0" anchor="ctr"/>
          <a:lstStyle/>
          <a:p>
            <a:endParaRPr lang="en-US" sz="2069"/>
          </a:p>
        </p:txBody>
      </p:sp>
      <p:pic>
        <p:nvPicPr>
          <p:cNvPr id="4" name="Graphic 3">
            <a:extLst>
              <a:ext uri="{FF2B5EF4-FFF2-40B4-BE49-F238E27FC236}">
                <a16:creationId xmlns:a16="http://schemas.microsoft.com/office/drawing/2014/main" id="{8E1EADED-0571-888E-FC41-7133127AB892}"/>
              </a:ext>
            </a:extLst>
          </p:cNvPr>
          <p:cNvPicPr>
            <a:picLocks noChangeAspect="1"/>
          </p:cNvPicPr>
          <p:nvPr userDrawn="1"/>
        </p:nvPicPr>
        <p:blipFill>
          <a:blip>
            <a:extLst>
              <a:ext uri="{96DAC541-7B7A-43D3-8B79-37D633B846F1}">
                <asvg:svgBlip xmlns:asvg="http://schemas.microsoft.com/office/drawing/2016/SVG/main" r:embed="rId2"/>
              </a:ext>
            </a:extLst>
          </a:blip>
          <a:srcRect l="31584" t="41294" r="39868" b="40576"/>
          <a:stretch/>
        </p:blipFill>
        <p:spPr>
          <a:xfrm>
            <a:off x="8574657" y="3092939"/>
            <a:ext cx="3617343" cy="3252603"/>
          </a:xfrm>
          <a:prstGeom prst="rect">
            <a:avLst/>
          </a:prstGeom>
        </p:spPr>
      </p:pic>
      <p:sp>
        <p:nvSpPr>
          <p:cNvPr id="5" name="Freeform 4">
            <a:extLst>
              <a:ext uri="{FF2B5EF4-FFF2-40B4-BE49-F238E27FC236}">
                <a16:creationId xmlns:a16="http://schemas.microsoft.com/office/drawing/2014/main" id="{C6B12E2C-E37F-14EA-2BED-760F4F5392C3}"/>
              </a:ext>
            </a:extLst>
          </p:cNvPr>
          <p:cNvSpPr/>
          <p:nvPr userDrawn="1"/>
        </p:nvSpPr>
        <p:spPr>
          <a:xfrm>
            <a:off x="8022566" y="5585903"/>
            <a:ext cx="4138530"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0289AE"/>
          </a:solidFill>
          <a:ln w="30808" cap="flat">
            <a:noFill/>
            <a:prstDash val="solid"/>
            <a:miter/>
          </a:ln>
        </p:spPr>
        <p:txBody>
          <a:bodyPr rtlCol="0" anchor="ctr"/>
          <a:lstStyle/>
          <a:p>
            <a:endParaRPr lang="en-US" sz="2069"/>
          </a:p>
        </p:txBody>
      </p:sp>
      <p:sp>
        <p:nvSpPr>
          <p:cNvPr id="6" name="Text Placeholder 23">
            <a:extLst>
              <a:ext uri="{FF2B5EF4-FFF2-40B4-BE49-F238E27FC236}">
                <a16:creationId xmlns:a16="http://schemas.microsoft.com/office/drawing/2014/main" id="{D84B41E7-EBFA-EF8D-1831-D318823D5037}"/>
              </a:ext>
            </a:extLst>
          </p:cNvPr>
          <p:cNvSpPr>
            <a:spLocks noGrp="1"/>
          </p:cNvSpPr>
          <p:nvPr>
            <p:ph type="body" sz="quarter" idx="45" hasCustomPrompt="1"/>
          </p:nvPr>
        </p:nvSpPr>
        <p:spPr>
          <a:xfrm>
            <a:off x="8345333" y="5611394"/>
            <a:ext cx="3195486" cy="731140"/>
          </a:xfrm>
          <a:prstGeom prst="rect">
            <a:avLst/>
          </a:prstGeom>
        </p:spPr>
        <p:txBody>
          <a:bodyPr anchor="ctr">
            <a:normAutofit/>
          </a:bodyPr>
          <a:lstStyle>
            <a:lvl1pPr marL="0" indent="0" algn="r">
              <a:buNone/>
              <a:defRPr sz="3000" b="1" baseline="0">
                <a:solidFill>
                  <a:schemeClr val="bg1"/>
                </a:solidFill>
                <a:latin typeface="+mn-lt"/>
              </a:defRPr>
            </a:lvl1pPr>
          </a:lstStyle>
          <a:p>
            <a:pPr lvl="0"/>
            <a:r>
              <a:rPr lang="en-US" dirty="0" err="1"/>
              <a:t>www.ecosmart.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709073" y="4411104"/>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709073" y="3601528"/>
            <a:ext cx="3195485" cy="837258"/>
          </a:xfrm>
          <a:prstGeom prst="rect">
            <a:avLst/>
          </a:prstGeom>
        </p:spPr>
        <p:txBody>
          <a:bodyPr anchor="ctr">
            <a:normAutofit/>
          </a:bodyPr>
          <a:lstStyle>
            <a:lvl1pPr marL="0" indent="0" algn="l">
              <a:buNone/>
              <a:defRPr sz="5000" b="1" baseline="0">
                <a:solidFill>
                  <a:schemeClr val="bg1"/>
                </a:solidFill>
                <a:latin typeface="+mn-lt"/>
              </a:defRPr>
            </a:lvl1pPr>
          </a:lstStyle>
          <a:p>
            <a:pPr lvl="0"/>
            <a:r>
              <a:rPr lang="en-US" dirty="0"/>
              <a:t>Thank You</a:t>
            </a:r>
          </a:p>
        </p:txBody>
      </p:sp>
      <p:pic>
        <p:nvPicPr>
          <p:cNvPr id="9" name="Picture 8">
            <a:extLst>
              <a:ext uri="{FF2B5EF4-FFF2-40B4-BE49-F238E27FC236}">
                <a16:creationId xmlns:a16="http://schemas.microsoft.com/office/drawing/2014/main" id="{0A23670E-0681-2401-026C-C1270EA889D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4066" y="509686"/>
            <a:ext cx="4125188" cy="2499202"/>
          </a:xfrm>
          <a:prstGeom prst="rect">
            <a:avLst/>
          </a:prstGeom>
        </p:spPr>
      </p:pic>
      <p:pic>
        <p:nvPicPr>
          <p:cNvPr id="2" name="Picture 1">
            <a:extLst>
              <a:ext uri="{FF2B5EF4-FFF2-40B4-BE49-F238E27FC236}">
                <a16:creationId xmlns:a16="http://schemas.microsoft.com/office/drawing/2014/main" id="{88724AB5-D9AD-21D0-4E94-4399FD96800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7636" y="5993335"/>
            <a:ext cx="6024421" cy="606937"/>
          </a:xfrm>
          <a:prstGeom prst="rect">
            <a:avLst/>
          </a:prstGeom>
        </p:spPr>
      </p:pic>
    </p:spTree>
    <p:extLst>
      <p:ext uri="{BB962C8B-B14F-4D97-AF65-F5344CB8AC3E}">
        <p14:creationId xmlns:p14="http://schemas.microsoft.com/office/powerpoint/2010/main" val="30970682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ext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031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772707" y="178674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1608004" y="178674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772707" y="249853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1608004" y="249853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772707" y="3210318"/>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1608004" y="3210318"/>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772707" y="3922110"/>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1608004" y="3922110"/>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772707" y="4616963"/>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1608004" y="4616963"/>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3" name="Rectangle 22">
            <a:extLst>
              <a:ext uri="{FF2B5EF4-FFF2-40B4-BE49-F238E27FC236}">
                <a16:creationId xmlns:a16="http://schemas.microsoft.com/office/drawing/2014/main" id="{4A9FE447-E059-844E-AB44-8ADA48F90A17}"/>
              </a:ext>
            </a:extLst>
          </p:cNvPr>
          <p:cNvSpPr/>
          <p:nvPr userDrawn="1"/>
        </p:nvSpPr>
        <p:spPr>
          <a:xfrm flipH="1" flipV="1">
            <a:off x="-4454" y="0"/>
            <a:ext cx="12189954" cy="130338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51" name="Text Placeholder 23">
            <a:extLst>
              <a:ext uri="{FF2B5EF4-FFF2-40B4-BE49-F238E27FC236}">
                <a16:creationId xmlns:a16="http://schemas.microsoft.com/office/drawing/2014/main" id="{F889F8E2-E40E-4A46-B6D7-52A0D1D266BA}"/>
              </a:ext>
            </a:extLst>
          </p:cNvPr>
          <p:cNvSpPr>
            <a:spLocks noGrp="1"/>
          </p:cNvSpPr>
          <p:nvPr>
            <p:ph type="body" sz="quarter" idx="27" hasCustomPrompt="1"/>
          </p:nvPr>
        </p:nvSpPr>
        <p:spPr>
          <a:xfrm>
            <a:off x="548420" y="19520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CONTENTS</a:t>
            </a:r>
          </a:p>
        </p:txBody>
      </p:sp>
      <p:sp>
        <p:nvSpPr>
          <p:cNvPr id="19" name="Graphic 4">
            <a:extLst>
              <a:ext uri="{FF2B5EF4-FFF2-40B4-BE49-F238E27FC236}">
                <a16:creationId xmlns:a16="http://schemas.microsoft.com/office/drawing/2014/main" id="{D81C8033-C361-E354-4AFA-A6C8B1614AB5}"/>
              </a:ext>
            </a:extLst>
          </p:cNvPr>
          <p:cNvSpPr/>
          <p:nvPr userDrawn="1"/>
        </p:nvSpPr>
        <p:spPr>
          <a:xfrm rot="5400000">
            <a:off x="1314218" y="462088"/>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3FDF18C4-339F-B954-0B2C-2D7E117265F0}"/>
              </a:ext>
            </a:extLst>
          </p:cNvPr>
          <p:cNvPicPr>
            <a:picLocks noChangeAspect="1"/>
          </p:cNvPicPr>
          <p:nvPr userDrawn="1"/>
        </p:nvPicPr>
        <p:blipFill>
          <a:blip>
            <a:extLst>
              <a:ext uri="{96DAC541-7B7A-43D3-8B79-37D633B846F1}">
                <asvg:svgBlip xmlns:asvg="http://schemas.microsoft.com/office/drawing/2016/SVG/main" r:embed="rId2"/>
              </a:ext>
            </a:extLst>
          </a:blip>
          <a:srcRect l="32264" t="48938" r="39869" b="43923"/>
          <a:stretch/>
        </p:blipFill>
        <p:spPr>
          <a:xfrm>
            <a:off x="8660921" y="14515"/>
            <a:ext cx="3531079" cy="1280818"/>
          </a:xfrm>
          <a:prstGeom prst="rect">
            <a:avLst/>
          </a:prstGeom>
        </p:spPr>
      </p:pic>
      <p:pic>
        <p:nvPicPr>
          <p:cNvPr id="5" name="Picture 4">
            <a:extLst>
              <a:ext uri="{FF2B5EF4-FFF2-40B4-BE49-F238E27FC236}">
                <a16:creationId xmlns:a16="http://schemas.microsoft.com/office/drawing/2014/main" id="{965C61D0-1904-2B5F-680C-A658A20F9D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37636" y="5848192"/>
            <a:ext cx="6024421" cy="606937"/>
          </a:xfrm>
          <a:prstGeom prst="rect">
            <a:avLst/>
          </a:prstGeom>
        </p:spPr>
      </p:pic>
    </p:spTree>
    <p:extLst>
      <p:ext uri="{BB962C8B-B14F-4D97-AF65-F5344CB8AC3E}">
        <p14:creationId xmlns:p14="http://schemas.microsoft.com/office/powerpoint/2010/main" val="2476502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5657D2BA-F701-24BE-6383-0AE97A4B87CA}"/>
              </a:ext>
            </a:extLst>
          </p:cNvPr>
          <p:cNvSpPr/>
          <p:nvPr userDrawn="1"/>
        </p:nvSpPr>
        <p:spPr>
          <a:xfrm>
            <a:off x="5774267" y="1175708"/>
            <a:ext cx="6417733" cy="5604021"/>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chemeClr val="bg1"/>
          </a:solidFill>
          <a:ln w="306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FED49CE-31FD-A973-2423-55CF11027249}"/>
              </a:ext>
            </a:extLst>
          </p:cNvPr>
          <p:cNvSpPr/>
          <p:nvPr userDrawn="1"/>
        </p:nvSpPr>
        <p:spPr>
          <a:xfrm>
            <a:off x="5360151" y="0"/>
            <a:ext cx="6417733" cy="5604021"/>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7" name="Picture Placeholder 62">
            <a:extLst>
              <a:ext uri="{FF2B5EF4-FFF2-40B4-BE49-F238E27FC236}">
                <a16:creationId xmlns:a16="http://schemas.microsoft.com/office/drawing/2014/main" id="{7514BDA3-BDC4-C52C-A1BA-C3EEEFC1534D}"/>
              </a:ext>
            </a:extLst>
          </p:cNvPr>
          <p:cNvSpPr>
            <a:spLocks noGrp="1"/>
          </p:cNvSpPr>
          <p:nvPr>
            <p:ph type="pic" sz="quarter" idx="44" hasCustomPrompt="1"/>
          </p:nvPr>
        </p:nvSpPr>
        <p:spPr>
          <a:xfrm>
            <a:off x="414116" y="352414"/>
            <a:ext cx="5497412" cy="6099184"/>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8" name="Graphic 7">
            <a:extLst>
              <a:ext uri="{FF2B5EF4-FFF2-40B4-BE49-F238E27FC236}">
                <a16:creationId xmlns:a16="http://schemas.microsoft.com/office/drawing/2014/main" id="{2D53ABCE-8755-5647-6892-7D56F62B62DD}"/>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a:off x="8160541" y="2351418"/>
            <a:ext cx="3617343" cy="3252603"/>
          </a:xfrm>
          <a:prstGeom prst="rect">
            <a:avLst/>
          </a:prstGeom>
        </p:spPr>
      </p:pic>
      <p:sp>
        <p:nvSpPr>
          <p:cNvPr id="9" name="Text Placeholder 23">
            <a:extLst>
              <a:ext uri="{FF2B5EF4-FFF2-40B4-BE49-F238E27FC236}">
                <a16:creationId xmlns:a16="http://schemas.microsoft.com/office/drawing/2014/main" id="{47A59F42-F253-0190-E1AB-B9F757A76A76}"/>
              </a:ext>
            </a:extLst>
          </p:cNvPr>
          <p:cNvSpPr>
            <a:spLocks noGrp="1"/>
          </p:cNvSpPr>
          <p:nvPr>
            <p:ph type="body" sz="quarter" idx="13" hasCustomPrompt="1"/>
          </p:nvPr>
        </p:nvSpPr>
        <p:spPr>
          <a:xfrm>
            <a:off x="6096001" y="593579"/>
            <a:ext cx="4724400" cy="5604021"/>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649323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61B6070F-794F-F449-83D1-E1387DDD2B9B}"/>
              </a:ext>
            </a:extLst>
          </p:cNvPr>
          <p:cNvSpPr/>
          <p:nvPr userDrawn="1"/>
        </p:nvSpPr>
        <p:spPr>
          <a:xfrm>
            <a:off x="0" y="1352385"/>
            <a:ext cx="6096000" cy="4388015"/>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29" name="Picture Placeholder 28">
            <a:extLst>
              <a:ext uri="{FF2B5EF4-FFF2-40B4-BE49-F238E27FC236}">
                <a16:creationId xmlns:a16="http://schemas.microsoft.com/office/drawing/2014/main" id="{50C4F02F-B685-C24A-A1A4-1694530C252C}"/>
              </a:ext>
            </a:extLst>
          </p:cNvPr>
          <p:cNvSpPr>
            <a:spLocks noGrp="1"/>
          </p:cNvSpPr>
          <p:nvPr>
            <p:ph type="pic" sz="quarter" idx="4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740405 h 6858000"/>
              <a:gd name="connsiteX5" fmla="*/ 6096007 w 12192000"/>
              <a:gd name="connsiteY5" fmla="*/ 5740405 h 6858000"/>
              <a:gd name="connsiteX6" fmla="*/ 6096007 w 12192000"/>
              <a:gd name="connsiteY6" fmla="*/ 1352385 h 6858000"/>
              <a:gd name="connsiteX7" fmla="*/ 0 w 12192000"/>
              <a:gd name="connsiteY7" fmla="*/ 13523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5740405"/>
                </a:lnTo>
                <a:lnTo>
                  <a:pt x="6096007" y="5740405"/>
                </a:lnTo>
                <a:lnTo>
                  <a:pt x="6096007" y="1352385"/>
                </a:lnTo>
                <a:lnTo>
                  <a:pt x="0" y="1352385"/>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AEB1432D-039C-5E81-6AFB-7322D91B7800}"/>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0" y="2483963"/>
            <a:ext cx="3617343" cy="3252603"/>
          </a:xfrm>
          <a:prstGeom prst="rect">
            <a:avLst/>
          </a:prstGeom>
        </p:spPr>
      </p:pic>
      <p:sp>
        <p:nvSpPr>
          <p:cNvPr id="3" name="Text Placeholder 23">
            <a:extLst>
              <a:ext uri="{FF2B5EF4-FFF2-40B4-BE49-F238E27FC236}">
                <a16:creationId xmlns:a16="http://schemas.microsoft.com/office/drawing/2014/main" id="{2D9E68B0-ABA3-8DBC-0CF8-2A37F1B32DBC}"/>
              </a:ext>
            </a:extLst>
          </p:cNvPr>
          <p:cNvSpPr>
            <a:spLocks noGrp="1"/>
          </p:cNvSpPr>
          <p:nvPr>
            <p:ph type="body" sz="quarter" idx="13" hasCustomPrompt="1"/>
          </p:nvPr>
        </p:nvSpPr>
        <p:spPr>
          <a:xfrm>
            <a:off x="427670" y="1747126"/>
            <a:ext cx="5126463" cy="3565651"/>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826949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A6B076-9BFA-2346-A8EF-0964DD60C975}"/>
              </a:ext>
            </a:extLst>
          </p:cNvPr>
          <p:cNvSpPr/>
          <p:nvPr userDrawn="1"/>
        </p:nvSpPr>
        <p:spPr>
          <a:xfrm>
            <a:off x="0" y="0"/>
            <a:ext cx="6417733"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26" name="Picture Placeholder 62">
            <a:extLst>
              <a:ext uri="{FF2B5EF4-FFF2-40B4-BE49-F238E27FC236}">
                <a16:creationId xmlns:a16="http://schemas.microsoft.com/office/drawing/2014/main" id="{6F2FA5C4-F5A3-1D40-9151-447AF9FD00A2}"/>
              </a:ext>
            </a:extLst>
          </p:cNvPr>
          <p:cNvSpPr>
            <a:spLocks noGrp="1"/>
          </p:cNvSpPr>
          <p:nvPr>
            <p:ph type="pic" sz="quarter" idx="44" hasCustomPrompt="1"/>
          </p:nvPr>
        </p:nvSpPr>
        <p:spPr>
          <a:xfrm>
            <a:off x="5888002" y="439730"/>
            <a:ext cx="5660531" cy="6045736"/>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63510E1E-7F49-442A-D5B2-5908F99CA0C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0" y="3605397"/>
            <a:ext cx="3617343" cy="3252603"/>
          </a:xfrm>
          <a:prstGeom prst="rect">
            <a:avLst/>
          </a:prstGeom>
        </p:spPr>
      </p:pic>
      <p:sp>
        <p:nvSpPr>
          <p:cNvPr id="3" name="Text Placeholder 17">
            <a:extLst>
              <a:ext uri="{FF2B5EF4-FFF2-40B4-BE49-F238E27FC236}">
                <a16:creationId xmlns:a16="http://schemas.microsoft.com/office/drawing/2014/main" id="{3768FB9D-1C3F-3F8B-67CF-80CAD18DCC5A}"/>
              </a:ext>
            </a:extLst>
          </p:cNvPr>
          <p:cNvSpPr>
            <a:spLocks noGrp="1"/>
          </p:cNvSpPr>
          <p:nvPr>
            <p:ph type="body" sz="quarter" idx="18" hasCustomPrompt="1"/>
          </p:nvPr>
        </p:nvSpPr>
        <p:spPr>
          <a:xfrm>
            <a:off x="898358" y="2107770"/>
            <a:ext cx="4639192" cy="437769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 name="Text Placeholder 23">
            <a:extLst>
              <a:ext uri="{FF2B5EF4-FFF2-40B4-BE49-F238E27FC236}">
                <a16:creationId xmlns:a16="http://schemas.microsoft.com/office/drawing/2014/main" id="{3B2B280E-719F-F2F5-A004-29C6D40BEFC3}"/>
              </a:ext>
            </a:extLst>
          </p:cNvPr>
          <p:cNvSpPr>
            <a:spLocks noGrp="1"/>
          </p:cNvSpPr>
          <p:nvPr>
            <p:ph type="body" sz="quarter" idx="16" hasCustomPrompt="1"/>
          </p:nvPr>
        </p:nvSpPr>
        <p:spPr>
          <a:xfrm>
            <a:off x="898358" y="890242"/>
            <a:ext cx="4757375"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92094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86EA2704-3CCA-6D4C-706A-0A70EB7F9103}"/>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1" y="2536167"/>
            <a:ext cx="4806475" cy="4321834"/>
          </a:xfrm>
          <a:prstGeom prst="rect">
            <a:avLst/>
          </a:prstGeom>
        </p:spPr>
      </p:pic>
      <p:sp>
        <p:nvSpPr>
          <p:cNvPr id="23" name="Rectangle 22">
            <a:extLst>
              <a:ext uri="{FF2B5EF4-FFF2-40B4-BE49-F238E27FC236}">
                <a16:creationId xmlns:a16="http://schemas.microsoft.com/office/drawing/2014/main" id="{67351284-75C4-E847-BB44-907672E8A8BA}"/>
              </a:ext>
            </a:extLst>
          </p:cNvPr>
          <p:cNvSpPr/>
          <p:nvPr userDrawn="1"/>
        </p:nvSpPr>
        <p:spPr>
          <a:xfrm>
            <a:off x="12192000" y="-287867"/>
            <a:ext cx="1185333" cy="714586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F122372-AF04-80D2-B77C-745F6207CD7B}"/>
              </a:ext>
            </a:extLst>
          </p:cNvPr>
          <p:cNvSpPr>
            <a:spLocks noChangeAspect="1"/>
          </p:cNvSpPr>
          <p:nvPr userDrawn="1"/>
        </p:nvSpPr>
        <p:spPr>
          <a:xfrm>
            <a:off x="370688" y="323520"/>
            <a:ext cx="11450624" cy="6210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7">
            <a:extLst>
              <a:ext uri="{FF2B5EF4-FFF2-40B4-BE49-F238E27FC236}">
                <a16:creationId xmlns:a16="http://schemas.microsoft.com/office/drawing/2014/main" id="{94629FAB-1FEE-6DD3-BAE0-63C9EDF41FAA}"/>
              </a:ext>
            </a:extLst>
          </p:cNvPr>
          <p:cNvSpPr>
            <a:spLocks noGrp="1"/>
          </p:cNvSpPr>
          <p:nvPr>
            <p:ph type="body" sz="quarter" idx="18" hasCustomPrompt="1"/>
          </p:nvPr>
        </p:nvSpPr>
        <p:spPr>
          <a:xfrm>
            <a:off x="798380" y="2045704"/>
            <a:ext cx="10595237" cy="3849918"/>
          </a:xfrm>
          <a:prstGeom prst="rect">
            <a:avLst/>
          </a:prstGeom>
        </p:spPr>
        <p:txBody>
          <a:bodyPr/>
          <a:lstStyle>
            <a:lvl1pPr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69F67E6E-6001-52D5-328C-6DB21D316891}"/>
              </a:ext>
            </a:extLst>
          </p:cNvPr>
          <p:cNvSpPr>
            <a:spLocks noGrp="1"/>
          </p:cNvSpPr>
          <p:nvPr>
            <p:ph type="body" sz="quarter" idx="16" hasCustomPrompt="1"/>
          </p:nvPr>
        </p:nvSpPr>
        <p:spPr>
          <a:xfrm>
            <a:off x="798381" y="761603"/>
            <a:ext cx="10595237" cy="803654"/>
          </a:xfrm>
          <a:prstGeom prst="rect">
            <a:avLst/>
          </a:prstGeom>
        </p:spPr>
        <p:txBody>
          <a:bodyPr>
            <a:noAutofit/>
          </a:bodyPr>
          <a:lstStyle>
            <a:lvl1pPr marL="0" indent="0" algn="l">
              <a:buNone/>
              <a:defRPr sz="3600" b="1" i="0">
                <a:solidFill>
                  <a:srgbClr val="009AC1"/>
                </a:solidFill>
                <a:latin typeface="+mn-lt"/>
              </a:defRPr>
            </a:lvl1pPr>
          </a:lstStyle>
          <a:p>
            <a:pPr lvl="0"/>
            <a:r>
              <a:rPr lang="en-US" dirty="0"/>
              <a:t>Heading</a:t>
            </a:r>
          </a:p>
        </p:txBody>
      </p:sp>
    </p:spTree>
    <p:extLst>
      <p:ext uri="{BB962C8B-B14F-4D97-AF65-F5344CB8AC3E}">
        <p14:creationId xmlns:p14="http://schemas.microsoft.com/office/powerpoint/2010/main" val="41910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ext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538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1553583" y="1623405"/>
            <a:ext cx="9778140" cy="4895927"/>
          </a:xfrm>
          <a:prstGeom prst="rect">
            <a:avLst/>
          </a:prstGeom>
        </p:spPr>
        <p:txBody>
          <a:bodyPr/>
          <a:lstStyle>
            <a:lvl1pPr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1503336" y="604434"/>
            <a:ext cx="9886397" cy="1018971"/>
          </a:xfrm>
          <a:prstGeom prst="rect">
            <a:avLst/>
          </a:prstGeom>
        </p:spPr>
        <p:txBody>
          <a:bodyPr>
            <a:noAutofit/>
          </a:bodyPr>
          <a:lstStyle>
            <a:lvl1pPr marL="0" indent="0" algn="l">
              <a:buNone/>
              <a:defRPr sz="3600" b="1" i="0">
                <a:solidFill>
                  <a:srgbClr val="0289AE"/>
                </a:solidFill>
                <a:latin typeface="+mn-lt"/>
              </a:defRPr>
            </a:lvl1pPr>
          </a:lstStyle>
          <a:p>
            <a:pPr lvl="0"/>
            <a:r>
              <a:rPr lang="en-US" dirty="0"/>
              <a:t>Heading</a:t>
            </a:r>
          </a:p>
        </p:txBody>
      </p:sp>
      <p:sp>
        <p:nvSpPr>
          <p:cNvPr id="2" name="Rectangle 1">
            <a:extLst>
              <a:ext uri="{FF2B5EF4-FFF2-40B4-BE49-F238E27FC236}">
                <a16:creationId xmlns:a16="http://schemas.microsoft.com/office/drawing/2014/main" id="{C07CE72E-371D-1D4A-A68D-68550F825E9D}"/>
              </a:ext>
            </a:extLst>
          </p:cNvPr>
          <p:cNvSpPr/>
          <p:nvPr userDrawn="1"/>
        </p:nvSpPr>
        <p:spPr>
          <a:xfrm>
            <a:off x="12192000" y="-287867"/>
            <a:ext cx="1185333" cy="714586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a:extLst>
              <a:ext uri="{FF2B5EF4-FFF2-40B4-BE49-F238E27FC236}">
                <a16:creationId xmlns:a16="http://schemas.microsoft.com/office/drawing/2014/main" id="{936FEF51-CD71-062C-6ED0-A623D78E9564}"/>
              </a:ext>
            </a:extLst>
          </p:cNvPr>
          <p:cNvSpPr/>
          <p:nvPr userDrawn="1"/>
        </p:nvSpPr>
        <p:spPr>
          <a:xfrm>
            <a:off x="1" y="0"/>
            <a:ext cx="1242204"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pic>
        <p:nvPicPr>
          <p:cNvPr id="4" name="Graphic 3">
            <a:extLst>
              <a:ext uri="{FF2B5EF4-FFF2-40B4-BE49-F238E27FC236}">
                <a16:creationId xmlns:a16="http://schemas.microsoft.com/office/drawing/2014/main" id="{739DB8D6-6AC7-F971-5A29-5FDEBCAFFDFE}"/>
              </a:ext>
            </a:extLst>
          </p:cNvPr>
          <p:cNvPicPr>
            <a:picLocks noChangeAspect="1"/>
          </p:cNvPicPr>
          <p:nvPr userDrawn="1"/>
        </p:nvPicPr>
        <p:blipFill>
          <a:blip>
            <a:extLst>
              <a:ext uri="{96DAC541-7B7A-43D3-8B79-37D633B846F1}">
                <asvg:svgBlip xmlns:asvg="http://schemas.microsoft.com/office/drawing/2016/SVG/main" r:embed="rId2"/>
              </a:ext>
            </a:extLst>
          </a:blip>
          <a:srcRect l="50465" t="38697" r="39868" b="43173"/>
          <a:stretch/>
        </p:blipFill>
        <p:spPr>
          <a:xfrm flipH="1">
            <a:off x="-1" y="3605397"/>
            <a:ext cx="1224951" cy="3252603"/>
          </a:xfrm>
          <a:prstGeom prst="rect">
            <a:avLst/>
          </a:prstGeom>
        </p:spPr>
      </p:pic>
    </p:spTree>
    <p:extLst>
      <p:ext uri="{BB962C8B-B14F-4D97-AF65-F5344CB8AC3E}">
        <p14:creationId xmlns:p14="http://schemas.microsoft.com/office/powerpoint/2010/main" val="4806024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p:spTree>
      <p:nvGrpSpPr>
        <p:cNvPr id="1" name=""/>
        <p:cNvGrpSpPr/>
        <p:nvPr/>
      </p:nvGrpSpPr>
      <p:grpSpPr>
        <a:xfrm>
          <a:off x="0" y="0"/>
          <a:ext cx="0" cy="0"/>
          <a:chOff x="0" y="0"/>
          <a:chExt cx="0" cy="0"/>
        </a:xfrm>
      </p:grpSpPr>
      <p:sp>
        <p:nvSpPr>
          <p:cNvPr id="44" name="Freeform 43">
            <a:extLst>
              <a:ext uri="{FF2B5EF4-FFF2-40B4-BE49-F238E27FC236}">
                <a16:creationId xmlns:a16="http://schemas.microsoft.com/office/drawing/2014/main" id="{3E6F887F-9228-1D4F-8127-5E0D4A5B1EDB}"/>
              </a:ext>
            </a:extLst>
          </p:cNvPr>
          <p:cNvSpPr/>
          <p:nvPr userDrawn="1"/>
        </p:nvSpPr>
        <p:spPr>
          <a:xfrm>
            <a:off x="3776133" y="644599"/>
            <a:ext cx="8415867" cy="5509455"/>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9" name="Rectangle 8">
            <a:extLst>
              <a:ext uri="{FF2B5EF4-FFF2-40B4-BE49-F238E27FC236}">
                <a16:creationId xmlns:a16="http://schemas.microsoft.com/office/drawing/2014/main" id="{627A825B-5E41-4E4C-888D-127C62DD902C}"/>
              </a:ext>
            </a:extLst>
          </p:cNvPr>
          <p:cNvSpPr/>
          <p:nvPr userDrawn="1"/>
        </p:nvSpPr>
        <p:spPr>
          <a:xfrm>
            <a:off x="23805" y="9076427"/>
            <a:ext cx="7535870" cy="1615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97322" y="2639356"/>
            <a:ext cx="6484268" cy="2253043"/>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891654" y="1020928"/>
            <a:ext cx="2066906" cy="582221"/>
          </a:xfrm>
          <a:prstGeom prst="rect">
            <a:avLst/>
          </a:prstGeom>
        </p:spPr>
        <p:txBody>
          <a:bodyPr>
            <a:noAutofit/>
          </a:bodyPr>
          <a:lstStyle>
            <a:lvl1pPr marL="0" indent="0" algn="l">
              <a:buNone/>
              <a:defRPr sz="13000" b="0" i="0">
                <a:solidFill>
                  <a:srgbClr val="0289AE"/>
                </a:solidFill>
                <a:latin typeface="+mn-lt"/>
              </a:defRPr>
            </a:lvl1pPr>
          </a:lstStyle>
          <a:p>
            <a:pPr lvl="0"/>
            <a:r>
              <a:rPr lang="en-US" dirty="0"/>
              <a:t>01</a:t>
            </a:r>
          </a:p>
        </p:txBody>
      </p:sp>
      <p:sp>
        <p:nvSpPr>
          <p:cNvPr id="27" name="Freeform 26">
            <a:extLst>
              <a:ext uri="{FF2B5EF4-FFF2-40B4-BE49-F238E27FC236}">
                <a16:creationId xmlns:a16="http://schemas.microsoft.com/office/drawing/2014/main" id="{E14646F1-3D11-F74B-AAAD-8A7FC4063A2A}"/>
              </a:ext>
            </a:extLst>
          </p:cNvPr>
          <p:cNvSpPr/>
          <p:nvPr userDrawn="1"/>
        </p:nvSpPr>
        <p:spPr>
          <a:xfrm>
            <a:off x="0" y="2892987"/>
            <a:ext cx="5040000" cy="72000"/>
          </a:xfrm>
          <a:custGeom>
            <a:avLst/>
            <a:gdLst>
              <a:gd name="connsiteX0" fmla="*/ 0 w 2963330"/>
              <a:gd name="connsiteY0" fmla="*/ 0 h 71215"/>
              <a:gd name="connsiteX1" fmla="*/ 2963330 w 2963330"/>
              <a:gd name="connsiteY1" fmla="*/ 0 h 71215"/>
              <a:gd name="connsiteX2" fmla="*/ 2963330 w 2963330"/>
              <a:gd name="connsiteY2" fmla="*/ 71215 h 71215"/>
              <a:gd name="connsiteX3" fmla="*/ 0 w 2963330"/>
              <a:gd name="connsiteY3" fmla="*/ 71215 h 71215"/>
              <a:gd name="connsiteX4" fmla="*/ 0 w 2963330"/>
              <a:gd name="connsiteY4" fmla="*/ 0 h 71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3330" h="71215">
                <a:moveTo>
                  <a:pt x="0" y="0"/>
                </a:moveTo>
                <a:lnTo>
                  <a:pt x="2963330" y="0"/>
                </a:lnTo>
                <a:cubicBezTo>
                  <a:pt x="2963330" y="23739"/>
                  <a:pt x="2963330" y="47477"/>
                  <a:pt x="2963330" y="71215"/>
                </a:cubicBezTo>
                <a:lnTo>
                  <a:pt x="0" y="71215"/>
                </a:lnTo>
                <a:lnTo>
                  <a:pt x="0" y="0"/>
                </a:lnTo>
                <a:close/>
              </a:path>
            </a:pathLst>
          </a:custGeom>
          <a:solidFill>
            <a:srgbClr val="0289AE"/>
          </a:solidFill>
          <a:ln w="3060" cap="flat">
            <a:solidFill>
              <a:srgbClr val="009AC1"/>
            </a:solid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330DF8E6-E642-58C0-CC2A-45FBF68FAAD3}"/>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a:off x="8574657" y="2880779"/>
            <a:ext cx="3617343" cy="3252603"/>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DF42AE7-BCCB-80D5-5976-1846765705C7}"/>
              </a:ext>
            </a:extLst>
          </p:cNvPr>
          <p:cNvGraphicFramePr>
            <a:graphicFrameLocks/>
          </p:cNvGraphicFramePr>
          <p:nvPr userDrawn="1">
            <p:custDataLst>
              <p:tags r:id="rId15"/>
            </p:custDataLst>
            <p:extLst>
              <p:ext uri="{D42A27DB-BD31-4B8C-83A1-F6EECF244321}">
                <p14:modId xmlns:p14="http://schemas.microsoft.com/office/powerpoint/2010/main" val="410946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454" imgH="456" progId="TCLayout.ActiveDocument.1">
                  <p:embed/>
                </p:oleObj>
              </mc:Choice>
              <mc:Fallback>
                <p:oleObj name="think-cell Folie" r:id="rId16" imgW="454" imgH="45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4797FF0D-DACD-E343-AAC4-7335CAE89C12}"/>
              </a:ext>
            </a:extLst>
          </p:cNvPr>
          <p:cNvCxnSpPr>
            <a:cxnSpLocks/>
          </p:cNvCxnSpPr>
          <p:nvPr userDrawn="1"/>
        </p:nvCxnSpPr>
        <p:spPr>
          <a:xfrm flipH="1">
            <a:off x="11791088" y="6608548"/>
            <a:ext cx="224149" cy="0"/>
          </a:xfrm>
          <a:prstGeom prst="line">
            <a:avLst/>
          </a:prstGeom>
          <a:noFill/>
          <a:ln w="9525" cap="flat">
            <a:solidFill>
              <a:srgbClr val="0289AE"/>
            </a:solidFill>
            <a:prstDash val="solid"/>
            <a:miter lim="400000"/>
          </a:ln>
          <a:effectLst/>
          <a:sp3d/>
        </p:spPr>
        <p:style>
          <a:lnRef idx="0">
            <a:scrgbClr r="0" g="0" b="0"/>
          </a:lnRef>
          <a:fillRef idx="0">
            <a:scrgbClr r="0" g="0" b="0"/>
          </a:fillRef>
          <a:effectRef idx="0">
            <a:scrgbClr r="0" g="0" b="0"/>
          </a:effectRef>
          <a:fontRef idx="none"/>
        </p:style>
      </p:cxnSp>
      <p:pic>
        <p:nvPicPr>
          <p:cNvPr id="3" name="Picture 2">
            <a:extLst>
              <a:ext uri="{FF2B5EF4-FFF2-40B4-BE49-F238E27FC236}">
                <a16:creationId xmlns:a16="http://schemas.microsoft.com/office/drawing/2014/main" id="{15154F4B-6C80-63B3-1DBF-7974951C2436}"/>
              </a:ext>
            </a:extLst>
          </p:cNvPr>
          <p:cNvPicPr>
            <a:picLocks noChangeAspect="1"/>
          </p:cNvPicPr>
          <p:nvPr userDrawn="1"/>
        </p:nvPicPr>
        <p:blipFill>
          <a:blip r:embed="rId18" cstate="email">
            <a:extLst>
              <a:ext uri="{28A0092B-C50C-407E-A947-70E740481C1C}">
                <a14:useLocalDpi xmlns:a14="http://schemas.microsoft.com/office/drawing/2010/main"/>
              </a:ext>
            </a:extLst>
          </a:blip>
          <a:srcRect l="6057" t="73356" r="7135" b="13558"/>
          <a:stretch/>
        </p:blipFill>
        <p:spPr>
          <a:xfrm rot="16200000">
            <a:off x="11007941" y="5562287"/>
            <a:ext cx="1811310" cy="165417"/>
          </a:xfrm>
          <a:prstGeom prst="rect">
            <a:avLst/>
          </a:prstGeom>
        </p:spPr>
      </p:pic>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29" r:id="rId1"/>
    <p:sldLayoutId id="2147483842" r:id="rId2"/>
    <p:sldLayoutId id="2147483840" r:id="rId3"/>
    <p:sldLayoutId id="2147483880" r:id="rId4"/>
    <p:sldLayoutId id="2147483841" r:id="rId5"/>
    <p:sldLayoutId id="2147483879" r:id="rId6"/>
    <p:sldLayoutId id="2147483882" r:id="rId7"/>
    <p:sldLayoutId id="2147483878" r:id="rId8"/>
    <p:sldLayoutId id="2147483861" r:id="rId9"/>
    <p:sldLayoutId id="2147483833" r:id="rId10"/>
    <p:sldLayoutId id="2147483847" r:id="rId11"/>
    <p:sldLayoutId id="2147483853" r:id="rId12"/>
    <p:sldLayoutId id="214748388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hyperlink" Target="https://creativecommons.org/licenses/by/4.0/?ref=chooser-v1" TargetMode="External"/><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hyperlink" Target="https://ecosmartproject.eu/"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hyperlink" Target="https://www.qualtrics.com/articles/customer-experience/experience-economy-godfather/"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8.png"/><Relationship Id="rId4" Type="http://schemas.openxmlformats.org/officeDocument/2006/relationships/image" Target="../media/image3.sv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hyperlink" Target="https://www.service-design-network.org/community-knowledge/what-is-service-design" TargetMode="External"/><Relationship Id="rId3" Type="http://schemas.openxmlformats.org/officeDocument/2006/relationships/hyperlink" Target="https://www.qualtrics.com/articles/customer-experience/experience-economy-godfather/" TargetMode="External"/><Relationship Id="rId7"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3.svg"/><Relationship Id="rId4" Type="http://schemas.openxmlformats.org/officeDocument/2006/relationships/hyperlink" Target="https://ixdf.org/literature/topics/service-design"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hyperlink" Target="https://www.jstor.org/stable/1252042" TargetMode="External"/><Relationship Id="rId5" Type="http://schemas.openxmlformats.org/officeDocument/2006/relationships/image" Target="../media/image23.png"/><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hyperlink" Target="https://www.icesi.edu.co/blogs/bitacorainnovacion141/files/2014/04/20015_ftp.pdf" TargetMode="External"/><Relationship Id="rId5" Type="http://schemas.openxmlformats.org/officeDocument/2006/relationships/image" Target="../media/image25.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26.png"/><Relationship Id="rId4" Type="http://schemas.openxmlformats.org/officeDocument/2006/relationships/hyperlink" Target="https://youtu.be/BeEUemtdoJQ?si=wlyVsqI1i-jPW76B"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3" Type="http://schemas.openxmlformats.org/officeDocument/2006/relationships/hyperlink" Target="https://ixdf.org/literature/topics/customer-journey-map" TargetMode="External"/><Relationship Id="rId7"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3.svg"/><Relationship Id="rId4" Type="http://schemas.openxmlformats.org/officeDocument/2006/relationships/hyperlink" Target="https://www.interaction-design.org/literature/article/customer-journey-maps-walking-a-mile-in-your-customer-s-shoes"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3.xml.rels><?xml version="1.0" encoding="UTF-8" standalone="yes"?>
<Relationships xmlns="http://schemas.openxmlformats.org/package/2006/relationships"><Relationship Id="rId3" Type="http://schemas.openxmlformats.org/officeDocument/2006/relationships/hyperlink" Target="https://www.untourism.int/accessibility-tourism" TargetMode="External"/><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30.jpeg"/><Relationship Id="rId5" Type="http://schemas.openxmlformats.org/officeDocument/2006/relationships/image" Target="../media/image7.png"/><Relationship Id="rId4" Type="http://schemas.openxmlformats.org/officeDocument/2006/relationships/image" Target="../media/image3.svg"/></Relationships>
</file>

<file path=ppt/slides/_rels/slide34.xml.rels><?xml version="1.0" encoding="UTF-8" standalone="yes"?>
<Relationships xmlns="http://schemas.openxmlformats.org/package/2006/relationships"><Relationship Id="rId8" Type="http://schemas.openxmlformats.org/officeDocument/2006/relationships/hyperlink" Target="https://www.untourism.int/accessibility-tourism" TargetMode="External"/><Relationship Id="rId3" Type="http://schemas.openxmlformats.org/officeDocument/2006/relationships/notesSlide" Target="../notesSlides/notesSlide28.xml"/><Relationship Id="rId7" Type="http://schemas.openxmlformats.org/officeDocument/2006/relationships/image" Target="../media/image31.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3.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0.xml"/><Relationship Id="rId1" Type="http://schemas.openxmlformats.org/officeDocument/2006/relationships/slideLayout" Target="../slideLayouts/slideLayout13.xml"/><Relationship Id="rId5" Type="http://schemas.openxmlformats.org/officeDocument/2006/relationships/image" Target="../media/image32.png"/><Relationship Id="rId4" Type="http://schemas.openxmlformats.org/officeDocument/2006/relationships/hyperlink" Target="https://youtu.be/ccgBBEPTIYw?si=X7hisk0EdIOsiHrW"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2.xml.rels><?xml version="1.0" encoding="UTF-8" standalone="yes"?>
<Relationships xmlns="http://schemas.openxmlformats.org/package/2006/relationships"><Relationship Id="rId3" Type="http://schemas.openxmlformats.org/officeDocument/2006/relationships/hyperlink" Target="https://www.oecd.org/en/publications/behavioural-science-for-sustainable-tourism_c2ec4fcf-en.html" TargetMode="External"/><Relationship Id="rId7"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3.svg"/><Relationship Id="rId4" Type="http://schemas.openxmlformats.org/officeDocument/2006/relationships/hyperlink" Target="https://knowledge4policy.ec.europa.eu/behavioural-insights/topic/behavioural-insights-climate-environment_en"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7.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9.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0.xml"/><Relationship Id="rId1" Type="http://schemas.openxmlformats.org/officeDocument/2006/relationships/slideLayout" Target="../slideLayouts/slideLayout13.xml"/><Relationship Id="rId4" Type="http://schemas.openxmlformats.org/officeDocument/2006/relationships/image" Target="../media/image38.png"/></Relationships>
</file>

<file path=ppt/slides/_rels/slide4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2.xml"/><Relationship Id="rId1" Type="http://schemas.openxmlformats.org/officeDocument/2006/relationships/slideLayout" Target="../slideLayouts/slideLayout13.xml"/><Relationship Id="rId4" Type="http://schemas.openxmlformats.org/officeDocument/2006/relationships/image" Target="../media/image40.jpeg"/></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8.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9.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3.xml"/><Relationship Id="rId1" Type="http://schemas.openxmlformats.org/officeDocument/2006/relationships/slideLayout" Target="../slideLayouts/slideLayout13.xml"/><Relationship Id="rId5" Type="http://schemas.openxmlformats.org/officeDocument/2006/relationships/image" Target="../media/image41.png"/><Relationship Id="rId4" Type="http://schemas.openxmlformats.org/officeDocument/2006/relationships/hyperlink" Target="https://www.youtube.com/watch?v=TaLzeDwJMng"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6.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7.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5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8.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5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9.xml"/><Relationship Id="rId1" Type="http://schemas.openxmlformats.org/officeDocument/2006/relationships/slideLayout" Target="../slideLayouts/slideLayout13.xml"/><Relationship Id="rId5" Type="http://schemas.openxmlformats.org/officeDocument/2006/relationships/hyperlink" Target="https://energy.ec.europa.eu/news/new-eu-rules-empower-consumers-green-transition-enter-force-2024-03-27_en" TargetMode="External"/><Relationship Id="rId4" Type="http://schemas.openxmlformats.org/officeDocument/2006/relationships/hyperlink" Target="https://environment.ec.europa.eu/topics/circular-economy-topics/green-claims_en"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0.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59.xml.rels><?xml version="1.0" encoding="UTF-8" standalone="yes"?>
<Relationships xmlns="http://schemas.openxmlformats.org/package/2006/relationships"><Relationship Id="rId3" Type="http://schemas.openxmlformats.org/officeDocument/2006/relationships/hyperlink" Target="https://www.oecd.org/en/publications/improving-online-disclosures-with-behavioural-insights_39026ff4-en.html" TargetMode="External"/><Relationship Id="rId7" Type="http://schemas.openxmlformats.org/officeDocument/2006/relationships/image" Target="../media/image47.png"/><Relationship Id="rId2" Type="http://schemas.openxmlformats.org/officeDocument/2006/relationships/notesSlide" Target="../notesSlides/notesSlide51.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3.svg"/><Relationship Id="rId4" Type="http://schemas.openxmlformats.org/officeDocument/2006/relationships/hyperlink" Target="https://www.oecd.org/en/topics/sub-issues/dark-commercial-patterns.html"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52.xml"/><Relationship Id="rId1" Type="http://schemas.openxmlformats.org/officeDocument/2006/relationships/slideLayout" Target="../slideLayouts/slideLayout13.xml"/><Relationship Id="rId6" Type="http://schemas.openxmlformats.org/officeDocument/2006/relationships/image" Target="../media/image48.png"/><Relationship Id="rId5" Type="http://schemas.openxmlformats.org/officeDocument/2006/relationships/image" Target="../media/image7.png"/><Relationship Id="rId4" Type="http://schemas.openxmlformats.org/officeDocument/2006/relationships/hyperlink" Target="https://www.untourism.int/accessibility-touris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53.xml"/><Relationship Id="rId1" Type="http://schemas.openxmlformats.org/officeDocument/2006/relationships/slideLayout" Target="../slideLayouts/slideLayout13.xml"/><Relationship Id="rId5" Type="http://schemas.openxmlformats.org/officeDocument/2006/relationships/image" Target="../media/image49.jpeg"/><Relationship Id="rId4" Type="http://schemas.openxmlformats.org/officeDocument/2006/relationships/image" Target="../media/image7.png"/></Relationships>
</file>

<file path=ppt/slides/_rels/slide62.xml.rels><?xml version="1.0" encoding="UTF-8" standalone="yes"?>
<Relationships xmlns="http://schemas.openxmlformats.org/package/2006/relationships"><Relationship Id="rId3" Type="http://schemas.openxmlformats.org/officeDocument/2006/relationships/hyperlink" Target="https://www.untourism.int/news/un-tourism-accessible-travel-a-game-changer-for-destinations-and-businesses" TargetMode="External"/><Relationship Id="rId7" Type="http://schemas.openxmlformats.org/officeDocument/2006/relationships/image" Target="../media/image50.png"/><Relationship Id="rId2" Type="http://schemas.openxmlformats.org/officeDocument/2006/relationships/notesSlide" Target="../notesSlides/notesSlide54.xml"/><Relationship Id="rId1" Type="http://schemas.openxmlformats.org/officeDocument/2006/relationships/slideLayout" Target="../slideLayouts/slideLayout13.xml"/><Relationship Id="rId6" Type="http://schemas.openxmlformats.org/officeDocument/2006/relationships/hyperlink" Target="https://www.youtube.com/watch?v=TaLzeDwJMng" TargetMode="External"/><Relationship Id="rId5" Type="http://schemas.openxmlformats.org/officeDocument/2006/relationships/image" Target="../media/image7.png"/><Relationship Id="rId4" Type="http://schemas.openxmlformats.org/officeDocument/2006/relationships/image" Target="../media/image3.svg"/></Relationships>
</file>

<file path=ppt/slides/_rels/slide63.xml.rels><?xml version="1.0" encoding="UTF-8" standalone="yes"?>
<Relationships xmlns="http://schemas.openxmlformats.org/package/2006/relationships"><Relationship Id="rId3" Type="http://schemas.openxmlformats.org/officeDocument/2006/relationships/hyperlink" Target="https://accessible-eu-centre.ec.europa.eu/content-corner/multimedia-content/accessibleeu-european-event-accessible-tourism-harnessing-benefits-inclusive-destinations-companies_en" TargetMode="External"/><Relationship Id="rId2" Type="http://schemas.openxmlformats.org/officeDocument/2006/relationships/notesSlide" Target="../notesSlides/notesSlide55.xml"/><Relationship Id="rId1" Type="http://schemas.openxmlformats.org/officeDocument/2006/relationships/slideLayout" Target="../slideLayouts/slideLayout13.xml"/><Relationship Id="rId6" Type="http://schemas.openxmlformats.org/officeDocument/2006/relationships/image" Target="../media/image51.png"/><Relationship Id="rId5" Type="http://schemas.openxmlformats.org/officeDocument/2006/relationships/image" Target="../media/image7.png"/><Relationship Id="rId4" Type="http://schemas.openxmlformats.org/officeDocument/2006/relationships/image" Target="../media/image3.svg"/></Relationships>
</file>

<file path=ppt/slides/_rels/slide6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svg"/><Relationship Id="rId1" Type="http://schemas.openxmlformats.org/officeDocument/2006/relationships/slideLayout" Target="../slideLayouts/slideLayout7.xml"/><Relationship Id="rId4" Type="http://schemas.openxmlformats.org/officeDocument/2006/relationships/image" Target="../media/image54.jpeg"/></Relationships>
</file>

<file path=ppt/slides/_rels/slide69.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59.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3.xml"/><Relationship Id="rId4" Type="http://schemas.openxmlformats.org/officeDocument/2006/relationships/hyperlink" Target="https://ecosmartproject.eu/"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5F86D-D83C-DC74-2AFE-20EEDE38FC93}"/>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C7C29A21-6065-16A0-0238-05782C842D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7580" y="789689"/>
            <a:ext cx="4125188" cy="2499202"/>
          </a:xfrm>
          <a:prstGeom prst="rect">
            <a:avLst/>
          </a:prstGeom>
        </p:spPr>
      </p:pic>
      <p:pic>
        <p:nvPicPr>
          <p:cNvPr id="11" name="Picture 10">
            <a:extLst>
              <a:ext uri="{FF2B5EF4-FFF2-40B4-BE49-F238E27FC236}">
                <a16:creationId xmlns:a16="http://schemas.microsoft.com/office/drawing/2014/main" id="{5BC0D6A0-D64A-58A0-9B01-8CEE86FFCC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42483" y="5648790"/>
            <a:ext cx="6024421" cy="606937"/>
          </a:xfrm>
          <a:prstGeom prst="rect">
            <a:avLst/>
          </a:prstGeom>
        </p:spPr>
      </p:pic>
      <p:sp>
        <p:nvSpPr>
          <p:cNvPr id="13" name="Text Placeholder 2">
            <a:extLst>
              <a:ext uri="{FF2B5EF4-FFF2-40B4-BE49-F238E27FC236}">
                <a16:creationId xmlns:a16="http://schemas.microsoft.com/office/drawing/2014/main" id="{05D4BFD8-A2A4-BA25-BEB0-47D6F0F2D19B}"/>
              </a:ext>
            </a:extLst>
          </p:cNvPr>
          <p:cNvSpPr txBox="1">
            <a:spLocks/>
          </p:cNvSpPr>
          <p:nvPr/>
        </p:nvSpPr>
        <p:spPr>
          <a:xfrm flipH="1">
            <a:off x="-1" y="5819523"/>
            <a:ext cx="5020351" cy="663868"/>
          </a:xfrm>
          <a:prstGeom prst="rect">
            <a:avLst/>
          </a:prstGeom>
          <a:solidFill>
            <a:srgbClr val="0289AE"/>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       </a:t>
            </a:r>
            <a:r>
              <a:rPr lang="en-US" dirty="0">
                <a:solidFill>
                  <a:schemeClr val="bg1"/>
                </a:solidFill>
                <a:hlinkClick r:id="rId4">
                  <a:extLst>
                    <a:ext uri="{A12FA001-AC4F-418D-AE19-62706E023703}">
                      <ahyp:hlinkClr xmlns:ahyp="http://schemas.microsoft.com/office/drawing/2018/hyperlinkcolor" val="tx"/>
                    </a:ext>
                  </a:extLst>
                </a:hlinkClick>
              </a:rPr>
              <a:t> www.</a:t>
            </a:r>
            <a:r>
              <a:rPr lang="en-US" b="1" dirty="0">
                <a:solidFill>
                  <a:schemeClr val="bg1"/>
                </a:solidFill>
                <a:hlinkClick r:id="rId4">
                  <a:extLst>
                    <a:ext uri="{A12FA001-AC4F-418D-AE19-62706E023703}">
                      <ahyp:hlinkClr xmlns:ahyp="http://schemas.microsoft.com/office/drawing/2018/hyperlinkcolor" val="tx"/>
                    </a:ext>
                  </a:extLst>
                </a:hlinkClick>
              </a:rPr>
              <a:t>ecosmartproject</a:t>
            </a:r>
            <a:r>
              <a:rPr lang="en-US" dirty="0">
                <a:solidFill>
                  <a:schemeClr val="bg1"/>
                </a:solidFill>
                <a:hlinkClick r:id="rId4">
                  <a:extLst>
                    <a:ext uri="{A12FA001-AC4F-418D-AE19-62706E023703}">
                      <ahyp:hlinkClr xmlns:ahyp="http://schemas.microsoft.com/office/drawing/2018/hyperlinkcolor" val="tx"/>
                    </a:ext>
                  </a:extLst>
                </a:hlinkClick>
              </a:rPr>
              <a:t>.eu</a:t>
            </a:r>
            <a:endParaRPr lang="en-US" dirty="0">
              <a:solidFill>
                <a:schemeClr val="bg1"/>
              </a:solidFill>
            </a:endParaRPr>
          </a:p>
        </p:txBody>
      </p:sp>
      <p:sp>
        <p:nvSpPr>
          <p:cNvPr id="2" name="Text Placeholder 6">
            <a:extLst>
              <a:ext uri="{FF2B5EF4-FFF2-40B4-BE49-F238E27FC236}">
                <a16:creationId xmlns:a16="http://schemas.microsoft.com/office/drawing/2014/main" id="{C7C6E715-5962-AFB5-0AF0-AC28868B2AD4}"/>
              </a:ext>
            </a:extLst>
          </p:cNvPr>
          <p:cNvSpPr txBox="1">
            <a:spLocks/>
          </p:cNvSpPr>
          <p:nvPr/>
        </p:nvSpPr>
        <p:spPr>
          <a:xfrm>
            <a:off x="612649" y="3288891"/>
            <a:ext cx="4664765" cy="46050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400" b="1" dirty="0">
                <a:solidFill>
                  <a:srgbClr val="06677F"/>
                </a:solidFill>
                <a:cs typeface="Times New Roman" panose="02020603050405020304" pitchFamily="18" charset="0"/>
              </a:rPr>
              <a:t>Module 3: </a:t>
            </a:r>
          </a:p>
          <a:p>
            <a:pPr marL="0" indent="0">
              <a:lnSpc>
                <a:spcPts val="3620"/>
              </a:lnSpc>
              <a:buNone/>
            </a:pPr>
            <a:r>
              <a:rPr lang="en-US" sz="3600" dirty="0">
                <a:solidFill>
                  <a:srgbClr val="06677F"/>
                </a:solidFill>
                <a:cs typeface="Times New Roman" panose="02020603050405020304" pitchFamily="18" charset="0"/>
              </a:rPr>
              <a:t>Sustainable Customer Experience Design</a:t>
            </a:r>
          </a:p>
          <a:p>
            <a:pPr marL="0" indent="0">
              <a:lnSpc>
                <a:spcPts val="3620"/>
              </a:lnSpc>
              <a:buNone/>
            </a:pPr>
            <a:endParaRPr lang="en-US" sz="3800" b="1" dirty="0">
              <a:solidFill>
                <a:srgbClr val="06677F"/>
              </a:solidFill>
              <a:cs typeface="Times New Roman" panose="02020603050405020304" pitchFamily="18" charset="0"/>
            </a:endParaRPr>
          </a:p>
          <a:p>
            <a:pPr marL="0" indent="0">
              <a:lnSpc>
                <a:spcPts val="3620"/>
              </a:lnSpc>
              <a:buNone/>
            </a:pPr>
            <a:endParaRPr lang="en-US" sz="3600" dirty="0">
              <a:solidFill>
                <a:srgbClr val="06677F"/>
              </a:solidFill>
              <a:cs typeface="Times New Roman" panose="02020603050405020304" pitchFamily="18" charset="0"/>
            </a:endParaRPr>
          </a:p>
          <a:p>
            <a:pPr marL="0" indent="0">
              <a:buNone/>
            </a:pPr>
            <a:endParaRPr lang="en-US" b="1" dirty="0">
              <a:solidFill>
                <a:schemeClr val="bg1"/>
              </a:solidFill>
            </a:endParaRPr>
          </a:p>
        </p:txBody>
      </p:sp>
      <p:sp>
        <p:nvSpPr>
          <p:cNvPr id="5" name="TextBox 4">
            <a:extLst>
              <a:ext uri="{FF2B5EF4-FFF2-40B4-BE49-F238E27FC236}">
                <a16:creationId xmlns:a16="http://schemas.microsoft.com/office/drawing/2014/main" id="{BA1ABFB9-89F2-57DF-8640-103532D03927}"/>
              </a:ext>
            </a:extLst>
          </p:cNvPr>
          <p:cNvSpPr txBox="1"/>
          <p:nvPr/>
        </p:nvSpPr>
        <p:spPr>
          <a:xfrm>
            <a:off x="493038" y="200460"/>
            <a:ext cx="4598105" cy="430887"/>
          </a:xfrm>
          <a:prstGeom prst="rect">
            <a:avLst/>
          </a:prstGeom>
          <a:solidFill>
            <a:srgbClr val="62A844"/>
          </a:solidFill>
        </p:spPr>
        <p:txBody>
          <a:bodyPr wrap="square">
            <a:spAutoFit/>
          </a:bodyPr>
          <a:lstStyle/>
          <a:p>
            <a:pPr marL="0" indent="0">
              <a:buNone/>
            </a:pPr>
            <a:r>
              <a:rPr lang="en-US" sz="2150" b="1" dirty="0">
                <a:solidFill>
                  <a:schemeClr val="bg1"/>
                </a:solidFill>
                <a:cs typeface="Times New Roman" panose="02020603050405020304" pitchFamily="18" charset="0"/>
              </a:rPr>
              <a:t>C1 Sustainability and Green Innovation</a:t>
            </a:r>
          </a:p>
        </p:txBody>
      </p:sp>
      <p:pic>
        <p:nvPicPr>
          <p:cNvPr id="4" name="Picture 3">
            <a:extLst>
              <a:ext uri="{FF2B5EF4-FFF2-40B4-BE49-F238E27FC236}">
                <a16:creationId xmlns:a16="http://schemas.microsoft.com/office/drawing/2014/main" id="{5C878265-667A-E990-A41B-CAB895648B8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77800" y="200460"/>
            <a:ext cx="6366620" cy="3573796"/>
          </a:xfrm>
          <a:prstGeom prst="rect">
            <a:avLst/>
          </a:prstGeom>
        </p:spPr>
      </p:pic>
      <p:pic>
        <p:nvPicPr>
          <p:cNvPr id="3" name="Picture 2">
            <a:extLst>
              <a:ext uri="{FF2B5EF4-FFF2-40B4-BE49-F238E27FC236}">
                <a16:creationId xmlns:a16="http://schemas.microsoft.com/office/drawing/2014/main" id="{B91E5DDC-80BE-804F-F6ED-8F4A55A2C61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57896" y="6295481"/>
            <a:ext cx="1076208" cy="375819"/>
          </a:xfrm>
          <a:prstGeom prst="rect">
            <a:avLst/>
          </a:prstGeom>
        </p:spPr>
      </p:pic>
      <p:sp>
        <p:nvSpPr>
          <p:cNvPr id="6" name="TextBox 5">
            <a:extLst>
              <a:ext uri="{FF2B5EF4-FFF2-40B4-BE49-F238E27FC236}">
                <a16:creationId xmlns:a16="http://schemas.microsoft.com/office/drawing/2014/main" id="{74DB4E3D-2408-3100-4C3A-1E4C1FD30D3E}"/>
              </a:ext>
            </a:extLst>
          </p:cNvPr>
          <p:cNvSpPr txBox="1"/>
          <p:nvPr/>
        </p:nvSpPr>
        <p:spPr>
          <a:xfrm>
            <a:off x="6860722" y="6441325"/>
            <a:ext cx="2470484" cy="186782"/>
          </a:xfrm>
          <a:prstGeom prst="rect">
            <a:avLst/>
          </a:prstGeom>
          <a:noFill/>
        </p:spPr>
        <p:txBody>
          <a:bodyPr wrap="square">
            <a:spAutoFit/>
          </a:bodyPr>
          <a:lstStyle/>
          <a:p>
            <a:pPr marL="0" marR="0" indent="0" algn="just" defTabSz="457200" rtl="0" eaLnBrk="1" fontAlgn="auto" latinLnBrk="0" hangingPunct="0">
              <a:lnSpc>
                <a:spcPts val="660"/>
              </a:lnSpc>
              <a:spcBef>
                <a:spcPts val="0"/>
              </a:spcBef>
              <a:spcAft>
                <a:spcPts val="0"/>
              </a:spcAft>
              <a:buClrTx/>
              <a:buSzTx/>
              <a:buFontTx/>
              <a:buNone/>
              <a:tabLst/>
              <a:defRPr/>
            </a:pPr>
            <a:r>
              <a:rPr lang="en-US" sz="800" dirty="0" err="1">
                <a:solidFill>
                  <a:srgbClr val="3A3953"/>
                </a:solidFill>
                <a:latin typeface="Calibri" panose="020F0502020204030204" pitchFamily="34" charset="0"/>
                <a:ea typeface="Calibri" panose="020F0502020204030204" pitchFamily="34" charset="0"/>
                <a:cs typeface="Times New Roman" panose="02020603050405020304" pitchFamily="18" charset="0"/>
              </a:rPr>
              <a:t>EcoSmart</a:t>
            </a:r>
            <a:r>
              <a:rPr lang="en-US" sz="800" dirty="0">
                <a:solidFill>
                  <a:srgbClr val="3A3953"/>
                </a:solidFill>
                <a:latin typeface="Calibri" panose="020F0502020204030204" pitchFamily="34" charset="0"/>
                <a:ea typeface="Calibri" panose="020F0502020204030204" pitchFamily="34" charset="0"/>
                <a:cs typeface="Times New Roman" panose="02020603050405020304" pitchFamily="18" charset="0"/>
              </a:rPr>
              <a:t> resources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rPr>
              <a:t>licensed under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hlinkClick r:id="rId7"/>
              </a:rPr>
              <a:t>CC BY 4.0 </a:t>
            </a:r>
            <a:endParaRPr lang="en-IE"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495884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45C50D-3D7E-CCDB-E245-06C750CB7A2F}"/>
            </a:ext>
          </a:extLst>
        </p:cNvPr>
        <p:cNvGrpSpPr/>
        <p:nvPr/>
      </p:nvGrpSpPr>
      <p:grpSpPr>
        <a:xfrm>
          <a:off x="0" y="0"/>
          <a:ext cx="0" cy="0"/>
          <a:chOff x="0" y="0"/>
          <a:chExt cx="0" cy="0"/>
        </a:xfrm>
      </p:grpSpPr>
      <p:grpSp>
        <p:nvGrpSpPr>
          <p:cNvPr id="3" name="Google Shape;1267;p35">
            <a:extLst>
              <a:ext uri="{FF2B5EF4-FFF2-40B4-BE49-F238E27FC236}">
                <a16:creationId xmlns:a16="http://schemas.microsoft.com/office/drawing/2014/main" id="{768700CE-42AF-07F9-69FA-C19257AAEFE1}"/>
              </a:ext>
            </a:extLst>
          </p:cNvPr>
          <p:cNvGrpSpPr/>
          <p:nvPr/>
        </p:nvGrpSpPr>
        <p:grpSpPr>
          <a:xfrm>
            <a:off x="661896" y="1509490"/>
            <a:ext cx="2407270" cy="3266578"/>
            <a:chOff x="531450" y="1767477"/>
            <a:chExt cx="1346700" cy="1827423"/>
          </a:xfrm>
        </p:grpSpPr>
        <p:sp>
          <p:nvSpPr>
            <p:cNvPr id="4" name="Google Shape;1268;p35">
              <a:extLst>
                <a:ext uri="{FF2B5EF4-FFF2-40B4-BE49-F238E27FC236}">
                  <a16:creationId xmlns:a16="http://schemas.microsoft.com/office/drawing/2014/main" id="{9E249EF7-1B4A-21D9-615D-5ABE6151E011}"/>
                </a:ext>
              </a:extLst>
            </p:cNvPr>
            <p:cNvSpPr/>
            <p:nvPr/>
          </p:nvSpPr>
          <p:spPr>
            <a:xfrm rot="10800000">
              <a:off x="531450" y="2248200"/>
              <a:ext cx="1346700" cy="1346700"/>
            </a:xfrm>
            <a:prstGeom prst="arc">
              <a:avLst>
                <a:gd name="adj1" fmla="val 10811050"/>
                <a:gd name="adj2" fmla="val 0"/>
              </a:avLst>
            </a:prstGeom>
            <a:noFill/>
            <a:ln w="76200" cap="flat" cmpd="sng">
              <a:solidFill>
                <a:srgbClr val="62A84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cxnSp>
          <p:nvCxnSpPr>
            <p:cNvPr id="5" name="Google Shape;1269;p35">
              <a:extLst>
                <a:ext uri="{FF2B5EF4-FFF2-40B4-BE49-F238E27FC236}">
                  <a16:creationId xmlns:a16="http://schemas.microsoft.com/office/drawing/2014/main" id="{7D3F4438-91C8-8112-8B59-9352470C3233}"/>
                </a:ext>
              </a:extLst>
            </p:cNvPr>
            <p:cNvCxnSpPr>
              <a:cxnSpLocks/>
              <a:stCxn id="4" idx="2"/>
            </p:cNvCxnSpPr>
            <p:nvPr/>
          </p:nvCxnSpPr>
          <p:spPr>
            <a:xfrm flipV="1">
              <a:off x="531450" y="1767477"/>
              <a:ext cx="0" cy="1154073"/>
            </a:xfrm>
            <a:prstGeom prst="straightConnector1">
              <a:avLst/>
            </a:prstGeom>
            <a:noFill/>
            <a:ln w="76200" cap="flat" cmpd="sng">
              <a:solidFill>
                <a:srgbClr val="62A844"/>
              </a:solidFill>
              <a:prstDash val="solid"/>
              <a:round/>
              <a:headEnd type="none" w="med" len="med"/>
              <a:tailEnd type="none" w="med" len="med"/>
            </a:ln>
          </p:spPr>
        </p:cxnSp>
        <p:grpSp>
          <p:nvGrpSpPr>
            <p:cNvPr id="6" name="Google Shape;1270;p35">
              <a:extLst>
                <a:ext uri="{FF2B5EF4-FFF2-40B4-BE49-F238E27FC236}">
                  <a16:creationId xmlns:a16="http://schemas.microsoft.com/office/drawing/2014/main" id="{575D47CA-8EE7-E8D6-57F7-67BBF5CF528B}"/>
                </a:ext>
              </a:extLst>
            </p:cNvPr>
            <p:cNvGrpSpPr/>
            <p:nvPr/>
          </p:nvGrpSpPr>
          <p:grpSpPr>
            <a:xfrm>
              <a:off x="836677" y="2156250"/>
              <a:ext cx="736471" cy="1142036"/>
              <a:chOff x="836677" y="2156250"/>
              <a:chExt cx="736471" cy="1142036"/>
            </a:xfrm>
          </p:grpSpPr>
          <p:cxnSp>
            <p:nvCxnSpPr>
              <p:cNvPr id="7" name="Google Shape;1271;p35">
                <a:extLst>
                  <a:ext uri="{FF2B5EF4-FFF2-40B4-BE49-F238E27FC236}">
                    <a16:creationId xmlns:a16="http://schemas.microsoft.com/office/drawing/2014/main" id="{C91500E7-9504-0791-20A2-2A444D9E5932}"/>
                  </a:ext>
                </a:extLst>
              </p:cNvPr>
              <p:cNvCxnSpPr/>
              <p:nvPr/>
            </p:nvCxnSpPr>
            <p:spPr>
              <a:xfrm rot="10800000">
                <a:off x="1200425" y="2156250"/>
                <a:ext cx="0" cy="289800"/>
              </a:xfrm>
              <a:prstGeom prst="straightConnector1">
                <a:avLst/>
              </a:prstGeom>
              <a:noFill/>
              <a:ln w="9525" cap="flat" cmpd="sng">
                <a:solidFill>
                  <a:schemeClr val="dk2"/>
                </a:solidFill>
                <a:prstDash val="solid"/>
                <a:round/>
                <a:headEnd type="oval" w="med" len="med"/>
                <a:tailEnd type="oval" w="med" len="med"/>
              </a:ln>
            </p:spPr>
          </p:cxnSp>
          <p:grpSp>
            <p:nvGrpSpPr>
              <p:cNvPr id="8" name="Google Shape;1272;p35">
                <a:extLst>
                  <a:ext uri="{FF2B5EF4-FFF2-40B4-BE49-F238E27FC236}">
                    <a16:creationId xmlns:a16="http://schemas.microsoft.com/office/drawing/2014/main" id="{AD5E6043-4845-ADC5-9797-C330C9B53FB5}"/>
                  </a:ext>
                </a:extLst>
              </p:cNvPr>
              <p:cNvGrpSpPr/>
              <p:nvPr/>
            </p:nvGrpSpPr>
            <p:grpSpPr>
              <a:xfrm>
                <a:off x="836677" y="2561257"/>
                <a:ext cx="736471" cy="737029"/>
                <a:chOff x="836677" y="2561257"/>
                <a:chExt cx="736471" cy="737029"/>
              </a:xfrm>
            </p:grpSpPr>
            <p:sp>
              <p:nvSpPr>
                <p:cNvPr id="12" name="Google Shape;1273;p35">
                  <a:extLst>
                    <a:ext uri="{FF2B5EF4-FFF2-40B4-BE49-F238E27FC236}">
                      <a16:creationId xmlns:a16="http://schemas.microsoft.com/office/drawing/2014/main" id="{48809A1C-0C12-DDCF-9120-ADD51B0030D3}"/>
                    </a:ext>
                  </a:extLst>
                </p:cNvPr>
                <p:cNvSpPr/>
                <p:nvPr/>
              </p:nvSpPr>
              <p:spPr>
                <a:xfrm>
                  <a:off x="83667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13" name="Google Shape;1274;p35">
                  <a:extLst>
                    <a:ext uri="{FF2B5EF4-FFF2-40B4-BE49-F238E27FC236}">
                      <a16:creationId xmlns:a16="http://schemas.microsoft.com/office/drawing/2014/main" id="{658E0DF6-B5BE-E82F-E950-23A8B74939E7}"/>
                    </a:ext>
                  </a:extLst>
                </p:cNvPr>
                <p:cNvSpPr/>
                <p:nvPr/>
              </p:nvSpPr>
              <p:spPr>
                <a:xfrm>
                  <a:off x="94863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spc="-150" dirty="0">
                    <a:solidFill>
                      <a:schemeClr val="accent1"/>
                    </a:solidFill>
                    <a:latin typeface="Calibri" panose="020F0502020204030204" pitchFamily="34" charset="0"/>
                    <a:ea typeface="Fira Sans"/>
                    <a:cs typeface="Calibri" panose="020F0502020204030204" pitchFamily="34" charset="0"/>
                    <a:sym typeface="Fira Sans"/>
                  </a:endParaRPr>
                </a:p>
              </p:txBody>
            </p:sp>
          </p:grpSp>
        </p:grpSp>
      </p:grpSp>
      <p:grpSp>
        <p:nvGrpSpPr>
          <p:cNvPr id="14" name="Google Shape;1278;p35">
            <a:extLst>
              <a:ext uri="{FF2B5EF4-FFF2-40B4-BE49-F238E27FC236}">
                <a16:creationId xmlns:a16="http://schemas.microsoft.com/office/drawing/2014/main" id="{559CC074-5144-9A5D-B465-7EBD844AF91D}"/>
              </a:ext>
            </a:extLst>
          </p:cNvPr>
          <p:cNvGrpSpPr/>
          <p:nvPr/>
        </p:nvGrpSpPr>
        <p:grpSpPr>
          <a:xfrm>
            <a:off x="5477282" y="2204435"/>
            <a:ext cx="2407268" cy="2571632"/>
            <a:chOff x="3225325" y="2156250"/>
            <a:chExt cx="1346700" cy="1438650"/>
          </a:xfrm>
        </p:grpSpPr>
        <p:sp>
          <p:nvSpPr>
            <p:cNvPr id="15" name="Google Shape;1279;p35">
              <a:extLst>
                <a:ext uri="{FF2B5EF4-FFF2-40B4-BE49-F238E27FC236}">
                  <a16:creationId xmlns:a16="http://schemas.microsoft.com/office/drawing/2014/main" id="{D5800372-1718-0ACE-A4EE-1563D5F3A30F}"/>
                </a:ext>
              </a:extLst>
            </p:cNvPr>
            <p:cNvSpPr/>
            <p:nvPr/>
          </p:nvSpPr>
          <p:spPr>
            <a:xfrm rot="10800000">
              <a:off x="3225325" y="2248200"/>
              <a:ext cx="1346700" cy="1346700"/>
            </a:xfrm>
            <a:prstGeom prst="arc">
              <a:avLst>
                <a:gd name="adj1" fmla="val 10811050"/>
                <a:gd name="adj2" fmla="val 0"/>
              </a:avLst>
            </a:prstGeom>
            <a:noFill/>
            <a:ln w="76200" cap="flat" cmpd="sng">
              <a:solidFill>
                <a:srgbClr val="0289A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16" name="Google Shape;1280;p35">
              <a:extLst>
                <a:ext uri="{FF2B5EF4-FFF2-40B4-BE49-F238E27FC236}">
                  <a16:creationId xmlns:a16="http://schemas.microsoft.com/office/drawing/2014/main" id="{3C679387-AA16-0ED9-9DB3-E20B844C62CA}"/>
                </a:ext>
              </a:extLst>
            </p:cNvPr>
            <p:cNvGrpSpPr/>
            <p:nvPr/>
          </p:nvGrpSpPr>
          <p:grpSpPr>
            <a:xfrm>
              <a:off x="3530407" y="2156250"/>
              <a:ext cx="736471" cy="1142036"/>
              <a:chOff x="3530407" y="2156250"/>
              <a:chExt cx="736471" cy="1142036"/>
            </a:xfrm>
          </p:grpSpPr>
          <p:cxnSp>
            <p:nvCxnSpPr>
              <p:cNvPr id="17" name="Google Shape;1281;p35">
                <a:extLst>
                  <a:ext uri="{FF2B5EF4-FFF2-40B4-BE49-F238E27FC236}">
                    <a16:creationId xmlns:a16="http://schemas.microsoft.com/office/drawing/2014/main" id="{809705EA-A436-A821-A19A-7BDE6CCACAB6}"/>
                  </a:ext>
                </a:extLst>
              </p:cNvPr>
              <p:cNvCxnSpPr/>
              <p:nvPr/>
            </p:nvCxnSpPr>
            <p:spPr>
              <a:xfrm rot="10800000">
                <a:off x="3898644" y="2156250"/>
                <a:ext cx="0" cy="289800"/>
              </a:xfrm>
              <a:prstGeom prst="straightConnector1">
                <a:avLst/>
              </a:prstGeom>
              <a:noFill/>
              <a:ln w="9525" cap="flat" cmpd="sng">
                <a:solidFill>
                  <a:schemeClr val="dk2"/>
                </a:solidFill>
                <a:prstDash val="solid"/>
                <a:round/>
                <a:headEnd type="oval" w="med" len="med"/>
                <a:tailEnd type="oval" w="med" len="med"/>
              </a:ln>
            </p:spPr>
          </p:cxnSp>
          <p:grpSp>
            <p:nvGrpSpPr>
              <p:cNvPr id="18" name="Google Shape;1282;p35">
                <a:extLst>
                  <a:ext uri="{FF2B5EF4-FFF2-40B4-BE49-F238E27FC236}">
                    <a16:creationId xmlns:a16="http://schemas.microsoft.com/office/drawing/2014/main" id="{65C12E32-EC0D-1E56-222B-3AB5BA8951B8}"/>
                  </a:ext>
                </a:extLst>
              </p:cNvPr>
              <p:cNvGrpSpPr/>
              <p:nvPr/>
            </p:nvGrpSpPr>
            <p:grpSpPr>
              <a:xfrm>
                <a:off x="3530407" y="2561257"/>
                <a:ext cx="736471" cy="737029"/>
                <a:chOff x="3530407" y="2561257"/>
                <a:chExt cx="736471" cy="737029"/>
              </a:xfrm>
            </p:grpSpPr>
            <p:sp>
              <p:nvSpPr>
                <p:cNvPr id="22" name="Google Shape;1283;p35">
                  <a:extLst>
                    <a:ext uri="{FF2B5EF4-FFF2-40B4-BE49-F238E27FC236}">
                      <a16:creationId xmlns:a16="http://schemas.microsoft.com/office/drawing/2014/main" id="{D9749859-6DF5-DEF6-B8D6-1BB0FBFEA305}"/>
                    </a:ext>
                  </a:extLst>
                </p:cNvPr>
                <p:cNvSpPr/>
                <p:nvPr/>
              </p:nvSpPr>
              <p:spPr>
                <a:xfrm>
                  <a:off x="353040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23" name="Google Shape;1284;p35">
                  <a:extLst>
                    <a:ext uri="{FF2B5EF4-FFF2-40B4-BE49-F238E27FC236}">
                      <a16:creationId xmlns:a16="http://schemas.microsoft.com/office/drawing/2014/main" id="{3329F8AF-E389-DDE5-AF0F-6ECA5BA5355B}"/>
                    </a:ext>
                  </a:extLst>
                </p:cNvPr>
                <p:cNvSpPr/>
                <p:nvPr/>
              </p:nvSpPr>
              <p:spPr>
                <a:xfrm>
                  <a:off x="364318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3"/>
                    </a:solidFill>
                    <a:latin typeface="Calibri" panose="020F0502020204030204" pitchFamily="34" charset="0"/>
                    <a:cs typeface="Calibri" panose="020F0502020204030204" pitchFamily="34" charset="0"/>
                  </a:endParaRPr>
                </a:p>
              </p:txBody>
            </p:sp>
          </p:grpSp>
        </p:grpSp>
      </p:grpSp>
      <p:grpSp>
        <p:nvGrpSpPr>
          <p:cNvPr id="33" name="Google Shape;1297;p35">
            <a:extLst>
              <a:ext uri="{FF2B5EF4-FFF2-40B4-BE49-F238E27FC236}">
                <a16:creationId xmlns:a16="http://schemas.microsoft.com/office/drawing/2014/main" id="{4B67E2D7-257F-4FC5-E87F-1805563FD87E}"/>
              </a:ext>
            </a:extLst>
          </p:cNvPr>
          <p:cNvGrpSpPr/>
          <p:nvPr/>
        </p:nvGrpSpPr>
        <p:grpSpPr>
          <a:xfrm>
            <a:off x="3066713" y="2380284"/>
            <a:ext cx="2413170" cy="2589509"/>
            <a:chOff x="1876776" y="2254625"/>
            <a:chExt cx="1350000" cy="1448650"/>
          </a:xfrm>
        </p:grpSpPr>
        <p:sp>
          <p:nvSpPr>
            <p:cNvPr id="34" name="Google Shape;1298;p35">
              <a:extLst>
                <a:ext uri="{FF2B5EF4-FFF2-40B4-BE49-F238E27FC236}">
                  <a16:creationId xmlns:a16="http://schemas.microsoft.com/office/drawing/2014/main" id="{C08A7909-E7FC-E134-86F2-534AE2522FE4}"/>
                </a:ext>
              </a:extLst>
            </p:cNvPr>
            <p:cNvSpPr/>
            <p:nvPr/>
          </p:nvSpPr>
          <p:spPr>
            <a:xfrm>
              <a:off x="1876776" y="2254625"/>
              <a:ext cx="1350000" cy="1350000"/>
            </a:xfrm>
            <a:prstGeom prst="arc">
              <a:avLst>
                <a:gd name="adj1" fmla="val 10811050"/>
                <a:gd name="adj2" fmla="val 0"/>
              </a:avLst>
            </a:prstGeom>
            <a:noFill/>
            <a:ln w="76200" cap="flat" cmpd="sng">
              <a:solidFill>
                <a:srgbClr val="3D824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grpSp>
          <p:nvGrpSpPr>
            <p:cNvPr id="35" name="Google Shape;1299;p35">
              <a:extLst>
                <a:ext uri="{FF2B5EF4-FFF2-40B4-BE49-F238E27FC236}">
                  <a16:creationId xmlns:a16="http://schemas.microsoft.com/office/drawing/2014/main" id="{D9B76D9B-5C6A-E4B6-C393-F74A9AA3A9E7}"/>
                </a:ext>
              </a:extLst>
            </p:cNvPr>
            <p:cNvGrpSpPr/>
            <p:nvPr/>
          </p:nvGrpSpPr>
          <p:grpSpPr>
            <a:xfrm>
              <a:off x="2183542" y="2561257"/>
              <a:ext cx="736471" cy="1142018"/>
              <a:chOff x="2183542" y="2561257"/>
              <a:chExt cx="736471" cy="1142018"/>
            </a:xfrm>
          </p:grpSpPr>
          <p:cxnSp>
            <p:nvCxnSpPr>
              <p:cNvPr id="36" name="Google Shape;1300;p35">
                <a:extLst>
                  <a:ext uri="{FF2B5EF4-FFF2-40B4-BE49-F238E27FC236}">
                    <a16:creationId xmlns:a16="http://schemas.microsoft.com/office/drawing/2014/main" id="{24DD826B-CBE3-9112-5DFF-48E879BC8D55}"/>
                  </a:ext>
                </a:extLst>
              </p:cNvPr>
              <p:cNvCxnSpPr/>
              <p:nvPr/>
            </p:nvCxnSpPr>
            <p:spPr>
              <a:xfrm rot="10800000">
                <a:off x="2551800" y="3413475"/>
                <a:ext cx="0" cy="289800"/>
              </a:xfrm>
              <a:prstGeom prst="straightConnector1">
                <a:avLst/>
              </a:prstGeom>
              <a:noFill/>
              <a:ln w="9525" cap="flat" cmpd="sng">
                <a:solidFill>
                  <a:schemeClr val="dk2"/>
                </a:solidFill>
                <a:prstDash val="solid"/>
                <a:round/>
                <a:headEnd type="oval" w="med" len="med"/>
                <a:tailEnd type="oval" w="med" len="med"/>
              </a:ln>
            </p:spPr>
          </p:cxnSp>
          <p:grpSp>
            <p:nvGrpSpPr>
              <p:cNvPr id="37" name="Google Shape;1301;p35">
                <a:extLst>
                  <a:ext uri="{FF2B5EF4-FFF2-40B4-BE49-F238E27FC236}">
                    <a16:creationId xmlns:a16="http://schemas.microsoft.com/office/drawing/2014/main" id="{4401E339-A06B-CEAA-8A60-B0626E804CC7}"/>
                  </a:ext>
                </a:extLst>
              </p:cNvPr>
              <p:cNvGrpSpPr/>
              <p:nvPr/>
            </p:nvGrpSpPr>
            <p:grpSpPr>
              <a:xfrm>
                <a:off x="2183542" y="2561257"/>
                <a:ext cx="736471" cy="737029"/>
                <a:chOff x="2183542" y="2561257"/>
                <a:chExt cx="736471" cy="737029"/>
              </a:xfrm>
            </p:grpSpPr>
            <p:sp>
              <p:nvSpPr>
                <p:cNvPr id="41" name="Google Shape;1302;p35">
                  <a:extLst>
                    <a:ext uri="{FF2B5EF4-FFF2-40B4-BE49-F238E27FC236}">
                      <a16:creationId xmlns:a16="http://schemas.microsoft.com/office/drawing/2014/main" id="{6D55BA0F-C4BF-A468-F8A1-2CED9D19E13B}"/>
                    </a:ext>
                  </a:extLst>
                </p:cNvPr>
                <p:cNvSpPr/>
                <p:nvPr/>
              </p:nvSpPr>
              <p:spPr>
                <a:xfrm>
                  <a:off x="2183542"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42" name="Google Shape;1303;p35">
                  <a:extLst>
                    <a:ext uri="{FF2B5EF4-FFF2-40B4-BE49-F238E27FC236}">
                      <a16:creationId xmlns:a16="http://schemas.microsoft.com/office/drawing/2014/main" id="{57616CEC-156E-522A-AB56-804C15F07094}"/>
                    </a:ext>
                  </a:extLst>
                </p:cNvPr>
                <p:cNvSpPr/>
                <p:nvPr/>
              </p:nvSpPr>
              <p:spPr>
                <a:xfrm>
                  <a:off x="2296297"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2"/>
                    </a:solidFill>
                    <a:latin typeface="Calibri" panose="020F0502020204030204" pitchFamily="34" charset="0"/>
                    <a:cs typeface="Calibri" panose="020F0502020204030204" pitchFamily="34" charset="0"/>
                  </a:endParaRPr>
                </a:p>
              </p:txBody>
            </p:sp>
          </p:grpSp>
        </p:grpSp>
      </p:grpSp>
      <p:grpSp>
        <p:nvGrpSpPr>
          <p:cNvPr id="43" name="Google Shape;1307;p35">
            <a:extLst>
              <a:ext uri="{FF2B5EF4-FFF2-40B4-BE49-F238E27FC236}">
                <a16:creationId xmlns:a16="http://schemas.microsoft.com/office/drawing/2014/main" id="{D4EE4FBF-CC0B-0E7A-E815-DA80FD13A398}"/>
              </a:ext>
            </a:extLst>
          </p:cNvPr>
          <p:cNvGrpSpPr/>
          <p:nvPr/>
        </p:nvGrpSpPr>
        <p:grpSpPr>
          <a:xfrm>
            <a:off x="7881833" y="2380285"/>
            <a:ext cx="2413168" cy="2589509"/>
            <a:chOff x="4570501" y="2254625"/>
            <a:chExt cx="1350000" cy="1448650"/>
          </a:xfrm>
        </p:grpSpPr>
        <p:sp>
          <p:nvSpPr>
            <p:cNvPr id="44" name="Google Shape;1308;p35">
              <a:extLst>
                <a:ext uri="{FF2B5EF4-FFF2-40B4-BE49-F238E27FC236}">
                  <a16:creationId xmlns:a16="http://schemas.microsoft.com/office/drawing/2014/main" id="{466CBE53-9AC5-44DE-F71F-A9DE758E4894}"/>
                </a:ext>
              </a:extLst>
            </p:cNvPr>
            <p:cNvSpPr/>
            <p:nvPr/>
          </p:nvSpPr>
          <p:spPr>
            <a:xfrm>
              <a:off x="4570501" y="2254625"/>
              <a:ext cx="1350000" cy="1350000"/>
            </a:xfrm>
            <a:prstGeom prst="arc">
              <a:avLst>
                <a:gd name="adj1" fmla="val 10811050"/>
                <a:gd name="adj2" fmla="val 0"/>
              </a:avLst>
            </a:prstGeom>
            <a:noFill/>
            <a:ln w="76200" cap="flat" cmpd="sng">
              <a:solidFill>
                <a:srgbClr val="06677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45" name="Google Shape;1309;p35">
              <a:extLst>
                <a:ext uri="{FF2B5EF4-FFF2-40B4-BE49-F238E27FC236}">
                  <a16:creationId xmlns:a16="http://schemas.microsoft.com/office/drawing/2014/main" id="{D1F07BD7-9765-108E-E6C9-B392A92EFE5B}"/>
                </a:ext>
              </a:extLst>
            </p:cNvPr>
            <p:cNvGrpSpPr/>
            <p:nvPr/>
          </p:nvGrpSpPr>
          <p:grpSpPr>
            <a:xfrm>
              <a:off x="4877272" y="2561257"/>
              <a:ext cx="736471" cy="1142018"/>
              <a:chOff x="4877272" y="2561257"/>
              <a:chExt cx="736471" cy="1142018"/>
            </a:xfrm>
          </p:grpSpPr>
          <p:cxnSp>
            <p:nvCxnSpPr>
              <p:cNvPr id="46" name="Google Shape;1310;p35">
                <a:extLst>
                  <a:ext uri="{FF2B5EF4-FFF2-40B4-BE49-F238E27FC236}">
                    <a16:creationId xmlns:a16="http://schemas.microsoft.com/office/drawing/2014/main" id="{92196BF7-0AD9-9B1E-0FB8-657E5F199DEE}"/>
                  </a:ext>
                </a:extLst>
              </p:cNvPr>
              <p:cNvCxnSpPr/>
              <p:nvPr/>
            </p:nvCxnSpPr>
            <p:spPr>
              <a:xfrm rot="10800000">
                <a:off x="5245500" y="3413475"/>
                <a:ext cx="0" cy="289800"/>
              </a:xfrm>
              <a:prstGeom prst="straightConnector1">
                <a:avLst/>
              </a:prstGeom>
              <a:noFill/>
              <a:ln w="9525" cap="flat" cmpd="sng">
                <a:solidFill>
                  <a:schemeClr val="dk2"/>
                </a:solidFill>
                <a:prstDash val="solid"/>
                <a:round/>
                <a:headEnd type="oval" w="med" len="med"/>
                <a:tailEnd type="oval" w="med" len="med"/>
              </a:ln>
            </p:spPr>
          </p:cxnSp>
          <p:grpSp>
            <p:nvGrpSpPr>
              <p:cNvPr id="47" name="Google Shape;1311;p35">
                <a:extLst>
                  <a:ext uri="{FF2B5EF4-FFF2-40B4-BE49-F238E27FC236}">
                    <a16:creationId xmlns:a16="http://schemas.microsoft.com/office/drawing/2014/main" id="{3C92284E-38F2-7F0A-D81A-260DD0BF01B1}"/>
                  </a:ext>
                </a:extLst>
              </p:cNvPr>
              <p:cNvGrpSpPr/>
              <p:nvPr/>
            </p:nvGrpSpPr>
            <p:grpSpPr>
              <a:xfrm>
                <a:off x="4877272" y="2561257"/>
                <a:ext cx="736471" cy="737029"/>
                <a:chOff x="4877272" y="2561257"/>
                <a:chExt cx="736471" cy="737029"/>
              </a:xfrm>
            </p:grpSpPr>
            <p:sp>
              <p:nvSpPr>
                <p:cNvPr id="51" name="Google Shape;1312;p35">
                  <a:extLst>
                    <a:ext uri="{FF2B5EF4-FFF2-40B4-BE49-F238E27FC236}">
                      <a16:creationId xmlns:a16="http://schemas.microsoft.com/office/drawing/2014/main" id="{BBBF9167-91E4-284B-7DB0-15B6E6A04310}"/>
                    </a:ext>
                  </a:extLst>
                </p:cNvPr>
                <p:cNvSpPr/>
                <p:nvPr/>
              </p:nvSpPr>
              <p:spPr>
                <a:xfrm>
                  <a:off x="4877272"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52" name="Google Shape;1313;p35">
                  <a:extLst>
                    <a:ext uri="{FF2B5EF4-FFF2-40B4-BE49-F238E27FC236}">
                      <a16:creationId xmlns:a16="http://schemas.microsoft.com/office/drawing/2014/main" id="{F6781A96-44EA-9AB8-74BA-4DCCF87F3F00}"/>
                    </a:ext>
                  </a:extLst>
                </p:cNvPr>
                <p:cNvSpPr/>
                <p:nvPr/>
              </p:nvSpPr>
              <p:spPr>
                <a:xfrm>
                  <a:off x="4990072"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4"/>
                    </a:solidFill>
                    <a:latin typeface="Calibri" panose="020F0502020204030204" pitchFamily="34" charset="0"/>
                    <a:cs typeface="Calibri" panose="020F0502020204030204" pitchFamily="34" charset="0"/>
                  </a:endParaRPr>
                </a:p>
              </p:txBody>
            </p:sp>
          </p:grpSp>
        </p:grpSp>
      </p:grpSp>
      <p:sp>
        <p:nvSpPr>
          <p:cNvPr id="85" name="Google Shape;1306;p35">
            <a:extLst>
              <a:ext uri="{FF2B5EF4-FFF2-40B4-BE49-F238E27FC236}">
                <a16:creationId xmlns:a16="http://schemas.microsoft.com/office/drawing/2014/main" id="{FE8C5052-926A-B76C-8347-44DFAE080BBE}"/>
              </a:ext>
            </a:extLst>
          </p:cNvPr>
          <p:cNvSpPr txBox="1"/>
          <p:nvPr/>
        </p:nvSpPr>
        <p:spPr>
          <a:xfrm>
            <a:off x="3235004" y="4271605"/>
            <a:ext cx="2100595" cy="1078955"/>
          </a:xfrm>
          <a:prstGeom prst="rect">
            <a:avLst/>
          </a:prstGeom>
          <a:noFill/>
          <a:ln>
            <a:noFill/>
          </a:ln>
        </p:spPr>
        <p:txBody>
          <a:bodyPr spcFirstLastPara="1" wrap="square" lIns="91425" tIns="91425" rIns="91425" bIns="91425" anchor="t" anchorCtr="0">
            <a:noAutofit/>
          </a:bodyPr>
          <a:lstStyle/>
          <a:p>
            <a:pPr algn="ctr">
              <a:lnSpc>
                <a:spcPts val="1620"/>
              </a:lnSpc>
            </a:pPr>
            <a:r>
              <a:rPr lang="en-IE" sz="2000" dirty="0">
                <a:solidFill>
                  <a:srgbClr val="262626"/>
                </a:solidFill>
                <a:latin typeface="Calibri" panose="020F0502020204030204" pitchFamily="34" charset="0"/>
                <a:ea typeface="Fira Sans"/>
                <a:cs typeface="Calibri" panose="020F0502020204030204" pitchFamily="34" charset="0"/>
                <a:sym typeface="Fira Sans"/>
              </a:rPr>
              <a:t>Clear Signage</a:t>
            </a: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a:p>
            <a:pPr algn="ctr">
              <a:lnSpc>
                <a:spcPts val="1620"/>
              </a:lnSpc>
            </a:pPr>
            <a:r>
              <a:rPr lang="en-IE" sz="2000" dirty="0">
                <a:solidFill>
                  <a:srgbClr val="262626"/>
                </a:solidFill>
                <a:latin typeface="Calibri" panose="020F0502020204030204" pitchFamily="34" charset="0"/>
                <a:ea typeface="Fira Sans"/>
                <a:cs typeface="Calibri" panose="020F0502020204030204" pitchFamily="34" charset="0"/>
                <a:sym typeface="Fira Sans"/>
              </a:rPr>
              <a:t>Ease</a:t>
            </a: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p:txBody>
      </p:sp>
      <p:sp>
        <p:nvSpPr>
          <p:cNvPr id="86" name="Google Shape;1277;p35">
            <a:extLst>
              <a:ext uri="{FF2B5EF4-FFF2-40B4-BE49-F238E27FC236}">
                <a16:creationId xmlns:a16="http://schemas.microsoft.com/office/drawing/2014/main" id="{EAD63874-59B9-9E18-3A74-948C8060BAD5}"/>
              </a:ext>
            </a:extLst>
          </p:cNvPr>
          <p:cNvSpPr txBox="1"/>
          <p:nvPr/>
        </p:nvSpPr>
        <p:spPr>
          <a:xfrm>
            <a:off x="639776" y="1897538"/>
            <a:ext cx="2451864" cy="1078955"/>
          </a:xfrm>
          <a:prstGeom prst="rect">
            <a:avLst/>
          </a:prstGeom>
          <a:noFill/>
          <a:ln>
            <a:noFill/>
          </a:ln>
        </p:spPr>
        <p:txBody>
          <a:bodyPr spcFirstLastPara="1" wrap="square" lIns="91425" tIns="91425" rIns="91425" bIns="91425" anchor="b" anchorCtr="0">
            <a:noAutofit/>
          </a:bodyPr>
          <a:lstStyle/>
          <a:p>
            <a:pPr algn="ctr">
              <a:lnSpc>
                <a:spcPts val="1620"/>
              </a:lnSpc>
            </a:pPr>
            <a:r>
              <a:rPr lang="en-IE" sz="2000" dirty="0">
                <a:solidFill>
                  <a:srgbClr val="262626"/>
                </a:solidFill>
                <a:latin typeface="Calibri" panose="020F0502020204030204" pitchFamily="34" charset="0"/>
                <a:ea typeface="Fira Sans"/>
                <a:cs typeface="Calibri" panose="020F0502020204030204" pitchFamily="34" charset="0"/>
                <a:sym typeface="Fira Sans"/>
              </a:rPr>
              <a:t>Local Sourcing</a:t>
            </a: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a:p>
            <a:pPr algn="ctr">
              <a:lnSpc>
                <a:spcPts val="1620"/>
              </a:lnSpc>
            </a:pPr>
            <a:r>
              <a:rPr lang="en-IE" sz="2000" dirty="0">
                <a:solidFill>
                  <a:srgbClr val="262626"/>
                </a:solidFill>
                <a:latin typeface="Calibri" panose="020F0502020204030204" pitchFamily="34" charset="0"/>
                <a:ea typeface="Fira Sans"/>
                <a:cs typeface="Calibri" panose="020F0502020204030204" pitchFamily="34" charset="0"/>
                <a:sym typeface="Fira Sans"/>
              </a:rPr>
              <a:t>Authenticity</a:t>
            </a:r>
          </a:p>
        </p:txBody>
      </p:sp>
      <p:sp>
        <p:nvSpPr>
          <p:cNvPr id="87" name="Google Shape;1287;p35">
            <a:extLst>
              <a:ext uri="{FF2B5EF4-FFF2-40B4-BE49-F238E27FC236}">
                <a16:creationId xmlns:a16="http://schemas.microsoft.com/office/drawing/2014/main" id="{F52FA0BD-481A-1705-B5F7-3B4E8565206C}"/>
              </a:ext>
            </a:extLst>
          </p:cNvPr>
          <p:cNvSpPr txBox="1"/>
          <p:nvPr/>
        </p:nvSpPr>
        <p:spPr>
          <a:xfrm>
            <a:off x="5450917" y="1897003"/>
            <a:ext cx="2451864" cy="1079491"/>
          </a:xfrm>
          <a:prstGeom prst="rect">
            <a:avLst/>
          </a:prstGeom>
          <a:noFill/>
          <a:ln>
            <a:noFill/>
          </a:ln>
        </p:spPr>
        <p:txBody>
          <a:bodyPr spcFirstLastPara="1" wrap="square" lIns="91425" tIns="91425" rIns="91425" bIns="91425" anchor="b" anchorCtr="0">
            <a:noAutofit/>
          </a:bodyPr>
          <a:lstStyle/>
          <a:p>
            <a:pPr algn="ctr">
              <a:lnSpc>
                <a:spcPts val="1620"/>
              </a:lnSpc>
            </a:pPr>
            <a:r>
              <a:rPr lang="en-IE" sz="2000" dirty="0">
                <a:solidFill>
                  <a:srgbClr val="262626"/>
                </a:solidFill>
                <a:latin typeface="Calibri" panose="020F0502020204030204" pitchFamily="34" charset="0"/>
                <a:ea typeface="Fira Sans"/>
                <a:cs typeface="Calibri" panose="020F0502020204030204" pitchFamily="34" charset="0"/>
                <a:sym typeface="Fira Sans"/>
              </a:rPr>
              <a:t>Smart Design</a:t>
            </a: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a:p>
            <a:pPr algn="ctr">
              <a:lnSpc>
                <a:spcPts val="1620"/>
              </a:lnSpc>
            </a:pPr>
            <a:r>
              <a:rPr lang="en-IE" sz="2000" dirty="0">
                <a:solidFill>
                  <a:srgbClr val="262626"/>
                </a:solidFill>
                <a:latin typeface="Calibri" panose="020F0502020204030204" pitchFamily="34" charset="0"/>
                <a:ea typeface="Fira Sans"/>
                <a:cs typeface="Calibri" panose="020F0502020204030204" pitchFamily="34" charset="0"/>
                <a:sym typeface="Fira Sans"/>
              </a:rPr>
              <a:t>Comfort</a:t>
            </a:r>
          </a:p>
        </p:txBody>
      </p:sp>
      <p:sp>
        <p:nvSpPr>
          <p:cNvPr id="88" name="Google Shape;1316;p35">
            <a:extLst>
              <a:ext uri="{FF2B5EF4-FFF2-40B4-BE49-F238E27FC236}">
                <a16:creationId xmlns:a16="http://schemas.microsoft.com/office/drawing/2014/main" id="{FBF3485A-387A-E402-0180-629659C18245}"/>
              </a:ext>
            </a:extLst>
          </p:cNvPr>
          <p:cNvSpPr txBox="1"/>
          <p:nvPr/>
        </p:nvSpPr>
        <p:spPr>
          <a:xfrm>
            <a:off x="7862568" y="4271605"/>
            <a:ext cx="2451864" cy="1079491"/>
          </a:xfrm>
          <a:prstGeom prst="rect">
            <a:avLst/>
          </a:prstGeom>
          <a:noFill/>
          <a:ln>
            <a:noFill/>
          </a:ln>
        </p:spPr>
        <p:txBody>
          <a:bodyPr spcFirstLastPara="1" wrap="square" lIns="91425" tIns="91425" rIns="91425" bIns="91425" anchor="t" anchorCtr="0">
            <a:noAutofit/>
          </a:bodyPr>
          <a:lstStyle/>
          <a:p>
            <a:pPr algn="ctr">
              <a:lnSpc>
                <a:spcPts val="1620"/>
              </a:lnSpc>
            </a:pPr>
            <a:r>
              <a:rPr lang="en-IE" sz="2000" dirty="0">
                <a:solidFill>
                  <a:srgbClr val="262626"/>
                </a:solidFill>
                <a:latin typeface="Calibri" panose="020F0502020204030204" pitchFamily="34" charset="0"/>
                <a:ea typeface="Fira Sans"/>
                <a:cs typeface="Calibri" panose="020F0502020204030204" pitchFamily="34" charset="0"/>
                <a:sym typeface="Fira Sans"/>
              </a:rPr>
              <a:t>Inclusive Info</a:t>
            </a: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a:p>
            <a:pPr algn="ctr">
              <a:lnSpc>
                <a:spcPts val="1620"/>
              </a:lnSpc>
            </a:pPr>
            <a:r>
              <a:rPr lang="en-IE" sz="2000" dirty="0">
                <a:solidFill>
                  <a:srgbClr val="262626"/>
                </a:solidFill>
                <a:latin typeface="Calibri" panose="020F0502020204030204" pitchFamily="34" charset="0"/>
                <a:ea typeface="Fira Sans"/>
                <a:cs typeface="Calibri" panose="020F0502020204030204" pitchFamily="34" charset="0"/>
                <a:sym typeface="Fira Sans"/>
              </a:rPr>
              <a:t>Belonging</a:t>
            </a: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a:p>
            <a:pPr algn="ctr">
              <a:lnSpc>
                <a:spcPts val="1620"/>
              </a:lnSpc>
            </a:pPr>
            <a:endParaRPr lang="en-IE" sz="2000" dirty="0">
              <a:solidFill>
                <a:srgbClr val="262626"/>
              </a:solidFill>
              <a:latin typeface="Calibri" panose="020F0502020204030204" pitchFamily="34" charset="0"/>
              <a:ea typeface="Fira Sans"/>
              <a:cs typeface="Calibri" panose="020F0502020204030204" pitchFamily="34" charset="0"/>
              <a:sym typeface="Fira Sans"/>
            </a:endParaRPr>
          </a:p>
        </p:txBody>
      </p:sp>
      <p:sp>
        <p:nvSpPr>
          <p:cNvPr id="96" name="Google Shape;1277;p35">
            <a:extLst>
              <a:ext uri="{FF2B5EF4-FFF2-40B4-BE49-F238E27FC236}">
                <a16:creationId xmlns:a16="http://schemas.microsoft.com/office/drawing/2014/main" id="{B700ED75-5250-F7F7-F330-390314BC3F84}"/>
              </a:ext>
            </a:extLst>
          </p:cNvPr>
          <p:cNvSpPr txBox="1"/>
          <p:nvPr/>
        </p:nvSpPr>
        <p:spPr>
          <a:xfrm>
            <a:off x="1393627" y="3527778"/>
            <a:ext cx="913250" cy="913249"/>
          </a:xfrm>
          <a:prstGeom prst="rect">
            <a:avLst/>
          </a:prstGeom>
          <a:noFill/>
          <a:ln>
            <a:noFill/>
          </a:ln>
        </p:spPr>
        <p:txBody>
          <a:bodyPr spcFirstLastPara="1" wrap="square" lIns="91425" tIns="91425" rIns="91425" bIns="91425" anchor="t" anchorCtr="0">
            <a:noAutofit/>
          </a:bodyPr>
          <a:lstStyle/>
          <a:p>
            <a:pPr algn="ctr">
              <a:lnSpc>
                <a:spcPts val="1620"/>
              </a:lnSpc>
            </a:pPr>
            <a:r>
              <a:rPr lang="en-IE" sz="4800" b="1" dirty="0">
                <a:solidFill>
                  <a:srgbClr val="62A844"/>
                </a:solidFill>
                <a:latin typeface="Calibri" panose="020F0502020204030204" pitchFamily="34" charset="0"/>
                <a:ea typeface="Fira Sans"/>
                <a:cs typeface="Calibri" panose="020F0502020204030204" pitchFamily="34" charset="0"/>
                <a:sym typeface="Fira Sans"/>
              </a:rPr>
              <a:t>01</a:t>
            </a:r>
            <a:endParaRPr sz="4800" b="1" dirty="0">
              <a:solidFill>
                <a:srgbClr val="62A844"/>
              </a:solidFill>
              <a:latin typeface="Calibri" panose="020F0502020204030204" pitchFamily="34" charset="0"/>
              <a:ea typeface="Fira Sans"/>
              <a:cs typeface="Calibri" panose="020F0502020204030204" pitchFamily="34" charset="0"/>
              <a:sym typeface="Fira Sans"/>
            </a:endParaRPr>
          </a:p>
        </p:txBody>
      </p:sp>
      <p:sp>
        <p:nvSpPr>
          <p:cNvPr id="97" name="Google Shape;1277;p35">
            <a:extLst>
              <a:ext uri="{FF2B5EF4-FFF2-40B4-BE49-F238E27FC236}">
                <a16:creationId xmlns:a16="http://schemas.microsoft.com/office/drawing/2014/main" id="{F5E447A4-BF29-D952-DB9D-9ADE2B5D7E81}"/>
              </a:ext>
            </a:extLst>
          </p:cNvPr>
          <p:cNvSpPr txBox="1"/>
          <p:nvPr/>
        </p:nvSpPr>
        <p:spPr>
          <a:xfrm>
            <a:off x="3828678" y="3527778"/>
            <a:ext cx="913250" cy="913249"/>
          </a:xfrm>
          <a:prstGeom prst="rect">
            <a:avLst/>
          </a:prstGeom>
          <a:noFill/>
          <a:ln>
            <a:noFill/>
          </a:ln>
        </p:spPr>
        <p:txBody>
          <a:bodyPr spcFirstLastPara="1" wrap="square" lIns="91425" tIns="91425" rIns="91425" bIns="91425" anchor="t" anchorCtr="0">
            <a:noAutofit/>
          </a:bodyPr>
          <a:lstStyle/>
          <a:p>
            <a:pPr algn="ctr">
              <a:lnSpc>
                <a:spcPts val="1620"/>
              </a:lnSpc>
            </a:pPr>
            <a:r>
              <a:rPr lang="en-IE" sz="4800" b="1" dirty="0">
                <a:solidFill>
                  <a:srgbClr val="3D8241"/>
                </a:solidFill>
                <a:latin typeface="Calibri" panose="020F0502020204030204" pitchFamily="34" charset="0"/>
                <a:ea typeface="Fira Sans"/>
                <a:cs typeface="Calibri" panose="020F0502020204030204" pitchFamily="34" charset="0"/>
                <a:sym typeface="Fira Sans"/>
              </a:rPr>
              <a:t>02</a:t>
            </a:r>
            <a:endParaRPr sz="4800" b="1" dirty="0">
              <a:solidFill>
                <a:srgbClr val="3D8241"/>
              </a:solidFill>
              <a:latin typeface="Calibri" panose="020F0502020204030204" pitchFamily="34" charset="0"/>
              <a:ea typeface="Fira Sans"/>
              <a:cs typeface="Calibri" panose="020F0502020204030204" pitchFamily="34" charset="0"/>
              <a:sym typeface="Fira Sans"/>
            </a:endParaRPr>
          </a:p>
        </p:txBody>
      </p:sp>
      <p:sp>
        <p:nvSpPr>
          <p:cNvPr id="100" name="Google Shape;1277;p35">
            <a:extLst>
              <a:ext uri="{FF2B5EF4-FFF2-40B4-BE49-F238E27FC236}">
                <a16:creationId xmlns:a16="http://schemas.microsoft.com/office/drawing/2014/main" id="{CCECDD35-6B77-E794-9B67-8BC05355E9EB}"/>
              </a:ext>
            </a:extLst>
          </p:cNvPr>
          <p:cNvSpPr txBox="1"/>
          <p:nvPr/>
        </p:nvSpPr>
        <p:spPr>
          <a:xfrm>
            <a:off x="6196779" y="3527778"/>
            <a:ext cx="913250" cy="913249"/>
          </a:xfrm>
          <a:prstGeom prst="rect">
            <a:avLst/>
          </a:prstGeom>
          <a:noFill/>
          <a:ln>
            <a:noFill/>
          </a:ln>
        </p:spPr>
        <p:txBody>
          <a:bodyPr spcFirstLastPara="1" wrap="square" lIns="91425" tIns="91425" rIns="91425" bIns="91425" anchor="t" anchorCtr="0">
            <a:noAutofit/>
          </a:bodyPr>
          <a:lstStyle/>
          <a:p>
            <a:pPr algn="ctr">
              <a:lnSpc>
                <a:spcPts val="1620"/>
              </a:lnSpc>
            </a:pPr>
            <a:r>
              <a:rPr lang="en-IE" sz="4800" b="1" dirty="0">
                <a:solidFill>
                  <a:srgbClr val="0289AE"/>
                </a:solidFill>
                <a:latin typeface="Calibri" panose="020F0502020204030204" pitchFamily="34" charset="0"/>
                <a:ea typeface="Fira Sans"/>
                <a:cs typeface="Calibri" panose="020F0502020204030204" pitchFamily="34" charset="0"/>
                <a:sym typeface="Fira Sans"/>
              </a:rPr>
              <a:t>03</a:t>
            </a:r>
            <a:endParaRPr sz="4800" b="1" dirty="0">
              <a:solidFill>
                <a:srgbClr val="0289AE"/>
              </a:solidFill>
              <a:latin typeface="Calibri" panose="020F0502020204030204" pitchFamily="34" charset="0"/>
              <a:ea typeface="Fira Sans"/>
              <a:cs typeface="Calibri" panose="020F0502020204030204" pitchFamily="34" charset="0"/>
              <a:sym typeface="Fira Sans"/>
            </a:endParaRPr>
          </a:p>
        </p:txBody>
      </p:sp>
      <p:sp>
        <p:nvSpPr>
          <p:cNvPr id="101" name="Google Shape;1277;p35">
            <a:extLst>
              <a:ext uri="{FF2B5EF4-FFF2-40B4-BE49-F238E27FC236}">
                <a16:creationId xmlns:a16="http://schemas.microsoft.com/office/drawing/2014/main" id="{E87254D4-6BAB-80AC-32F7-AABF128BA5BB}"/>
              </a:ext>
            </a:extLst>
          </p:cNvPr>
          <p:cNvSpPr txBox="1"/>
          <p:nvPr/>
        </p:nvSpPr>
        <p:spPr>
          <a:xfrm>
            <a:off x="8631831" y="3527778"/>
            <a:ext cx="913250" cy="913249"/>
          </a:xfrm>
          <a:prstGeom prst="rect">
            <a:avLst/>
          </a:prstGeom>
          <a:noFill/>
          <a:ln>
            <a:noFill/>
          </a:ln>
        </p:spPr>
        <p:txBody>
          <a:bodyPr spcFirstLastPara="1" wrap="square" lIns="91425" tIns="91425" rIns="91425" bIns="91425" anchor="t" anchorCtr="0">
            <a:noAutofit/>
          </a:bodyPr>
          <a:lstStyle/>
          <a:p>
            <a:pPr algn="ctr">
              <a:lnSpc>
                <a:spcPts val="1620"/>
              </a:lnSpc>
            </a:pPr>
            <a:r>
              <a:rPr lang="en-IE" sz="4800" b="1" dirty="0">
                <a:solidFill>
                  <a:srgbClr val="06677F"/>
                </a:solidFill>
                <a:latin typeface="Calibri" panose="020F0502020204030204" pitchFamily="34" charset="0"/>
                <a:ea typeface="Fira Sans"/>
                <a:cs typeface="Calibri" panose="020F0502020204030204" pitchFamily="34" charset="0"/>
                <a:sym typeface="Fira Sans"/>
              </a:rPr>
              <a:t>04</a:t>
            </a:r>
            <a:endParaRPr sz="4800" b="1" dirty="0">
              <a:solidFill>
                <a:srgbClr val="06677F"/>
              </a:solidFill>
              <a:latin typeface="Calibri" panose="020F0502020204030204" pitchFamily="34" charset="0"/>
              <a:ea typeface="Fira Sans"/>
              <a:cs typeface="Calibri" panose="020F0502020204030204" pitchFamily="34" charset="0"/>
              <a:sym typeface="Fira Sans"/>
            </a:endParaRPr>
          </a:p>
        </p:txBody>
      </p:sp>
      <p:sp>
        <p:nvSpPr>
          <p:cNvPr id="107" name="Rectangle 30">
            <a:extLst>
              <a:ext uri="{FF2B5EF4-FFF2-40B4-BE49-F238E27FC236}">
                <a16:creationId xmlns:a16="http://schemas.microsoft.com/office/drawing/2014/main" id="{94CF4B3C-6DD6-7E2F-E254-A4552208BC41}"/>
              </a:ext>
            </a:extLst>
          </p:cNvPr>
          <p:cNvSpPr/>
          <p:nvPr/>
        </p:nvSpPr>
        <p:spPr>
          <a:xfrm flipH="1">
            <a:off x="639776" y="5560463"/>
            <a:ext cx="7633416" cy="830997"/>
          </a:xfrm>
          <a:prstGeom prst="rect">
            <a:avLst/>
          </a:prstGeom>
        </p:spPr>
        <p:txBody>
          <a:bodyPr wrap="square">
            <a:spAutoFit/>
          </a:bodyPr>
          <a:lstStyle/>
          <a:p>
            <a:r>
              <a:rPr lang="en-GB" sz="2400" dirty="0"/>
              <a:t>Sustainable design creates a more thoughtful, valuable guest experience.</a:t>
            </a:r>
            <a:endParaRPr lang="en-US" sz="2000" b="1" dirty="0">
              <a:solidFill>
                <a:srgbClr val="262626"/>
              </a:solidFill>
            </a:endParaRPr>
          </a:p>
        </p:txBody>
      </p:sp>
      <p:sp>
        <p:nvSpPr>
          <p:cNvPr id="38" name="Freeform 37">
            <a:extLst>
              <a:ext uri="{FF2B5EF4-FFF2-40B4-BE49-F238E27FC236}">
                <a16:creationId xmlns:a16="http://schemas.microsoft.com/office/drawing/2014/main" id="{D17EC681-7832-85A3-4C0F-0C262E32A1FA}"/>
              </a:ext>
            </a:extLst>
          </p:cNvPr>
          <p:cNvSpPr/>
          <p:nvPr/>
        </p:nvSpPr>
        <p:spPr>
          <a:xfrm rot="16200000">
            <a:off x="1730726" y="2269653"/>
            <a:ext cx="224862" cy="375889"/>
          </a:xfrm>
          <a:custGeom>
            <a:avLst/>
            <a:gdLst>
              <a:gd name="csX0" fmla="*/ 119063 w 319087"/>
              <a:gd name="csY0" fmla="*/ 266700 h 533400"/>
              <a:gd name="csX1" fmla="*/ 319088 w 319087"/>
              <a:gd name="csY1" fmla="*/ 0 h 533400"/>
              <a:gd name="csX2" fmla="*/ 200025 w 319087"/>
              <a:gd name="csY2" fmla="*/ 0 h 533400"/>
              <a:gd name="csX3" fmla="*/ 0 w 319087"/>
              <a:gd name="csY3" fmla="*/ 266700 h 533400"/>
              <a:gd name="csX4" fmla="*/ 200025 w 319087"/>
              <a:gd name="csY4" fmla="*/ 533400 h 533400"/>
              <a:gd name="csX5" fmla="*/ 319088 w 319087"/>
              <a:gd name="csY5" fmla="*/ 533400 h 533400"/>
              <a:gd name="csX6" fmla="*/ 119063 w 319087"/>
              <a:gd name="csY6" fmla="*/ 266700 h 5334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19087" h="533400">
                <a:moveTo>
                  <a:pt x="119063" y="266700"/>
                </a:moveTo>
                <a:lnTo>
                  <a:pt x="319088" y="0"/>
                </a:lnTo>
                <a:lnTo>
                  <a:pt x="200025" y="0"/>
                </a:lnTo>
                <a:lnTo>
                  <a:pt x="0" y="266700"/>
                </a:lnTo>
                <a:lnTo>
                  <a:pt x="200025" y="533400"/>
                </a:lnTo>
                <a:lnTo>
                  <a:pt x="319088" y="533400"/>
                </a:lnTo>
                <a:lnTo>
                  <a:pt x="119063" y="266700"/>
                </a:lnTo>
                <a:close/>
              </a:path>
            </a:pathLst>
          </a:custGeom>
          <a:solidFill>
            <a:srgbClr val="62A844"/>
          </a:solidFill>
          <a:ln w="9525" cap="flat">
            <a:noFill/>
            <a:prstDash val="solid"/>
            <a:miter/>
          </a:ln>
        </p:spPr>
        <p:txBody>
          <a:bodyPr/>
          <a:lstStyle/>
          <a:p>
            <a:endParaRPr lang="en-IE"/>
          </a:p>
        </p:txBody>
      </p:sp>
      <p:sp>
        <p:nvSpPr>
          <p:cNvPr id="49" name="Freeform 48">
            <a:extLst>
              <a:ext uri="{FF2B5EF4-FFF2-40B4-BE49-F238E27FC236}">
                <a16:creationId xmlns:a16="http://schemas.microsoft.com/office/drawing/2014/main" id="{F99FA8B0-A83B-DF60-9AE9-5A2387786A36}"/>
              </a:ext>
            </a:extLst>
          </p:cNvPr>
          <p:cNvSpPr/>
          <p:nvPr/>
        </p:nvSpPr>
        <p:spPr>
          <a:xfrm rot="16200000">
            <a:off x="4173057" y="4586156"/>
            <a:ext cx="224864" cy="375892"/>
          </a:xfrm>
          <a:custGeom>
            <a:avLst/>
            <a:gdLst>
              <a:gd name="csX0" fmla="*/ 0 w 319087"/>
              <a:gd name="csY0" fmla="*/ 266700 h 533400"/>
              <a:gd name="csX1" fmla="*/ 200025 w 319087"/>
              <a:gd name="csY1" fmla="*/ 533400 h 533400"/>
              <a:gd name="csX2" fmla="*/ 319088 w 319087"/>
              <a:gd name="csY2" fmla="*/ 533400 h 533400"/>
              <a:gd name="csX3" fmla="*/ 119063 w 319087"/>
              <a:gd name="csY3" fmla="*/ 266700 h 533400"/>
              <a:gd name="csX4" fmla="*/ 319088 w 319087"/>
              <a:gd name="csY4" fmla="*/ 0 h 533400"/>
              <a:gd name="csX5" fmla="*/ 200025 w 319087"/>
              <a:gd name="csY5" fmla="*/ 0 h 533400"/>
              <a:gd name="csX6" fmla="*/ 0 w 319087"/>
              <a:gd name="csY6" fmla="*/ 266700 h 5334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19087" h="533400">
                <a:moveTo>
                  <a:pt x="0" y="266700"/>
                </a:moveTo>
                <a:lnTo>
                  <a:pt x="200025" y="533400"/>
                </a:lnTo>
                <a:lnTo>
                  <a:pt x="319088" y="533400"/>
                </a:lnTo>
                <a:lnTo>
                  <a:pt x="119063" y="266700"/>
                </a:lnTo>
                <a:lnTo>
                  <a:pt x="319088" y="0"/>
                </a:lnTo>
                <a:lnTo>
                  <a:pt x="200025" y="0"/>
                </a:lnTo>
                <a:lnTo>
                  <a:pt x="0" y="266700"/>
                </a:lnTo>
                <a:close/>
              </a:path>
            </a:pathLst>
          </a:custGeom>
          <a:solidFill>
            <a:srgbClr val="3D8241"/>
          </a:solidFill>
          <a:ln w="9525" cap="flat">
            <a:noFill/>
            <a:prstDash val="solid"/>
            <a:miter/>
          </a:ln>
        </p:spPr>
        <p:txBody>
          <a:bodyPr/>
          <a:lstStyle/>
          <a:p>
            <a:endParaRPr lang="en-IE"/>
          </a:p>
        </p:txBody>
      </p:sp>
      <p:sp>
        <p:nvSpPr>
          <p:cNvPr id="59" name="Freeform 58">
            <a:extLst>
              <a:ext uri="{FF2B5EF4-FFF2-40B4-BE49-F238E27FC236}">
                <a16:creationId xmlns:a16="http://schemas.microsoft.com/office/drawing/2014/main" id="{6AAC3C68-B0F1-53C2-0A03-7D7B404E37C8}"/>
              </a:ext>
            </a:extLst>
          </p:cNvPr>
          <p:cNvSpPr/>
          <p:nvPr/>
        </p:nvSpPr>
        <p:spPr>
          <a:xfrm rot="16200000">
            <a:off x="6565274" y="2277852"/>
            <a:ext cx="224862" cy="375889"/>
          </a:xfrm>
          <a:custGeom>
            <a:avLst/>
            <a:gdLst>
              <a:gd name="csX0" fmla="*/ 119063 w 319087"/>
              <a:gd name="csY0" fmla="*/ 266700 h 533400"/>
              <a:gd name="csX1" fmla="*/ 319088 w 319087"/>
              <a:gd name="csY1" fmla="*/ 0 h 533400"/>
              <a:gd name="csX2" fmla="*/ 200025 w 319087"/>
              <a:gd name="csY2" fmla="*/ 0 h 533400"/>
              <a:gd name="csX3" fmla="*/ 0 w 319087"/>
              <a:gd name="csY3" fmla="*/ 266700 h 533400"/>
              <a:gd name="csX4" fmla="*/ 200025 w 319087"/>
              <a:gd name="csY4" fmla="*/ 533400 h 533400"/>
              <a:gd name="csX5" fmla="*/ 319088 w 319087"/>
              <a:gd name="csY5" fmla="*/ 533400 h 533400"/>
              <a:gd name="csX6" fmla="*/ 119063 w 319087"/>
              <a:gd name="csY6" fmla="*/ 266700 h 5334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19087" h="533400">
                <a:moveTo>
                  <a:pt x="119063" y="266700"/>
                </a:moveTo>
                <a:lnTo>
                  <a:pt x="319088" y="0"/>
                </a:lnTo>
                <a:lnTo>
                  <a:pt x="200025" y="0"/>
                </a:lnTo>
                <a:lnTo>
                  <a:pt x="0" y="266700"/>
                </a:lnTo>
                <a:lnTo>
                  <a:pt x="200025" y="533400"/>
                </a:lnTo>
                <a:lnTo>
                  <a:pt x="319088" y="533400"/>
                </a:lnTo>
                <a:lnTo>
                  <a:pt x="119063" y="266700"/>
                </a:lnTo>
                <a:close/>
              </a:path>
            </a:pathLst>
          </a:custGeom>
          <a:solidFill>
            <a:srgbClr val="0289AE"/>
          </a:solidFill>
          <a:ln w="9525" cap="flat">
            <a:noFill/>
            <a:prstDash val="solid"/>
            <a:miter/>
          </a:ln>
        </p:spPr>
        <p:txBody>
          <a:bodyPr/>
          <a:lstStyle/>
          <a:p>
            <a:endParaRPr lang="en-IE"/>
          </a:p>
        </p:txBody>
      </p:sp>
      <p:sp>
        <p:nvSpPr>
          <p:cNvPr id="60" name="Freeform 59">
            <a:extLst>
              <a:ext uri="{FF2B5EF4-FFF2-40B4-BE49-F238E27FC236}">
                <a16:creationId xmlns:a16="http://schemas.microsoft.com/office/drawing/2014/main" id="{ADC04235-7403-3001-9B46-7469543CA7A2}"/>
              </a:ext>
            </a:extLst>
          </p:cNvPr>
          <p:cNvSpPr/>
          <p:nvPr/>
        </p:nvSpPr>
        <p:spPr>
          <a:xfrm rot="16200000">
            <a:off x="9007605" y="4594355"/>
            <a:ext cx="224864" cy="375892"/>
          </a:xfrm>
          <a:custGeom>
            <a:avLst/>
            <a:gdLst>
              <a:gd name="csX0" fmla="*/ 0 w 319087"/>
              <a:gd name="csY0" fmla="*/ 266700 h 533400"/>
              <a:gd name="csX1" fmla="*/ 200025 w 319087"/>
              <a:gd name="csY1" fmla="*/ 533400 h 533400"/>
              <a:gd name="csX2" fmla="*/ 319088 w 319087"/>
              <a:gd name="csY2" fmla="*/ 533400 h 533400"/>
              <a:gd name="csX3" fmla="*/ 119063 w 319087"/>
              <a:gd name="csY3" fmla="*/ 266700 h 533400"/>
              <a:gd name="csX4" fmla="*/ 319088 w 319087"/>
              <a:gd name="csY4" fmla="*/ 0 h 533400"/>
              <a:gd name="csX5" fmla="*/ 200025 w 319087"/>
              <a:gd name="csY5" fmla="*/ 0 h 533400"/>
              <a:gd name="csX6" fmla="*/ 0 w 319087"/>
              <a:gd name="csY6" fmla="*/ 266700 h 53340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19087" h="533400">
                <a:moveTo>
                  <a:pt x="0" y="266700"/>
                </a:moveTo>
                <a:lnTo>
                  <a:pt x="200025" y="533400"/>
                </a:lnTo>
                <a:lnTo>
                  <a:pt x="319088" y="533400"/>
                </a:lnTo>
                <a:lnTo>
                  <a:pt x="119063" y="266700"/>
                </a:lnTo>
                <a:lnTo>
                  <a:pt x="319088" y="0"/>
                </a:lnTo>
                <a:lnTo>
                  <a:pt x="200025" y="0"/>
                </a:lnTo>
                <a:lnTo>
                  <a:pt x="0" y="266700"/>
                </a:lnTo>
                <a:close/>
              </a:path>
            </a:pathLst>
          </a:custGeom>
          <a:solidFill>
            <a:srgbClr val="06677F"/>
          </a:solidFill>
          <a:ln w="9525" cap="flat">
            <a:noFill/>
            <a:prstDash val="solid"/>
            <a:miter/>
          </a:ln>
        </p:spPr>
        <p:txBody>
          <a:bodyPr/>
          <a:lstStyle/>
          <a:p>
            <a:endParaRPr lang="en-IE"/>
          </a:p>
        </p:txBody>
      </p:sp>
      <p:cxnSp>
        <p:nvCxnSpPr>
          <p:cNvPr id="61" name="Google Shape;1269;p35">
            <a:extLst>
              <a:ext uri="{FF2B5EF4-FFF2-40B4-BE49-F238E27FC236}">
                <a16:creationId xmlns:a16="http://schemas.microsoft.com/office/drawing/2014/main" id="{B089B031-3C09-0F8F-B014-6A59FB44E78B}"/>
              </a:ext>
            </a:extLst>
          </p:cNvPr>
          <p:cNvCxnSpPr>
            <a:cxnSpLocks/>
          </p:cNvCxnSpPr>
          <p:nvPr/>
        </p:nvCxnSpPr>
        <p:spPr>
          <a:xfrm flipV="1">
            <a:off x="10295001" y="3554447"/>
            <a:ext cx="0" cy="3303553"/>
          </a:xfrm>
          <a:prstGeom prst="straightConnector1">
            <a:avLst/>
          </a:prstGeom>
          <a:noFill/>
          <a:ln w="76200" cap="flat" cmpd="sng">
            <a:solidFill>
              <a:srgbClr val="06677F"/>
            </a:solidFill>
            <a:prstDash val="solid"/>
            <a:round/>
            <a:headEnd type="none" w="med" len="med"/>
            <a:tailEnd type="none" w="med" len="med"/>
          </a:ln>
        </p:spPr>
      </p:cxnSp>
      <p:sp>
        <p:nvSpPr>
          <p:cNvPr id="10" name="Text Placeholder 11">
            <a:extLst>
              <a:ext uri="{FF2B5EF4-FFF2-40B4-BE49-F238E27FC236}">
                <a16:creationId xmlns:a16="http://schemas.microsoft.com/office/drawing/2014/main" id="{D973782C-4B4A-E15D-DF0C-367C6F7BB509}"/>
              </a:ext>
            </a:extLst>
          </p:cNvPr>
          <p:cNvSpPr txBox="1">
            <a:spLocks/>
          </p:cNvSpPr>
          <p:nvPr/>
        </p:nvSpPr>
        <p:spPr>
          <a:xfrm>
            <a:off x="367916" y="511991"/>
            <a:ext cx="817713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latin typeface="Calibri" panose="020F0502020204030204" pitchFamily="34" charset="0"/>
                <a:cs typeface="Calibri" panose="020F0502020204030204" pitchFamily="34" charset="0"/>
              </a:rPr>
              <a:t>The Experience and Sustainability Overlap</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11" name="Straight Connector 10">
            <a:extLst>
              <a:ext uri="{FF2B5EF4-FFF2-40B4-BE49-F238E27FC236}">
                <a16:creationId xmlns:a16="http://schemas.microsoft.com/office/drawing/2014/main" id="{B87F52E1-C1C7-36D7-2740-994F34750D77}"/>
              </a:ext>
            </a:extLst>
          </p:cNvPr>
          <p:cNvCxnSpPr>
            <a:cxnSpLocks/>
          </p:cNvCxnSpPr>
          <p:nvPr/>
        </p:nvCxnSpPr>
        <p:spPr>
          <a:xfrm>
            <a:off x="0" y="1509491"/>
            <a:ext cx="682752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8123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41692-1DBD-3C03-79B8-CDCEAD483AD8}"/>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8EF528CB-6E23-7842-7EAD-5CD5C6A0A62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0" y="1477156"/>
            <a:ext cx="5834176" cy="4065103"/>
          </a:xfrm>
          <a:prstGeom prst="rect">
            <a:avLst/>
          </a:prstGeom>
        </p:spPr>
      </p:pic>
      <p:sp>
        <p:nvSpPr>
          <p:cNvPr id="2" name="Text Placeholder 11">
            <a:extLst>
              <a:ext uri="{FF2B5EF4-FFF2-40B4-BE49-F238E27FC236}">
                <a16:creationId xmlns:a16="http://schemas.microsoft.com/office/drawing/2014/main" id="{79D49FCA-2736-2A9A-B878-EBBBDC80AE62}"/>
              </a:ext>
            </a:extLst>
          </p:cNvPr>
          <p:cNvSpPr txBox="1">
            <a:spLocks/>
          </p:cNvSpPr>
          <p:nvPr/>
        </p:nvSpPr>
        <p:spPr>
          <a:xfrm>
            <a:off x="429114" y="697595"/>
            <a:ext cx="700710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62A844"/>
                </a:solidFill>
                <a:cs typeface="Times New Roman" panose="02020603050405020304" pitchFamily="18" charset="0"/>
              </a:rPr>
              <a:t>Concept: The Experience Econom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13DA4EBF-06B3-4AFD-8620-F183BCDBF62B}"/>
              </a:ext>
            </a:extLst>
          </p:cNvPr>
          <p:cNvCxnSpPr>
            <a:cxnSpLocks/>
          </p:cNvCxnSpPr>
          <p:nvPr/>
        </p:nvCxnSpPr>
        <p:spPr>
          <a:xfrm>
            <a:off x="71120" y="1449962"/>
            <a:ext cx="713650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BEB7E321-1011-B46D-96C1-E1B155F3EF99}"/>
              </a:ext>
            </a:extLst>
          </p:cNvPr>
          <p:cNvSpPr/>
          <p:nvPr/>
        </p:nvSpPr>
        <p:spPr>
          <a:xfrm flipH="1">
            <a:off x="345469" y="1707904"/>
            <a:ext cx="5834176" cy="4452501"/>
          </a:xfrm>
          <a:prstGeom prst="rect">
            <a:avLst/>
          </a:prstGeom>
        </p:spPr>
        <p:txBody>
          <a:bodyPr wrap="square">
            <a:spAutoFit/>
          </a:bodyPr>
          <a:lstStyle/>
          <a:p>
            <a:pPr>
              <a:lnSpc>
                <a:spcPts val="1960"/>
              </a:lnSpc>
            </a:pPr>
            <a:r>
              <a:rPr lang="en-US" dirty="0">
                <a:solidFill>
                  <a:srgbClr val="262626"/>
                </a:solidFill>
              </a:rPr>
              <a:t>A classic management idea from Pine and Gilmore argues that businesses create increasing value as they move from </a:t>
            </a:r>
            <a:r>
              <a:rPr lang="en-US" b="1" dirty="0">
                <a:solidFill>
                  <a:srgbClr val="262626"/>
                </a:solidFill>
              </a:rPr>
              <a:t>commodities</a:t>
            </a:r>
            <a:r>
              <a:rPr lang="en-US" dirty="0">
                <a:solidFill>
                  <a:srgbClr val="262626"/>
                </a:solidFill>
              </a:rPr>
              <a:t> to </a:t>
            </a:r>
            <a:r>
              <a:rPr lang="en-US" b="1" dirty="0">
                <a:solidFill>
                  <a:srgbClr val="262626"/>
                </a:solidFill>
              </a:rPr>
              <a:t>goods</a:t>
            </a:r>
            <a:r>
              <a:rPr lang="en-US" dirty="0">
                <a:solidFill>
                  <a:srgbClr val="262626"/>
                </a:solidFill>
              </a:rPr>
              <a:t>, from </a:t>
            </a:r>
            <a:r>
              <a:rPr lang="en-US" b="1" dirty="0">
                <a:solidFill>
                  <a:srgbClr val="262626"/>
                </a:solidFill>
              </a:rPr>
              <a:t>goods</a:t>
            </a:r>
            <a:r>
              <a:rPr lang="en-US" dirty="0">
                <a:solidFill>
                  <a:srgbClr val="262626"/>
                </a:solidFill>
              </a:rPr>
              <a:t> to </a:t>
            </a:r>
            <a:r>
              <a:rPr lang="en-US" b="1" dirty="0">
                <a:solidFill>
                  <a:srgbClr val="262626"/>
                </a:solidFill>
              </a:rPr>
              <a:t>services</a:t>
            </a:r>
            <a:r>
              <a:rPr lang="en-US" dirty="0">
                <a:solidFill>
                  <a:srgbClr val="262626"/>
                </a:solidFill>
              </a:rPr>
              <a:t>, and from </a:t>
            </a:r>
            <a:r>
              <a:rPr lang="en-US" b="1" dirty="0">
                <a:solidFill>
                  <a:srgbClr val="262626"/>
                </a:solidFill>
              </a:rPr>
              <a:t>services</a:t>
            </a:r>
            <a:r>
              <a:rPr lang="en-US" dirty="0">
                <a:solidFill>
                  <a:srgbClr val="262626"/>
                </a:solidFill>
              </a:rPr>
              <a:t> to </a:t>
            </a:r>
            <a:r>
              <a:rPr lang="en-US" b="1" dirty="0">
                <a:solidFill>
                  <a:srgbClr val="262626"/>
                </a:solidFill>
              </a:rPr>
              <a:t>experiences</a:t>
            </a:r>
            <a:r>
              <a:rPr lang="en-US" dirty="0">
                <a:solidFill>
                  <a:srgbClr val="262626"/>
                </a:solidFill>
              </a:rPr>
              <a:t>.</a:t>
            </a:r>
          </a:p>
          <a:p>
            <a:pPr>
              <a:lnSpc>
                <a:spcPts val="1960"/>
              </a:lnSpc>
            </a:pPr>
            <a:endParaRPr lang="en-US" b="1" dirty="0">
              <a:solidFill>
                <a:srgbClr val="262626"/>
              </a:solidFill>
            </a:endParaRPr>
          </a:p>
          <a:p>
            <a:pPr>
              <a:lnSpc>
                <a:spcPts val="1960"/>
              </a:lnSpc>
            </a:pPr>
            <a:r>
              <a:rPr lang="en-US" sz="2000" b="1" dirty="0">
                <a:solidFill>
                  <a:srgbClr val="0289AE"/>
                </a:solidFill>
              </a:rPr>
              <a:t>Hospitality translation</a:t>
            </a:r>
            <a:endParaRPr lang="en-US" sz="2000" dirty="0">
              <a:solidFill>
                <a:srgbClr val="0289AE"/>
              </a:solidFill>
            </a:endParaRPr>
          </a:p>
          <a:p>
            <a:pPr marL="342900" indent="-342900">
              <a:lnSpc>
                <a:spcPts val="1960"/>
              </a:lnSpc>
              <a:buClr>
                <a:srgbClr val="62A844"/>
              </a:buClr>
              <a:buFont typeface="Arial" panose="020B0604020202020204" pitchFamily="34" charset="0"/>
              <a:buChar char="•"/>
            </a:pPr>
            <a:r>
              <a:rPr lang="en-US" dirty="0">
                <a:solidFill>
                  <a:srgbClr val="262626"/>
                </a:solidFill>
              </a:rPr>
              <a:t>A room is a service</a:t>
            </a:r>
          </a:p>
          <a:p>
            <a:pPr marL="342900" indent="-342900">
              <a:lnSpc>
                <a:spcPts val="1960"/>
              </a:lnSpc>
              <a:buClr>
                <a:srgbClr val="62A844"/>
              </a:buClr>
              <a:buFont typeface="Arial" panose="020B0604020202020204" pitchFamily="34" charset="0"/>
              <a:buChar char="•"/>
            </a:pPr>
            <a:r>
              <a:rPr lang="en-US" dirty="0">
                <a:solidFill>
                  <a:srgbClr val="262626"/>
                </a:solidFill>
              </a:rPr>
              <a:t>A meaningful stay is an experience</a:t>
            </a:r>
          </a:p>
          <a:p>
            <a:pPr marL="342900" indent="-342900">
              <a:lnSpc>
                <a:spcPts val="1960"/>
              </a:lnSpc>
              <a:buClr>
                <a:srgbClr val="62A844"/>
              </a:buClr>
              <a:buFont typeface="Arial" panose="020B0604020202020204" pitchFamily="34" charset="0"/>
              <a:buChar char="•"/>
            </a:pPr>
            <a:r>
              <a:rPr lang="en-US" dirty="0">
                <a:solidFill>
                  <a:srgbClr val="262626"/>
                </a:solidFill>
              </a:rPr>
              <a:t>A sustainable, locally rooted, emotionally coherent stay is a more distinctive experience</a:t>
            </a:r>
          </a:p>
          <a:p>
            <a:pPr>
              <a:lnSpc>
                <a:spcPts val="1960"/>
              </a:lnSpc>
            </a:pPr>
            <a:endParaRPr lang="en-US" dirty="0">
              <a:solidFill>
                <a:srgbClr val="262626"/>
              </a:solidFill>
            </a:endParaRPr>
          </a:p>
          <a:p>
            <a:pPr>
              <a:lnSpc>
                <a:spcPts val="1960"/>
              </a:lnSpc>
            </a:pPr>
            <a:r>
              <a:rPr lang="en-US" b="1" dirty="0">
                <a:solidFill>
                  <a:srgbClr val="62A844"/>
                </a:solidFill>
              </a:rPr>
              <a:t>Guests remember moments, stories, feelings and meaning - beyond the accommodation, food or service transaction.</a:t>
            </a:r>
          </a:p>
          <a:p>
            <a:pPr>
              <a:lnSpc>
                <a:spcPts val="1960"/>
              </a:lnSpc>
            </a:pPr>
            <a:endParaRPr lang="en-US" b="1" dirty="0">
              <a:solidFill>
                <a:srgbClr val="262626"/>
              </a:solidFill>
            </a:endParaRPr>
          </a:p>
          <a:p>
            <a:pPr>
              <a:lnSpc>
                <a:spcPts val="1960"/>
              </a:lnSpc>
            </a:pPr>
            <a:r>
              <a:rPr lang="en-US" sz="2000" b="1" dirty="0">
                <a:solidFill>
                  <a:srgbClr val="0289AE"/>
                </a:solidFill>
                <a:cs typeface="Times New Roman" panose="02020603050405020304" pitchFamily="18" charset="0"/>
              </a:rPr>
              <a:t>Customer Experience Design </a:t>
            </a:r>
            <a:r>
              <a:rPr lang="en-US" sz="2000" b="1" dirty="0">
                <a:solidFill>
                  <a:srgbClr val="0289AE"/>
                </a:solidFill>
              </a:rPr>
              <a:t>implication:</a:t>
            </a:r>
            <a:br>
              <a:rPr lang="en-US" dirty="0">
                <a:solidFill>
                  <a:srgbClr val="262626"/>
                </a:solidFill>
              </a:rPr>
            </a:br>
            <a:r>
              <a:rPr lang="en-US" dirty="0">
                <a:solidFill>
                  <a:srgbClr val="262626"/>
                </a:solidFill>
              </a:rPr>
              <a:t>Sustainability becomes more powerful when it is experienced, felt and lived.</a:t>
            </a:r>
          </a:p>
        </p:txBody>
      </p:sp>
      <p:sp>
        <p:nvSpPr>
          <p:cNvPr id="8" name="TextBox 97">
            <a:extLst>
              <a:ext uri="{FF2B5EF4-FFF2-40B4-BE49-F238E27FC236}">
                <a16:creationId xmlns:a16="http://schemas.microsoft.com/office/drawing/2014/main" id="{DA22B71A-D5F6-87E5-6FC2-D160B9EC3715}"/>
              </a:ext>
            </a:extLst>
          </p:cNvPr>
          <p:cNvSpPr txBox="1"/>
          <p:nvPr/>
        </p:nvSpPr>
        <p:spPr>
          <a:xfrm>
            <a:off x="7207623" y="5342204"/>
            <a:ext cx="4020569" cy="400110"/>
          </a:xfrm>
          <a:prstGeom prst="rect">
            <a:avLst/>
          </a:prstGeom>
          <a:solidFill>
            <a:schemeClr val="bg1"/>
          </a:solidFill>
        </p:spPr>
        <p:txBody>
          <a:bodyPr wrap="square">
            <a:spAutoFit/>
          </a:bodyPr>
          <a:lstStyle/>
          <a:p>
            <a:pPr algn="r"/>
            <a:endParaRPr lang="en-US" sz="2000" dirty="0">
              <a:solidFill>
                <a:srgbClr val="62A844"/>
              </a:solidFill>
            </a:endParaRPr>
          </a:p>
        </p:txBody>
      </p:sp>
    </p:spTree>
    <p:extLst>
      <p:ext uri="{BB962C8B-B14F-4D97-AF65-F5344CB8AC3E}">
        <p14:creationId xmlns:p14="http://schemas.microsoft.com/office/powerpoint/2010/main" val="1079652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73063E7F-D759-6646-1F9C-053EA0E95315}"/>
              </a:ext>
            </a:extLst>
          </p:cNvPr>
          <p:cNvSpPr/>
          <p:nvPr/>
        </p:nvSpPr>
        <p:spPr>
          <a:xfrm>
            <a:off x="0" y="1337196"/>
            <a:ext cx="12192000" cy="918882"/>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DDF1CF8-2DBF-9DBC-0DE1-D7C470B5B572}"/>
              </a:ext>
            </a:extLst>
          </p:cNvPr>
          <p:cNvSpPr txBox="1"/>
          <p:nvPr/>
        </p:nvSpPr>
        <p:spPr>
          <a:xfrm>
            <a:off x="711413" y="3196842"/>
            <a:ext cx="6590340" cy="2516073"/>
          </a:xfrm>
          <a:prstGeom prst="rect">
            <a:avLst/>
          </a:prstGeom>
          <a:noFill/>
        </p:spPr>
        <p:txBody>
          <a:bodyPr wrap="square" lIns="91440" tIns="45720" rIns="91440" bIns="45720" rtlCol="0" anchor="t">
            <a:spAutoFit/>
          </a:bodyPr>
          <a:lstStyle/>
          <a:p>
            <a:pPr>
              <a:lnSpc>
                <a:spcPts val="2680"/>
              </a:lnSpc>
            </a:pPr>
            <a:r>
              <a:rPr lang="en-US" sz="2400" dirty="0">
                <a:solidFill>
                  <a:srgbClr val="262626"/>
                </a:solidFill>
              </a:rPr>
              <a:t>A current summary of </a:t>
            </a:r>
            <a:r>
              <a:rPr lang="en-US" sz="2400" b="1" dirty="0">
                <a:solidFill>
                  <a:srgbClr val="262626"/>
                </a:solidFill>
              </a:rPr>
              <a:t>Pine and Gilmore’s </a:t>
            </a:r>
            <a:r>
              <a:rPr lang="en-US" sz="2400" dirty="0">
                <a:solidFill>
                  <a:srgbClr val="262626"/>
                </a:solidFill>
              </a:rPr>
              <a:t>“experience economy” idea is available through Qualtrics’ interview with Joe Pine</a:t>
            </a:r>
            <a:endParaRPr lang="de-DE" sz="2400" dirty="0">
              <a:solidFill>
                <a:srgbClr val="262626"/>
              </a:solidFill>
              <a:hlinkClick r:id="rId3">
                <a:extLst>
                  <a:ext uri="{A12FA001-AC4F-418D-AE19-62706E023703}">
                    <ahyp:hlinkClr xmlns:ahyp="http://schemas.microsoft.com/office/drawing/2018/hyperlinkcolor" val="tx"/>
                  </a:ext>
                </a:extLst>
              </a:hlinkClick>
            </a:endParaRPr>
          </a:p>
          <a:p>
            <a:pPr>
              <a:lnSpc>
                <a:spcPts val="2680"/>
              </a:lnSpc>
            </a:pPr>
            <a:endParaRPr lang="de-DE" sz="2400" dirty="0">
              <a:solidFill>
                <a:srgbClr val="262626"/>
              </a:solidFill>
              <a:hlinkClick r:id="rId3">
                <a:extLst>
                  <a:ext uri="{A12FA001-AC4F-418D-AE19-62706E023703}">
                    <ahyp:hlinkClr xmlns:ahyp="http://schemas.microsoft.com/office/drawing/2018/hyperlinkcolor" val="tx"/>
                  </a:ext>
                </a:extLst>
              </a:hlinkClick>
            </a:endParaRPr>
          </a:p>
          <a:p>
            <a:pPr>
              <a:lnSpc>
                <a:spcPts val="2680"/>
              </a:lnSpc>
            </a:pPr>
            <a:r>
              <a:rPr lang="de-DE" sz="2400" dirty="0">
                <a:solidFill>
                  <a:srgbClr val="262626"/>
                </a:solidFill>
                <a:hlinkClick r:id="rId3">
                  <a:extLst>
                    <a:ext uri="{A12FA001-AC4F-418D-AE19-62706E023703}">
                      <ahyp:hlinkClr xmlns:ahyp="http://schemas.microsoft.com/office/drawing/2018/hyperlinkcolor" val="tx"/>
                    </a:ext>
                  </a:extLst>
                </a:hlinkClick>
              </a:rPr>
              <a:t>https://www.qualtrics.com/articles/customer-experience/experience-economy-godfather/</a:t>
            </a:r>
            <a:endParaRPr lang="de-DE" sz="2400" dirty="0">
              <a:solidFill>
                <a:srgbClr val="262626"/>
              </a:solidFill>
            </a:endParaRPr>
          </a:p>
          <a:p>
            <a:pPr>
              <a:lnSpc>
                <a:spcPts val="2680"/>
              </a:lnSpc>
            </a:pPr>
            <a:endParaRPr lang="de-DE" sz="2400" dirty="0">
              <a:solidFill>
                <a:srgbClr val="262626"/>
              </a:solidFill>
            </a:endParaRPr>
          </a:p>
        </p:txBody>
      </p:sp>
      <p:sp>
        <p:nvSpPr>
          <p:cNvPr id="8" name="TextBox 7">
            <a:extLst>
              <a:ext uri="{FF2B5EF4-FFF2-40B4-BE49-F238E27FC236}">
                <a16:creationId xmlns:a16="http://schemas.microsoft.com/office/drawing/2014/main" id="{AD3E2D7E-8391-A7F5-6672-8B3FC027556F}"/>
              </a:ext>
            </a:extLst>
          </p:cNvPr>
          <p:cNvSpPr txBox="1"/>
          <p:nvPr/>
        </p:nvSpPr>
        <p:spPr>
          <a:xfrm>
            <a:off x="711412" y="1501363"/>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4" name="Graphic 4">
            <a:extLst>
              <a:ext uri="{FF2B5EF4-FFF2-40B4-BE49-F238E27FC236}">
                <a16:creationId xmlns:a16="http://schemas.microsoft.com/office/drawing/2014/main" id="{FE054EEC-EDAA-680B-B491-5ECAD5C615FB}"/>
              </a:ext>
            </a:extLst>
          </p:cNvPr>
          <p:cNvSpPr/>
          <p:nvPr/>
        </p:nvSpPr>
        <p:spPr>
          <a:xfrm rot="5400000">
            <a:off x="1314218" y="1425507"/>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D24F2836-4896-7C1C-9581-2F9154518D41}"/>
              </a:ext>
            </a:extLst>
          </p:cNvPr>
          <p:cNvPicPr>
            <a:picLocks noChangeAspect="1"/>
          </p:cNvPicPr>
          <p:nvPr/>
        </p:nvPicPr>
        <p:blipFill>
          <a:blip>
            <a:extLst>
              <a:ext uri="{96DAC541-7B7A-43D3-8B79-37D633B846F1}">
                <asvg:svgBlip xmlns:asvg="http://schemas.microsoft.com/office/drawing/2016/SVG/main" r:embed="rId4"/>
              </a:ext>
            </a:extLst>
          </a:blip>
          <a:srcRect l="32264" t="48938" r="39869" b="41747"/>
          <a:stretch>
            <a:fillRect/>
          </a:stretch>
        </p:blipFill>
        <p:spPr>
          <a:xfrm>
            <a:off x="5458250" y="0"/>
            <a:ext cx="6754568" cy="3196842"/>
          </a:xfrm>
          <a:prstGeom prst="rect">
            <a:avLst/>
          </a:prstGeom>
        </p:spPr>
      </p:pic>
      <p:pic>
        <p:nvPicPr>
          <p:cNvPr id="16" name="Picture 15" descr="iPhone6_mockup_front_white.png">
            <a:extLst>
              <a:ext uri="{FF2B5EF4-FFF2-40B4-BE49-F238E27FC236}">
                <a16:creationId xmlns:a16="http://schemas.microsoft.com/office/drawing/2014/main" id="{28DC1A77-35D5-981C-DC8F-C5B817AC507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90358" y="226918"/>
            <a:ext cx="4094254" cy="6404164"/>
          </a:xfrm>
          <a:prstGeom prst="rect">
            <a:avLst/>
          </a:prstGeom>
        </p:spPr>
      </p:pic>
      <p:pic>
        <p:nvPicPr>
          <p:cNvPr id="2" name="Bildplatzhalter 5" descr="The image shows a document or article with a focus on the future of the economy, emphasizing the importance of experience over monetary wealth.&#10;&#10;KI-generierte Inhalte können fehlerhaft sein.">
            <a:extLst>
              <a:ext uri="{FF2B5EF4-FFF2-40B4-BE49-F238E27FC236}">
                <a16:creationId xmlns:a16="http://schemas.microsoft.com/office/drawing/2014/main" id="{8D4684E3-0F97-6883-C810-C7990F9B0A41}"/>
              </a:ext>
            </a:extLst>
          </p:cNvPr>
          <p:cNvPicPr>
            <a:picLocks noChangeAspect="1"/>
          </p:cNvPicPr>
          <p:nvPr/>
        </p:nvPicPr>
        <p:blipFill>
          <a:blip r:embed="rId6" cstate="screen">
            <a:extLst>
              <a:ext uri="{28A0092B-C50C-407E-A947-70E740481C1C}">
                <a14:useLocalDpi xmlns:a14="http://schemas.microsoft.com/office/drawing/2010/main"/>
              </a:ext>
            </a:extLst>
          </a:blip>
          <a:srcRect l="1572" r="1572"/>
          <a:stretch/>
        </p:blipFill>
        <p:spPr>
          <a:xfrm>
            <a:off x="8775350" y="1199215"/>
            <a:ext cx="2507302" cy="4449089"/>
          </a:xfrm>
          <a:prstGeom prst="rect">
            <a:avLst/>
          </a:prstGeom>
          <a:solidFill>
            <a:srgbClr val="FFFFFF">
              <a:lumMod val="85000"/>
            </a:srgbClr>
          </a:solidFill>
        </p:spPr>
      </p:pic>
      <p:grpSp>
        <p:nvGrpSpPr>
          <p:cNvPr id="6" name="Group 5">
            <a:extLst>
              <a:ext uri="{FF2B5EF4-FFF2-40B4-BE49-F238E27FC236}">
                <a16:creationId xmlns:a16="http://schemas.microsoft.com/office/drawing/2014/main" id="{AE998706-A75F-F376-7D2F-53B1FAAB453B}"/>
              </a:ext>
            </a:extLst>
          </p:cNvPr>
          <p:cNvGrpSpPr/>
          <p:nvPr/>
        </p:nvGrpSpPr>
        <p:grpSpPr>
          <a:xfrm rot="21145702">
            <a:off x="7703000" y="3513559"/>
            <a:ext cx="1456095" cy="1406604"/>
            <a:chOff x="7777737" y="4274827"/>
            <a:chExt cx="1456095" cy="1406604"/>
          </a:xfrm>
        </p:grpSpPr>
        <p:sp>
          <p:nvSpPr>
            <p:cNvPr id="4" name="Oval 3">
              <a:extLst>
                <a:ext uri="{FF2B5EF4-FFF2-40B4-BE49-F238E27FC236}">
                  <a16:creationId xmlns:a16="http://schemas.microsoft.com/office/drawing/2014/main" id="{7C7D9923-6C02-85F6-28B1-5BB732CDB0FE}"/>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5C1652A-8F98-1360-41CC-B61166012C12}"/>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3">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522235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CC11BA-51C1-14A2-23B5-8252C172FDAA}"/>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5F706211-EAE2-2732-7594-A55C6898E005}"/>
              </a:ext>
            </a:extLst>
          </p:cNvPr>
          <p:cNvPicPr>
            <a:picLocks noChangeAspect="1"/>
          </p:cNvPicPr>
          <p:nvPr/>
        </p:nvPicPr>
        <p:blipFill>
          <a:blip r:embed="rId3" cstate="screen">
            <a:extLst>
              <a:ext uri="{28A0092B-C50C-407E-A947-70E740481C1C}">
                <a14:useLocalDpi xmlns:a14="http://schemas.microsoft.com/office/drawing/2010/main"/>
              </a:ext>
            </a:extLst>
          </a:blip>
          <a:srcRect r="8268"/>
          <a:stretch>
            <a:fillRect/>
          </a:stretch>
        </p:blipFill>
        <p:spPr>
          <a:xfrm>
            <a:off x="6946704" y="2205318"/>
            <a:ext cx="4658352" cy="3675021"/>
          </a:xfrm>
          <a:prstGeom prst="rect">
            <a:avLst/>
          </a:prstGeom>
        </p:spPr>
      </p:pic>
      <p:sp>
        <p:nvSpPr>
          <p:cNvPr id="2" name="Text Placeholder 11">
            <a:extLst>
              <a:ext uri="{FF2B5EF4-FFF2-40B4-BE49-F238E27FC236}">
                <a16:creationId xmlns:a16="http://schemas.microsoft.com/office/drawing/2014/main" id="{EA357FCB-4454-FB10-8586-A17F53A00A36}"/>
              </a:ext>
            </a:extLst>
          </p:cNvPr>
          <p:cNvSpPr txBox="1">
            <a:spLocks/>
          </p:cNvSpPr>
          <p:nvPr/>
        </p:nvSpPr>
        <p:spPr>
          <a:xfrm>
            <a:off x="429115" y="561947"/>
            <a:ext cx="609270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cs typeface="Times New Roman" panose="02020603050405020304" pitchFamily="18" charset="0"/>
              </a:rPr>
              <a:t>Concept: Service Desig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F22D278E-C07B-E827-BB62-09F393770A13}"/>
              </a:ext>
            </a:extLst>
          </p:cNvPr>
          <p:cNvCxnSpPr>
            <a:cxnSpLocks/>
          </p:cNvCxnSpPr>
          <p:nvPr/>
        </p:nvCxnSpPr>
        <p:spPr>
          <a:xfrm>
            <a:off x="71120" y="1254353"/>
            <a:ext cx="72521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BA8193A3-67F6-E232-D7A9-E56418E75C00}"/>
              </a:ext>
            </a:extLst>
          </p:cNvPr>
          <p:cNvSpPr/>
          <p:nvPr/>
        </p:nvSpPr>
        <p:spPr>
          <a:xfrm flipH="1">
            <a:off x="586944" y="1875594"/>
            <a:ext cx="7750232" cy="4965462"/>
          </a:xfrm>
          <a:prstGeom prst="rect">
            <a:avLst/>
          </a:prstGeom>
        </p:spPr>
        <p:txBody>
          <a:bodyPr wrap="square" numCol="2" spcCol="216000">
            <a:spAutoFit/>
          </a:bodyPr>
          <a:lstStyle/>
          <a:p>
            <a:pPr>
              <a:lnSpc>
                <a:spcPts val="1960"/>
              </a:lnSpc>
              <a:buClr>
                <a:srgbClr val="62A844"/>
              </a:buClr>
            </a:pPr>
            <a:r>
              <a:rPr lang="en-US" dirty="0">
                <a:solidFill>
                  <a:srgbClr val="262626"/>
                </a:solidFill>
              </a:rPr>
              <a:t>Service design shapes experiences across the whole service system, every visible and invisible moment included.</a:t>
            </a:r>
          </a:p>
          <a:p>
            <a:pPr>
              <a:lnSpc>
                <a:spcPts val="1960"/>
              </a:lnSpc>
              <a:buClr>
                <a:srgbClr val="62A844"/>
              </a:buClr>
            </a:pPr>
            <a:endParaRPr lang="en-US" dirty="0">
              <a:solidFill>
                <a:srgbClr val="262626"/>
              </a:solidFill>
            </a:endParaRPr>
          </a:p>
          <a:p>
            <a:pPr>
              <a:lnSpc>
                <a:spcPts val="1960"/>
              </a:lnSpc>
              <a:buClr>
                <a:srgbClr val="62A844"/>
              </a:buClr>
            </a:pPr>
            <a:r>
              <a:rPr lang="en-US" sz="2000" b="1" dirty="0">
                <a:solidFill>
                  <a:srgbClr val="0289AE"/>
                </a:solidFill>
              </a:rPr>
              <a:t>It looks at:</a:t>
            </a:r>
          </a:p>
          <a:p>
            <a:pPr marL="342900" indent="-342900">
              <a:lnSpc>
                <a:spcPts val="1960"/>
              </a:lnSpc>
              <a:buClr>
                <a:srgbClr val="62A844"/>
              </a:buClr>
              <a:buFont typeface="Arial" panose="020B0604020202020204" pitchFamily="34" charset="0"/>
              <a:buChar char="•"/>
            </a:pPr>
            <a:r>
              <a:rPr lang="en-US" dirty="0">
                <a:solidFill>
                  <a:srgbClr val="262626"/>
                </a:solidFill>
              </a:rPr>
              <a:t>people</a:t>
            </a:r>
          </a:p>
          <a:p>
            <a:pPr marL="342900" indent="-342900">
              <a:lnSpc>
                <a:spcPts val="1960"/>
              </a:lnSpc>
              <a:buClr>
                <a:srgbClr val="62A844"/>
              </a:buClr>
              <a:buFont typeface="Arial" panose="020B0604020202020204" pitchFamily="34" charset="0"/>
              <a:buChar char="•"/>
            </a:pPr>
            <a:r>
              <a:rPr lang="en-US" dirty="0">
                <a:solidFill>
                  <a:srgbClr val="262626"/>
                </a:solidFill>
              </a:rPr>
              <a:t>processes</a:t>
            </a:r>
          </a:p>
          <a:p>
            <a:pPr marL="342900" indent="-342900">
              <a:lnSpc>
                <a:spcPts val="1960"/>
              </a:lnSpc>
              <a:buClr>
                <a:srgbClr val="62A844"/>
              </a:buClr>
              <a:buFont typeface="Arial" panose="020B0604020202020204" pitchFamily="34" charset="0"/>
              <a:buChar char="•"/>
            </a:pPr>
            <a:r>
              <a:rPr lang="en-US" dirty="0">
                <a:solidFill>
                  <a:srgbClr val="262626"/>
                </a:solidFill>
              </a:rPr>
              <a:t>spaces</a:t>
            </a:r>
          </a:p>
          <a:p>
            <a:pPr marL="342900" indent="-342900">
              <a:lnSpc>
                <a:spcPts val="1960"/>
              </a:lnSpc>
              <a:buClr>
                <a:srgbClr val="62A844"/>
              </a:buClr>
              <a:buFont typeface="Arial" panose="020B0604020202020204" pitchFamily="34" charset="0"/>
              <a:buChar char="•"/>
            </a:pPr>
            <a:r>
              <a:rPr lang="en-US" dirty="0">
                <a:solidFill>
                  <a:srgbClr val="262626"/>
                </a:solidFill>
              </a:rPr>
              <a:t>digital channels</a:t>
            </a:r>
          </a:p>
          <a:p>
            <a:pPr marL="342900" indent="-342900">
              <a:lnSpc>
                <a:spcPts val="1960"/>
              </a:lnSpc>
              <a:buClr>
                <a:srgbClr val="62A844"/>
              </a:buClr>
              <a:buFont typeface="Arial" panose="020B0604020202020204" pitchFamily="34" charset="0"/>
              <a:buChar char="•"/>
            </a:pPr>
            <a:r>
              <a:rPr lang="en-US" dirty="0">
                <a:solidFill>
                  <a:srgbClr val="262626"/>
                </a:solidFill>
              </a:rPr>
              <a:t>physical evidence</a:t>
            </a:r>
          </a:p>
          <a:p>
            <a:pPr marL="342900" indent="-342900">
              <a:lnSpc>
                <a:spcPts val="1960"/>
              </a:lnSpc>
              <a:buClr>
                <a:srgbClr val="62A844"/>
              </a:buClr>
              <a:buFont typeface="Arial" panose="020B0604020202020204" pitchFamily="34" charset="0"/>
              <a:buChar char="•"/>
            </a:pPr>
            <a:r>
              <a:rPr lang="en-US" dirty="0">
                <a:solidFill>
                  <a:srgbClr val="262626"/>
                </a:solidFill>
              </a:rPr>
              <a:t>backstage support</a:t>
            </a:r>
          </a:p>
          <a:p>
            <a:pPr>
              <a:lnSpc>
                <a:spcPts val="1960"/>
              </a:lnSpc>
              <a:buClr>
                <a:srgbClr val="62A844"/>
              </a:buClr>
            </a:pPr>
            <a:endParaRPr lang="en-US" dirty="0">
              <a:solidFill>
                <a:srgbClr val="262626"/>
              </a:solidFill>
            </a:endParaRPr>
          </a:p>
          <a:p>
            <a:pPr>
              <a:lnSpc>
                <a:spcPts val="1960"/>
              </a:lnSpc>
              <a:buClr>
                <a:srgbClr val="62A844"/>
              </a:buClr>
            </a:pPr>
            <a:endParaRPr lang="en-US" dirty="0">
              <a:solidFill>
                <a:srgbClr val="262626"/>
              </a:solidFill>
            </a:endParaRPr>
          </a:p>
          <a:p>
            <a:pPr>
              <a:lnSpc>
                <a:spcPts val="1960"/>
              </a:lnSpc>
              <a:buClr>
                <a:srgbClr val="62A844"/>
              </a:buClr>
            </a:pPr>
            <a:endParaRPr lang="en-US" dirty="0">
              <a:solidFill>
                <a:srgbClr val="262626"/>
              </a:solidFill>
            </a:endParaRPr>
          </a:p>
          <a:p>
            <a:pPr>
              <a:lnSpc>
                <a:spcPts val="1960"/>
              </a:lnSpc>
              <a:buClr>
                <a:srgbClr val="62A844"/>
              </a:buClr>
            </a:pPr>
            <a:endParaRPr lang="en-US" dirty="0">
              <a:solidFill>
                <a:srgbClr val="262626"/>
              </a:solidFill>
            </a:endParaRPr>
          </a:p>
          <a:p>
            <a:pPr>
              <a:lnSpc>
                <a:spcPts val="1960"/>
              </a:lnSpc>
              <a:buClr>
                <a:srgbClr val="62A844"/>
              </a:buClr>
            </a:pPr>
            <a:endParaRPr lang="en-US" dirty="0">
              <a:solidFill>
                <a:srgbClr val="262626"/>
              </a:solidFill>
            </a:endParaRPr>
          </a:p>
          <a:p>
            <a:pPr>
              <a:lnSpc>
                <a:spcPts val="1960"/>
              </a:lnSpc>
              <a:buClr>
                <a:srgbClr val="62A844"/>
              </a:buClr>
            </a:pPr>
            <a:endParaRPr lang="en-US" dirty="0">
              <a:solidFill>
                <a:srgbClr val="262626"/>
              </a:solidFill>
            </a:endParaRPr>
          </a:p>
          <a:p>
            <a:pPr>
              <a:lnSpc>
                <a:spcPts val="1960"/>
              </a:lnSpc>
              <a:buClr>
                <a:srgbClr val="62A844"/>
              </a:buClr>
            </a:pPr>
            <a:endParaRPr lang="en-US" dirty="0">
              <a:solidFill>
                <a:srgbClr val="262626"/>
              </a:solidFill>
            </a:endParaRPr>
          </a:p>
          <a:p>
            <a:pPr>
              <a:lnSpc>
                <a:spcPts val="1960"/>
              </a:lnSpc>
              <a:buClr>
                <a:srgbClr val="62A844"/>
              </a:buClr>
            </a:pPr>
            <a:endParaRPr lang="en-US" dirty="0">
              <a:solidFill>
                <a:srgbClr val="262626"/>
              </a:solidFill>
            </a:endParaRPr>
          </a:p>
          <a:p>
            <a:pPr>
              <a:lnSpc>
                <a:spcPts val="1960"/>
              </a:lnSpc>
              <a:buClr>
                <a:srgbClr val="62A844"/>
              </a:buClr>
            </a:pPr>
            <a:r>
              <a:rPr lang="en-US" dirty="0">
                <a:solidFill>
                  <a:srgbClr val="262626"/>
                </a:solidFill>
              </a:rPr>
              <a:t>In hospitality, this means the guest experience is shaped by far more than frontline friendliness</a:t>
            </a:r>
            <a:r>
              <a:rPr lang="en-US" sz="2000" b="1" dirty="0">
                <a:solidFill>
                  <a:srgbClr val="0289AE"/>
                </a:solidFill>
              </a:rPr>
              <a:t>. </a:t>
            </a:r>
          </a:p>
          <a:p>
            <a:pPr>
              <a:lnSpc>
                <a:spcPts val="1960"/>
              </a:lnSpc>
              <a:buClr>
                <a:srgbClr val="62A844"/>
              </a:buClr>
            </a:pPr>
            <a:endParaRPr lang="en-US" sz="2000" b="1" dirty="0">
              <a:solidFill>
                <a:srgbClr val="0289AE"/>
              </a:solidFill>
            </a:endParaRPr>
          </a:p>
          <a:p>
            <a:pPr>
              <a:lnSpc>
                <a:spcPts val="1960"/>
              </a:lnSpc>
              <a:buClr>
                <a:srgbClr val="62A844"/>
              </a:buClr>
            </a:pPr>
            <a:r>
              <a:rPr lang="en-US" sz="2000" b="1" dirty="0">
                <a:solidFill>
                  <a:srgbClr val="0289AE"/>
                </a:solidFill>
              </a:rPr>
              <a:t>It also depends on:</a:t>
            </a:r>
          </a:p>
          <a:p>
            <a:pPr marL="342900" indent="-342900">
              <a:lnSpc>
                <a:spcPts val="1960"/>
              </a:lnSpc>
              <a:buClr>
                <a:srgbClr val="62A844"/>
              </a:buClr>
              <a:buFont typeface="Arial" panose="020B0604020202020204" pitchFamily="34" charset="0"/>
              <a:buChar char="•"/>
            </a:pPr>
            <a:r>
              <a:rPr lang="en-US" dirty="0">
                <a:solidFill>
                  <a:srgbClr val="262626"/>
                </a:solidFill>
              </a:rPr>
              <a:t>booking confirmation</a:t>
            </a:r>
          </a:p>
          <a:p>
            <a:pPr marL="342900" indent="-342900">
              <a:lnSpc>
                <a:spcPts val="1960"/>
              </a:lnSpc>
              <a:buClr>
                <a:srgbClr val="62A844"/>
              </a:buClr>
              <a:buFont typeface="Arial" panose="020B0604020202020204" pitchFamily="34" charset="0"/>
              <a:buChar char="•"/>
            </a:pPr>
            <a:r>
              <a:rPr lang="en-US" dirty="0">
                <a:solidFill>
                  <a:srgbClr val="262626"/>
                </a:solidFill>
              </a:rPr>
              <a:t>signage</a:t>
            </a:r>
          </a:p>
          <a:p>
            <a:pPr marL="342900" indent="-342900">
              <a:lnSpc>
                <a:spcPts val="1960"/>
              </a:lnSpc>
              <a:buClr>
                <a:srgbClr val="62A844"/>
              </a:buClr>
              <a:buFont typeface="Arial" panose="020B0604020202020204" pitchFamily="34" charset="0"/>
              <a:buChar char="•"/>
            </a:pPr>
            <a:r>
              <a:rPr lang="en-US" dirty="0">
                <a:solidFill>
                  <a:srgbClr val="262626"/>
                </a:solidFill>
              </a:rPr>
              <a:t>check-in flow</a:t>
            </a:r>
          </a:p>
          <a:p>
            <a:pPr marL="342900" indent="-342900">
              <a:lnSpc>
                <a:spcPts val="1960"/>
              </a:lnSpc>
              <a:buClr>
                <a:srgbClr val="62A844"/>
              </a:buClr>
              <a:buFont typeface="Arial" panose="020B0604020202020204" pitchFamily="34" charset="0"/>
              <a:buChar char="•"/>
            </a:pPr>
            <a:r>
              <a:rPr lang="en-US" dirty="0">
                <a:solidFill>
                  <a:srgbClr val="262626"/>
                </a:solidFill>
              </a:rPr>
              <a:t>housekeeping options</a:t>
            </a:r>
          </a:p>
          <a:p>
            <a:pPr marL="342900" indent="-342900">
              <a:lnSpc>
                <a:spcPts val="1960"/>
              </a:lnSpc>
              <a:buClr>
                <a:srgbClr val="62A844"/>
              </a:buClr>
              <a:buFont typeface="Arial" panose="020B0604020202020204" pitchFamily="34" charset="0"/>
              <a:buChar char="•"/>
            </a:pPr>
            <a:r>
              <a:rPr lang="en-US" dirty="0">
                <a:solidFill>
                  <a:srgbClr val="262626"/>
                </a:solidFill>
              </a:rPr>
              <a:t>menu explanation</a:t>
            </a:r>
          </a:p>
          <a:p>
            <a:pPr marL="342900" indent="-342900">
              <a:lnSpc>
                <a:spcPts val="1960"/>
              </a:lnSpc>
              <a:buClr>
                <a:srgbClr val="62A844"/>
              </a:buClr>
              <a:buFont typeface="Arial" panose="020B0604020202020204" pitchFamily="34" charset="0"/>
              <a:buChar char="•"/>
            </a:pPr>
            <a:r>
              <a:rPr lang="en-US" dirty="0">
                <a:solidFill>
                  <a:srgbClr val="262626"/>
                </a:solidFill>
              </a:rPr>
              <a:t>staff coordination</a:t>
            </a:r>
          </a:p>
          <a:p>
            <a:pPr marL="342900" indent="-342900">
              <a:lnSpc>
                <a:spcPts val="1960"/>
              </a:lnSpc>
              <a:buClr>
                <a:srgbClr val="62A844"/>
              </a:buClr>
              <a:buFont typeface="Arial" panose="020B0604020202020204" pitchFamily="34" charset="0"/>
              <a:buChar char="•"/>
            </a:pPr>
            <a:r>
              <a:rPr lang="en-US" dirty="0">
                <a:solidFill>
                  <a:srgbClr val="262626"/>
                </a:solidFill>
              </a:rPr>
              <a:t>follow-up after departure</a:t>
            </a:r>
          </a:p>
        </p:txBody>
      </p:sp>
      <p:sp>
        <p:nvSpPr>
          <p:cNvPr id="8" name="TextBox 97">
            <a:extLst>
              <a:ext uri="{FF2B5EF4-FFF2-40B4-BE49-F238E27FC236}">
                <a16:creationId xmlns:a16="http://schemas.microsoft.com/office/drawing/2014/main" id="{65BE6D39-A026-2D4C-F9AD-639F33613D63}"/>
              </a:ext>
            </a:extLst>
          </p:cNvPr>
          <p:cNvSpPr txBox="1"/>
          <p:nvPr/>
        </p:nvSpPr>
        <p:spPr>
          <a:xfrm>
            <a:off x="586943" y="5880339"/>
            <a:ext cx="7145115" cy="900631"/>
          </a:xfrm>
          <a:prstGeom prst="rect">
            <a:avLst/>
          </a:prstGeom>
          <a:noFill/>
        </p:spPr>
        <p:txBody>
          <a:bodyPr wrap="square">
            <a:spAutoFit/>
          </a:bodyPr>
          <a:lstStyle/>
          <a:p>
            <a:pPr>
              <a:lnSpc>
                <a:spcPts val="2100"/>
              </a:lnSpc>
            </a:pPr>
            <a:r>
              <a:rPr lang="en-US" sz="2000" b="1" dirty="0">
                <a:solidFill>
                  <a:srgbClr val="62A844"/>
                </a:solidFill>
              </a:rPr>
              <a:t>If we want sustainable guest experiences, we must design both the visible experience and the system behind it.</a:t>
            </a:r>
          </a:p>
          <a:p>
            <a:pPr>
              <a:lnSpc>
                <a:spcPts val="2100"/>
              </a:lnSpc>
            </a:pPr>
            <a:endParaRPr lang="en-US" sz="2000" dirty="0">
              <a:solidFill>
                <a:srgbClr val="62A844"/>
              </a:solidFill>
            </a:endParaRPr>
          </a:p>
        </p:txBody>
      </p:sp>
    </p:spTree>
    <p:extLst>
      <p:ext uri="{BB962C8B-B14F-4D97-AF65-F5344CB8AC3E}">
        <p14:creationId xmlns:p14="http://schemas.microsoft.com/office/powerpoint/2010/main" val="413931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79EC16-D073-93C8-1BE3-473BD86CCDE8}"/>
            </a:ext>
          </a:extLst>
        </p:cNvPr>
        <p:cNvGrpSpPr/>
        <p:nvPr/>
      </p:nvGrpSpPr>
      <p:grpSpPr>
        <a:xfrm>
          <a:off x="0" y="0"/>
          <a:ext cx="0" cy="0"/>
          <a:chOff x="0" y="0"/>
          <a:chExt cx="0" cy="0"/>
        </a:xfrm>
      </p:grpSpPr>
      <p:sp>
        <p:nvSpPr>
          <p:cNvPr id="3" name="Freeform 2">
            <a:extLst>
              <a:ext uri="{FF2B5EF4-FFF2-40B4-BE49-F238E27FC236}">
                <a16:creationId xmlns:a16="http://schemas.microsoft.com/office/drawing/2014/main" id="{3F86E45E-AC3E-CD3A-072C-881FA781AC22}"/>
              </a:ext>
            </a:extLst>
          </p:cNvPr>
          <p:cNvSpPr/>
          <p:nvPr/>
        </p:nvSpPr>
        <p:spPr>
          <a:xfrm>
            <a:off x="0" y="1337196"/>
            <a:ext cx="12192000" cy="918882"/>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46B91020-2C07-D680-11E3-61CB94BA69B4}"/>
              </a:ext>
            </a:extLst>
          </p:cNvPr>
          <p:cNvSpPr txBox="1"/>
          <p:nvPr/>
        </p:nvSpPr>
        <p:spPr>
          <a:xfrm>
            <a:off x="711413" y="3196842"/>
            <a:ext cx="6955004" cy="3554819"/>
          </a:xfrm>
          <a:prstGeom prst="rect">
            <a:avLst/>
          </a:prstGeom>
          <a:noFill/>
        </p:spPr>
        <p:txBody>
          <a:bodyPr wrap="square" lIns="91440" tIns="45720" rIns="91440" bIns="45720" rtlCol="0" anchor="t">
            <a:spAutoFit/>
          </a:bodyPr>
          <a:lstStyle/>
          <a:p>
            <a:pPr>
              <a:lnSpc>
                <a:spcPts val="2680"/>
              </a:lnSpc>
            </a:pPr>
            <a:r>
              <a:rPr lang="en-US" sz="2400" dirty="0">
                <a:solidFill>
                  <a:srgbClr val="262626"/>
                </a:solidFill>
              </a:rPr>
              <a:t>Both the Interaction Design Foundation and Service Design Network describe service design as a way to create holistic, sustainable, user-</a:t>
            </a:r>
            <a:r>
              <a:rPr lang="en-US" sz="2400" dirty="0" err="1">
                <a:solidFill>
                  <a:srgbClr val="262626"/>
                </a:solidFill>
              </a:rPr>
              <a:t>centred</a:t>
            </a:r>
            <a:r>
              <a:rPr lang="en-US" sz="2400" dirty="0">
                <a:solidFill>
                  <a:srgbClr val="262626"/>
                </a:solidFill>
              </a:rPr>
              <a:t> solutions across service systems. </a:t>
            </a:r>
          </a:p>
          <a:p>
            <a:pPr>
              <a:lnSpc>
                <a:spcPts val="2680"/>
              </a:lnSpc>
            </a:pPr>
            <a:endParaRPr lang="en-US" sz="2400" dirty="0">
              <a:solidFill>
                <a:srgbClr val="262626"/>
              </a:solidFill>
              <a:hlinkClick r:id="rId3">
                <a:extLst>
                  <a:ext uri="{A12FA001-AC4F-418D-AE19-62706E023703}">
                    <ahyp:hlinkClr xmlns:ahyp="http://schemas.microsoft.com/office/drawing/2018/hyperlinkcolor" val="tx"/>
                  </a:ext>
                </a:extLst>
              </a:hlinkClick>
            </a:endParaRPr>
          </a:p>
          <a:p>
            <a:pPr>
              <a:lnSpc>
                <a:spcPts val="2680"/>
              </a:lnSpc>
            </a:pPr>
            <a:r>
              <a:rPr lang="de-DE" sz="2400" dirty="0">
                <a:solidFill>
                  <a:srgbClr val="262626"/>
                </a:solidFill>
                <a:hlinkClick r:id="rId3">
                  <a:extLst>
                    <a:ext uri="{A12FA001-AC4F-418D-AE19-62706E023703}">
                      <ahyp:hlinkClr xmlns:ahyp="http://schemas.microsoft.com/office/drawing/2018/hyperlinkcolor" val="tx"/>
                    </a:ext>
                  </a:extLst>
                </a:hlinkClick>
              </a:rPr>
              <a:t>https://www.service-design-network.org/community-knowledge/what-is-service-design</a:t>
            </a:r>
          </a:p>
          <a:p>
            <a:pPr>
              <a:lnSpc>
                <a:spcPts val="2680"/>
              </a:lnSpc>
            </a:pPr>
            <a:endParaRPr lang="de-DE" sz="2400" dirty="0">
              <a:solidFill>
                <a:srgbClr val="262626"/>
              </a:solidFill>
              <a:hlinkClick r:id="rId3">
                <a:extLst>
                  <a:ext uri="{A12FA001-AC4F-418D-AE19-62706E023703}">
                    <ahyp:hlinkClr xmlns:ahyp="http://schemas.microsoft.com/office/drawing/2018/hyperlinkcolor" val="tx"/>
                  </a:ext>
                </a:extLst>
              </a:hlinkClick>
            </a:endParaRPr>
          </a:p>
          <a:p>
            <a:pPr>
              <a:lnSpc>
                <a:spcPts val="2680"/>
              </a:lnSpc>
            </a:pPr>
            <a:r>
              <a:rPr lang="de-DE" sz="2400" dirty="0">
                <a:solidFill>
                  <a:srgbClr val="262626"/>
                </a:solidFill>
                <a:hlinkClick r:id="rId4">
                  <a:extLst>
                    <a:ext uri="{A12FA001-AC4F-418D-AE19-62706E023703}">
                      <ahyp:hlinkClr xmlns:ahyp="http://schemas.microsoft.com/office/drawing/2018/hyperlinkcolor" val="tx"/>
                    </a:ext>
                  </a:extLst>
                </a:hlinkClick>
              </a:rPr>
              <a:t>https://ixdf.org/literature/topics/service-design</a:t>
            </a:r>
            <a:endParaRPr lang="de-DE" sz="2400" dirty="0">
              <a:solidFill>
                <a:srgbClr val="262626"/>
              </a:solidFill>
            </a:endParaRPr>
          </a:p>
          <a:p>
            <a:pPr>
              <a:lnSpc>
                <a:spcPts val="2680"/>
              </a:lnSpc>
            </a:pPr>
            <a:endParaRPr lang="de-DE" sz="2400" dirty="0">
              <a:solidFill>
                <a:srgbClr val="262626"/>
              </a:solidFill>
            </a:endParaRPr>
          </a:p>
        </p:txBody>
      </p:sp>
      <p:sp>
        <p:nvSpPr>
          <p:cNvPr id="8" name="TextBox 7">
            <a:extLst>
              <a:ext uri="{FF2B5EF4-FFF2-40B4-BE49-F238E27FC236}">
                <a16:creationId xmlns:a16="http://schemas.microsoft.com/office/drawing/2014/main" id="{F3A04D4C-E9A7-0FB1-5E20-C1DB4E2B8F58}"/>
              </a:ext>
            </a:extLst>
          </p:cNvPr>
          <p:cNvSpPr txBox="1"/>
          <p:nvPr/>
        </p:nvSpPr>
        <p:spPr>
          <a:xfrm>
            <a:off x="711412" y="1501363"/>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4" name="Graphic 4">
            <a:extLst>
              <a:ext uri="{FF2B5EF4-FFF2-40B4-BE49-F238E27FC236}">
                <a16:creationId xmlns:a16="http://schemas.microsoft.com/office/drawing/2014/main" id="{BD1FBFD0-D05F-2210-C5BA-8C91C8BFA0DF}"/>
              </a:ext>
            </a:extLst>
          </p:cNvPr>
          <p:cNvSpPr/>
          <p:nvPr/>
        </p:nvSpPr>
        <p:spPr>
          <a:xfrm rot="5400000">
            <a:off x="1314218" y="1425507"/>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52F7A67A-55A2-B6F1-1A41-53BA75A722E4}"/>
              </a:ext>
            </a:extLst>
          </p:cNvPr>
          <p:cNvPicPr>
            <a:picLocks noChangeAspect="1"/>
          </p:cNvPicPr>
          <p:nvPr/>
        </p:nvPicPr>
        <p:blipFill>
          <a:blip>
            <a:extLst>
              <a:ext uri="{96DAC541-7B7A-43D3-8B79-37D633B846F1}">
                <asvg:svgBlip xmlns:asvg="http://schemas.microsoft.com/office/drawing/2016/SVG/main" r:embed="rId5"/>
              </a:ext>
            </a:extLst>
          </a:blip>
          <a:srcRect l="32264" t="48938" r="39869" b="41747"/>
          <a:stretch>
            <a:fillRect/>
          </a:stretch>
        </p:blipFill>
        <p:spPr>
          <a:xfrm>
            <a:off x="5458250" y="0"/>
            <a:ext cx="6754568" cy="3196842"/>
          </a:xfrm>
          <a:prstGeom prst="rect">
            <a:avLst/>
          </a:prstGeom>
        </p:spPr>
      </p:pic>
      <p:pic>
        <p:nvPicPr>
          <p:cNvPr id="16" name="Picture 15" descr="iPhone6_mockup_front_white.png">
            <a:extLst>
              <a:ext uri="{FF2B5EF4-FFF2-40B4-BE49-F238E27FC236}">
                <a16:creationId xmlns:a16="http://schemas.microsoft.com/office/drawing/2014/main" id="{08A4E00D-5BD4-8098-1E96-CA779DFE7B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90358" y="226918"/>
            <a:ext cx="4094254" cy="6404164"/>
          </a:xfrm>
          <a:prstGeom prst="rect">
            <a:avLst/>
          </a:prstGeom>
        </p:spPr>
      </p:pic>
      <p:pic>
        <p:nvPicPr>
          <p:cNvPr id="9" name="Bildplatzhalter 5">
            <a:extLst>
              <a:ext uri="{FF2B5EF4-FFF2-40B4-BE49-F238E27FC236}">
                <a16:creationId xmlns:a16="http://schemas.microsoft.com/office/drawing/2014/main" id="{8C9BD16C-8E37-391E-4C12-D1F42E9D8C25}"/>
              </a:ext>
            </a:extLst>
          </p:cNvPr>
          <p:cNvPicPr>
            <a:picLocks noChangeAspect="1"/>
          </p:cNvPicPr>
          <p:nvPr/>
        </p:nvPicPr>
        <p:blipFill>
          <a:blip r:embed="rId7" cstate="screen">
            <a:extLst>
              <a:ext uri="{28A0092B-C50C-407E-A947-70E740481C1C}">
                <a14:useLocalDpi xmlns:a14="http://schemas.microsoft.com/office/drawing/2010/main"/>
              </a:ext>
            </a:extLst>
          </a:blip>
          <a:srcRect l="2411" r="2411"/>
          <a:stretch/>
        </p:blipFill>
        <p:spPr>
          <a:xfrm>
            <a:off x="8796057" y="1255266"/>
            <a:ext cx="2444127" cy="4336988"/>
          </a:xfrm>
          <a:prstGeom prst="rect">
            <a:avLst/>
          </a:prstGeom>
          <a:solidFill>
            <a:srgbClr val="FFFFFF">
              <a:lumMod val="85000"/>
            </a:srgbClr>
          </a:solidFill>
        </p:spPr>
      </p:pic>
      <p:grpSp>
        <p:nvGrpSpPr>
          <p:cNvPr id="10" name="Group 9">
            <a:extLst>
              <a:ext uri="{FF2B5EF4-FFF2-40B4-BE49-F238E27FC236}">
                <a16:creationId xmlns:a16="http://schemas.microsoft.com/office/drawing/2014/main" id="{7D40BF82-A9B5-72BB-0CD5-3CD9D205D520}"/>
              </a:ext>
            </a:extLst>
          </p:cNvPr>
          <p:cNvGrpSpPr/>
          <p:nvPr/>
        </p:nvGrpSpPr>
        <p:grpSpPr>
          <a:xfrm rot="21145702">
            <a:off x="7703000" y="3513559"/>
            <a:ext cx="1456095" cy="1406604"/>
            <a:chOff x="7777737" y="4274827"/>
            <a:chExt cx="1456095" cy="1406604"/>
          </a:xfrm>
        </p:grpSpPr>
        <p:sp>
          <p:nvSpPr>
            <p:cNvPr id="11" name="Oval 10">
              <a:extLst>
                <a:ext uri="{FF2B5EF4-FFF2-40B4-BE49-F238E27FC236}">
                  <a16:creationId xmlns:a16="http://schemas.microsoft.com/office/drawing/2014/main" id="{BA27202F-16B2-FD56-2AF3-FF8D74F274BD}"/>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C03BC22-5BDF-63AB-6A83-780A3B0F80A4}"/>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8">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39295889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3F30C-59EC-F986-AE52-0B8D74112A8E}"/>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C8D8741A-CFEE-6B01-DE0C-5DAE9D13BD34}"/>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Coco Hotel, Copenhage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5FF357F1-C28E-65B4-95C5-C7492D5082C5}"/>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0E329FDF-1688-B0F9-2260-3D76B83E84E7}"/>
              </a:ext>
            </a:extLst>
          </p:cNvPr>
          <p:cNvSpPr/>
          <p:nvPr/>
        </p:nvSpPr>
        <p:spPr>
          <a:xfrm flipH="1">
            <a:off x="440913" y="904179"/>
            <a:ext cx="6793605" cy="5632311"/>
          </a:xfrm>
          <a:prstGeom prst="rect">
            <a:avLst/>
          </a:prstGeom>
        </p:spPr>
        <p:txBody>
          <a:bodyPr wrap="square" numCol="1" spcCol="216000">
            <a:spAutoFit/>
          </a:bodyPr>
          <a:lstStyle/>
          <a:p>
            <a:r>
              <a:rPr lang="en-GB" sz="2000" dirty="0"/>
              <a:t>Coco Hotel demonstrates how sustainability can become part of the emotional atmosphere of a stay rather than a separate environmental message. Guests encounter sustainability through design cues, convenience, and spatial experience long before they read a policy statement. The hotel combines mobile-first check-in, renewable energy, low-plastic amenities, in-room sorting, and bike-friendly mobility support within a carefully designed boutique environment. </a:t>
            </a:r>
          </a:p>
          <a:p>
            <a:endParaRPr lang="en-GB" sz="2000" dirty="0"/>
          </a:p>
          <a:p>
            <a:r>
              <a:rPr lang="en-GB" sz="2000" dirty="0"/>
              <a:t>This reflects the </a:t>
            </a:r>
            <a:r>
              <a:rPr lang="en-GB" sz="2000" dirty="0" err="1"/>
              <a:t>servicescape</a:t>
            </a:r>
            <a:r>
              <a:rPr lang="en-GB" sz="2000" dirty="0"/>
              <a:t> principle: guests interpret quality, care, and credibility through the physical and communicative environment itself. At Coco Hotel, sustainability is communicated through consistency of experience rather than heavy explanation. </a:t>
            </a:r>
          </a:p>
          <a:p>
            <a:endParaRPr lang="en-GB" sz="2000" dirty="0"/>
          </a:p>
          <a:p>
            <a:r>
              <a:rPr lang="en-GB" sz="2000" b="1" dirty="0">
                <a:solidFill>
                  <a:srgbClr val="62A844"/>
                </a:solidFill>
              </a:rPr>
              <a:t>Key Learning: </a:t>
            </a:r>
            <a:r>
              <a:rPr lang="en-GB" sz="2000" dirty="0"/>
              <a:t>Guests often decide whether sustainability feels authentic through atmosphere, coherence, and visible operational detail rather than through formal claims alone.</a:t>
            </a:r>
          </a:p>
        </p:txBody>
      </p:sp>
      <p:pic>
        <p:nvPicPr>
          <p:cNvPr id="6" name="Picture 5">
            <a:extLst>
              <a:ext uri="{FF2B5EF4-FFF2-40B4-BE49-F238E27FC236}">
                <a16:creationId xmlns:a16="http://schemas.microsoft.com/office/drawing/2014/main" id="{3023513E-9B1C-D458-984C-0713147F3CAB}"/>
              </a:ext>
            </a:extLst>
          </p:cNvPr>
          <p:cNvPicPr>
            <a:picLocks noChangeAspect="1"/>
          </p:cNvPicPr>
          <p:nvPr/>
        </p:nvPicPr>
        <p:blipFill>
          <a:blip r:embed="rId3"/>
          <a:stretch>
            <a:fillRect/>
          </a:stretch>
        </p:blipFill>
        <p:spPr>
          <a:xfrm>
            <a:off x="7501790" y="114301"/>
            <a:ext cx="4690210" cy="6689911"/>
          </a:xfrm>
          <a:prstGeom prst="rect">
            <a:avLst/>
          </a:prstGeom>
        </p:spPr>
      </p:pic>
      <p:pic>
        <p:nvPicPr>
          <p:cNvPr id="10" name="Picture 9">
            <a:extLst>
              <a:ext uri="{FF2B5EF4-FFF2-40B4-BE49-F238E27FC236}">
                <a16:creationId xmlns:a16="http://schemas.microsoft.com/office/drawing/2014/main" id="{F1A9DF49-FA5E-A035-7823-6E819F0CCD2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spTree>
    <p:extLst>
      <p:ext uri="{BB962C8B-B14F-4D97-AF65-F5344CB8AC3E}">
        <p14:creationId xmlns:p14="http://schemas.microsoft.com/office/powerpoint/2010/main" val="2724010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C9F44-52CA-4C69-5E70-3AE83F9F18AF}"/>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5B68FF0A-5A14-0772-97FF-1301D5F59E45}"/>
              </a:ext>
            </a:extLst>
          </p:cNvPr>
          <p:cNvPicPr>
            <a:picLocks noChangeAspect="1"/>
          </p:cNvPicPr>
          <p:nvPr/>
        </p:nvPicPr>
        <p:blipFill>
          <a:blip r:embed="rId3" cstate="screen">
            <a:extLst>
              <a:ext uri="{28A0092B-C50C-407E-A947-70E740481C1C}">
                <a14:useLocalDpi xmlns:a14="http://schemas.microsoft.com/office/drawing/2010/main"/>
              </a:ext>
            </a:extLst>
          </a:blip>
          <a:srcRect r="7855"/>
          <a:stretch>
            <a:fillRect/>
          </a:stretch>
        </p:blipFill>
        <p:spPr>
          <a:xfrm>
            <a:off x="6622703" y="1889685"/>
            <a:ext cx="4750706" cy="5037622"/>
          </a:xfrm>
          <a:prstGeom prst="rect">
            <a:avLst/>
          </a:prstGeom>
        </p:spPr>
      </p:pic>
      <p:sp>
        <p:nvSpPr>
          <p:cNvPr id="2" name="Text Placeholder 11">
            <a:extLst>
              <a:ext uri="{FF2B5EF4-FFF2-40B4-BE49-F238E27FC236}">
                <a16:creationId xmlns:a16="http://schemas.microsoft.com/office/drawing/2014/main" id="{F2773472-3A3C-1CF3-BE20-E7FB3E33623E}"/>
              </a:ext>
            </a:extLst>
          </p:cNvPr>
          <p:cNvSpPr txBox="1">
            <a:spLocks/>
          </p:cNvSpPr>
          <p:nvPr/>
        </p:nvSpPr>
        <p:spPr>
          <a:xfrm>
            <a:off x="429115" y="561947"/>
            <a:ext cx="814186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cs typeface="Times New Roman" panose="02020603050405020304" pitchFamily="18" charset="0"/>
              </a:rPr>
              <a:t>The Space Speaks Before the Staff Do</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D7E06CE-959E-FE2B-2AB4-4940AB238068}"/>
              </a:ext>
            </a:extLst>
          </p:cNvPr>
          <p:cNvCxnSpPr>
            <a:cxnSpLocks/>
          </p:cNvCxnSpPr>
          <p:nvPr/>
        </p:nvCxnSpPr>
        <p:spPr>
          <a:xfrm>
            <a:off x="71120" y="125435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8DD6F1B4-D631-B4E7-D7DE-3AB8E3F97B2B}"/>
              </a:ext>
            </a:extLst>
          </p:cNvPr>
          <p:cNvSpPr/>
          <p:nvPr/>
        </p:nvSpPr>
        <p:spPr>
          <a:xfrm flipH="1">
            <a:off x="586944" y="2844224"/>
            <a:ext cx="6736314" cy="2657138"/>
          </a:xfrm>
          <a:prstGeom prst="rect">
            <a:avLst/>
          </a:prstGeom>
        </p:spPr>
        <p:txBody>
          <a:bodyPr wrap="square" numCol="2" spcCol="216000">
            <a:spAutoFit/>
          </a:bodyPr>
          <a:lstStyle/>
          <a:p>
            <a:pPr>
              <a:lnSpc>
                <a:spcPts val="1960"/>
              </a:lnSpc>
              <a:buClr>
                <a:srgbClr val="62A844"/>
              </a:buClr>
            </a:pPr>
            <a:r>
              <a:rPr lang="en-US" sz="2000" b="1" dirty="0">
                <a:solidFill>
                  <a:srgbClr val="0289AE"/>
                </a:solidFill>
              </a:rPr>
              <a:t>They notice:</a:t>
            </a:r>
          </a:p>
          <a:p>
            <a:pPr marL="285750" indent="-285750">
              <a:lnSpc>
                <a:spcPts val="1960"/>
              </a:lnSpc>
              <a:buClr>
                <a:srgbClr val="62A844"/>
              </a:buClr>
              <a:buFont typeface="Arial" panose="020B0604020202020204" pitchFamily="34" charset="0"/>
              <a:buChar char="•"/>
            </a:pPr>
            <a:r>
              <a:rPr lang="en-US" dirty="0">
                <a:solidFill>
                  <a:srgbClr val="262626"/>
                </a:solidFill>
              </a:rPr>
              <a:t>materials</a:t>
            </a:r>
          </a:p>
          <a:p>
            <a:pPr marL="285750" indent="-285750">
              <a:lnSpc>
                <a:spcPts val="1960"/>
              </a:lnSpc>
              <a:buClr>
                <a:srgbClr val="62A844"/>
              </a:buClr>
              <a:buFont typeface="Arial" panose="020B0604020202020204" pitchFamily="34" charset="0"/>
              <a:buChar char="•"/>
            </a:pPr>
            <a:r>
              <a:rPr lang="en-US" dirty="0">
                <a:solidFill>
                  <a:srgbClr val="262626"/>
                </a:solidFill>
              </a:rPr>
              <a:t>lighting</a:t>
            </a:r>
          </a:p>
          <a:p>
            <a:pPr marL="285750" indent="-285750">
              <a:lnSpc>
                <a:spcPts val="1960"/>
              </a:lnSpc>
              <a:buClr>
                <a:srgbClr val="62A844"/>
              </a:buClr>
              <a:buFont typeface="Arial" panose="020B0604020202020204" pitchFamily="34" charset="0"/>
              <a:buChar char="•"/>
            </a:pPr>
            <a:r>
              <a:rPr lang="en-US" dirty="0">
                <a:solidFill>
                  <a:srgbClr val="262626"/>
                </a:solidFill>
              </a:rPr>
              <a:t>cleanliness</a:t>
            </a:r>
          </a:p>
          <a:p>
            <a:pPr marL="285750" indent="-285750">
              <a:lnSpc>
                <a:spcPts val="1960"/>
              </a:lnSpc>
              <a:buClr>
                <a:srgbClr val="62A844"/>
              </a:buClr>
              <a:buFont typeface="Arial" panose="020B0604020202020204" pitchFamily="34" charset="0"/>
              <a:buChar char="•"/>
            </a:pPr>
            <a:r>
              <a:rPr lang="en-US" dirty="0">
                <a:solidFill>
                  <a:srgbClr val="262626"/>
                </a:solidFill>
              </a:rPr>
              <a:t>scent</a:t>
            </a:r>
          </a:p>
          <a:p>
            <a:pPr marL="285750" indent="-285750">
              <a:lnSpc>
                <a:spcPts val="1960"/>
              </a:lnSpc>
              <a:buClr>
                <a:srgbClr val="62A844"/>
              </a:buClr>
              <a:buFont typeface="Arial" panose="020B0604020202020204" pitchFamily="34" charset="0"/>
              <a:buChar char="•"/>
            </a:pPr>
            <a:r>
              <a:rPr lang="en-US" dirty="0">
                <a:solidFill>
                  <a:srgbClr val="262626"/>
                </a:solidFill>
              </a:rPr>
              <a:t>refill stations</a:t>
            </a:r>
          </a:p>
          <a:p>
            <a:pPr marL="285750" indent="-285750">
              <a:lnSpc>
                <a:spcPts val="1960"/>
              </a:lnSpc>
              <a:buClr>
                <a:srgbClr val="62A844"/>
              </a:buClr>
              <a:buFont typeface="Arial" panose="020B0604020202020204" pitchFamily="34" charset="0"/>
              <a:buChar char="•"/>
            </a:pPr>
            <a:r>
              <a:rPr lang="en-US" dirty="0">
                <a:solidFill>
                  <a:srgbClr val="262626"/>
                </a:solidFill>
              </a:rPr>
              <a:t>menu presentation</a:t>
            </a:r>
          </a:p>
          <a:p>
            <a:pPr marL="285750" indent="-285750">
              <a:lnSpc>
                <a:spcPts val="1960"/>
              </a:lnSpc>
              <a:buClr>
                <a:srgbClr val="62A844"/>
              </a:buClr>
              <a:buFont typeface="Arial" panose="020B0604020202020204" pitchFamily="34" charset="0"/>
              <a:buChar char="•"/>
            </a:pPr>
            <a:r>
              <a:rPr lang="en-US" dirty="0">
                <a:solidFill>
                  <a:srgbClr val="262626"/>
                </a:solidFill>
              </a:rPr>
              <a:t>uniforms</a:t>
            </a:r>
          </a:p>
          <a:p>
            <a:pPr marL="285750" indent="-285750">
              <a:lnSpc>
                <a:spcPts val="1960"/>
              </a:lnSpc>
              <a:buClr>
                <a:srgbClr val="62A844"/>
              </a:buClr>
              <a:buFont typeface="Arial" panose="020B0604020202020204" pitchFamily="34" charset="0"/>
              <a:buChar char="•"/>
            </a:pPr>
            <a:r>
              <a:rPr lang="en-US" dirty="0">
                <a:solidFill>
                  <a:srgbClr val="262626"/>
                </a:solidFill>
              </a:rPr>
              <a:t>signage</a:t>
            </a:r>
          </a:p>
          <a:p>
            <a:pPr marL="285750" indent="-285750">
              <a:lnSpc>
                <a:spcPts val="1960"/>
              </a:lnSpc>
              <a:buClr>
                <a:srgbClr val="62A844"/>
              </a:buClr>
              <a:buFont typeface="Arial" panose="020B0604020202020204" pitchFamily="34" charset="0"/>
              <a:buChar char="•"/>
            </a:pPr>
            <a:r>
              <a:rPr lang="en-US" dirty="0">
                <a:solidFill>
                  <a:srgbClr val="262626"/>
                </a:solidFill>
              </a:rPr>
              <a:t>digital interfaces. </a:t>
            </a:r>
          </a:p>
          <a:p>
            <a:pPr>
              <a:lnSpc>
                <a:spcPts val="1960"/>
              </a:lnSpc>
              <a:buClr>
                <a:srgbClr val="62A844"/>
              </a:buClr>
            </a:pPr>
            <a:r>
              <a:rPr lang="en-US" sz="2000" b="1" dirty="0">
                <a:solidFill>
                  <a:srgbClr val="0289AE"/>
                </a:solidFill>
              </a:rPr>
              <a:t>These details quietly communicate whether the experience feels:</a:t>
            </a:r>
          </a:p>
          <a:p>
            <a:pPr marL="285750" indent="-285750">
              <a:lnSpc>
                <a:spcPts val="1960"/>
              </a:lnSpc>
              <a:buClr>
                <a:srgbClr val="62A844"/>
              </a:buClr>
              <a:buFont typeface="Arial" panose="020B0604020202020204" pitchFamily="34" charset="0"/>
              <a:buChar char="•"/>
            </a:pPr>
            <a:r>
              <a:rPr lang="en-US" dirty="0">
                <a:solidFill>
                  <a:srgbClr val="262626"/>
                </a:solidFill>
              </a:rPr>
              <a:t>premium or cheap</a:t>
            </a:r>
          </a:p>
          <a:p>
            <a:pPr marL="285750" indent="-285750">
              <a:lnSpc>
                <a:spcPts val="1960"/>
              </a:lnSpc>
              <a:buClr>
                <a:srgbClr val="62A844"/>
              </a:buClr>
              <a:buFont typeface="Arial" panose="020B0604020202020204" pitchFamily="34" charset="0"/>
              <a:buChar char="•"/>
            </a:pPr>
            <a:r>
              <a:rPr lang="en-US" dirty="0">
                <a:solidFill>
                  <a:srgbClr val="262626"/>
                </a:solidFill>
              </a:rPr>
              <a:t>caring or careless</a:t>
            </a:r>
          </a:p>
          <a:p>
            <a:pPr marL="285750" indent="-285750">
              <a:lnSpc>
                <a:spcPts val="1960"/>
              </a:lnSpc>
              <a:buClr>
                <a:srgbClr val="62A844"/>
              </a:buClr>
              <a:buFont typeface="Arial" panose="020B0604020202020204" pitchFamily="34" charset="0"/>
              <a:buChar char="•"/>
            </a:pPr>
            <a:r>
              <a:rPr lang="en-US" dirty="0">
                <a:solidFill>
                  <a:srgbClr val="262626"/>
                </a:solidFill>
              </a:rPr>
              <a:t>local or generic</a:t>
            </a:r>
          </a:p>
          <a:p>
            <a:pPr marL="285750" indent="-285750">
              <a:lnSpc>
                <a:spcPts val="1960"/>
              </a:lnSpc>
              <a:buClr>
                <a:srgbClr val="62A844"/>
              </a:buClr>
              <a:buFont typeface="Arial" panose="020B0604020202020204" pitchFamily="34" charset="0"/>
              <a:buChar char="•"/>
            </a:pPr>
            <a:r>
              <a:rPr lang="en-US" dirty="0">
                <a:solidFill>
                  <a:srgbClr val="262626"/>
                </a:solidFill>
              </a:rPr>
              <a:t>trustworthy or performative</a:t>
            </a:r>
          </a:p>
          <a:p>
            <a:pPr marL="285750" indent="-285750">
              <a:lnSpc>
                <a:spcPts val="1960"/>
              </a:lnSpc>
              <a:buClr>
                <a:srgbClr val="62A844"/>
              </a:buClr>
              <a:buFont typeface="Arial" panose="020B0604020202020204" pitchFamily="34" charset="0"/>
              <a:buChar char="•"/>
            </a:pPr>
            <a:endParaRPr lang="en-US" dirty="0">
              <a:solidFill>
                <a:srgbClr val="262626"/>
              </a:solidFill>
            </a:endParaRPr>
          </a:p>
        </p:txBody>
      </p:sp>
      <p:sp>
        <p:nvSpPr>
          <p:cNvPr id="8" name="TextBox 97">
            <a:extLst>
              <a:ext uri="{FF2B5EF4-FFF2-40B4-BE49-F238E27FC236}">
                <a16:creationId xmlns:a16="http://schemas.microsoft.com/office/drawing/2014/main" id="{ED9A5EEB-3113-0594-BD69-A90F30C2FD16}"/>
              </a:ext>
            </a:extLst>
          </p:cNvPr>
          <p:cNvSpPr txBox="1"/>
          <p:nvPr/>
        </p:nvSpPr>
        <p:spPr>
          <a:xfrm>
            <a:off x="586943" y="5603647"/>
            <a:ext cx="6736315" cy="900631"/>
          </a:xfrm>
          <a:prstGeom prst="rect">
            <a:avLst/>
          </a:prstGeom>
          <a:noFill/>
        </p:spPr>
        <p:txBody>
          <a:bodyPr wrap="square">
            <a:spAutoFit/>
          </a:bodyPr>
          <a:lstStyle/>
          <a:p>
            <a:pPr>
              <a:lnSpc>
                <a:spcPts val="2100"/>
              </a:lnSpc>
            </a:pPr>
            <a:r>
              <a:rPr lang="en-US" sz="2000" b="1" dirty="0">
                <a:solidFill>
                  <a:srgbClr val="62A844"/>
                </a:solidFill>
              </a:rPr>
              <a:t>Guest experience design is built as much through evidence as through explanation.</a:t>
            </a:r>
          </a:p>
          <a:p>
            <a:pPr>
              <a:lnSpc>
                <a:spcPts val="2100"/>
              </a:lnSpc>
            </a:pPr>
            <a:endParaRPr lang="en-US" sz="2000" dirty="0">
              <a:solidFill>
                <a:srgbClr val="62A844"/>
              </a:solidFill>
            </a:endParaRPr>
          </a:p>
        </p:txBody>
      </p:sp>
      <p:sp>
        <p:nvSpPr>
          <p:cNvPr id="7" name="TextBox 6">
            <a:extLst>
              <a:ext uri="{FF2B5EF4-FFF2-40B4-BE49-F238E27FC236}">
                <a16:creationId xmlns:a16="http://schemas.microsoft.com/office/drawing/2014/main" id="{C7773AD3-BA2C-A391-2FAA-031A34F48716}"/>
              </a:ext>
            </a:extLst>
          </p:cNvPr>
          <p:cNvSpPr txBox="1"/>
          <p:nvPr/>
        </p:nvSpPr>
        <p:spPr>
          <a:xfrm>
            <a:off x="649189" y="1466654"/>
            <a:ext cx="10724220" cy="861774"/>
          </a:xfrm>
          <a:prstGeom prst="rect">
            <a:avLst/>
          </a:prstGeom>
          <a:noFill/>
        </p:spPr>
        <p:txBody>
          <a:bodyPr wrap="square">
            <a:spAutoFit/>
          </a:bodyPr>
          <a:lstStyle/>
          <a:p>
            <a:pPr>
              <a:lnSpc>
                <a:spcPts val="1960"/>
              </a:lnSpc>
            </a:pPr>
            <a:r>
              <a:rPr lang="en-US" dirty="0">
                <a:solidFill>
                  <a:srgbClr val="262626"/>
                </a:solidFill>
              </a:rPr>
              <a:t>In service management, the visible environment is often discussed through the idea of the </a:t>
            </a:r>
            <a:r>
              <a:rPr lang="en-US" b="1" dirty="0" err="1">
                <a:solidFill>
                  <a:srgbClr val="262626"/>
                </a:solidFill>
              </a:rPr>
              <a:t>servicescape</a:t>
            </a:r>
            <a:r>
              <a:rPr lang="en-US" dirty="0">
                <a:solidFill>
                  <a:srgbClr val="262626"/>
                </a:solidFill>
              </a:rPr>
              <a:t>: the physical and communicative setting in which the service is experienced. Guests notice evidence before they read a sustainability policy.</a:t>
            </a:r>
          </a:p>
        </p:txBody>
      </p:sp>
      <p:sp>
        <p:nvSpPr>
          <p:cNvPr id="13" name="Freeform 12">
            <a:extLst>
              <a:ext uri="{FF2B5EF4-FFF2-40B4-BE49-F238E27FC236}">
                <a16:creationId xmlns:a16="http://schemas.microsoft.com/office/drawing/2014/main" id="{83433752-ACB2-590C-E1F4-F9BA498694BE}"/>
              </a:ext>
            </a:extLst>
          </p:cNvPr>
          <p:cNvSpPr/>
          <p:nvPr/>
        </p:nvSpPr>
        <p:spPr>
          <a:xfrm rot="9923041" flipH="1">
            <a:off x="2657562" y="3116378"/>
            <a:ext cx="926896" cy="526949"/>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Tree>
    <p:extLst>
      <p:ext uri="{BB962C8B-B14F-4D97-AF65-F5344CB8AC3E}">
        <p14:creationId xmlns:p14="http://schemas.microsoft.com/office/powerpoint/2010/main" val="20042223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06201-9C58-E651-F8FB-B96DDAF71DFF}"/>
            </a:ext>
          </a:extLst>
        </p:cNvPr>
        <p:cNvGrpSpPr/>
        <p:nvPr/>
      </p:nvGrpSpPr>
      <p:grpSpPr>
        <a:xfrm>
          <a:off x="0" y="0"/>
          <a:ext cx="0" cy="0"/>
          <a:chOff x="0" y="0"/>
          <a:chExt cx="0" cy="0"/>
        </a:xfrm>
      </p:grpSpPr>
      <p:sp>
        <p:nvSpPr>
          <p:cNvPr id="13" name="Freeform 12">
            <a:extLst>
              <a:ext uri="{FF2B5EF4-FFF2-40B4-BE49-F238E27FC236}">
                <a16:creationId xmlns:a16="http://schemas.microsoft.com/office/drawing/2014/main" id="{8B62CB2E-0902-B58E-B98F-B7F3461995F0}"/>
              </a:ext>
            </a:extLst>
          </p:cNvPr>
          <p:cNvSpPr/>
          <p:nvPr/>
        </p:nvSpPr>
        <p:spPr>
          <a:xfrm>
            <a:off x="0" y="1337196"/>
            <a:ext cx="12192000" cy="918882"/>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7" name="TextBox 16">
            <a:extLst>
              <a:ext uri="{FF2B5EF4-FFF2-40B4-BE49-F238E27FC236}">
                <a16:creationId xmlns:a16="http://schemas.microsoft.com/office/drawing/2014/main" id="{94DFE36A-3104-DE1D-2ACD-8A0E44967D1E}"/>
              </a:ext>
            </a:extLst>
          </p:cNvPr>
          <p:cNvSpPr txBox="1"/>
          <p:nvPr/>
        </p:nvSpPr>
        <p:spPr>
          <a:xfrm>
            <a:off x="711413" y="3196842"/>
            <a:ext cx="5384588" cy="1938992"/>
          </a:xfrm>
          <a:prstGeom prst="rect">
            <a:avLst/>
          </a:prstGeom>
          <a:noFill/>
        </p:spPr>
        <p:txBody>
          <a:bodyPr wrap="square" lIns="91440" tIns="45720" rIns="91440" bIns="45720" rtlCol="0" anchor="t">
            <a:spAutoFit/>
          </a:bodyPr>
          <a:lstStyle/>
          <a:p>
            <a:r>
              <a:rPr lang="en-US" sz="2400" dirty="0">
                <a:solidFill>
                  <a:srgbClr val="262626"/>
                </a:solidFill>
              </a:rPr>
              <a:t>Bitner, M. J. (1992). </a:t>
            </a:r>
            <a:r>
              <a:rPr lang="en-US" sz="2400" i="1" dirty="0" err="1">
                <a:solidFill>
                  <a:srgbClr val="262626"/>
                </a:solidFill>
              </a:rPr>
              <a:t>Servicescapes</a:t>
            </a:r>
            <a:r>
              <a:rPr lang="en-US" sz="2400" i="1" dirty="0">
                <a:solidFill>
                  <a:srgbClr val="262626"/>
                </a:solidFill>
              </a:rPr>
              <a:t>: The Impact of Physical Surroundings on Customers and Employees</a:t>
            </a:r>
            <a:r>
              <a:rPr lang="en-US" sz="2400" dirty="0">
                <a:solidFill>
                  <a:srgbClr val="262626"/>
                </a:solidFill>
              </a:rPr>
              <a:t>. </a:t>
            </a:r>
            <a:r>
              <a:rPr lang="en-US" sz="2400" i="1" dirty="0">
                <a:solidFill>
                  <a:srgbClr val="262626"/>
                </a:solidFill>
              </a:rPr>
              <a:t>Journal of Marketing</a:t>
            </a:r>
            <a:r>
              <a:rPr lang="en-US" sz="2400" dirty="0">
                <a:solidFill>
                  <a:srgbClr val="262626"/>
                </a:solidFill>
              </a:rPr>
              <a:t>, 56(2), 57–71.</a:t>
            </a:r>
          </a:p>
          <a:p>
            <a:endParaRPr lang="de-DE" sz="2400" dirty="0">
              <a:solidFill>
                <a:srgbClr val="262626"/>
              </a:solidFill>
            </a:endParaRPr>
          </a:p>
        </p:txBody>
      </p:sp>
      <p:sp>
        <p:nvSpPr>
          <p:cNvPr id="18" name="TextBox 17">
            <a:extLst>
              <a:ext uri="{FF2B5EF4-FFF2-40B4-BE49-F238E27FC236}">
                <a16:creationId xmlns:a16="http://schemas.microsoft.com/office/drawing/2014/main" id="{69CAE20E-352D-14F0-07CD-E1A5620A65FC}"/>
              </a:ext>
            </a:extLst>
          </p:cNvPr>
          <p:cNvSpPr txBox="1"/>
          <p:nvPr/>
        </p:nvSpPr>
        <p:spPr>
          <a:xfrm>
            <a:off x="711412" y="1501363"/>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9" name="Graphic 4">
            <a:extLst>
              <a:ext uri="{FF2B5EF4-FFF2-40B4-BE49-F238E27FC236}">
                <a16:creationId xmlns:a16="http://schemas.microsoft.com/office/drawing/2014/main" id="{95253688-962E-E43B-A02F-EA57FCD98A0E}"/>
              </a:ext>
            </a:extLst>
          </p:cNvPr>
          <p:cNvSpPr/>
          <p:nvPr/>
        </p:nvSpPr>
        <p:spPr>
          <a:xfrm rot="5400000">
            <a:off x="1314218" y="1425507"/>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0" name="Graphic 19">
            <a:extLst>
              <a:ext uri="{FF2B5EF4-FFF2-40B4-BE49-F238E27FC236}">
                <a16:creationId xmlns:a16="http://schemas.microsoft.com/office/drawing/2014/main" id="{DE056378-CB25-183D-B2A8-A0512B2C0CB5}"/>
              </a:ext>
            </a:extLst>
          </p:cNvPr>
          <p:cNvPicPr>
            <a:picLocks noChangeAspect="1"/>
          </p:cNvPicPr>
          <p:nvPr/>
        </p:nvPicPr>
        <p:blipFill>
          <a:blip>
            <a:extLst>
              <a:ext uri="{96DAC541-7B7A-43D3-8B79-37D633B846F1}">
                <asvg:svgBlip xmlns:asvg="http://schemas.microsoft.com/office/drawing/2016/SVG/main" r:embed="rId3"/>
              </a:ext>
            </a:extLst>
          </a:blip>
          <a:srcRect l="32264" t="48938" r="39869" b="41747"/>
          <a:stretch>
            <a:fillRect/>
          </a:stretch>
        </p:blipFill>
        <p:spPr>
          <a:xfrm>
            <a:off x="5458250" y="0"/>
            <a:ext cx="6754568" cy="3196842"/>
          </a:xfrm>
          <a:prstGeom prst="rect">
            <a:avLst/>
          </a:prstGeom>
        </p:spPr>
      </p:pic>
      <p:pic>
        <p:nvPicPr>
          <p:cNvPr id="21" name="Picture 20" descr="iPhone6_mockup_front_white.png">
            <a:extLst>
              <a:ext uri="{FF2B5EF4-FFF2-40B4-BE49-F238E27FC236}">
                <a16:creationId xmlns:a16="http://schemas.microsoft.com/office/drawing/2014/main" id="{54AC170B-3A2A-3391-D142-1625C45E33A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90358" y="226918"/>
            <a:ext cx="4094254" cy="6404164"/>
          </a:xfrm>
          <a:prstGeom prst="rect">
            <a:avLst/>
          </a:prstGeom>
        </p:spPr>
      </p:pic>
      <p:pic>
        <p:nvPicPr>
          <p:cNvPr id="2" name="Bildplatzhalter 5">
            <a:extLst>
              <a:ext uri="{FF2B5EF4-FFF2-40B4-BE49-F238E27FC236}">
                <a16:creationId xmlns:a16="http://schemas.microsoft.com/office/drawing/2014/main" id="{E47E9A90-887F-1743-54B6-993287852837}"/>
              </a:ext>
            </a:extLst>
          </p:cNvPr>
          <p:cNvPicPr>
            <a:picLocks noChangeAspect="1"/>
          </p:cNvPicPr>
          <p:nvPr/>
        </p:nvPicPr>
        <p:blipFill>
          <a:blip r:embed="rId5"/>
          <a:srcRect l="14522" r="14522"/>
          <a:stretch/>
        </p:blipFill>
        <p:spPr>
          <a:xfrm>
            <a:off x="8805074" y="1261787"/>
            <a:ext cx="2444127" cy="4336988"/>
          </a:xfrm>
          <a:prstGeom prst="rect">
            <a:avLst/>
          </a:prstGeom>
          <a:solidFill>
            <a:srgbClr val="FFFFFF">
              <a:lumMod val="85000"/>
            </a:srgbClr>
          </a:solidFill>
        </p:spPr>
      </p:pic>
      <p:grpSp>
        <p:nvGrpSpPr>
          <p:cNvPr id="3" name="Group 2">
            <a:extLst>
              <a:ext uri="{FF2B5EF4-FFF2-40B4-BE49-F238E27FC236}">
                <a16:creationId xmlns:a16="http://schemas.microsoft.com/office/drawing/2014/main" id="{21CA2764-5403-854C-5931-AD2483FE5F56}"/>
              </a:ext>
            </a:extLst>
          </p:cNvPr>
          <p:cNvGrpSpPr/>
          <p:nvPr/>
        </p:nvGrpSpPr>
        <p:grpSpPr>
          <a:xfrm rot="21145702">
            <a:off x="7703000" y="3513559"/>
            <a:ext cx="1456095" cy="1406604"/>
            <a:chOff x="7777737" y="4274827"/>
            <a:chExt cx="1456095" cy="1406604"/>
          </a:xfrm>
        </p:grpSpPr>
        <p:sp>
          <p:nvSpPr>
            <p:cNvPr id="4" name="Oval 3">
              <a:extLst>
                <a:ext uri="{FF2B5EF4-FFF2-40B4-BE49-F238E27FC236}">
                  <a16:creationId xmlns:a16="http://schemas.microsoft.com/office/drawing/2014/main" id="{7FD3AAE1-7D1D-EC70-E31A-6FE351F88BA5}"/>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F3004088-A7EE-EB2A-8AC8-C2593E16587B}"/>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6">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32329274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6A394D-7F1F-1A4F-6A67-F49218622A69}"/>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BDCAE1B6-2FD7-AD8F-32EC-DCF290A5255D}"/>
              </a:ext>
            </a:extLst>
          </p:cNvPr>
          <p:cNvSpPr txBox="1">
            <a:spLocks/>
          </p:cNvSpPr>
          <p:nvPr/>
        </p:nvSpPr>
        <p:spPr>
          <a:xfrm>
            <a:off x="429115" y="561947"/>
            <a:ext cx="862639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cs typeface="Times New Roman" panose="02020603050405020304" pitchFamily="18" charset="0"/>
              </a:rPr>
              <a:t>Guests Need to Be Active Co-creator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E4668B6D-7788-13C3-6A5C-4A8F0800FD0D}"/>
              </a:ext>
            </a:extLst>
          </p:cNvPr>
          <p:cNvCxnSpPr>
            <a:cxnSpLocks/>
          </p:cNvCxnSpPr>
          <p:nvPr/>
        </p:nvCxnSpPr>
        <p:spPr>
          <a:xfrm>
            <a:off x="0" y="125435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E1F7F7A-8085-FBB9-519E-AD11CA945D9C}"/>
              </a:ext>
            </a:extLst>
          </p:cNvPr>
          <p:cNvSpPr txBox="1"/>
          <p:nvPr/>
        </p:nvSpPr>
        <p:spPr>
          <a:xfrm>
            <a:off x="554799" y="1677385"/>
            <a:ext cx="6141755" cy="4708981"/>
          </a:xfrm>
          <a:prstGeom prst="rect">
            <a:avLst/>
          </a:prstGeom>
          <a:noFill/>
        </p:spPr>
        <p:txBody>
          <a:bodyPr wrap="square">
            <a:spAutoFit/>
          </a:bodyPr>
          <a:lstStyle/>
          <a:p>
            <a:pPr>
              <a:lnSpc>
                <a:spcPts val="1960"/>
              </a:lnSpc>
            </a:pPr>
            <a:r>
              <a:rPr lang="en-US" dirty="0">
                <a:solidFill>
                  <a:srgbClr val="262626"/>
                </a:solidFill>
              </a:rPr>
              <a:t>The best sustainable hospitality experiences are often </a:t>
            </a:r>
            <a:r>
              <a:rPr lang="en-US" b="1" dirty="0">
                <a:solidFill>
                  <a:srgbClr val="262626"/>
                </a:solidFill>
              </a:rPr>
              <a:t>co-created</a:t>
            </a:r>
            <a:r>
              <a:rPr lang="en-US" dirty="0">
                <a:solidFill>
                  <a:srgbClr val="262626"/>
                </a:solidFill>
              </a:rPr>
              <a:t>.</a:t>
            </a:r>
          </a:p>
          <a:p>
            <a:pPr>
              <a:lnSpc>
                <a:spcPts val="1960"/>
              </a:lnSpc>
            </a:pPr>
            <a:endParaRPr lang="en-US" dirty="0">
              <a:solidFill>
                <a:srgbClr val="262626"/>
              </a:solidFill>
            </a:endParaRPr>
          </a:p>
          <a:p>
            <a:pPr>
              <a:lnSpc>
                <a:spcPts val="1960"/>
              </a:lnSpc>
            </a:pPr>
            <a:r>
              <a:rPr lang="en-US" dirty="0">
                <a:solidFill>
                  <a:srgbClr val="262626"/>
                </a:solidFill>
              </a:rPr>
              <a:t>This means value is created by what the business provides</a:t>
            </a:r>
          </a:p>
          <a:p>
            <a:pPr>
              <a:lnSpc>
                <a:spcPts val="1960"/>
              </a:lnSpc>
            </a:pPr>
            <a:r>
              <a:rPr lang="en-US" dirty="0">
                <a:solidFill>
                  <a:srgbClr val="262626"/>
                </a:solidFill>
              </a:rPr>
              <a:t>and by how the guest participates.</a:t>
            </a:r>
          </a:p>
          <a:p>
            <a:pPr>
              <a:lnSpc>
                <a:spcPts val="1960"/>
              </a:lnSpc>
            </a:pPr>
            <a:endParaRPr lang="en-US" dirty="0">
              <a:solidFill>
                <a:srgbClr val="262626"/>
              </a:solidFill>
            </a:endParaRPr>
          </a:p>
          <a:p>
            <a:pPr>
              <a:lnSpc>
                <a:spcPts val="1960"/>
              </a:lnSpc>
            </a:pPr>
            <a:r>
              <a:rPr lang="en-US" sz="2000" b="1" dirty="0">
                <a:solidFill>
                  <a:srgbClr val="0289AE"/>
                </a:solidFill>
              </a:rPr>
              <a:t>Examples:</a:t>
            </a:r>
          </a:p>
          <a:p>
            <a:pPr marL="285750" indent="-285750">
              <a:lnSpc>
                <a:spcPts val="1960"/>
              </a:lnSpc>
              <a:buClr>
                <a:srgbClr val="62A844"/>
              </a:buClr>
              <a:buFont typeface="Arial" panose="020B0604020202020204" pitchFamily="34" charset="0"/>
              <a:buChar char="•"/>
            </a:pPr>
            <a:r>
              <a:rPr lang="en-US" dirty="0">
                <a:solidFill>
                  <a:srgbClr val="262626"/>
                </a:solidFill>
              </a:rPr>
              <a:t>choosing reduced housekeeping frequency</a:t>
            </a:r>
          </a:p>
          <a:p>
            <a:pPr marL="285750" indent="-285750">
              <a:lnSpc>
                <a:spcPts val="1960"/>
              </a:lnSpc>
              <a:buClr>
                <a:srgbClr val="62A844"/>
              </a:buClr>
              <a:buFont typeface="Arial" panose="020B0604020202020204" pitchFamily="34" charset="0"/>
              <a:buChar char="•"/>
            </a:pPr>
            <a:r>
              <a:rPr lang="en-US" dirty="0">
                <a:solidFill>
                  <a:srgbClr val="262626"/>
                </a:solidFill>
              </a:rPr>
              <a:t>joining a local eco-activity</a:t>
            </a:r>
          </a:p>
          <a:p>
            <a:pPr marL="285750" indent="-285750">
              <a:lnSpc>
                <a:spcPts val="1960"/>
              </a:lnSpc>
              <a:buClr>
                <a:srgbClr val="62A844"/>
              </a:buClr>
              <a:buFont typeface="Arial" panose="020B0604020202020204" pitchFamily="34" charset="0"/>
              <a:buChar char="•"/>
            </a:pPr>
            <a:r>
              <a:rPr lang="en-US" dirty="0">
                <a:solidFill>
                  <a:srgbClr val="262626"/>
                </a:solidFill>
              </a:rPr>
              <a:t>selecting seasonal menu items</a:t>
            </a:r>
          </a:p>
          <a:p>
            <a:pPr marL="285750" indent="-285750">
              <a:lnSpc>
                <a:spcPts val="1960"/>
              </a:lnSpc>
              <a:buClr>
                <a:srgbClr val="62A844"/>
              </a:buClr>
              <a:buFont typeface="Arial" panose="020B0604020202020204" pitchFamily="34" charset="0"/>
              <a:buChar char="•"/>
            </a:pPr>
            <a:r>
              <a:rPr lang="en-US" dirty="0">
                <a:solidFill>
                  <a:srgbClr val="262626"/>
                </a:solidFill>
              </a:rPr>
              <a:t>using shared mobility options</a:t>
            </a:r>
          </a:p>
          <a:p>
            <a:pPr marL="285750" indent="-285750">
              <a:lnSpc>
                <a:spcPts val="1960"/>
              </a:lnSpc>
              <a:buClr>
                <a:srgbClr val="62A844"/>
              </a:buClr>
              <a:buFont typeface="Arial" panose="020B0604020202020204" pitchFamily="34" charset="0"/>
              <a:buChar char="•"/>
            </a:pPr>
            <a:r>
              <a:rPr lang="en-US" dirty="0">
                <a:solidFill>
                  <a:srgbClr val="262626"/>
                </a:solidFill>
              </a:rPr>
              <a:t>following room-based water or energy prompts</a:t>
            </a:r>
          </a:p>
          <a:p>
            <a:pPr marL="285750" indent="-285750">
              <a:lnSpc>
                <a:spcPts val="1960"/>
              </a:lnSpc>
              <a:buClr>
                <a:srgbClr val="62A844"/>
              </a:buClr>
              <a:buFont typeface="Arial" panose="020B0604020202020204" pitchFamily="34" charset="0"/>
              <a:buChar char="•"/>
            </a:pPr>
            <a:r>
              <a:rPr lang="en-US" dirty="0">
                <a:solidFill>
                  <a:srgbClr val="262626"/>
                </a:solidFill>
              </a:rPr>
              <a:t>engaging with local community stories</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pPr>
            <a:r>
              <a:rPr lang="en-US" b="1" dirty="0">
                <a:solidFill>
                  <a:srgbClr val="262626"/>
                </a:solidFill>
              </a:rPr>
              <a:t>Important principle:</a:t>
            </a:r>
          </a:p>
          <a:p>
            <a:pPr>
              <a:lnSpc>
                <a:spcPts val="1960"/>
              </a:lnSpc>
              <a:buClr>
                <a:srgbClr val="62A844"/>
              </a:buClr>
            </a:pPr>
            <a:r>
              <a:rPr lang="en-US" b="1" dirty="0">
                <a:solidFill>
                  <a:srgbClr val="62A844"/>
                </a:solidFill>
              </a:rPr>
              <a:t>Co-creation works best when guests feel invited, informed, and respected with no sense of pressure</a:t>
            </a:r>
          </a:p>
          <a:p>
            <a:pPr>
              <a:lnSpc>
                <a:spcPts val="1960"/>
              </a:lnSpc>
            </a:pPr>
            <a:endParaRPr lang="en-US" dirty="0">
              <a:solidFill>
                <a:srgbClr val="262626"/>
              </a:solidFill>
            </a:endParaRPr>
          </a:p>
        </p:txBody>
      </p:sp>
      <p:pic>
        <p:nvPicPr>
          <p:cNvPr id="10" name="Picture 9">
            <a:extLst>
              <a:ext uri="{FF2B5EF4-FFF2-40B4-BE49-F238E27FC236}">
                <a16:creationId xmlns:a16="http://schemas.microsoft.com/office/drawing/2014/main" id="{35EB079C-2376-3D6A-33F0-509F0116BD6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43817" y="1890715"/>
            <a:ext cx="4516403" cy="4595793"/>
          </a:xfrm>
          <a:prstGeom prst="rect">
            <a:avLst/>
          </a:prstGeom>
        </p:spPr>
      </p:pic>
    </p:spTree>
    <p:extLst>
      <p:ext uri="{BB962C8B-B14F-4D97-AF65-F5344CB8AC3E}">
        <p14:creationId xmlns:p14="http://schemas.microsoft.com/office/powerpoint/2010/main" val="39213506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47355-BAB4-E6DF-BD96-334217DDB881}"/>
            </a:ext>
          </a:extLst>
        </p:cNvPr>
        <p:cNvGrpSpPr/>
        <p:nvPr/>
      </p:nvGrpSpPr>
      <p:grpSpPr>
        <a:xfrm>
          <a:off x="0" y="0"/>
          <a:ext cx="0" cy="0"/>
          <a:chOff x="0" y="0"/>
          <a:chExt cx="0" cy="0"/>
        </a:xfrm>
      </p:grpSpPr>
      <p:sp>
        <p:nvSpPr>
          <p:cNvPr id="13" name="Freeform 12">
            <a:extLst>
              <a:ext uri="{FF2B5EF4-FFF2-40B4-BE49-F238E27FC236}">
                <a16:creationId xmlns:a16="http://schemas.microsoft.com/office/drawing/2014/main" id="{BD05A458-46E3-6888-FC8F-C3B92668B28C}"/>
              </a:ext>
            </a:extLst>
          </p:cNvPr>
          <p:cNvSpPr/>
          <p:nvPr/>
        </p:nvSpPr>
        <p:spPr>
          <a:xfrm>
            <a:off x="0" y="1337196"/>
            <a:ext cx="12192000" cy="918882"/>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7" name="TextBox 16">
            <a:extLst>
              <a:ext uri="{FF2B5EF4-FFF2-40B4-BE49-F238E27FC236}">
                <a16:creationId xmlns:a16="http://schemas.microsoft.com/office/drawing/2014/main" id="{032966AB-A753-7194-8B7F-CC7C6B86A9A6}"/>
              </a:ext>
            </a:extLst>
          </p:cNvPr>
          <p:cNvSpPr txBox="1"/>
          <p:nvPr/>
        </p:nvSpPr>
        <p:spPr>
          <a:xfrm>
            <a:off x="711413" y="3196842"/>
            <a:ext cx="5384588" cy="1569660"/>
          </a:xfrm>
          <a:prstGeom prst="rect">
            <a:avLst/>
          </a:prstGeom>
          <a:noFill/>
        </p:spPr>
        <p:txBody>
          <a:bodyPr wrap="square" lIns="91440" tIns="45720" rIns="91440" bIns="45720" rtlCol="0" anchor="t">
            <a:spAutoFit/>
          </a:bodyPr>
          <a:lstStyle/>
          <a:p>
            <a:r>
              <a:rPr lang="en-US" sz="2400" dirty="0">
                <a:solidFill>
                  <a:srgbClr val="262626"/>
                </a:solidFill>
              </a:rPr>
              <a:t>Prahalad, C.K., &amp; Ramaswamy, V. (2004). </a:t>
            </a:r>
            <a:r>
              <a:rPr lang="en-US" sz="2400" i="1" dirty="0">
                <a:solidFill>
                  <a:srgbClr val="262626"/>
                </a:solidFill>
              </a:rPr>
              <a:t>Co-creation experiences: The next practice in value creation</a:t>
            </a:r>
            <a:r>
              <a:rPr lang="en-US" sz="2400" dirty="0">
                <a:solidFill>
                  <a:srgbClr val="262626"/>
                </a:solidFill>
              </a:rPr>
              <a:t>. </a:t>
            </a:r>
            <a:r>
              <a:rPr lang="en-US" sz="2400" i="1" dirty="0">
                <a:solidFill>
                  <a:srgbClr val="262626"/>
                </a:solidFill>
              </a:rPr>
              <a:t>Journal of Interactive Marketing</a:t>
            </a:r>
            <a:r>
              <a:rPr lang="en-US" sz="2400" dirty="0">
                <a:solidFill>
                  <a:srgbClr val="262626"/>
                </a:solidFill>
              </a:rPr>
              <a:t>, 18(3), 5–14.</a:t>
            </a:r>
            <a:endParaRPr lang="de-DE" sz="2400" dirty="0">
              <a:solidFill>
                <a:srgbClr val="262626"/>
              </a:solidFill>
            </a:endParaRPr>
          </a:p>
        </p:txBody>
      </p:sp>
      <p:sp>
        <p:nvSpPr>
          <p:cNvPr id="18" name="TextBox 17">
            <a:extLst>
              <a:ext uri="{FF2B5EF4-FFF2-40B4-BE49-F238E27FC236}">
                <a16:creationId xmlns:a16="http://schemas.microsoft.com/office/drawing/2014/main" id="{34E67D3E-7626-12C6-37B0-01E90D9FAA1D}"/>
              </a:ext>
            </a:extLst>
          </p:cNvPr>
          <p:cNvSpPr txBox="1"/>
          <p:nvPr/>
        </p:nvSpPr>
        <p:spPr>
          <a:xfrm>
            <a:off x="711412" y="1501363"/>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9" name="Graphic 4">
            <a:extLst>
              <a:ext uri="{FF2B5EF4-FFF2-40B4-BE49-F238E27FC236}">
                <a16:creationId xmlns:a16="http://schemas.microsoft.com/office/drawing/2014/main" id="{08F04B9B-10AA-DC80-33CB-EC7FF9D9A8F1}"/>
              </a:ext>
            </a:extLst>
          </p:cNvPr>
          <p:cNvSpPr/>
          <p:nvPr/>
        </p:nvSpPr>
        <p:spPr>
          <a:xfrm rot="5400000">
            <a:off x="1314218" y="1425507"/>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0" name="Graphic 19">
            <a:extLst>
              <a:ext uri="{FF2B5EF4-FFF2-40B4-BE49-F238E27FC236}">
                <a16:creationId xmlns:a16="http://schemas.microsoft.com/office/drawing/2014/main" id="{0B9FEDFA-78BF-93E0-D004-DD995E109D5A}"/>
              </a:ext>
            </a:extLst>
          </p:cNvPr>
          <p:cNvPicPr>
            <a:picLocks noChangeAspect="1"/>
          </p:cNvPicPr>
          <p:nvPr/>
        </p:nvPicPr>
        <p:blipFill>
          <a:blip>
            <a:extLst>
              <a:ext uri="{96DAC541-7B7A-43D3-8B79-37D633B846F1}">
                <asvg:svgBlip xmlns:asvg="http://schemas.microsoft.com/office/drawing/2016/SVG/main" r:embed="rId3"/>
              </a:ext>
            </a:extLst>
          </a:blip>
          <a:srcRect l="32264" t="48938" r="39869" b="41747"/>
          <a:stretch>
            <a:fillRect/>
          </a:stretch>
        </p:blipFill>
        <p:spPr>
          <a:xfrm>
            <a:off x="5458250" y="0"/>
            <a:ext cx="6754568" cy="3196842"/>
          </a:xfrm>
          <a:prstGeom prst="rect">
            <a:avLst/>
          </a:prstGeom>
        </p:spPr>
      </p:pic>
      <p:pic>
        <p:nvPicPr>
          <p:cNvPr id="21" name="Picture 20" descr="iPhone6_mockup_front_white.png">
            <a:extLst>
              <a:ext uri="{FF2B5EF4-FFF2-40B4-BE49-F238E27FC236}">
                <a16:creationId xmlns:a16="http://schemas.microsoft.com/office/drawing/2014/main" id="{08B93B26-5121-7408-DA66-9616A3262CC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90358" y="226918"/>
            <a:ext cx="4094254" cy="6404164"/>
          </a:xfrm>
          <a:prstGeom prst="rect">
            <a:avLst/>
          </a:prstGeom>
        </p:spPr>
      </p:pic>
      <p:pic>
        <p:nvPicPr>
          <p:cNvPr id="22" name="Bildplatzhalter 5">
            <a:extLst>
              <a:ext uri="{FF2B5EF4-FFF2-40B4-BE49-F238E27FC236}">
                <a16:creationId xmlns:a16="http://schemas.microsoft.com/office/drawing/2014/main" id="{F1C9FA6C-17FA-AC88-4226-08A95B29BDDC}"/>
              </a:ext>
            </a:extLst>
          </p:cNvPr>
          <p:cNvPicPr>
            <a:picLocks noChangeAspect="1"/>
          </p:cNvPicPr>
          <p:nvPr/>
        </p:nvPicPr>
        <p:blipFill>
          <a:blip r:embed="rId5"/>
          <a:srcRect l="12791" r="12791"/>
          <a:stretch/>
        </p:blipFill>
        <p:spPr>
          <a:xfrm>
            <a:off x="8796057" y="1255266"/>
            <a:ext cx="2444127" cy="4336988"/>
          </a:xfrm>
          <a:prstGeom prst="rect">
            <a:avLst/>
          </a:prstGeom>
          <a:solidFill>
            <a:srgbClr val="FFFFFF">
              <a:lumMod val="85000"/>
            </a:srgbClr>
          </a:solidFill>
        </p:spPr>
      </p:pic>
      <p:grpSp>
        <p:nvGrpSpPr>
          <p:cNvPr id="23" name="Group 22">
            <a:extLst>
              <a:ext uri="{FF2B5EF4-FFF2-40B4-BE49-F238E27FC236}">
                <a16:creationId xmlns:a16="http://schemas.microsoft.com/office/drawing/2014/main" id="{D7AD8A90-9FBB-45AD-2CA1-C1A603FA6C40}"/>
              </a:ext>
            </a:extLst>
          </p:cNvPr>
          <p:cNvGrpSpPr/>
          <p:nvPr/>
        </p:nvGrpSpPr>
        <p:grpSpPr>
          <a:xfrm rot="21145702">
            <a:off x="7703000" y="3513559"/>
            <a:ext cx="1456095" cy="1406604"/>
            <a:chOff x="7777737" y="4274827"/>
            <a:chExt cx="1456095" cy="1406604"/>
          </a:xfrm>
        </p:grpSpPr>
        <p:sp>
          <p:nvSpPr>
            <p:cNvPr id="24" name="Oval 23">
              <a:extLst>
                <a:ext uri="{FF2B5EF4-FFF2-40B4-BE49-F238E27FC236}">
                  <a16:creationId xmlns:a16="http://schemas.microsoft.com/office/drawing/2014/main" id="{5FD1D615-CAF7-53A9-5D38-71419152AE63}"/>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6A08E83C-8218-F835-8707-108120E56C19}"/>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6">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3777265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5E6E7EF-FBD4-B13B-4444-323DAF8B98B5}"/>
              </a:ext>
            </a:extLst>
          </p:cNvPr>
          <p:cNvSpPr/>
          <p:nvPr/>
        </p:nvSpPr>
        <p:spPr>
          <a:xfrm>
            <a:off x="0" y="-18001"/>
            <a:ext cx="12192000" cy="1420653"/>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9" name="TextBox 28">
            <a:extLst>
              <a:ext uri="{FF2B5EF4-FFF2-40B4-BE49-F238E27FC236}">
                <a16:creationId xmlns:a16="http://schemas.microsoft.com/office/drawing/2014/main" id="{D8B11F99-7B2A-6182-03C8-9D14E27ED1F3}"/>
              </a:ext>
            </a:extLst>
          </p:cNvPr>
          <p:cNvSpPr txBox="1"/>
          <p:nvPr/>
        </p:nvSpPr>
        <p:spPr>
          <a:xfrm>
            <a:off x="576000" y="518838"/>
            <a:ext cx="10692000" cy="1231106"/>
          </a:xfrm>
          <a:prstGeom prst="rect">
            <a:avLst/>
          </a:prstGeom>
          <a:noFill/>
        </p:spPr>
        <p:txBody>
          <a:bodyPr wrap="square" lIns="0" tIns="0" rIns="0" bIns="0" anchor="t">
            <a:spAutoFit/>
          </a:bodyPr>
          <a:lstStyle/>
          <a:p>
            <a:r>
              <a:rPr lang="en-IE" sz="4000" b="1" i="0" dirty="0">
                <a:solidFill>
                  <a:schemeClr val="bg1"/>
                </a:solidFill>
                <a:latin typeface="Calibri"/>
              </a:rPr>
              <a:t>Where this module fits</a:t>
            </a:r>
          </a:p>
          <a:p>
            <a:endParaRPr lang="en-IE" sz="4000" b="1" i="0" dirty="0">
              <a:solidFill>
                <a:schemeClr val="bg1"/>
              </a:solidFill>
              <a:latin typeface="Calibri"/>
            </a:endParaRPr>
          </a:p>
        </p:txBody>
      </p:sp>
      <p:sp>
        <p:nvSpPr>
          <p:cNvPr id="30" name="TextBox 29">
            <a:extLst>
              <a:ext uri="{FF2B5EF4-FFF2-40B4-BE49-F238E27FC236}">
                <a16:creationId xmlns:a16="http://schemas.microsoft.com/office/drawing/2014/main" id="{F4DE2CE2-DFA7-083A-8AF0-54CD1DB195EC}"/>
              </a:ext>
            </a:extLst>
          </p:cNvPr>
          <p:cNvSpPr txBox="1"/>
          <p:nvPr/>
        </p:nvSpPr>
        <p:spPr>
          <a:xfrm>
            <a:off x="491600" y="1472828"/>
            <a:ext cx="7209100" cy="307777"/>
          </a:xfrm>
          <a:prstGeom prst="rect">
            <a:avLst/>
          </a:prstGeom>
          <a:noFill/>
        </p:spPr>
        <p:txBody>
          <a:bodyPr wrap="square" lIns="0" tIns="0" rIns="0" bIns="0" anchor="t">
            <a:spAutoFit/>
          </a:bodyPr>
          <a:lstStyle/>
          <a:p>
            <a:r>
              <a:rPr lang="en-IE" sz="2000" b="0" i="1" dirty="0">
                <a:solidFill>
                  <a:srgbClr val="262626"/>
                </a:solidFill>
                <a:latin typeface="Calibri"/>
              </a:rPr>
              <a:t>Sustainable Customer Experience Design</a:t>
            </a:r>
          </a:p>
        </p:txBody>
      </p:sp>
      <p:pic>
        <p:nvPicPr>
          <p:cNvPr id="51" name="Graphic 50">
            <a:extLst>
              <a:ext uri="{FF2B5EF4-FFF2-40B4-BE49-F238E27FC236}">
                <a16:creationId xmlns:a16="http://schemas.microsoft.com/office/drawing/2014/main" id="{B0D12D90-4DDE-0E97-8765-0B4174D66386}"/>
              </a:ext>
            </a:extLst>
          </p:cNvPr>
          <p:cNvPicPr>
            <a:picLocks noChangeAspect="1"/>
          </p:cNvPicPr>
          <p:nvPr/>
        </p:nvPicPr>
        <p:blipFill>
          <a:blip>
            <a:extLst>
              <a:ext uri="{96DAC541-7B7A-43D3-8B79-37D633B846F1}">
                <asvg:svgBlip xmlns:asvg="http://schemas.microsoft.com/office/drawing/2016/SVG/main" r:embed="rId3"/>
              </a:ext>
            </a:extLst>
          </a:blip>
          <a:srcRect l="31584" t="38697" r="39868" b="43173"/>
          <a:stretch/>
        </p:blipFill>
        <p:spPr>
          <a:xfrm rot="16200000">
            <a:off x="9271124" y="138925"/>
            <a:ext cx="3112653" cy="2798801"/>
          </a:xfrm>
          <a:prstGeom prst="rect">
            <a:avLst/>
          </a:prstGeom>
        </p:spPr>
      </p:pic>
      <p:sp>
        <p:nvSpPr>
          <p:cNvPr id="3" name="TextBox 2">
            <a:extLst>
              <a:ext uri="{FF2B5EF4-FFF2-40B4-BE49-F238E27FC236}">
                <a16:creationId xmlns:a16="http://schemas.microsoft.com/office/drawing/2014/main" id="{54342AD4-5ABF-FBEB-4EF3-937A52B0C8E5}"/>
              </a:ext>
            </a:extLst>
          </p:cNvPr>
          <p:cNvSpPr txBox="1"/>
          <p:nvPr/>
        </p:nvSpPr>
        <p:spPr>
          <a:xfrm>
            <a:off x="648000" y="308837"/>
            <a:ext cx="7200000" cy="246221"/>
          </a:xfrm>
          <a:prstGeom prst="rect">
            <a:avLst/>
          </a:prstGeom>
          <a:noFill/>
        </p:spPr>
        <p:txBody>
          <a:bodyPr wrap="square" lIns="0" tIns="0" rIns="0" bIns="0" anchor="t">
            <a:spAutoFit/>
          </a:bodyPr>
          <a:lstStyle/>
          <a:p>
            <a:r>
              <a:rPr lang="en-IE" sz="1600" b="1" dirty="0">
                <a:solidFill>
                  <a:schemeClr val="bg1"/>
                </a:solidFill>
              </a:rPr>
              <a:t>C1 M3  ·  Cluster 1 – Sustainability &amp; Green Innovation</a:t>
            </a:r>
          </a:p>
        </p:txBody>
      </p:sp>
      <p:sp>
        <p:nvSpPr>
          <p:cNvPr id="4" name="Rectangle 3">
            <a:extLst>
              <a:ext uri="{FF2B5EF4-FFF2-40B4-BE49-F238E27FC236}">
                <a16:creationId xmlns:a16="http://schemas.microsoft.com/office/drawing/2014/main" id="{84AFD1AE-0EC8-5461-EEE8-B120DD7A4531}"/>
              </a:ext>
            </a:extLst>
          </p:cNvPr>
          <p:cNvSpPr/>
          <p:nvPr/>
        </p:nvSpPr>
        <p:spPr>
          <a:xfrm>
            <a:off x="468000" y="1801962"/>
            <a:ext cx="3672000" cy="95119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5" name="TextBox 4">
            <a:extLst>
              <a:ext uri="{FF2B5EF4-FFF2-40B4-BE49-F238E27FC236}">
                <a16:creationId xmlns:a16="http://schemas.microsoft.com/office/drawing/2014/main" id="{91B2E93A-B112-6C57-8EE9-B7AD6B863D38}"/>
              </a:ext>
            </a:extLst>
          </p:cNvPr>
          <p:cNvSpPr txBox="1"/>
          <p:nvPr/>
        </p:nvSpPr>
        <p:spPr>
          <a:xfrm>
            <a:off x="612000" y="1870804"/>
            <a:ext cx="3933106" cy="830997"/>
          </a:xfrm>
          <a:prstGeom prst="rect">
            <a:avLst/>
          </a:prstGeom>
          <a:noFill/>
        </p:spPr>
        <p:txBody>
          <a:bodyPr wrap="square" lIns="0" tIns="0" rIns="0" bIns="0" anchor="ctr">
            <a:spAutoFit/>
          </a:bodyPr>
          <a:lstStyle/>
          <a:p>
            <a:r>
              <a:rPr lang="en-IE" b="1" i="0" dirty="0">
                <a:solidFill>
                  <a:schemeClr val="bg1"/>
                </a:solidFill>
                <a:latin typeface="Calibri"/>
              </a:rPr>
              <a:t>Role:  </a:t>
            </a:r>
            <a:r>
              <a:rPr lang="en-GB" dirty="0">
                <a:solidFill>
                  <a:schemeClr val="bg1"/>
                </a:solidFill>
              </a:rPr>
              <a:t>Main resource for behavioural nudges and hospitality guest-                       experience design.</a:t>
            </a:r>
            <a:endParaRPr lang="en-IE" b="0" i="0" dirty="0">
              <a:solidFill>
                <a:schemeClr val="bg1"/>
              </a:solidFill>
              <a:latin typeface="Calibri"/>
            </a:endParaRPr>
          </a:p>
        </p:txBody>
      </p:sp>
      <p:sp>
        <p:nvSpPr>
          <p:cNvPr id="6" name="Rectangle 5">
            <a:extLst>
              <a:ext uri="{FF2B5EF4-FFF2-40B4-BE49-F238E27FC236}">
                <a16:creationId xmlns:a16="http://schemas.microsoft.com/office/drawing/2014/main" id="{9CBCD35E-8583-103E-A39F-EBEE93695663}"/>
              </a:ext>
            </a:extLst>
          </p:cNvPr>
          <p:cNvSpPr/>
          <p:nvPr/>
        </p:nvSpPr>
        <p:spPr>
          <a:xfrm>
            <a:off x="532150" y="2868026"/>
            <a:ext cx="3564000" cy="1739419"/>
          </a:xfrm>
          <a:prstGeom prst="rect">
            <a:avLst/>
          </a:prstGeom>
          <a:solidFill>
            <a:schemeClr val="bg1"/>
          </a:solidFill>
          <a:ln w="28575">
            <a:solidFill>
              <a:srgbClr val="62A844"/>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7" name="Rectangle 6">
            <a:extLst>
              <a:ext uri="{FF2B5EF4-FFF2-40B4-BE49-F238E27FC236}">
                <a16:creationId xmlns:a16="http://schemas.microsoft.com/office/drawing/2014/main" id="{D4BDA831-F85D-8614-44C9-2C91665BFF37}"/>
              </a:ext>
            </a:extLst>
          </p:cNvPr>
          <p:cNvSpPr/>
          <p:nvPr/>
        </p:nvSpPr>
        <p:spPr>
          <a:xfrm>
            <a:off x="540000" y="2889382"/>
            <a:ext cx="3564000" cy="108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9" name="TextBox 8">
            <a:extLst>
              <a:ext uri="{FF2B5EF4-FFF2-40B4-BE49-F238E27FC236}">
                <a16:creationId xmlns:a16="http://schemas.microsoft.com/office/drawing/2014/main" id="{DBCF3CAE-5ADB-7A6E-AD12-BB2DCC4C05BD}"/>
              </a:ext>
            </a:extLst>
          </p:cNvPr>
          <p:cNvSpPr txBox="1"/>
          <p:nvPr/>
        </p:nvSpPr>
        <p:spPr>
          <a:xfrm>
            <a:off x="612000" y="3886485"/>
            <a:ext cx="3276000" cy="654025"/>
          </a:xfrm>
          <a:prstGeom prst="rect">
            <a:avLst/>
          </a:prstGeom>
          <a:noFill/>
        </p:spPr>
        <p:txBody>
          <a:bodyPr wrap="square" lIns="0" tIns="0" rIns="0" bIns="0" anchor="t">
            <a:spAutoFit/>
          </a:bodyPr>
          <a:lstStyle/>
          <a:p>
            <a:pPr marL="182563" indent="-182563">
              <a:lnSpc>
                <a:spcPts val="1720"/>
              </a:lnSpc>
              <a:buClr>
                <a:srgbClr val="62A844"/>
              </a:buClr>
              <a:buFont typeface="Arial" panose="020B0604020202020204" pitchFamily="34" charset="0"/>
              <a:buChar char="•"/>
            </a:pPr>
            <a:r>
              <a:rPr lang="en-IE" sz="1600" b="0" i="0" dirty="0">
                <a:solidFill>
                  <a:srgbClr val="262626"/>
                </a:solidFill>
                <a:latin typeface="Calibri"/>
              </a:rPr>
              <a:t>C1 M1 (operations) </a:t>
            </a:r>
          </a:p>
          <a:p>
            <a:pPr marL="182563" indent="-182563">
              <a:lnSpc>
                <a:spcPts val="1720"/>
              </a:lnSpc>
              <a:buClr>
                <a:srgbClr val="62A844"/>
              </a:buClr>
              <a:buFont typeface="Arial" panose="020B0604020202020204" pitchFamily="34" charset="0"/>
              <a:buChar char="•"/>
            </a:pPr>
            <a:r>
              <a:rPr lang="en-IE" sz="1600" b="0" i="0" dirty="0">
                <a:solidFill>
                  <a:srgbClr val="262626"/>
                </a:solidFill>
                <a:latin typeface="Calibri"/>
              </a:rPr>
              <a:t>C1 M2 (circular economy)</a:t>
            </a:r>
          </a:p>
          <a:p>
            <a:pPr marL="182563" indent="-182563">
              <a:lnSpc>
                <a:spcPts val="1720"/>
              </a:lnSpc>
              <a:buClr>
                <a:srgbClr val="62A844"/>
              </a:buClr>
              <a:buFont typeface="Arial" panose="020B0604020202020204" pitchFamily="34" charset="0"/>
              <a:buChar char="•"/>
            </a:pPr>
            <a:endParaRPr sz="1600" b="0" i="0" dirty="0">
              <a:solidFill>
                <a:srgbClr val="262626"/>
              </a:solidFill>
              <a:latin typeface="Calibri"/>
            </a:endParaRPr>
          </a:p>
        </p:txBody>
      </p:sp>
      <p:sp>
        <p:nvSpPr>
          <p:cNvPr id="10" name="Rectangle 9">
            <a:extLst>
              <a:ext uri="{FF2B5EF4-FFF2-40B4-BE49-F238E27FC236}">
                <a16:creationId xmlns:a16="http://schemas.microsoft.com/office/drawing/2014/main" id="{66033DA3-EA77-9A0B-7C8C-FA4661183A54}"/>
              </a:ext>
            </a:extLst>
          </p:cNvPr>
          <p:cNvSpPr/>
          <p:nvPr/>
        </p:nvSpPr>
        <p:spPr>
          <a:xfrm>
            <a:off x="540000" y="4865297"/>
            <a:ext cx="3564000" cy="1356922"/>
          </a:xfrm>
          <a:prstGeom prst="rect">
            <a:avLst/>
          </a:prstGeom>
          <a:solidFill>
            <a:schemeClr val="bg1"/>
          </a:solidFill>
          <a:ln w="28575">
            <a:solidFill>
              <a:srgbClr val="62A844"/>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1" name="Rectangle 10">
            <a:extLst>
              <a:ext uri="{FF2B5EF4-FFF2-40B4-BE49-F238E27FC236}">
                <a16:creationId xmlns:a16="http://schemas.microsoft.com/office/drawing/2014/main" id="{1E1ECDF8-F3CC-EEBA-1A06-79447177A680}"/>
              </a:ext>
            </a:extLst>
          </p:cNvPr>
          <p:cNvSpPr/>
          <p:nvPr/>
        </p:nvSpPr>
        <p:spPr>
          <a:xfrm>
            <a:off x="576000" y="4700710"/>
            <a:ext cx="3564000" cy="108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3" name="TextBox 12">
            <a:extLst>
              <a:ext uri="{FF2B5EF4-FFF2-40B4-BE49-F238E27FC236}">
                <a16:creationId xmlns:a16="http://schemas.microsoft.com/office/drawing/2014/main" id="{8CB9C2A7-0A58-80C2-B05C-7C7C94D824F4}"/>
              </a:ext>
            </a:extLst>
          </p:cNvPr>
          <p:cNvSpPr txBox="1"/>
          <p:nvPr/>
        </p:nvSpPr>
        <p:spPr>
          <a:xfrm>
            <a:off x="612000" y="5295052"/>
            <a:ext cx="3276000" cy="654025"/>
          </a:xfrm>
          <a:prstGeom prst="rect">
            <a:avLst/>
          </a:prstGeom>
          <a:noFill/>
        </p:spPr>
        <p:txBody>
          <a:bodyPr wrap="square" lIns="0" tIns="0" rIns="0" bIns="0" anchor="t">
            <a:spAutoFit/>
          </a:bodyPr>
          <a:lstStyle/>
          <a:p>
            <a:pPr marL="182563" indent="-182563">
              <a:lnSpc>
                <a:spcPts val="1720"/>
              </a:lnSpc>
              <a:buClr>
                <a:srgbClr val="62A844"/>
              </a:buClr>
              <a:buFont typeface="Arial" panose="020B0604020202020204" pitchFamily="34" charset="0"/>
              <a:buChar char="•"/>
            </a:pPr>
            <a:r>
              <a:rPr lang="en-IE" sz="1600" dirty="0">
                <a:solidFill>
                  <a:srgbClr val="262626"/>
                </a:solidFill>
              </a:rPr>
              <a:t>C2 M2 (guest-data loops)</a:t>
            </a:r>
          </a:p>
          <a:p>
            <a:pPr marL="182563" indent="-182563">
              <a:lnSpc>
                <a:spcPts val="1720"/>
              </a:lnSpc>
              <a:buClr>
                <a:srgbClr val="62A844"/>
              </a:buClr>
              <a:buFont typeface="Arial" panose="020B0604020202020204" pitchFamily="34" charset="0"/>
              <a:buChar char="•"/>
            </a:pPr>
            <a:r>
              <a:rPr lang="en-IE" sz="1600" b="0" i="0" dirty="0">
                <a:solidFill>
                  <a:srgbClr val="262626"/>
                </a:solidFill>
                <a:latin typeface="Calibri"/>
              </a:rPr>
              <a:t>C3 M2 (marketing claims) </a:t>
            </a:r>
          </a:p>
          <a:p>
            <a:pPr marL="182563" indent="-182563">
              <a:lnSpc>
                <a:spcPts val="1720"/>
              </a:lnSpc>
              <a:buClr>
                <a:srgbClr val="62A844"/>
              </a:buClr>
              <a:buFont typeface="Arial" panose="020B0604020202020204" pitchFamily="34" charset="0"/>
              <a:buChar char="•"/>
            </a:pPr>
            <a:endParaRPr sz="1600" b="0" i="0" dirty="0">
              <a:solidFill>
                <a:srgbClr val="262626"/>
              </a:solidFill>
              <a:latin typeface="Calibri"/>
            </a:endParaRPr>
          </a:p>
        </p:txBody>
      </p:sp>
      <p:sp>
        <p:nvSpPr>
          <p:cNvPr id="18" name="TextBox 17">
            <a:extLst>
              <a:ext uri="{FF2B5EF4-FFF2-40B4-BE49-F238E27FC236}">
                <a16:creationId xmlns:a16="http://schemas.microsoft.com/office/drawing/2014/main" id="{028881B8-6FF5-EDE4-AA33-5077BCAF070E}"/>
              </a:ext>
            </a:extLst>
          </p:cNvPr>
          <p:cNvSpPr txBox="1"/>
          <p:nvPr/>
        </p:nvSpPr>
        <p:spPr>
          <a:xfrm>
            <a:off x="648000" y="3133613"/>
            <a:ext cx="3276000" cy="892360"/>
          </a:xfrm>
          <a:prstGeom prst="rect">
            <a:avLst/>
          </a:prstGeom>
          <a:noFill/>
        </p:spPr>
        <p:txBody>
          <a:bodyPr wrap="square" lIns="0" tIns="0" rIns="0" bIns="0" anchor="t">
            <a:spAutoFit/>
          </a:bodyPr>
          <a:lstStyle/>
          <a:p>
            <a:pPr>
              <a:lnSpc>
                <a:spcPts val="2300"/>
              </a:lnSpc>
            </a:pPr>
            <a:r>
              <a:rPr lang="en-IE" sz="2400" b="1" i="0" dirty="0">
                <a:solidFill>
                  <a:srgbClr val="0289AE"/>
                </a:solidFill>
                <a:latin typeface="Calibri"/>
              </a:rPr>
              <a:t>Comes after / assumes familiarity with</a:t>
            </a:r>
          </a:p>
          <a:p>
            <a:pPr>
              <a:lnSpc>
                <a:spcPts val="2300"/>
              </a:lnSpc>
            </a:pPr>
            <a:endParaRPr sz="2400" b="1" i="0" dirty="0">
              <a:solidFill>
                <a:srgbClr val="0289AE"/>
              </a:solidFill>
              <a:latin typeface="Calibri"/>
            </a:endParaRPr>
          </a:p>
        </p:txBody>
      </p:sp>
      <p:sp>
        <p:nvSpPr>
          <p:cNvPr id="19" name="TextBox 18">
            <a:extLst>
              <a:ext uri="{FF2B5EF4-FFF2-40B4-BE49-F238E27FC236}">
                <a16:creationId xmlns:a16="http://schemas.microsoft.com/office/drawing/2014/main" id="{55356714-4BA8-D154-EE1D-9780C0EF6FB0}"/>
              </a:ext>
            </a:extLst>
          </p:cNvPr>
          <p:cNvSpPr txBox="1"/>
          <p:nvPr/>
        </p:nvSpPr>
        <p:spPr>
          <a:xfrm>
            <a:off x="684000" y="4928828"/>
            <a:ext cx="3276000" cy="302455"/>
          </a:xfrm>
          <a:prstGeom prst="rect">
            <a:avLst/>
          </a:prstGeom>
          <a:noFill/>
        </p:spPr>
        <p:txBody>
          <a:bodyPr wrap="square" lIns="0" tIns="0" rIns="0" bIns="0" anchor="t">
            <a:spAutoFit/>
          </a:bodyPr>
          <a:lstStyle/>
          <a:p>
            <a:pPr>
              <a:lnSpc>
                <a:spcPts val="2300"/>
              </a:lnSpc>
            </a:pPr>
            <a:r>
              <a:rPr lang="en-IE" sz="2400" b="1" i="0" dirty="0">
                <a:solidFill>
                  <a:srgbClr val="0289AE"/>
                </a:solidFill>
                <a:latin typeface="Calibri"/>
              </a:rPr>
              <a:t>Extends or connects to</a:t>
            </a:r>
          </a:p>
        </p:txBody>
      </p:sp>
      <p:pic>
        <p:nvPicPr>
          <p:cNvPr id="12" name="Picture 11">
            <a:extLst>
              <a:ext uri="{FF2B5EF4-FFF2-40B4-BE49-F238E27FC236}">
                <a16:creationId xmlns:a16="http://schemas.microsoft.com/office/drawing/2014/main" id="{C53F5F1D-69B9-7677-AE53-2AE29D9CD64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63169" y="1879426"/>
            <a:ext cx="3564000" cy="710162"/>
          </a:xfrm>
          <a:prstGeom prst="rect">
            <a:avLst/>
          </a:prstGeom>
        </p:spPr>
      </p:pic>
      <p:pic>
        <p:nvPicPr>
          <p:cNvPr id="15" name="Picture 14">
            <a:extLst>
              <a:ext uri="{FF2B5EF4-FFF2-40B4-BE49-F238E27FC236}">
                <a16:creationId xmlns:a16="http://schemas.microsoft.com/office/drawing/2014/main" id="{D5B92E7E-1FBC-B2B2-E3BE-748BC434B03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63169" y="2800622"/>
            <a:ext cx="3300437" cy="1643075"/>
          </a:xfrm>
          <a:prstGeom prst="rect">
            <a:avLst/>
          </a:prstGeom>
        </p:spPr>
      </p:pic>
      <p:pic>
        <p:nvPicPr>
          <p:cNvPr id="17" name="Picture 16">
            <a:extLst>
              <a:ext uri="{FF2B5EF4-FFF2-40B4-BE49-F238E27FC236}">
                <a16:creationId xmlns:a16="http://schemas.microsoft.com/office/drawing/2014/main" id="{48204820-9646-4736-FA7D-3956ADAC73F9}"/>
              </a:ext>
            </a:extLst>
          </p:cNvPr>
          <p:cNvPicPr>
            <a:picLocks noChangeAspect="1"/>
          </p:cNvPicPr>
          <p:nvPr/>
        </p:nvPicPr>
        <p:blipFill>
          <a:blip r:embed="rId6"/>
          <a:stretch>
            <a:fillRect/>
          </a:stretch>
        </p:blipFill>
        <p:spPr>
          <a:xfrm>
            <a:off x="8072968" y="2790396"/>
            <a:ext cx="3383926" cy="1663526"/>
          </a:xfrm>
          <a:prstGeom prst="rect">
            <a:avLst/>
          </a:prstGeom>
        </p:spPr>
      </p:pic>
      <p:pic>
        <p:nvPicPr>
          <p:cNvPr id="22" name="Picture 21">
            <a:extLst>
              <a:ext uri="{FF2B5EF4-FFF2-40B4-BE49-F238E27FC236}">
                <a16:creationId xmlns:a16="http://schemas.microsoft.com/office/drawing/2014/main" id="{91FEB46A-1BF4-CB42-A661-7138FA9DEA2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45169" y="4720881"/>
            <a:ext cx="3419500" cy="1581162"/>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CFCE3-8928-283B-470D-4E89A1F1AA44}"/>
            </a:ext>
          </a:extLst>
        </p:cNvPr>
        <p:cNvGrpSpPr/>
        <p:nvPr/>
      </p:nvGrpSpPr>
      <p:grpSpPr>
        <a:xfrm>
          <a:off x="0" y="0"/>
          <a:ext cx="0" cy="0"/>
          <a:chOff x="0" y="0"/>
          <a:chExt cx="0" cy="0"/>
        </a:xfrm>
      </p:grpSpPr>
      <p:grpSp>
        <p:nvGrpSpPr>
          <p:cNvPr id="17" name="Gruppieren 30">
            <a:extLst>
              <a:ext uri="{FF2B5EF4-FFF2-40B4-BE49-F238E27FC236}">
                <a16:creationId xmlns:a16="http://schemas.microsoft.com/office/drawing/2014/main" id="{C848B462-D44F-EF96-F043-4A4BC329FF6B}"/>
              </a:ext>
            </a:extLst>
          </p:cNvPr>
          <p:cNvGrpSpPr/>
          <p:nvPr/>
        </p:nvGrpSpPr>
        <p:grpSpPr>
          <a:xfrm>
            <a:off x="4923628" y="385499"/>
            <a:ext cx="6772463" cy="6049273"/>
            <a:chOff x="9515475" y="838200"/>
            <a:chExt cx="12386736" cy="12065000"/>
          </a:xfrm>
        </p:grpSpPr>
        <p:sp>
          <p:nvSpPr>
            <p:cNvPr id="19" name="Oval 10">
              <a:extLst>
                <a:ext uri="{FF2B5EF4-FFF2-40B4-BE49-F238E27FC236}">
                  <a16:creationId xmlns:a16="http://schemas.microsoft.com/office/drawing/2014/main" id="{614C2C9F-96E6-B197-EDA4-E51F0248E464}"/>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20" name="Straight Connector 33">
              <a:extLst>
                <a:ext uri="{FF2B5EF4-FFF2-40B4-BE49-F238E27FC236}">
                  <a16:creationId xmlns:a16="http://schemas.microsoft.com/office/drawing/2014/main" id="{517C0526-D459-C8FA-D48B-81292B92539D}"/>
                </a:ext>
              </a:extLst>
            </p:cNvPr>
            <p:cNvCxnSpPr>
              <a:cxnSpLocks/>
            </p:cNvCxnSpPr>
            <p:nvPr/>
          </p:nvCxnSpPr>
          <p:spPr>
            <a:xfrm>
              <a:off x="13079187" y="5884790"/>
              <a:ext cx="8823023"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2" name="Oval 14">
              <a:extLst>
                <a:ext uri="{FF2B5EF4-FFF2-40B4-BE49-F238E27FC236}">
                  <a16:creationId xmlns:a16="http://schemas.microsoft.com/office/drawing/2014/main" id="{57025233-06FE-C238-249A-1964B11CFA8C}"/>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Oval 3">
              <a:extLst>
                <a:ext uri="{FF2B5EF4-FFF2-40B4-BE49-F238E27FC236}">
                  <a16:creationId xmlns:a16="http://schemas.microsoft.com/office/drawing/2014/main" id="{123F9280-791F-5967-427C-B216BF0B45E5}"/>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32" name="Straight Connector 29">
              <a:extLst>
                <a:ext uri="{FF2B5EF4-FFF2-40B4-BE49-F238E27FC236}">
                  <a16:creationId xmlns:a16="http://schemas.microsoft.com/office/drawing/2014/main" id="{04167662-5CC5-69D6-FE2A-9F98993436DA}"/>
                </a:ext>
              </a:extLst>
            </p:cNvPr>
            <p:cNvCxnSpPr>
              <a:cxnSpLocks/>
            </p:cNvCxnSpPr>
            <p:nvPr/>
          </p:nvCxnSpPr>
          <p:spPr>
            <a:xfrm flipV="1">
              <a:off x="13778309" y="11405452"/>
              <a:ext cx="8021337" cy="52761"/>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28">
              <a:extLst>
                <a:ext uri="{FF2B5EF4-FFF2-40B4-BE49-F238E27FC236}">
                  <a16:creationId xmlns:a16="http://schemas.microsoft.com/office/drawing/2014/main" id="{85B073B7-A59F-EBC7-4BA4-4618A8B02846}"/>
                </a:ext>
              </a:extLst>
            </p:cNvPr>
            <p:cNvCxnSpPr>
              <a:cxnSpLocks/>
            </p:cNvCxnSpPr>
            <p:nvPr/>
          </p:nvCxnSpPr>
          <p:spPr>
            <a:xfrm>
              <a:off x="13079187" y="2376489"/>
              <a:ext cx="882302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34" name="Freeform: Shape 8">
              <a:extLst>
                <a:ext uri="{FF2B5EF4-FFF2-40B4-BE49-F238E27FC236}">
                  <a16:creationId xmlns:a16="http://schemas.microsoft.com/office/drawing/2014/main" id="{3EB01C04-3E9B-28E4-23EE-2FC4FFEABF93}"/>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5" name="Freeform: Shape 11">
              <a:extLst>
                <a:ext uri="{FF2B5EF4-FFF2-40B4-BE49-F238E27FC236}">
                  <a16:creationId xmlns:a16="http://schemas.microsoft.com/office/drawing/2014/main" id="{3B15D96E-8042-68F0-F484-1AAC4777783A}"/>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6" name="Oval 9">
              <a:extLst>
                <a:ext uri="{FF2B5EF4-FFF2-40B4-BE49-F238E27FC236}">
                  <a16:creationId xmlns:a16="http://schemas.microsoft.com/office/drawing/2014/main" id="{B1E167B5-B3ED-FE44-86D8-D0875591D446}"/>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7" name="Freeform: Shape 15">
              <a:extLst>
                <a:ext uri="{FF2B5EF4-FFF2-40B4-BE49-F238E27FC236}">
                  <a16:creationId xmlns:a16="http://schemas.microsoft.com/office/drawing/2014/main" id="{6B35429D-1C1F-56A6-5C51-B4051211DF0B}"/>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8" name="Oval 16">
              <a:extLst>
                <a:ext uri="{FF2B5EF4-FFF2-40B4-BE49-F238E27FC236}">
                  <a16:creationId xmlns:a16="http://schemas.microsoft.com/office/drawing/2014/main" id="{11848341-88FC-3E88-AA0A-AEB55F551B14}"/>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9" name="Oval 12">
              <a:extLst>
                <a:ext uri="{FF2B5EF4-FFF2-40B4-BE49-F238E27FC236}">
                  <a16:creationId xmlns:a16="http://schemas.microsoft.com/office/drawing/2014/main" id="{0DC6870F-82E9-F241-8367-5C56033DDC36}"/>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0" name="TextBox 19">
              <a:extLst>
                <a:ext uri="{FF2B5EF4-FFF2-40B4-BE49-F238E27FC236}">
                  <a16:creationId xmlns:a16="http://schemas.microsoft.com/office/drawing/2014/main" id="{AA9D64B9-8E74-720D-3108-6D3A98A2EA96}"/>
                </a:ext>
              </a:extLst>
            </p:cNvPr>
            <p:cNvSpPr txBox="1"/>
            <p:nvPr/>
          </p:nvSpPr>
          <p:spPr bwMode="auto">
            <a:xfrm>
              <a:off x="10337801" y="2336901"/>
              <a:ext cx="2940050" cy="2701190"/>
            </a:xfrm>
            <a:prstGeom prst="rect">
              <a:avLst/>
            </a:prstGeom>
            <a:noFill/>
          </p:spPr>
          <p:txBody>
            <a:bodyPr wrap="square">
              <a:spAutoFit/>
            </a:bodyPr>
            <a:lstStyle/>
            <a:p>
              <a:pPr algn="ctr">
                <a:lnSpc>
                  <a:spcPct val="150000"/>
                </a:lnSpc>
                <a:defRPr/>
              </a:pPr>
              <a:r>
                <a:rPr lang="en-US" sz="7200" b="1" spc="600" baseline="30000" dirty="0">
                  <a:solidFill>
                    <a:srgbClr val="0289AE"/>
                  </a:solidFill>
                  <a:latin typeface="Calibri" panose="020F0502020204030204" pitchFamily="34" charset="0"/>
                  <a:ea typeface="Roboto Cn" pitchFamily="2" charset="0"/>
                  <a:cs typeface="Calibri" panose="020F0502020204030204" pitchFamily="34" charset="0"/>
                </a:rPr>
                <a:t>01</a:t>
              </a:r>
            </a:p>
          </p:txBody>
        </p:sp>
        <p:sp>
          <p:nvSpPr>
            <p:cNvPr id="41" name="TextBox 23">
              <a:extLst>
                <a:ext uri="{FF2B5EF4-FFF2-40B4-BE49-F238E27FC236}">
                  <a16:creationId xmlns:a16="http://schemas.microsoft.com/office/drawing/2014/main" id="{1CE8F319-9A3F-02DD-2F5C-323E561D6EA9}"/>
                </a:ext>
              </a:extLst>
            </p:cNvPr>
            <p:cNvSpPr txBox="1"/>
            <p:nvPr/>
          </p:nvSpPr>
          <p:spPr bwMode="auto">
            <a:xfrm>
              <a:off x="10418763" y="6108802"/>
              <a:ext cx="2959100" cy="2484202"/>
            </a:xfrm>
            <a:prstGeom prst="rect">
              <a:avLst/>
            </a:prstGeom>
            <a:noFill/>
          </p:spPr>
          <p:txBody>
            <a:bodyPr wrap="square">
              <a:spAutoFit/>
            </a:bodyPr>
            <a:lstStyle/>
            <a:p>
              <a:pPr algn="ctr">
                <a:lnSpc>
                  <a:spcPct val="150000"/>
                </a:lnSpc>
                <a:defRPr/>
              </a:pPr>
              <a:r>
                <a:rPr lang="en-US" sz="7200" b="1" spc="600" baseline="30000" dirty="0">
                  <a:solidFill>
                    <a:srgbClr val="62A844"/>
                  </a:solidFill>
                  <a:latin typeface="Calibri" panose="020F0502020204030204" pitchFamily="34" charset="0"/>
                  <a:ea typeface="Roboto Cn" pitchFamily="2" charset="0"/>
                  <a:cs typeface="Calibri" panose="020F0502020204030204" pitchFamily="34" charset="0"/>
                </a:rPr>
                <a:t>02</a:t>
              </a:r>
            </a:p>
          </p:txBody>
        </p:sp>
        <p:sp>
          <p:nvSpPr>
            <p:cNvPr id="42" name="TextBox 26">
              <a:extLst>
                <a:ext uri="{FF2B5EF4-FFF2-40B4-BE49-F238E27FC236}">
                  <a16:creationId xmlns:a16="http://schemas.microsoft.com/office/drawing/2014/main" id="{13A24DB1-46A1-31E7-3F26-4714B5350A0F}"/>
                </a:ext>
              </a:extLst>
            </p:cNvPr>
            <p:cNvSpPr txBox="1"/>
            <p:nvPr/>
          </p:nvSpPr>
          <p:spPr bwMode="auto">
            <a:xfrm>
              <a:off x="10337801" y="9880701"/>
              <a:ext cx="2841623" cy="2582886"/>
            </a:xfrm>
            <a:prstGeom prst="rect">
              <a:avLst/>
            </a:prstGeom>
            <a:noFill/>
          </p:spPr>
          <p:txBody>
            <a:bodyPr wrap="square">
              <a:spAutoFit/>
            </a:bodyPr>
            <a:lstStyle/>
            <a:p>
              <a:pPr algn="ctr">
                <a:lnSpc>
                  <a:spcPct val="150000"/>
                </a:lnSpc>
                <a:defRPr/>
              </a:pPr>
              <a:r>
                <a:rPr lang="en-US" sz="7200" b="1" spc="600" baseline="30000" dirty="0">
                  <a:solidFill>
                    <a:srgbClr val="EABB22"/>
                  </a:solidFill>
                  <a:latin typeface="Calibri" panose="020F0502020204030204" pitchFamily="34" charset="0"/>
                  <a:ea typeface="Roboto Cn" pitchFamily="2" charset="0"/>
                  <a:cs typeface="Calibri" panose="020F0502020204030204" pitchFamily="34" charset="0"/>
                </a:rPr>
                <a:t>03</a:t>
              </a:r>
            </a:p>
          </p:txBody>
        </p:sp>
      </p:grpSp>
      <p:sp>
        <p:nvSpPr>
          <p:cNvPr id="2" name="Text Placeholder 11">
            <a:extLst>
              <a:ext uri="{FF2B5EF4-FFF2-40B4-BE49-F238E27FC236}">
                <a16:creationId xmlns:a16="http://schemas.microsoft.com/office/drawing/2014/main" id="{6E880D6E-58DB-60BC-F3F0-3F16F3F6977D}"/>
              </a:ext>
            </a:extLst>
          </p:cNvPr>
          <p:cNvSpPr txBox="1">
            <a:spLocks/>
          </p:cNvSpPr>
          <p:nvPr/>
        </p:nvSpPr>
        <p:spPr>
          <a:xfrm>
            <a:off x="429115" y="609471"/>
            <a:ext cx="381927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err="1">
                <a:solidFill>
                  <a:srgbClr val="62A844"/>
                </a:solidFill>
                <a:cs typeface="Times New Roman" panose="02020603050405020304" pitchFamily="18" charset="0"/>
              </a:rPr>
              <a:t>EcoSmart</a:t>
            </a:r>
            <a:r>
              <a:rPr lang="en-US" sz="3400" b="1" dirty="0">
                <a:solidFill>
                  <a:srgbClr val="62A844"/>
                </a:solidFill>
                <a:cs typeface="Times New Roman" panose="02020603050405020304" pitchFamily="18" charset="0"/>
              </a:rPr>
              <a:t> Hospitality Exampl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EB6A5DA-22CA-4B6B-ECA1-668DC633740C}"/>
              </a:ext>
            </a:extLst>
          </p:cNvPr>
          <p:cNvCxnSpPr>
            <a:cxnSpLocks/>
          </p:cNvCxnSpPr>
          <p:nvPr/>
        </p:nvCxnSpPr>
        <p:spPr>
          <a:xfrm>
            <a:off x="-27709" y="2176542"/>
            <a:ext cx="384029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05CEFEA9-2190-ED2E-C414-5C12F0FB1160}"/>
              </a:ext>
            </a:extLst>
          </p:cNvPr>
          <p:cNvPicPr>
            <a:picLocks noChangeAspect="1"/>
          </p:cNvPicPr>
          <p:nvPr/>
        </p:nvPicPr>
        <p:blipFill>
          <a:blip>
            <a:extLst>
              <a:ext uri="{96DAC541-7B7A-43D3-8B79-37D633B846F1}">
                <asvg:svgBlip xmlns:asvg="http://schemas.microsoft.com/office/drawing/2016/SVG/main" r:embed="rId3"/>
              </a:ext>
            </a:extLst>
          </a:blip>
          <a:srcRect l="32756" t="48939" r="39869" b="37216"/>
          <a:stretch>
            <a:fillRect/>
          </a:stretch>
        </p:blipFill>
        <p:spPr>
          <a:xfrm rot="10800000">
            <a:off x="-30672" y="3809280"/>
            <a:ext cx="4279059" cy="3064365"/>
          </a:xfrm>
          <a:prstGeom prst="rect">
            <a:avLst/>
          </a:prstGeom>
        </p:spPr>
      </p:pic>
      <p:sp>
        <p:nvSpPr>
          <p:cNvPr id="9" name="TextBox 34">
            <a:extLst>
              <a:ext uri="{FF2B5EF4-FFF2-40B4-BE49-F238E27FC236}">
                <a16:creationId xmlns:a16="http://schemas.microsoft.com/office/drawing/2014/main" id="{CD6E0B36-27DA-7E06-490A-CC72E8CCFC1E}"/>
              </a:ext>
            </a:extLst>
          </p:cNvPr>
          <p:cNvSpPr txBox="1"/>
          <p:nvPr/>
        </p:nvSpPr>
        <p:spPr>
          <a:xfrm>
            <a:off x="7482161" y="5750102"/>
            <a:ext cx="4122556" cy="1066959"/>
          </a:xfrm>
          <a:prstGeom prst="rect">
            <a:avLst/>
          </a:prstGeom>
          <a:noFill/>
        </p:spPr>
        <p:txBody>
          <a:bodyPr wrap="square">
            <a:spAutoFit/>
          </a:bodyPr>
          <a:lstStyle>
            <a:defPPr>
              <a:defRPr lang="en-US"/>
            </a:defPPr>
            <a:lvl1pPr lvl="0" eaLnBrk="0" fontAlgn="base" hangingPunct="0">
              <a:spcBef>
                <a:spcPct val="0"/>
              </a:spcBef>
              <a:spcAft>
                <a:spcPct val="0"/>
              </a:spcAft>
              <a:buFontTx/>
              <a:buChar char="•"/>
              <a:defRPr sz="1600">
                <a:latin typeface="Arial" panose="020B0604020202020204" pitchFamily="34" charset="0"/>
              </a:defRPr>
            </a:lvl1pPr>
          </a:lstStyle>
          <a:p>
            <a:pPr>
              <a:lnSpc>
                <a:spcPts val="1940"/>
              </a:lnSpc>
              <a:buClr>
                <a:srgbClr val="EABB22"/>
              </a:buClr>
              <a:buNone/>
            </a:pPr>
            <a:r>
              <a:rPr lang="de-DE" altLang="de-DE" sz="1800" dirty="0">
                <a:solidFill>
                  <a:srgbClr val="262626"/>
                </a:solidFill>
                <a:latin typeface="Calibri" panose="020F0502020204030204" pitchFamily="34" charset="0"/>
                <a:cs typeface="Calibri" panose="020F0502020204030204" pitchFamily="34" charset="0"/>
              </a:rPr>
              <a:t>Hotel </a:t>
            </a:r>
            <a:r>
              <a:rPr lang="de-DE" altLang="de-DE" sz="1800" dirty="0" err="1">
                <a:solidFill>
                  <a:srgbClr val="262626"/>
                </a:solidFill>
                <a:latin typeface="Calibri" panose="020F0502020204030204" pitchFamily="34" charset="0"/>
                <a:cs typeface="Calibri" panose="020F0502020204030204" pitchFamily="34" charset="0"/>
              </a:rPr>
              <a:t>room</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ignag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offer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guests</a:t>
            </a:r>
            <a:r>
              <a:rPr lang="de-DE" altLang="de-DE" sz="1800" dirty="0">
                <a:solidFill>
                  <a:srgbClr val="262626"/>
                </a:solidFill>
                <a:latin typeface="Calibri" panose="020F0502020204030204" pitchFamily="34" charset="0"/>
                <a:cs typeface="Calibri" panose="020F0502020204030204" pitchFamily="34" charset="0"/>
              </a:rPr>
              <a:t> a </a:t>
            </a:r>
            <a:r>
              <a:rPr lang="de-DE" altLang="de-DE" sz="1800" dirty="0" err="1">
                <a:solidFill>
                  <a:srgbClr val="262626"/>
                </a:solidFill>
                <a:latin typeface="Calibri" panose="020F0502020204030204" pitchFamily="34" charset="0"/>
                <a:cs typeface="Calibri" panose="020F0502020204030204" pitchFamily="34" charset="0"/>
              </a:rPr>
              <a:t>choic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of</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housekeeping</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frequency</a:t>
            </a:r>
            <a:r>
              <a:rPr lang="de-DE" altLang="de-DE" sz="1800" dirty="0">
                <a:solidFill>
                  <a:srgbClr val="262626"/>
                </a:solidFill>
                <a:latin typeface="Calibri" panose="020F0502020204030204" pitchFamily="34" charset="0"/>
                <a:cs typeface="Calibri" panose="020F0502020204030204" pitchFamily="34" charset="0"/>
              </a:rPr>
              <a:t> and </a:t>
            </a:r>
            <a:r>
              <a:rPr lang="de-DE" altLang="de-DE" sz="1800" dirty="0" err="1">
                <a:solidFill>
                  <a:srgbClr val="262626"/>
                </a:solidFill>
                <a:latin typeface="Calibri" panose="020F0502020204030204" pitchFamily="34" charset="0"/>
                <a:cs typeface="Calibri" panose="020F0502020204030204" pitchFamily="34" charset="0"/>
              </a:rPr>
              <a:t>explain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he</a:t>
            </a:r>
            <a:r>
              <a:rPr lang="de-DE" altLang="de-DE" sz="1800" dirty="0">
                <a:solidFill>
                  <a:srgbClr val="262626"/>
                </a:solidFill>
                <a:latin typeface="Calibri" panose="020F0502020204030204" pitchFamily="34" charset="0"/>
                <a:cs typeface="Calibri" panose="020F0502020204030204" pitchFamily="34" charset="0"/>
              </a:rPr>
              <a:t> environmental </a:t>
            </a:r>
            <a:r>
              <a:rPr lang="de-DE" altLang="de-DE" sz="1800" dirty="0" err="1">
                <a:solidFill>
                  <a:srgbClr val="262626"/>
                </a:solidFill>
                <a:latin typeface="Calibri" panose="020F0502020204030204" pitchFamily="34" charset="0"/>
                <a:cs typeface="Calibri" panose="020F0502020204030204" pitchFamily="34" charset="0"/>
              </a:rPr>
              <a:t>benefi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clearly</a:t>
            </a:r>
            <a:r>
              <a:rPr lang="de-DE" altLang="de-DE" sz="1800" dirty="0">
                <a:solidFill>
                  <a:srgbClr val="262626"/>
                </a:solidFill>
                <a:latin typeface="Calibri" panose="020F0502020204030204" pitchFamily="34" charset="0"/>
                <a:cs typeface="Calibri" panose="020F0502020204030204" pitchFamily="34" charset="0"/>
              </a:rPr>
              <a:t>.</a:t>
            </a:r>
          </a:p>
          <a:p>
            <a:pPr>
              <a:lnSpc>
                <a:spcPts val="1940"/>
              </a:lnSpc>
              <a:buClr>
                <a:srgbClr val="EABB22"/>
              </a:buClr>
              <a:buNone/>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11" name="TextBox 36">
            <a:extLst>
              <a:ext uri="{FF2B5EF4-FFF2-40B4-BE49-F238E27FC236}">
                <a16:creationId xmlns:a16="http://schemas.microsoft.com/office/drawing/2014/main" id="{F0CBE63A-F926-7756-71AF-F1C12BD593BA}"/>
              </a:ext>
            </a:extLst>
          </p:cNvPr>
          <p:cNvSpPr txBox="1"/>
          <p:nvPr/>
        </p:nvSpPr>
        <p:spPr>
          <a:xfrm>
            <a:off x="7463093" y="1198646"/>
            <a:ext cx="3968167" cy="1310615"/>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940"/>
              </a:lnSpc>
              <a:buClr>
                <a:srgbClr val="0289AE"/>
              </a:buClr>
              <a:buNone/>
            </a:pPr>
            <a:r>
              <a:rPr lang="de-DE" altLang="de-DE" sz="1800" dirty="0">
                <a:solidFill>
                  <a:srgbClr val="262626"/>
                </a:solidFill>
                <a:latin typeface="Calibri" panose="020F0502020204030204" pitchFamily="34" charset="0"/>
                <a:cs typeface="Calibri" panose="020F0502020204030204" pitchFamily="34" charset="0"/>
              </a:rPr>
              <a:t>A </a:t>
            </a:r>
            <a:r>
              <a:rPr lang="de-DE" altLang="de-DE" sz="1800" dirty="0" err="1">
                <a:solidFill>
                  <a:srgbClr val="262626"/>
                </a:solidFill>
                <a:latin typeface="Calibri" panose="020F0502020204030204" pitchFamily="34" charset="0"/>
                <a:cs typeface="Calibri" panose="020F0502020204030204" pitchFamily="34" charset="0"/>
              </a:rPr>
              <a:t>guesthous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offer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easonal</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menu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buil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around</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locall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ourced</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ingredients</a:t>
            </a:r>
            <a:r>
              <a:rPr lang="de-DE" altLang="de-DE" sz="1800" dirty="0">
                <a:solidFill>
                  <a:srgbClr val="262626"/>
                </a:solidFill>
                <a:latin typeface="Calibri" panose="020F0502020204030204" pitchFamily="34" charset="0"/>
                <a:cs typeface="Calibri" panose="020F0502020204030204" pitchFamily="34" charset="0"/>
              </a:rPr>
              <a:t> and </a:t>
            </a:r>
            <a:r>
              <a:rPr lang="de-DE" altLang="de-DE" sz="1800" dirty="0" err="1">
                <a:solidFill>
                  <a:srgbClr val="262626"/>
                </a:solidFill>
                <a:latin typeface="Calibri" panose="020F0502020204030204" pitchFamily="34" charset="0"/>
                <a:cs typeface="Calibri" panose="020F0502020204030204" pitchFamily="34" charset="0"/>
              </a:rPr>
              <a:t>present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hem</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with</a:t>
            </a:r>
            <a:r>
              <a:rPr lang="de-DE" altLang="de-DE" sz="1800" dirty="0">
                <a:solidFill>
                  <a:srgbClr val="262626"/>
                </a:solidFill>
                <a:latin typeface="Calibri" panose="020F0502020204030204" pitchFamily="34" charset="0"/>
                <a:cs typeface="Calibri" panose="020F0502020204030204" pitchFamily="34" charset="0"/>
              </a:rPr>
              <a:t> a </a:t>
            </a:r>
            <a:r>
              <a:rPr lang="de-DE" altLang="de-DE" sz="1800" dirty="0" err="1">
                <a:solidFill>
                  <a:srgbClr val="262626"/>
                </a:solidFill>
                <a:latin typeface="Calibri" panose="020F0502020204030204" pitchFamily="34" charset="0"/>
                <a:cs typeface="Calibri" panose="020F0502020204030204" pitchFamily="34" charset="0"/>
              </a:rPr>
              <a:t>shor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tor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abou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h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producers</a:t>
            </a:r>
            <a:r>
              <a:rPr lang="de-DE" altLang="de-DE" sz="1800" dirty="0">
                <a:solidFill>
                  <a:srgbClr val="262626"/>
                </a:solidFill>
                <a:latin typeface="Calibri" panose="020F0502020204030204" pitchFamily="34" charset="0"/>
                <a:cs typeface="Calibri" panose="020F0502020204030204" pitchFamily="34" charset="0"/>
              </a:rPr>
              <a:t>.</a:t>
            </a:r>
          </a:p>
          <a:p>
            <a:pPr marL="0" indent="0">
              <a:lnSpc>
                <a:spcPts val="1940"/>
              </a:lnSpc>
              <a:buClr>
                <a:srgbClr val="0289AE"/>
              </a:buClr>
              <a:buNone/>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12" name="TextBox 37">
            <a:extLst>
              <a:ext uri="{FF2B5EF4-FFF2-40B4-BE49-F238E27FC236}">
                <a16:creationId xmlns:a16="http://schemas.microsoft.com/office/drawing/2014/main" id="{3C814F27-A90A-6D48-2E68-B0345939C1C1}"/>
              </a:ext>
            </a:extLst>
          </p:cNvPr>
          <p:cNvSpPr txBox="1"/>
          <p:nvPr/>
        </p:nvSpPr>
        <p:spPr>
          <a:xfrm>
            <a:off x="7463093" y="2884751"/>
            <a:ext cx="4437554" cy="2551981"/>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buNone/>
            </a:pPr>
            <a:r>
              <a:rPr lang="en-US" sz="1800" dirty="0">
                <a:solidFill>
                  <a:srgbClr val="262626"/>
                </a:solidFill>
                <a:latin typeface="+mn-lt"/>
                <a:cs typeface="Calibri" panose="020F0502020204030204" pitchFamily="34" charset="0"/>
              </a:rPr>
              <a:t>Reception staff encourage guests to join a simple eco-challenge with a small reward. </a:t>
            </a:r>
            <a:r>
              <a:rPr lang="en-GB" sz="1800" b="1" dirty="0">
                <a:latin typeface="+mn-lt"/>
              </a:rPr>
              <a:t> Example: Coco Hotel, Copenhagen </a:t>
            </a:r>
            <a:r>
              <a:rPr lang="en-GB" sz="1800" dirty="0">
                <a:solidFill>
                  <a:srgbClr val="262626"/>
                </a:solidFill>
                <a:latin typeface="+mn-lt"/>
              </a:rPr>
              <a:t>Guests arriving by bicycle receive small incentives and practical support through bike-friendly services and local mobility information. Sustainability is positioned as part of an easy urban lifestyle rather than a restriction. </a:t>
            </a:r>
          </a:p>
          <a:p>
            <a:pPr marL="0" indent="0">
              <a:lnSpc>
                <a:spcPts val="1940"/>
              </a:lnSpc>
              <a:buClr>
                <a:srgbClr val="62A844"/>
              </a:buClr>
              <a:buNone/>
            </a:pPr>
            <a:r>
              <a:rPr lang="en-US" sz="1800" dirty="0">
                <a:solidFill>
                  <a:srgbClr val="262626"/>
                </a:solidFill>
                <a:latin typeface="Calibri" panose="020F0502020204030204" pitchFamily="34" charset="0"/>
                <a:cs typeface="Calibri" panose="020F0502020204030204" pitchFamily="34" charset="0"/>
              </a:rPr>
              <a:t> </a:t>
            </a:r>
          </a:p>
        </p:txBody>
      </p:sp>
      <p:sp>
        <p:nvSpPr>
          <p:cNvPr id="5" name="TextBox 35">
            <a:extLst>
              <a:ext uri="{FF2B5EF4-FFF2-40B4-BE49-F238E27FC236}">
                <a16:creationId xmlns:a16="http://schemas.microsoft.com/office/drawing/2014/main" id="{42149E8B-65F0-3A17-4688-467FB355037A}"/>
              </a:ext>
            </a:extLst>
          </p:cNvPr>
          <p:cNvSpPr txBox="1"/>
          <p:nvPr/>
        </p:nvSpPr>
        <p:spPr>
          <a:xfrm>
            <a:off x="7419034" y="2356401"/>
            <a:ext cx="5352028" cy="528350"/>
          </a:xfrm>
          <a:prstGeom prst="rect">
            <a:avLst/>
          </a:prstGeom>
          <a:noFill/>
        </p:spPr>
        <p:txBody>
          <a:bodyPr wrap="square">
            <a:spAutoFit/>
          </a:bodyPr>
          <a:lstStyle/>
          <a:p>
            <a:pPr>
              <a:lnSpc>
                <a:spcPts val="3380"/>
              </a:lnSpc>
              <a:defRPr/>
            </a:pPr>
            <a:r>
              <a:rPr lang="en-US" sz="3000" b="1" dirty="0">
                <a:solidFill>
                  <a:srgbClr val="62A844"/>
                </a:solidFill>
                <a:latin typeface="Calibri" panose="020F0502020204030204" pitchFamily="34" charset="0"/>
                <a:ea typeface="Roboto Cn" pitchFamily="2" charset="0"/>
                <a:cs typeface="Calibri" panose="020F0502020204030204" pitchFamily="34" charset="0"/>
              </a:rPr>
              <a:t>Reception Eco-Challenge</a:t>
            </a:r>
          </a:p>
        </p:txBody>
      </p:sp>
      <p:sp>
        <p:nvSpPr>
          <p:cNvPr id="6" name="TextBox 38">
            <a:extLst>
              <a:ext uri="{FF2B5EF4-FFF2-40B4-BE49-F238E27FC236}">
                <a16:creationId xmlns:a16="http://schemas.microsoft.com/office/drawing/2014/main" id="{8A52546D-BDD9-F990-474E-80AA1C7C5512}"/>
              </a:ext>
            </a:extLst>
          </p:cNvPr>
          <p:cNvSpPr txBox="1"/>
          <p:nvPr/>
        </p:nvSpPr>
        <p:spPr>
          <a:xfrm>
            <a:off x="7463093" y="609471"/>
            <a:ext cx="4888507" cy="528350"/>
          </a:xfrm>
          <a:prstGeom prst="rect">
            <a:avLst/>
          </a:prstGeom>
          <a:noFill/>
        </p:spPr>
        <p:txBody>
          <a:bodyPr wrap="square">
            <a:spAutoFit/>
          </a:bodyPr>
          <a:lstStyle/>
          <a:p>
            <a:pPr>
              <a:lnSpc>
                <a:spcPts val="3380"/>
              </a:lnSpc>
              <a:defRPr/>
            </a:pPr>
            <a:r>
              <a:rPr lang="en-US" sz="3000" b="1" dirty="0">
                <a:solidFill>
                  <a:srgbClr val="0289AE"/>
                </a:solidFill>
                <a:latin typeface="Calibri" panose="020F0502020204030204" pitchFamily="34" charset="0"/>
                <a:ea typeface="Roboto Cn" pitchFamily="2" charset="0"/>
                <a:cs typeface="Calibri" panose="020F0502020204030204" pitchFamily="34" charset="0"/>
              </a:rPr>
              <a:t>Rural Guesthouse</a:t>
            </a:r>
          </a:p>
        </p:txBody>
      </p:sp>
      <p:sp>
        <p:nvSpPr>
          <p:cNvPr id="15" name="TextBox 39">
            <a:extLst>
              <a:ext uri="{FF2B5EF4-FFF2-40B4-BE49-F238E27FC236}">
                <a16:creationId xmlns:a16="http://schemas.microsoft.com/office/drawing/2014/main" id="{2F69EB65-F13D-8090-BF29-59905556037A}"/>
              </a:ext>
            </a:extLst>
          </p:cNvPr>
          <p:cNvSpPr txBox="1"/>
          <p:nvPr/>
        </p:nvSpPr>
        <p:spPr>
          <a:xfrm>
            <a:off x="7441602" y="5124406"/>
            <a:ext cx="5776225" cy="528350"/>
          </a:xfrm>
          <a:prstGeom prst="rect">
            <a:avLst/>
          </a:prstGeom>
          <a:noFill/>
        </p:spPr>
        <p:txBody>
          <a:bodyPr wrap="square">
            <a:spAutoFit/>
          </a:bodyPr>
          <a:lstStyle/>
          <a:p>
            <a:pPr>
              <a:lnSpc>
                <a:spcPts val="3380"/>
              </a:lnSpc>
              <a:defRPr/>
            </a:pPr>
            <a:r>
              <a:rPr lang="en-US" sz="3000" b="1" dirty="0">
                <a:solidFill>
                  <a:srgbClr val="EABB22"/>
                </a:solidFill>
                <a:latin typeface="Calibri" panose="020F0502020204030204" pitchFamily="34" charset="0"/>
                <a:ea typeface="Roboto Cn" pitchFamily="2" charset="0"/>
                <a:cs typeface="Calibri" panose="020F0502020204030204" pitchFamily="34" charset="0"/>
              </a:rPr>
              <a:t>Room Communication</a:t>
            </a:r>
          </a:p>
        </p:txBody>
      </p:sp>
      <p:sp>
        <p:nvSpPr>
          <p:cNvPr id="16" name="TextBox 6">
            <a:extLst>
              <a:ext uri="{FF2B5EF4-FFF2-40B4-BE49-F238E27FC236}">
                <a16:creationId xmlns:a16="http://schemas.microsoft.com/office/drawing/2014/main" id="{F98ED886-52D1-AC21-3545-428D9B91FCF2}"/>
              </a:ext>
            </a:extLst>
          </p:cNvPr>
          <p:cNvSpPr txBox="1"/>
          <p:nvPr/>
        </p:nvSpPr>
        <p:spPr>
          <a:xfrm>
            <a:off x="417922" y="2341256"/>
            <a:ext cx="5902042" cy="1508105"/>
          </a:xfrm>
          <a:prstGeom prst="rect">
            <a:avLst/>
          </a:prstGeom>
          <a:noFill/>
        </p:spPr>
        <p:txBody>
          <a:bodyPr wrap="square" lIns="91440" tIns="45720" rIns="91440" bIns="45720" rtlCol="0" anchor="t">
            <a:spAutoFit/>
          </a:bodyPr>
          <a:lstStyle/>
          <a:p>
            <a:pPr>
              <a:buClr>
                <a:srgbClr val="62A844"/>
              </a:buClr>
            </a:pPr>
            <a:r>
              <a:rPr lang="en-US" sz="2000" b="1" dirty="0">
                <a:solidFill>
                  <a:srgbClr val="0289AE"/>
                </a:solidFill>
              </a:rPr>
              <a:t>What these examples show</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sustainability can be guest-facing</a:t>
            </a:r>
          </a:p>
          <a:p>
            <a:pPr marL="285750" indent="-285750">
              <a:buClr>
                <a:srgbClr val="62A844"/>
              </a:buClr>
              <a:buFont typeface="Arial" panose="020B0604020202020204" pitchFamily="34" charset="0"/>
              <a:buChar char="•"/>
            </a:pPr>
            <a:r>
              <a:rPr lang="en-US" dirty="0">
                <a:solidFill>
                  <a:srgbClr val="262626"/>
                </a:solidFill>
              </a:rPr>
              <a:t>communication matters</a:t>
            </a:r>
          </a:p>
          <a:p>
            <a:pPr marL="285750" indent="-285750">
              <a:buClr>
                <a:srgbClr val="62A844"/>
              </a:buClr>
              <a:buFont typeface="Arial" panose="020B0604020202020204" pitchFamily="34" charset="0"/>
              <a:buChar char="•"/>
            </a:pPr>
            <a:r>
              <a:rPr lang="en-US" dirty="0">
                <a:solidFill>
                  <a:srgbClr val="262626"/>
                </a:solidFill>
              </a:rPr>
              <a:t>meaning matters</a:t>
            </a:r>
          </a:p>
          <a:p>
            <a:pPr marL="285750" indent="-285750">
              <a:buClr>
                <a:srgbClr val="62A844"/>
              </a:buClr>
              <a:buFont typeface="Arial" panose="020B0604020202020204" pitchFamily="34" charset="0"/>
              <a:buChar char="•"/>
            </a:pPr>
            <a:r>
              <a:rPr lang="en-US" dirty="0">
                <a:solidFill>
                  <a:srgbClr val="262626"/>
                </a:solidFill>
              </a:rPr>
              <a:t>small design choices shape experience</a:t>
            </a:r>
          </a:p>
        </p:txBody>
      </p:sp>
    </p:spTree>
    <p:extLst>
      <p:ext uri="{BB962C8B-B14F-4D97-AF65-F5344CB8AC3E}">
        <p14:creationId xmlns:p14="http://schemas.microsoft.com/office/powerpoint/2010/main" val="4028929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EEFF1-4110-A658-8D64-1A60A37BA1B3}"/>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F42B5DC7-B6F1-AD10-57E1-35287FA052A3}"/>
              </a:ext>
            </a:extLst>
          </p:cNvPr>
          <p:cNvSpPr txBox="1">
            <a:spLocks/>
          </p:cNvSpPr>
          <p:nvPr/>
        </p:nvSpPr>
        <p:spPr>
          <a:xfrm>
            <a:off x="429115" y="421381"/>
            <a:ext cx="596129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62A844"/>
                </a:solidFill>
                <a:cs typeface="Times New Roman" panose="02020603050405020304" pitchFamily="18" charset="0"/>
              </a:rPr>
              <a:t>Watch: Why Service Design Makes the Difference</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4E46550-C698-C944-AB9A-9D6BEA8A1436}"/>
              </a:ext>
            </a:extLst>
          </p:cNvPr>
          <p:cNvCxnSpPr>
            <a:cxnSpLocks/>
          </p:cNvCxnSpPr>
          <p:nvPr/>
        </p:nvCxnSpPr>
        <p:spPr>
          <a:xfrm>
            <a:off x="0" y="1536819"/>
            <a:ext cx="568382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4045F991-2733-6A68-E409-38D47352DD1E}"/>
              </a:ext>
            </a:extLst>
          </p:cNvPr>
          <p:cNvSpPr/>
          <p:nvPr/>
        </p:nvSpPr>
        <p:spPr>
          <a:xfrm flipH="1">
            <a:off x="586941" y="1838697"/>
            <a:ext cx="5233816" cy="4196020"/>
          </a:xfrm>
          <a:prstGeom prst="rect">
            <a:avLst/>
          </a:prstGeom>
        </p:spPr>
        <p:txBody>
          <a:bodyPr wrap="square">
            <a:spAutoFit/>
          </a:bodyPr>
          <a:lstStyle/>
          <a:p>
            <a:pPr>
              <a:lnSpc>
                <a:spcPts val="1960"/>
              </a:lnSpc>
              <a:buClr>
                <a:srgbClr val="62A844"/>
              </a:buClr>
            </a:pPr>
            <a:r>
              <a:rPr lang="en-US" sz="2000" b="1" dirty="0">
                <a:solidFill>
                  <a:srgbClr val="0289AE"/>
                </a:solidFill>
              </a:rPr>
              <a:t>Watch the video and watch for:</a:t>
            </a:r>
          </a:p>
          <a:p>
            <a:pPr marL="342900" indent="-342900">
              <a:lnSpc>
                <a:spcPts val="1960"/>
              </a:lnSpc>
              <a:buClr>
                <a:srgbClr val="62A844"/>
              </a:buClr>
              <a:buFont typeface="Arial" panose="020B0604020202020204" pitchFamily="34" charset="0"/>
              <a:buChar char="•"/>
            </a:pPr>
            <a:r>
              <a:rPr lang="en-US" dirty="0">
                <a:solidFill>
                  <a:srgbClr val="262626"/>
                </a:solidFill>
              </a:rPr>
              <a:t>how service design explains choice and loyalty</a:t>
            </a:r>
          </a:p>
          <a:p>
            <a:pPr marL="342900" indent="-342900">
              <a:lnSpc>
                <a:spcPts val="1960"/>
              </a:lnSpc>
              <a:buClr>
                <a:srgbClr val="62A844"/>
              </a:buClr>
              <a:buFont typeface="Arial" panose="020B0604020202020204" pitchFamily="34" charset="0"/>
              <a:buChar char="•"/>
            </a:pPr>
            <a:r>
              <a:rPr lang="en-US" dirty="0">
                <a:solidFill>
                  <a:srgbClr val="262626"/>
                </a:solidFill>
              </a:rPr>
              <a:t>why people choose one service over another</a:t>
            </a:r>
          </a:p>
          <a:p>
            <a:pPr marL="342900" indent="-342900">
              <a:lnSpc>
                <a:spcPts val="1960"/>
              </a:lnSpc>
              <a:buClr>
                <a:srgbClr val="62A844"/>
              </a:buClr>
              <a:buFont typeface="Arial" panose="020B0604020202020204" pitchFamily="34" charset="0"/>
              <a:buChar char="•"/>
            </a:pPr>
            <a:r>
              <a:rPr lang="en-US" dirty="0">
                <a:solidFill>
                  <a:srgbClr val="262626"/>
                </a:solidFill>
              </a:rPr>
              <a:t>how physical space, process, and communication work together</a:t>
            </a:r>
          </a:p>
          <a:p>
            <a:pPr marL="342900" indent="-342900">
              <a:lnSpc>
                <a:spcPts val="1960"/>
              </a:lnSpc>
              <a:buClr>
                <a:srgbClr val="62A844"/>
              </a:buClr>
              <a:buFont typeface="Arial" panose="020B0604020202020204" pitchFamily="34" charset="0"/>
              <a:buChar char="•"/>
            </a:pPr>
            <a:endParaRPr lang="en-US" dirty="0">
              <a:solidFill>
                <a:srgbClr val="262626"/>
              </a:solidFill>
            </a:endParaRPr>
          </a:p>
          <a:p>
            <a:pPr marL="342900" indent="-342900">
              <a:lnSpc>
                <a:spcPts val="1960"/>
              </a:lnSpc>
              <a:buClr>
                <a:srgbClr val="62A844"/>
              </a:buClr>
              <a:buFont typeface="Arial" panose="020B0604020202020204" pitchFamily="34" charset="0"/>
              <a:buChar char="•"/>
            </a:pPr>
            <a:endParaRPr lang="en-US" dirty="0">
              <a:solidFill>
                <a:srgbClr val="262626"/>
              </a:solidFill>
            </a:endParaRPr>
          </a:p>
          <a:p>
            <a:pPr marL="342900" indent="-34290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pPr>
            <a:r>
              <a:rPr lang="en-US" sz="2000" b="1" dirty="0">
                <a:solidFill>
                  <a:srgbClr val="0289AE"/>
                </a:solidFill>
              </a:rPr>
              <a:t>Your task - Write 3 short notes:</a:t>
            </a:r>
          </a:p>
          <a:p>
            <a:pPr marL="342900" indent="-342900">
              <a:lnSpc>
                <a:spcPts val="1960"/>
              </a:lnSpc>
              <a:buClr>
                <a:srgbClr val="62A844"/>
              </a:buClr>
              <a:buFont typeface="Arial" panose="020B0604020202020204" pitchFamily="34" charset="0"/>
              <a:buChar char="•"/>
            </a:pPr>
            <a:r>
              <a:rPr lang="en-US" dirty="0">
                <a:solidFill>
                  <a:srgbClr val="262626"/>
                </a:solidFill>
              </a:rPr>
              <a:t>one idea you could apply in a hotel or restaurant</a:t>
            </a:r>
          </a:p>
          <a:p>
            <a:pPr marL="342900" indent="-342900">
              <a:lnSpc>
                <a:spcPts val="1960"/>
              </a:lnSpc>
              <a:buClr>
                <a:srgbClr val="62A844"/>
              </a:buClr>
              <a:buFont typeface="Arial" panose="020B0604020202020204" pitchFamily="34" charset="0"/>
              <a:buChar char="•"/>
            </a:pPr>
            <a:r>
              <a:rPr lang="en-US" dirty="0">
                <a:solidFill>
                  <a:srgbClr val="262626"/>
                </a:solidFill>
              </a:rPr>
              <a:t>one guest touchpoint that could be redesigned</a:t>
            </a:r>
          </a:p>
          <a:p>
            <a:pPr marL="342900" indent="-342900">
              <a:lnSpc>
                <a:spcPts val="1960"/>
              </a:lnSpc>
              <a:buClr>
                <a:srgbClr val="62A844"/>
              </a:buClr>
              <a:buFont typeface="Arial" panose="020B0604020202020204" pitchFamily="34" charset="0"/>
              <a:buChar char="•"/>
            </a:pPr>
            <a:r>
              <a:rPr lang="en-US" dirty="0">
                <a:solidFill>
                  <a:srgbClr val="262626"/>
                </a:solidFill>
              </a:rPr>
              <a:t>one visible cue that affects trust before staff even speak</a:t>
            </a:r>
          </a:p>
          <a:p>
            <a:pPr marL="342900" indent="-34290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pPr>
            <a:endParaRPr lang="en-US" dirty="0">
              <a:solidFill>
                <a:srgbClr val="262626"/>
              </a:solidFill>
            </a:endParaRPr>
          </a:p>
          <a:p>
            <a:pPr>
              <a:lnSpc>
                <a:spcPts val="1960"/>
              </a:lnSpc>
              <a:buClr>
                <a:srgbClr val="62A844"/>
              </a:buClr>
            </a:pPr>
            <a:r>
              <a:rPr lang="en-US" dirty="0">
                <a:solidFill>
                  <a:srgbClr val="262626"/>
                </a:solidFill>
              </a:rPr>
              <a:t>Our next page sets out the key takeaways from </a:t>
            </a:r>
          </a:p>
        </p:txBody>
      </p:sp>
      <p:pic>
        <p:nvPicPr>
          <p:cNvPr id="15" name="Picture 14">
            <a:extLst>
              <a:ext uri="{FF2B5EF4-FFF2-40B4-BE49-F238E27FC236}">
                <a16:creationId xmlns:a16="http://schemas.microsoft.com/office/drawing/2014/main" id="{81B90659-D6D4-6983-7884-EC7EC19F587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61" t="12298" r="29196" b="16922"/>
          <a:stretch>
            <a:fillRect/>
          </a:stretch>
        </p:blipFill>
        <p:spPr>
          <a:xfrm>
            <a:off x="5834250" y="1096245"/>
            <a:ext cx="6347083" cy="4885527"/>
          </a:xfrm>
          <a:prstGeom prst="rect">
            <a:avLst/>
          </a:prstGeom>
        </p:spPr>
      </p:pic>
      <p:pic>
        <p:nvPicPr>
          <p:cNvPr id="5" name="Bildplatzhalter 7">
            <a:hlinkClick r:id="rId4"/>
            <a:extLst>
              <a:ext uri="{FF2B5EF4-FFF2-40B4-BE49-F238E27FC236}">
                <a16:creationId xmlns:a16="http://schemas.microsoft.com/office/drawing/2014/main" id="{B25884AA-2CE7-DEBD-2F6A-B10963EB782F}"/>
              </a:ext>
            </a:extLst>
          </p:cNvPr>
          <p:cNvPicPr>
            <a:picLocks noChangeAspect="1"/>
          </p:cNvPicPr>
          <p:nvPr/>
        </p:nvPicPr>
        <p:blipFill rotWithShape="1">
          <a:blip r:embed="rId5"/>
          <a:srcRect l="11255" r="11255"/>
          <a:stretch>
            <a:fillRect/>
          </a:stretch>
        </p:blipFill>
        <p:spPr>
          <a:xfrm>
            <a:off x="7324166" y="1355267"/>
            <a:ext cx="4857167" cy="3913188"/>
          </a:xfrm>
          <a:prstGeom prst="rect">
            <a:avLst/>
          </a:prstGeom>
          <a:solidFill>
            <a:srgbClr val="FFFFFF">
              <a:lumMod val="85000"/>
            </a:srgbClr>
          </a:solidFill>
        </p:spPr>
      </p:pic>
      <p:grpSp>
        <p:nvGrpSpPr>
          <p:cNvPr id="10" name="Group 9">
            <a:extLst>
              <a:ext uri="{FF2B5EF4-FFF2-40B4-BE49-F238E27FC236}">
                <a16:creationId xmlns:a16="http://schemas.microsoft.com/office/drawing/2014/main" id="{D0FC0843-A7ED-0EDD-4778-C07F5D3FFC5F}"/>
              </a:ext>
            </a:extLst>
          </p:cNvPr>
          <p:cNvGrpSpPr/>
          <p:nvPr/>
        </p:nvGrpSpPr>
        <p:grpSpPr>
          <a:xfrm rot="21145702">
            <a:off x="6321010" y="3395139"/>
            <a:ext cx="1456095" cy="1406604"/>
            <a:chOff x="7777737" y="4274827"/>
            <a:chExt cx="1456095" cy="1406604"/>
          </a:xfrm>
        </p:grpSpPr>
        <p:sp>
          <p:nvSpPr>
            <p:cNvPr id="11" name="Oval 10">
              <a:extLst>
                <a:ext uri="{FF2B5EF4-FFF2-40B4-BE49-F238E27FC236}">
                  <a16:creationId xmlns:a16="http://schemas.microsoft.com/office/drawing/2014/main" id="{CBD876D4-934E-8A68-7088-CFEC50CD07FD}"/>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081DE358-1BA3-77C3-E599-7F6394B377BD}"/>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4">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33883811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5A15F-2AFE-32D6-F368-985CE0881602}"/>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1EF0D8B7-0C61-B3E1-60B2-B11670A831DA}"/>
              </a:ext>
            </a:extLst>
          </p:cNvPr>
          <p:cNvSpPr/>
          <p:nvPr/>
        </p:nvSpPr>
        <p:spPr>
          <a:xfrm flipH="1">
            <a:off x="688773" y="1069584"/>
            <a:ext cx="3541678"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Sustainable customer experience design turns values into visible guest experience.</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C31B99A6-0AC5-429B-C0BE-EDE7B7C38E52}"/>
              </a:ext>
            </a:extLst>
          </p:cNvPr>
          <p:cNvSpPr/>
          <p:nvPr/>
        </p:nvSpPr>
        <p:spPr>
          <a:xfrm flipH="1">
            <a:off x="688773" y="3090616"/>
            <a:ext cx="3063531" cy="1439240"/>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Hospitality value is increasingly created through memorable and meaningful experiences.</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D6380151-3136-229F-EE43-936617AF564F}"/>
              </a:ext>
            </a:extLst>
          </p:cNvPr>
          <p:cNvSpPr/>
          <p:nvPr/>
        </p:nvSpPr>
        <p:spPr>
          <a:xfrm flipH="1">
            <a:off x="688773" y="5394152"/>
            <a:ext cx="3168251"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Service design helps us look at the whole system, every interaction included.</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F0B2B366-5649-3474-98AA-A44766506232}"/>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04D6FE26-0F5A-6C04-5090-5222BD869573}"/>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4A51518F-CDCA-AC5C-9F0A-8A89FD0446C4}"/>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54508C98-C469-C2A8-AC2F-A85D1596494F}"/>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27227E8B-AC81-57F1-C273-D02DFA40F3C6}"/>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03D54DC2-4F30-6B63-D1B7-8B6F70308B5E}"/>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3E9641FC-0B1E-21D5-3563-CA88F3480F1D}"/>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DEA5F088-21F9-FD74-29DC-23B7123D337E}"/>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890CC865-47DB-16C6-5BBC-96C2E16288E7}"/>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7DDA9C92-F948-66EC-A786-48D974741E4B}"/>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20AED8CB-ED33-703B-224C-B9FA76894DD9}"/>
              </a:ext>
            </a:extLst>
          </p:cNvPr>
          <p:cNvSpPr>
            <a:spLocks/>
          </p:cNvSpPr>
          <p:nvPr/>
        </p:nvSpPr>
        <p:spPr bwMode="auto">
          <a:xfrm>
            <a:off x="8280849" y="2335890"/>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E9394D4C-3B58-BF4E-DBC6-36C956676211}"/>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70AF5BEB-3F7A-B93F-2EDF-C9E47EDFED02}"/>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15377019-11A1-DD3A-6114-C434C33E8BF6}"/>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C4A98E20-51CF-BF0E-9366-BA3A5292D58C}"/>
              </a:ext>
            </a:extLst>
          </p:cNvPr>
          <p:cNvSpPr>
            <a:spLocks noChangeArrowheads="1"/>
          </p:cNvSpPr>
          <p:nvPr/>
        </p:nvSpPr>
        <p:spPr bwMode="auto">
          <a:xfrm>
            <a:off x="8174160" y="1806372"/>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B8E8BEB4-A58B-48AF-DC49-09247DCF940A}"/>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BE09AC1E-08CB-F55F-EA5B-12A31376039A}"/>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B1035F31-ADA9-E267-EFAF-DF53B46C3A71}"/>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6DF5E3A9-0061-D866-0AF4-CB47D1E6C9AD}"/>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2" name="Group 111">
            <a:extLst>
              <a:ext uri="{FF2B5EF4-FFF2-40B4-BE49-F238E27FC236}">
                <a16:creationId xmlns:a16="http://schemas.microsoft.com/office/drawing/2014/main" id="{B86C8447-B6C7-3898-3DB1-832B06F97410}"/>
              </a:ext>
            </a:extLst>
          </p:cNvPr>
          <p:cNvGrpSpPr/>
          <p:nvPr/>
        </p:nvGrpSpPr>
        <p:grpSpPr>
          <a:xfrm>
            <a:off x="9294438" y="3053102"/>
            <a:ext cx="507781" cy="509758"/>
            <a:chOff x="8859766" y="3475927"/>
            <a:chExt cx="507781" cy="509758"/>
          </a:xfrm>
        </p:grpSpPr>
        <p:sp>
          <p:nvSpPr>
            <p:cNvPr id="17" name="Oval 30">
              <a:extLst>
                <a:ext uri="{FF2B5EF4-FFF2-40B4-BE49-F238E27FC236}">
                  <a16:creationId xmlns:a16="http://schemas.microsoft.com/office/drawing/2014/main" id="{CFBBCAE2-C648-A12E-0A69-8E7FC667814A}"/>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Oval 39">
              <a:extLst>
                <a:ext uri="{FF2B5EF4-FFF2-40B4-BE49-F238E27FC236}">
                  <a16:creationId xmlns:a16="http://schemas.microsoft.com/office/drawing/2014/main" id="{2C89CD1B-E4E4-4596-69F2-366007EA395C}"/>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EE411F46-32BA-ED30-151E-780EA921ABB6}"/>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Freeform 32">
            <a:extLst>
              <a:ext uri="{FF2B5EF4-FFF2-40B4-BE49-F238E27FC236}">
                <a16:creationId xmlns:a16="http://schemas.microsoft.com/office/drawing/2014/main" id="{0592F28D-23E8-89F8-20A3-32B803707482}"/>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8F209EA3-20BA-2C2F-8B2C-0D07A335386F}"/>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983ED625-8DD1-EC35-34DE-FD04C7F645DA}"/>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23020338-C837-5C05-2B0A-8FE683B7745D}"/>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EADF720D-84E7-818A-4D65-FDD473C8AE12}"/>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2CACEF38-E845-B157-8B3A-D6C5EB1A09A5}"/>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C4456C45-9FE9-34EE-44EE-AB2FBB24ED44}"/>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0A62DA18-049E-C728-C67E-2495B5F26B6F}"/>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56AE4589-5CCA-A393-9647-FC166E193B4A}"/>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A4750C36-5C02-A11A-E125-D090ACE4A10E}"/>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BEA63AEC-A41F-0A98-E95C-33CD747A4A69}"/>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F0C75848-4CBA-B3FA-91C8-6972E36D65C5}"/>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32B37AF1-5FC0-2EC7-8C05-F44634C1B105}"/>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2AC20E67-1F91-BDA4-A828-324DF6C1C187}"/>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359D03DB-48BB-2686-7DA6-00D0BE0D8945}"/>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3D81A5C9-7BB5-D3BA-7A22-268D97821BAC}"/>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69E96A6E-A85C-89D5-8103-2F445C9DA283}"/>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3DEAEEAA-8299-F12F-D3B6-9BF257D97A43}"/>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626325D7-0776-CA47-496B-4585A3FE0A88}"/>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1" name="Group 110">
            <a:extLst>
              <a:ext uri="{FF2B5EF4-FFF2-40B4-BE49-F238E27FC236}">
                <a16:creationId xmlns:a16="http://schemas.microsoft.com/office/drawing/2014/main" id="{0D4B8F18-274C-7A2B-392D-EDDFD712B225}"/>
              </a:ext>
            </a:extLst>
          </p:cNvPr>
          <p:cNvGrpSpPr/>
          <p:nvPr/>
        </p:nvGrpSpPr>
        <p:grpSpPr>
          <a:xfrm>
            <a:off x="8721459" y="612987"/>
            <a:ext cx="509758" cy="507781"/>
            <a:chOff x="8760971" y="1116818"/>
            <a:chExt cx="509758" cy="507781"/>
          </a:xfrm>
        </p:grpSpPr>
        <p:sp>
          <p:nvSpPr>
            <p:cNvPr id="18" name="Oval 31">
              <a:extLst>
                <a:ext uri="{FF2B5EF4-FFF2-40B4-BE49-F238E27FC236}">
                  <a16:creationId xmlns:a16="http://schemas.microsoft.com/office/drawing/2014/main" id="{1AC52CDB-FB39-BDA1-95CA-2586172B0735}"/>
                </a:ext>
              </a:extLst>
            </p:cNvPr>
            <p:cNvSpPr>
              <a:spLocks noChangeArrowheads="1"/>
            </p:cNvSpPr>
            <p:nvPr/>
          </p:nvSpPr>
          <p:spPr bwMode="auto">
            <a:xfrm>
              <a:off x="8760971" y="1116818"/>
              <a:ext cx="509758" cy="507781"/>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64212ABB-D657-092C-FB03-8CE059603560}"/>
                </a:ext>
              </a:extLst>
            </p:cNvPr>
            <p:cNvSpPr>
              <a:spLocks/>
            </p:cNvSpPr>
            <p:nvPr/>
          </p:nvSpPr>
          <p:spPr bwMode="auto">
            <a:xfrm>
              <a:off x="8893352" y="1257097"/>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0" name="Group 109">
            <a:extLst>
              <a:ext uri="{FF2B5EF4-FFF2-40B4-BE49-F238E27FC236}">
                <a16:creationId xmlns:a16="http://schemas.microsoft.com/office/drawing/2014/main" id="{6C75E5D3-06A5-481D-F15F-8F3DA6D32BCE}"/>
              </a:ext>
            </a:extLst>
          </p:cNvPr>
          <p:cNvGrpSpPr/>
          <p:nvPr/>
        </p:nvGrpSpPr>
        <p:grpSpPr>
          <a:xfrm>
            <a:off x="3898517" y="510601"/>
            <a:ext cx="377378" cy="375403"/>
            <a:chOff x="3554727" y="1101010"/>
            <a:chExt cx="377378" cy="375403"/>
          </a:xfrm>
        </p:grpSpPr>
        <p:sp>
          <p:nvSpPr>
            <p:cNvPr id="22" name="Oval 35">
              <a:extLst>
                <a:ext uri="{FF2B5EF4-FFF2-40B4-BE49-F238E27FC236}">
                  <a16:creationId xmlns:a16="http://schemas.microsoft.com/office/drawing/2014/main" id="{3BAE970F-1798-EABE-3F9B-77C4FC8A9A93}"/>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FF26E2C7-85C7-7D79-ECC5-10A4D51E129B}"/>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9379A1E2-B876-CF08-43A2-73D6C6B22FA3}"/>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5351B45A-7E18-B312-8874-6531CF670DA4}"/>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1598062A-F6EB-363C-0747-01EE819FEA35}"/>
              </a:ext>
            </a:extLst>
          </p:cNvPr>
          <p:cNvGrpSpPr/>
          <p:nvPr/>
        </p:nvGrpSpPr>
        <p:grpSpPr>
          <a:xfrm>
            <a:off x="3302941" y="2915326"/>
            <a:ext cx="509758" cy="507781"/>
            <a:chOff x="3368999" y="3590525"/>
            <a:chExt cx="509758" cy="507781"/>
          </a:xfrm>
        </p:grpSpPr>
        <p:sp>
          <p:nvSpPr>
            <p:cNvPr id="19" name="Oval 32">
              <a:extLst>
                <a:ext uri="{FF2B5EF4-FFF2-40B4-BE49-F238E27FC236}">
                  <a16:creationId xmlns:a16="http://schemas.microsoft.com/office/drawing/2014/main" id="{7283964C-9448-A9DB-9BED-674CA38F016D}"/>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1E86B52-4396-7618-879A-F7814BCD6D97}"/>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407201C2-6AAC-8AE0-D978-64D41B82D89A}"/>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9E6B3B0C-5794-2339-619C-F433C4F6A5D5}"/>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522279A6-47B6-F659-DFE0-C57103E42089}"/>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59">
            <a:extLst>
              <a:ext uri="{FF2B5EF4-FFF2-40B4-BE49-F238E27FC236}">
                <a16:creationId xmlns:a16="http://schemas.microsoft.com/office/drawing/2014/main" id="{8F020B4D-B1F2-D83E-801A-E0B390804E8B}"/>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DB9AC453-2CC9-5431-8536-55A256117B3E}"/>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7EECE3AF-1778-2719-6ACA-514DAB0EB92A}"/>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7553C74F-58B7-E872-E921-8BFD8FB31157}"/>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801AB290-57C2-93B5-12A8-0564927C36E3}"/>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799D1A93-5D5A-125A-943E-F57ADE53CC23}"/>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ACA5F4E6-C2B6-6A9F-CA06-A4660B408EC0}"/>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1CD10942-8EA4-6CD8-8445-A206368A47A6}"/>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4CDAF249-E3EB-1189-23AA-90F2FD5C4742}"/>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81A7D331-27A9-E991-7309-0241725F8ED8}"/>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12872D36-1C12-943E-F597-F6E3D2560A1C}"/>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F90B0502-0C63-C7C5-19B7-301AD32C4F1A}"/>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DDE3D9EA-5F70-D120-F18F-833CD94EB4F3}"/>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C2882132-59C1-55E3-4AB7-C0BD48C8E939}"/>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61C2FD8B-7C4D-C06B-0EE3-6122E1F34444}"/>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6198D470-C2EB-7D06-623F-BE97B755BF98}"/>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7525364B-455E-C889-571C-719F0C6D3DEE}"/>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33677A41-CD5C-DBC9-B25E-CCD5E98C840A}"/>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3EE40212-DEE2-2C63-322F-700D419D19FB}"/>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A79F5EB5-711B-0BAB-E96A-B8722C057A98}"/>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37506D1B-C94D-DBC1-E684-70233AB4FA82}"/>
              </a:ext>
            </a:extLst>
          </p:cNvPr>
          <p:cNvSpPr>
            <a:spLocks/>
          </p:cNvSpPr>
          <p:nvPr/>
        </p:nvSpPr>
        <p:spPr bwMode="auto">
          <a:xfrm>
            <a:off x="8583150" y="2491976"/>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863FD0B3-98CF-1533-0944-7EAB8B3E584B}"/>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66F089CB-BB6F-B0A0-A702-4B7B467445C3}"/>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B7EA4AAE-F482-08DE-C682-5CBBFA9432DF}"/>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42A895CE-7B37-B270-31F1-7DB4896CA44D}"/>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9BB19CE8-536E-7AA6-CEFF-E334706F7C43}"/>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C52E71DB-FF2E-072C-603E-E68D24AFEC45}"/>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612C354C-7403-6E1C-BE2C-46B2814FB760}"/>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1FADA6E5-6E28-EB3E-AF37-97A04742EC0B}"/>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3303A7E2-2173-6D8E-2D09-F4B1A87418C4}"/>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E8795790-A747-EE7F-E962-D0CD7C69CF0E}"/>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BA2C2385-E0E8-4920-2F6E-7BC2D0B3E44B}"/>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53E1D532-9686-F772-0647-07DD181B5F93}"/>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66692876-35ED-F03A-ABC9-F6CA4347BA7B}"/>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701325EC-5A12-BD03-2324-59F1F4BA2180}"/>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F7AC8B08-CD10-4622-64A6-F0F2A89AD838}"/>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38CB5CFF-E8E0-421C-4200-A27701BC1091}"/>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11C439C6-B9B8-E1E5-89FF-7449BF33F3A9}"/>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91783494-41F2-50A6-D62F-9FBA153C80F7}"/>
              </a:ext>
            </a:extLst>
          </p:cNvPr>
          <p:cNvSpPr>
            <a:spLocks noEditPoints="1"/>
          </p:cNvSpPr>
          <p:nvPr/>
        </p:nvSpPr>
        <p:spPr bwMode="auto">
          <a:xfrm>
            <a:off x="8267021" y="1918993"/>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7175C43F-8608-80BD-5F69-769F7764B350}"/>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B3240FD7-7285-7767-315E-D33BFC2A636D}"/>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328D1C38-F5F6-BC38-2108-936292EAEA2A}"/>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6E32AE5D-0950-7297-FB88-1E4A5FA30F38}"/>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5EB94E91-D676-78CE-11A6-46FC292E778A}"/>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72F4390D-8039-FD0E-82B0-6227832FCC07}"/>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F384DCDE-6126-F097-13F5-4FA7E4F23434}"/>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CFB35DF0-4C39-1BB2-C792-CB72C69B0537}"/>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8FEF999E-7693-AE29-7C97-AC83F8BD10F2}"/>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696D0B4D-1CEA-7E26-DA19-24EE4A959446}"/>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DB445572-D49F-F4CC-490C-4F452C175E41}"/>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50BECD22-27F4-34A2-5F92-C872D90754E1}"/>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AC167687-AF4F-7B6C-7255-6FC4133BB5D0}"/>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3E5F9731-90F1-1CE2-1F1E-8CF2E6CFB164}"/>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62A844"/>
                  </a:solidFill>
                </a:rPr>
                <a:t>Key Takeways</a:t>
              </a:r>
            </a:p>
          </p:txBody>
        </p:sp>
      </p:grpSp>
      <p:grpSp>
        <p:nvGrpSpPr>
          <p:cNvPr id="127" name="Group 126">
            <a:extLst>
              <a:ext uri="{FF2B5EF4-FFF2-40B4-BE49-F238E27FC236}">
                <a16:creationId xmlns:a16="http://schemas.microsoft.com/office/drawing/2014/main" id="{003A2BA7-1AF6-B106-970F-6C778F09E1E0}"/>
              </a:ext>
            </a:extLst>
          </p:cNvPr>
          <p:cNvGrpSpPr/>
          <p:nvPr/>
        </p:nvGrpSpPr>
        <p:grpSpPr>
          <a:xfrm>
            <a:off x="0" y="360008"/>
            <a:ext cx="1448894" cy="883507"/>
            <a:chOff x="0" y="582317"/>
            <a:chExt cx="1448894" cy="883507"/>
          </a:xfrm>
        </p:grpSpPr>
        <p:cxnSp>
          <p:nvCxnSpPr>
            <p:cNvPr id="120" name="Straight Connector 33">
              <a:extLst>
                <a:ext uri="{FF2B5EF4-FFF2-40B4-BE49-F238E27FC236}">
                  <a16:creationId xmlns:a16="http://schemas.microsoft.com/office/drawing/2014/main" id="{A3C9770F-EBFD-3B7F-EF40-AA3C8D90F873}"/>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2D7022AB-1EFE-67D8-24E0-57CB98158E5C}"/>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BCE2E5B3-4FA3-7B19-4377-C94679721EAB}"/>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D9E4E8F4-46BB-521E-C6EE-AB753AEE9928}"/>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2FFD1899-38F0-C8F8-6E6B-2F6180D16220}"/>
              </a:ext>
            </a:extLst>
          </p:cNvPr>
          <p:cNvGrpSpPr/>
          <p:nvPr/>
        </p:nvGrpSpPr>
        <p:grpSpPr>
          <a:xfrm>
            <a:off x="0" y="2372508"/>
            <a:ext cx="1448894" cy="870102"/>
            <a:chOff x="0" y="582324"/>
            <a:chExt cx="1448894" cy="870102"/>
          </a:xfrm>
        </p:grpSpPr>
        <p:cxnSp>
          <p:nvCxnSpPr>
            <p:cNvPr id="129" name="Straight Connector 33">
              <a:extLst>
                <a:ext uri="{FF2B5EF4-FFF2-40B4-BE49-F238E27FC236}">
                  <a16:creationId xmlns:a16="http://schemas.microsoft.com/office/drawing/2014/main" id="{656A0724-AD58-6CCF-F939-F2A9951A3388}"/>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2132BA81-B9AF-014E-058E-38887F3C2922}"/>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3E7203C0-8E21-7FBA-ED92-3A6CD46F5166}"/>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D75BEDE4-3535-5D49-46F3-0C776C4C10D9}"/>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E92A07DD-E994-006A-FC9F-10DB3A339795}"/>
              </a:ext>
            </a:extLst>
          </p:cNvPr>
          <p:cNvGrpSpPr/>
          <p:nvPr/>
        </p:nvGrpSpPr>
        <p:grpSpPr>
          <a:xfrm>
            <a:off x="0" y="4615379"/>
            <a:ext cx="1450818" cy="896308"/>
            <a:chOff x="0" y="582322"/>
            <a:chExt cx="1450818" cy="896308"/>
          </a:xfrm>
        </p:grpSpPr>
        <p:cxnSp>
          <p:nvCxnSpPr>
            <p:cNvPr id="134" name="Straight Connector 33">
              <a:extLst>
                <a:ext uri="{FF2B5EF4-FFF2-40B4-BE49-F238E27FC236}">
                  <a16:creationId xmlns:a16="http://schemas.microsoft.com/office/drawing/2014/main" id="{A31A307C-ACA0-AD93-FB3E-16AAAA2FB290}"/>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1AE4E999-4941-2117-AA52-1565E9286F6C}"/>
                </a:ext>
              </a:extLst>
            </p:cNvPr>
            <p:cNvGrpSpPr/>
            <p:nvPr/>
          </p:nvGrpSpPr>
          <p:grpSpPr>
            <a:xfrm>
              <a:off x="708800" y="582322"/>
              <a:ext cx="742018" cy="896308"/>
              <a:chOff x="4051865" y="5165558"/>
              <a:chExt cx="949315" cy="1146707"/>
            </a:xfrm>
          </p:grpSpPr>
          <p:sp>
            <p:nvSpPr>
              <p:cNvPr id="136" name="Oval 16">
                <a:extLst>
                  <a:ext uri="{FF2B5EF4-FFF2-40B4-BE49-F238E27FC236}">
                    <a16:creationId xmlns:a16="http://schemas.microsoft.com/office/drawing/2014/main" id="{C10E6EAE-09CD-302C-65AF-844D3099105A}"/>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DE3FBCEE-6636-DF26-744C-F642F66A400F}"/>
                  </a:ext>
                </a:extLst>
              </p:cNvPr>
              <p:cNvSpPr txBox="1"/>
              <p:nvPr/>
            </p:nvSpPr>
            <p:spPr bwMode="auto">
              <a:xfrm>
                <a:off x="4091914" y="5223190"/>
                <a:ext cx="909266"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52773914-8997-D645-465D-7C7ACDF789D0}"/>
              </a:ext>
            </a:extLst>
          </p:cNvPr>
          <p:cNvSpPr/>
          <p:nvPr/>
        </p:nvSpPr>
        <p:spPr>
          <a:xfrm flipH="1">
            <a:off x="8772823" y="1166047"/>
            <a:ext cx="2730404" cy="1439240"/>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Guests interpret sustainability through evidence, atmosphere, language, and choice.</a:t>
            </a:r>
          </a:p>
          <a:p>
            <a:pPr algn="r">
              <a:lnSpc>
                <a:spcPts val="2100"/>
              </a:lnSpc>
            </a:pPr>
            <a:endParaRPr lang="en-US" sz="2000" dirty="0">
              <a:solidFill>
                <a:srgbClr val="262626"/>
              </a:solidFill>
              <a:cs typeface="Segoe UI Light" panose="020B0502040204020203" pitchFamily="34" charset="0"/>
            </a:endParaRPr>
          </a:p>
        </p:txBody>
      </p:sp>
      <p:sp>
        <p:nvSpPr>
          <p:cNvPr id="151" name="Rectangle 30">
            <a:extLst>
              <a:ext uri="{FF2B5EF4-FFF2-40B4-BE49-F238E27FC236}">
                <a16:creationId xmlns:a16="http://schemas.microsoft.com/office/drawing/2014/main" id="{9B7466FF-0429-81F1-6E7F-2841C881E2E4}"/>
              </a:ext>
            </a:extLst>
          </p:cNvPr>
          <p:cNvSpPr/>
          <p:nvPr/>
        </p:nvSpPr>
        <p:spPr>
          <a:xfrm flipH="1">
            <a:off x="8551538" y="3859104"/>
            <a:ext cx="2951689" cy="1169936"/>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Co-created experiences feel stronger when guests are invited, not instructed.</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F70F6781-5911-AF18-C8EE-1C4E8D86D87D}"/>
              </a:ext>
            </a:extLst>
          </p:cNvPr>
          <p:cNvGrpSpPr/>
          <p:nvPr/>
        </p:nvGrpSpPr>
        <p:grpSpPr>
          <a:xfrm>
            <a:off x="10752228" y="428471"/>
            <a:ext cx="1501995" cy="883506"/>
            <a:chOff x="708799" y="582319"/>
            <a:chExt cx="1501995" cy="883506"/>
          </a:xfrm>
        </p:grpSpPr>
        <p:cxnSp>
          <p:nvCxnSpPr>
            <p:cNvPr id="153" name="Straight Connector 33">
              <a:extLst>
                <a:ext uri="{FF2B5EF4-FFF2-40B4-BE49-F238E27FC236}">
                  <a16:creationId xmlns:a16="http://schemas.microsoft.com/office/drawing/2014/main" id="{0630360B-0075-ED36-19CB-968B715CE578}"/>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5B929F99-1B06-66F7-6642-DABDADBCA204}"/>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F6C9CB9A-4573-EA09-72CB-86BA47B9DBE3}"/>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2AAF5534-7C15-5CE2-2004-52E329733809}"/>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157" name="Group 156">
            <a:extLst>
              <a:ext uri="{FF2B5EF4-FFF2-40B4-BE49-F238E27FC236}">
                <a16:creationId xmlns:a16="http://schemas.microsoft.com/office/drawing/2014/main" id="{AD38A7DF-BD9A-E282-4F30-4291BE58B6AA}"/>
              </a:ext>
            </a:extLst>
          </p:cNvPr>
          <p:cNvGrpSpPr/>
          <p:nvPr/>
        </p:nvGrpSpPr>
        <p:grpSpPr>
          <a:xfrm>
            <a:off x="10752228" y="3140997"/>
            <a:ext cx="1467271" cy="880235"/>
            <a:chOff x="708799" y="582325"/>
            <a:chExt cx="1467271" cy="880235"/>
          </a:xfrm>
        </p:grpSpPr>
        <p:cxnSp>
          <p:nvCxnSpPr>
            <p:cNvPr id="158" name="Straight Connector 33">
              <a:extLst>
                <a:ext uri="{FF2B5EF4-FFF2-40B4-BE49-F238E27FC236}">
                  <a16:creationId xmlns:a16="http://schemas.microsoft.com/office/drawing/2014/main" id="{F83532DC-AA07-0A2A-D5CE-7E0EBB93783A}"/>
                </a:ext>
              </a:extLst>
            </p:cNvPr>
            <p:cNvCxnSpPr>
              <a:cxnSpLocks/>
            </p:cNvCxnSpPr>
            <p:nvPr/>
          </p:nvCxnSpPr>
          <p:spPr>
            <a:xfrm flipH="1">
              <a:off x="1320800" y="951782"/>
              <a:ext cx="85527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3C255D57-344F-ECA4-960C-014E371F828C}"/>
                </a:ext>
              </a:extLst>
            </p:cNvPr>
            <p:cNvGrpSpPr/>
            <p:nvPr/>
          </p:nvGrpSpPr>
          <p:grpSpPr>
            <a:xfrm>
              <a:off x="708799" y="582325"/>
              <a:ext cx="740095" cy="880235"/>
              <a:chOff x="4051865" y="5165558"/>
              <a:chExt cx="946855" cy="1126143"/>
            </a:xfrm>
          </p:grpSpPr>
          <p:sp>
            <p:nvSpPr>
              <p:cNvPr id="160" name="Oval 16">
                <a:extLst>
                  <a:ext uri="{FF2B5EF4-FFF2-40B4-BE49-F238E27FC236}">
                    <a16:creationId xmlns:a16="http://schemas.microsoft.com/office/drawing/2014/main" id="{685A0307-2CA4-D35E-6C07-BCCD55244AE5}"/>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61" name="TextBox 26">
                <a:extLst>
                  <a:ext uri="{FF2B5EF4-FFF2-40B4-BE49-F238E27FC236}">
                    <a16:creationId xmlns:a16="http://schemas.microsoft.com/office/drawing/2014/main" id="{45342B0B-FEC2-5818-FBCD-7714A43F6237}"/>
                  </a:ext>
                </a:extLst>
              </p:cNvPr>
              <p:cNvSpPr txBox="1"/>
              <p:nvPr/>
            </p:nvSpPr>
            <p:spPr bwMode="auto">
              <a:xfrm>
                <a:off x="4058978" y="5202626"/>
                <a:ext cx="909265"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sp>
        <p:nvSpPr>
          <p:cNvPr id="2" name="TextBox 28">
            <a:extLst>
              <a:ext uri="{FF2B5EF4-FFF2-40B4-BE49-F238E27FC236}">
                <a16:creationId xmlns:a16="http://schemas.microsoft.com/office/drawing/2014/main" id="{DD00713E-28B4-16F0-EC96-CB357D71B45D}"/>
              </a:ext>
            </a:extLst>
          </p:cNvPr>
          <p:cNvSpPr txBox="1"/>
          <p:nvPr/>
        </p:nvSpPr>
        <p:spPr>
          <a:xfrm>
            <a:off x="8280849" y="5238216"/>
            <a:ext cx="3168252" cy="1169936"/>
          </a:xfrm>
          <a:prstGeom prst="rect">
            <a:avLst/>
          </a:prstGeom>
          <a:noFill/>
        </p:spPr>
        <p:txBody>
          <a:bodyPr wrap="square">
            <a:spAutoFit/>
          </a:bodyPr>
          <a:lstStyle/>
          <a:p>
            <a:pPr algn="r">
              <a:lnSpc>
                <a:spcPts val="2100"/>
              </a:lnSpc>
            </a:pPr>
            <a:r>
              <a:rPr lang="en-US" sz="2000" b="1" dirty="0">
                <a:solidFill>
                  <a:srgbClr val="62A844"/>
                </a:solidFill>
              </a:rPr>
              <a:t>Designing for conscious guests means designing for comfort, meaning, trust, and responsibility together.</a:t>
            </a:r>
            <a:endParaRPr lang="en-US" sz="2000" dirty="0">
              <a:solidFill>
                <a:srgbClr val="62A844"/>
              </a:solidFill>
            </a:endParaRPr>
          </a:p>
        </p:txBody>
      </p:sp>
      <p:sp>
        <p:nvSpPr>
          <p:cNvPr id="114" name="TextBox 113">
            <a:extLst>
              <a:ext uri="{FF2B5EF4-FFF2-40B4-BE49-F238E27FC236}">
                <a16:creationId xmlns:a16="http://schemas.microsoft.com/office/drawing/2014/main" id="{ED07F0F1-8B91-D711-305B-FF4C8C93002E}"/>
              </a:ext>
            </a:extLst>
          </p:cNvPr>
          <p:cNvSpPr txBox="1"/>
          <p:nvPr/>
        </p:nvSpPr>
        <p:spPr>
          <a:xfrm>
            <a:off x="2866404" y="25992"/>
            <a:ext cx="6126480" cy="427553"/>
          </a:xfrm>
          <a:prstGeom prst="rect">
            <a:avLst/>
          </a:prstGeom>
          <a:noFill/>
        </p:spPr>
        <p:txBody>
          <a:bodyPr wrap="square">
            <a:spAutoFit/>
          </a:bodyPr>
          <a:lstStyle/>
          <a:p>
            <a:pPr algn="ctr">
              <a:lnSpc>
                <a:spcPts val="2480"/>
              </a:lnSpc>
            </a:pPr>
            <a:r>
              <a:rPr lang="en-US" sz="2800" b="1" dirty="0">
                <a:solidFill>
                  <a:srgbClr val="62A844"/>
                </a:solidFill>
              </a:rPr>
              <a:t>Key Takeways so far…</a:t>
            </a:r>
          </a:p>
        </p:txBody>
      </p:sp>
    </p:spTree>
    <p:extLst>
      <p:ext uri="{BB962C8B-B14F-4D97-AF65-F5344CB8AC3E}">
        <p14:creationId xmlns:p14="http://schemas.microsoft.com/office/powerpoint/2010/main" val="33570589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1B1AC-ACC9-013A-C873-5113D06A158A}"/>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863B6A9E-6870-04E9-C3B5-68208E5DFFAF}"/>
              </a:ext>
            </a:extLst>
          </p:cNvPr>
          <p:cNvSpPr>
            <a:spLocks noGrp="1"/>
          </p:cNvSpPr>
          <p:nvPr>
            <p:ph type="body" sz="quarter" idx="16"/>
          </p:nvPr>
        </p:nvSpPr>
        <p:spPr>
          <a:xfrm>
            <a:off x="4223369" y="1073150"/>
            <a:ext cx="7465048" cy="4711700"/>
          </a:xfrm>
        </p:spPr>
        <p:txBody>
          <a:bodyPr>
            <a:normAutofit/>
          </a:bodyPr>
          <a:lstStyle/>
          <a:p>
            <a:pPr fontAlgn="t">
              <a:lnSpc>
                <a:spcPts val="4960"/>
              </a:lnSpc>
              <a:spcBef>
                <a:spcPts val="0"/>
              </a:spcBef>
            </a:pPr>
            <a:r>
              <a:rPr lang="en-IE" b="1" dirty="0"/>
              <a:t>Mapping the                        Guest Journey</a:t>
            </a:r>
          </a:p>
          <a:p>
            <a:pPr fontAlgn="t">
              <a:lnSpc>
                <a:spcPts val="4960"/>
              </a:lnSpc>
              <a:spcBef>
                <a:spcPts val="0"/>
              </a:spcBef>
            </a:pPr>
            <a:endParaRPr lang="en-IE" b="1" dirty="0"/>
          </a:p>
          <a:p>
            <a:endParaRPr lang="en-US" sz="2200" dirty="0">
              <a:cs typeface="Times New Roman" panose="02020603050405020304" pitchFamily="18" charset="0"/>
            </a:endParaRPr>
          </a:p>
          <a:p>
            <a:r>
              <a:rPr lang="en-US" sz="2400" b="1" dirty="0"/>
              <a:t>Seeing sustainability through the guest’s eyes</a:t>
            </a:r>
            <a:endParaRPr lang="en-US" sz="2400" dirty="0"/>
          </a:p>
          <a:p>
            <a:r>
              <a:rPr lang="en-US" sz="2400" dirty="0"/>
              <a:t>To examine the full guest journey and identify where sustainability can enhance clarity, comfort, trust, and meaning.</a:t>
            </a:r>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A1F1A1E6-3C29-7039-EA30-875A37F5C581}"/>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2</a:t>
            </a:r>
          </a:p>
        </p:txBody>
      </p:sp>
    </p:spTree>
    <p:extLst>
      <p:ext uri="{BB962C8B-B14F-4D97-AF65-F5344CB8AC3E}">
        <p14:creationId xmlns:p14="http://schemas.microsoft.com/office/powerpoint/2010/main" val="10459398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7BF4E-E979-369B-952B-892CB77421CB}"/>
            </a:ext>
          </a:extLst>
        </p:cNvPr>
        <p:cNvGrpSpPr/>
        <p:nvPr/>
      </p:nvGrpSpPr>
      <p:grpSpPr>
        <a:xfrm>
          <a:off x="0" y="0"/>
          <a:ext cx="0" cy="0"/>
          <a:chOff x="0" y="0"/>
          <a:chExt cx="0" cy="0"/>
        </a:xfrm>
      </p:grpSpPr>
      <p:sp>
        <p:nvSpPr>
          <p:cNvPr id="10" name="Text Placeholder 11">
            <a:extLst>
              <a:ext uri="{FF2B5EF4-FFF2-40B4-BE49-F238E27FC236}">
                <a16:creationId xmlns:a16="http://schemas.microsoft.com/office/drawing/2014/main" id="{62775008-9A5C-BF15-2C04-35673679957F}"/>
              </a:ext>
            </a:extLst>
          </p:cNvPr>
          <p:cNvSpPr txBox="1">
            <a:spLocks/>
          </p:cNvSpPr>
          <p:nvPr/>
        </p:nvSpPr>
        <p:spPr>
          <a:xfrm>
            <a:off x="454696" y="394053"/>
            <a:ext cx="556793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Guests Experience Journeys, Not Department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11" name="Straight Connector 10">
            <a:extLst>
              <a:ext uri="{FF2B5EF4-FFF2-40B4-BE49-F238E27FC236}">
                <a16:creationId xmlns:a16="http://schemas.microsoft.com/office/drawing/2014/main" id="{30D83B73-6B75-3D98-0FC7-F3B9BA85435E}"/>
              </a:ext>
            </a:extLst>
          </p:cNvPr>
          <p:cNvCxnSpPr>
            <a:cxnSpLocks/>
          </p:cNvCxnSpPr>
          <p:nvPr/>
        </p:nvCxnSpPr>
        <p:spPr>
          <a:xfrm>
            <a:off x="0" y="1509491"/>
            <a:ext cx="628694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148" name="Rectangle 367">
            <a:extLst>
              <a:ext uri="{FF2B5EF4-FFF2-40B4-BE49-F238E27FC236}">
                <a16:creationId xmlns:a16="http://schemas.microsoft.com/office/drawing/2014/main" id="{BF52246A-282E-0D05-73C1-37EF6F4C7554}"/>
              </a:ext>
            </a:extLst>
          </p:cNvPr>
          <p:cNvSpPr/>
          <p:nvPr/>
        </p:nvSpPr>
        <p:spPr>
          <a:xfrm flipH="1">
            <a:off x="8098168" y="5281877"/>
            <a:ext cx="2794928" cy="461665"/>
          </a:xfrm>
          <a:prstGeom prst="rect">
            <a:avLst/>
          </a:prstGeom>
        </p:spPr>
        <p:txBody>
          <a:bodyPr wrap="square">
            <a:spAutoFit/>
          </a:bodyPr>
          <a:lstStyle/>
          <a:p>
            <a:r>
              <a:rPr lang="de-DE" sz="2400" b="1" dirty="0">
                <a:solidFill>
                  <a:srgbClr val="0289AE"/>
                </a:solidFill>
              </a:rPr>
              <a:t>See </a:t>
            </a:r>
            <a:r>
              <a:rPr lang="de-DE" sz="2400" b="1" dirty="0" err="1">
                <a:solidFill>
                  <a:srgbClr val="0289AE"/>
                </a:solidFill>
              </a:rPr>
              <a:t>the</a:t>
            </a:r>
            <a:r>
              <a:rPr lang="de-DE" sz="2400" b="1" dirty="0">
                <a:solidFill>
                  <a:srgbClr val="0289AE"/>
                </a:solidFill>
              </a:rPr>
              <a:t> </a:t>
            </a:r>
            <a:r>
              <a:rPr lang="de-DE" sz="2400" b="1" dirty="0" err="1">
                <a:solidFill>
                  <a:srgbClr val="0289AE"/>
                </a:solidFill>
              </a:rPr>
              <a:t>next</a:t>
            </a:r>
            <a:r>
              <a:rPr lang="de-DE" sz="2400" b="1" dirty="0">
                <a:solidFill>
                  <a:srgbClr val="0289AE"/>
                </a:solidFill>
              </a:rPr>
              <a:t> </a:t>
            </a:r>
            <a:r>
              <a:rPr lang="de-DE" sz="2400" b="1" dirty="0" err="1">
                <a:solidFill>
                  <a:srgbClr val="0289AE"/>
                </a:solidFill>
              </a:rPr>
              <a:t>slide</a:t>
            </a:r>
            <a:r>
              <a:rPr lang="de-DE" sz="2400" b="1" dirty="0">
                <a:solidFill>
                  <a:srgbClr val="0289AE"/>
                </a:solidFill>
              </a:rPr>
              <a:t>:</a:t>
            </a:r>
            <a:endParaRPr lang="en-US" sz="2400" b="1" dirty="0">
              <a:solidFill>
                <a:srgbClr val="0289AE"/>
              </a:solidFill>
              <a:latin typeface="+mj-lt"/>
              <a:cs typeface="Segoe UI" panose="020B0502040204020203" pitchFamily="34" charset="0"/>
            </a:endParaRPr>
          </a:p>
        </p:txBody>
      </p:sp>
      <p:sp>
        <p:nvSpPr>
          <p:cNvPr id="149" name="Freeform 148">
            <a:extLst>
              <a:ext uri="{FF2B5EF4-FFF2-40B4-BE49-F238E27FC236}">
                <a16:creationId xmlns:a16="http://schemas.microsoft.com/office/drawing/2014/main" id="{D881DA9E-6A6E-72FF-FBDB-8675E979F3BA}"/>
              </a:ext>
            </a:extLst>
          </p:cNvPr>
          <p:cNvSpPr/>
          <p:nvPr/>
        </p:nvSpPr>
        <p:spPr>
          <a:xfrm rot="15325054" flipH="1">
            <a:off x="10641029" y="5533751"/>
            <a:ext cx="926896" cy="526949"/>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sp>
        <p:nvSpPr>
          <p:cNvPr id="19" name="TextBox 6">
            <a:extLst>
              <a:ext uri="{FF2B5EF4-FFF2-40B4-BE49-F238E27FC236}">
                <a16:creationId xmlns:a16="http://schemas.microsoft.com/office/drawing/2014/main" id="{E0172FC3-D755-6A81-5B11-2671FE005C82}"/>
              </a:ext>
            </a:extLst>
          </p:cNvPr>
          <p:cNvSpPr txBox="1"/>
          <p:nvPr/>
        </p:nvSpPr>
        <p:spPr>
          <a:xfrm>
            <a:off x="454696" y="1826907"/>
            <a:ext cx="6906803" cy="4247317"/>
          </a:xfrm>
          <a:prstGeom prst="rect">
            <a:avLst/>
          </a:prstGeom>
          <a:noFill/>
        </p:spPr>
        <p:txBody>
          <a:bodyPr wrap="square" lIns="91440" tIns="45720" rIns="91440" bIns="45720" rtlCol="0" anchor="t">
            <a:spAutoFit/>
          </a:bodyPr>
          <a:lstStyle/>
          <a:p>
            <a:pPr>
              <a:buNone/>
            </a:pPr>
            <a:r>
              <a:rPr lang="en-US" dirty="0">
                <a:solidFill>
                  <a:srgbClr val="262626"/>
                </a:solidFill>
              </a:rPr>
              <a:t>A hospitality business may be organised into sales, front office, housekeeping, F&amp;B, marketing and maintenance. A guest experiences it as one connected journey.</a:t>
            </a:r>
            <a:br>
              <a:rPr lang="en-US" dirty="0">
                <a:solidFill>
                  <a:srgbClr val="262626"/>
                </a:solidFill>
              </a:rPr>
            </a:br>
            <a:endParaRPr lang="en-US" dirty="0">
              <a:solidFill>
                <a:srgbClr val="262626"/>
              </a:solidFill>
            </a:endParaRPr>
          </a:p>
          <a:p>
            <a:pPr>
              <a:buNone/>
            </a:pPr>
            <a:endParaRPr lang="en-US" dirty="0">
              <a:solidFill>
                <a:srgbClr val="262626"/>
              </a:solidFill>
            </a:endParaRPr>
          </a:p>
          <a:p>
            <a:pPr>
              <a:buNone/>
            </a:pPr>
            <a:r>
              <a:rPr lang="en-US" b="1" dirty="0">
                <a:solidFill>
                  <a:srgbClr val="06677F"/>
                </a:solidFill>
              </a:rPr>
              <a:t>That connected journey involves:</a:t>
            </a:r>
            <a:br>
              <a:rPr lang="en-US" dirty="0">
                <a:solidFill>
                  <a:srgbClr val="262626"/>
                </a:solidFill>
              </a:rPr>
            </a:br>
            <a:r>
              <a:rPr lang="en-US" dirty="0">
                <a:solidFill>
                  <a:srgbClr val="262626"/>
                </a:solidFill>
              </a:rPr>
              <a:t>searching, booking, arriving, entering the room, eating, asking questions, moving through the space, leaving, remembering, reviewing.</a:t>
            </a:r>
          </a:p>
          <a:p>
            <a:pPr>
              <a:buNone/>
            </a:pPr>
            <a:endParaRPr lang="en-US" dirty="0">
              <a:solidFill>
                <a:srgbClr val="262626"/>
              </a:solidFill>
            </a:endParaRPr>
          </a:p>
          <a:p>
            <a:pPr>
              <a:buNone/>
            </a:pPr>
            <a:r>
              <a:rPr lang="en-US" dirty="0">
                <a:solidFill>
                  <a:srgbClr val="262626"/>
                </a:solidFill>
              </a:rPr>
              <a:t>A sustainability message can fail if it is only strong in one place and weak in another.</a:t>
            </a:r>
          </a:p>
          <a:p>
            <a:pPr>
              <a:buNone/>
            </a:pPr>
            <a:br>
              <a:rPr lang="en-US" dirty="0">
                <a:solidFill>
                  <a:srgbClr val="262626"/>
                </a:solidFill>
              </a:rPr>
            </a:br>
            <a:r>
              <a:rPr lang="en-GB" b="1" dirty="0">
                <a:solidFill>
                  <a:srgbClr val="262626"/>
                </a:solidFill>
              </a:rPr>
              <a:t>A beautiful local breakfast story loses impact if guest touchpoints feel inconsistent and the departure experience leaves no lasting sense of connection or continuity.</a:t>
            </a:r>
            <a:endParaRPr lang="en-US" b="1" dirty="0">
              <a:solidFill>
                <a:srgbClr val="262626"/>
              </a:solidFill>
            </a:endParaRPr>
          </a:p>
        </p:txBody>
      </p:sp>
      <p:pic>
        <p:nvPicPr>
          <p:cNvPr id="20" name="Graphic 19">
            <a:extLst>
              <a:ext uri="{FF2B5EF4-FFF2-40B4-BE49-F238E27FC236}">
                <a16:creationId xmlns:a16="http://schemas.microsoft.com/office/drawing/2014/main" id="{37A5D880-7AFB-1534-4A37-13B063E0E8D9}"/>
              </a:ext>
            </a:extLst>
          </p:cNvPr>
          <p:cNvPicPr>
            <a:picLocks noChangeAspect="1"/>
          </p:cNvPicPr>
          <p:nvPr/>
        </p:nvPicPr>
        <p:blipFill>
          <a:blip>
            <a:extLst>
              <a:ext uri="{96DAC541-7B7A-43D3-8B79-37D633B846F1}">
                <asvg:svgBlip xmlns:asvg="http://schemas.microsoft.com/office/drawing/2016/SVG/main" r:embed="rId3"/>
              </a:ext>
            </a:extLst>
          </a:blip>
          <a:srcRect l="32264" t="48939" r="39869" b="38482"/>
          <a:stretch>
            <a:fillRect/>
          </a:stretch>
        </p:blipFill>
        <p:spPr>
          <a:xfrm>
            <a:off x="5458250" y="-1"/>
            <a:ext cx="6754568" cy="4317351"/>
          </a:xfrm>
          <a:prstGeom prst="rect">
            <a:avLst/>
          </a:prstGeom>
        </p:spPr>
      </p:pic>
    </p:spTree>
    <p:extLst>
      <p:ext uri="{BB962C8B-B14F-4D97-AF65-F5344CB8AC3E}">
        <p14:creationId xmlns:p14="http://schemas.microsoft.com/office/powerpoint/2010/main" val="3795227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C21A9-2CCC-BBDE-FABC-1A1EA8AE9CF5}"/>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96B9DEB8-C4E1-FB58-25FC-D0FFF285F863}"/>
              </a:ext>
            </a:extLst>
          </p:cNvPr>
          <p:cNvSpPr/>
          <p:nvPr/>
        </p:nvSpPr>
        <p:spPr>
          <a:xfrm flipH="1">
            <a:off x="614654" y="5315020"/>
            <a:ext cx="7633416" cy="738664"/>
          </a:xfrm>
          <a:prstGeom prst="rect">
            <a:avLst/>
          </a:prstGeom>
        </p:spPr>
        <p:txBody>
          <a:bodyPr wrap="square">
            <a:spAutoFit/>
          </a:bodyPr>
          <a:lstStyle/>
          <a:p>
            <a:r>
              <a:rPr lang="en-US" sz="2200" b="1" dirty="0">
                <a:solidFill>
                  <a:srgbClr val="262626"/>
                </a:solidFill>
              </a:rPr>
              <a:t>Journeys create memory. Consistency creates trust.</a:t>
            </a:r>
          </a:p>
          <a:p>
            <a:endParaRPr lang="en-US" sz="2000" b="1" dirty="0">
              <a:solidFill>
                <a:srgbClr val="262626"/>
              </a:solidFill>
            </a:endParaRPr>
          </a:p>
        </p:txBody>
      </p:sp>
      <p:sp>
        <p:nvSpPr>
          <p:cNvPr id="10" name="Text Placeholder 11">
            <a:extLst>
              <a:ext uri="{FF2B5EF4-FFF2-40B4-BE49-F238E27FC236}">
                <a16:creationId xmlns:a16="http://schemas.microsoft.com/office/drawing/2014/main" id="{A2E84D8A-97E9-5DDA-429C-FE8BA34F0FA8}"/>
              </a:ext>
            </a:extLst>
          </p:cNvPr>
          <p:cNvSpPr txBox="1">
            <a:spLocks/>
          </p:cNvSpPr>
          <p:nvPr/>
        </p:nvSpPr>
        <p:spPr>
          <a:xfrm>
            <a:off x="454695" y="394053"/>
            <a:ext cx="949161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Guests Experience Journeys, Not Department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11" name="Straight Connector 10">
            <a:extLst>
              <a:ext uri="{FF2B5EF4-FFF2-40B4-BE49-F238E27FC236}">
                <a16:creationId xmlns:a16="http://schemas.microsoft.com/office/drawing/2014/main" id="{5B9914B2-EC3B-5820-4F71-45B4E39AF55A}"/>
              </a:ext>
            </a:extLst>
          </p:cNvPr>
          <p:cNvCxnSpPr>
            <a:cxnSpLocks/>
          </p:cNvCxnSpPr>
          <p:nvPr/>
        </p:nvCxnSpPr>
        <p:spPr>
          <a:xfrm>
            <a:off x="0" y="1509491"/>
            <a:ext cx="682752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45F10407-374C-7110-90A1-7A7AFCBD89EB}"/>
              </a:ext>
            </a:extLst>
          </p:cNvPr>
          <p:cNvGrpSpPr/>
          <p:nvPr/>
        </p:nvGrpSpPr>
        <p:grpSpPr>
          <a:xfrm>
            <a:off x="639777" y="0"/>
            <a:ext cx="10946482" cy="5062363"/>
            <a:chOff x="639776" y="-178331"/>
            <a:chExt cx="12094699" cy="5593372"/>
          </a:xfrm>
        </p:grpSpPr>
        <p:grpSp>
          <p:nvGrpSpPr>
            <p:cNvPr id="3" name="Google Shape;1267;p35">
              <a:extLst>
                <a:ext uri="{FF2B5EF4-FFF2-40B4-BE49-F238E27FC236}">
                  <a16:creationId xmlns:a16="http://schemas.microsoft.com/office/drawing/2014/main" id="{23376059-EFB6-3CEE-CF7E-57060EDBFC13}"/>
                </a:ext>
              </a:extLst>
            </p:cNvPr>
            <p:cNvGrpSpPr/>
            <p:nvPr/>
          </p:nvGrpSpPr>
          <p:grpSpPr>
            <a:xfrm>
              <a:off x="661896" y="1509490"/>
              <a:ext cx="2407270" cy="3266578"/>
              <a:chOff x="531450" y="1767477"/>
              <a:chExt cx="1346700" cy="1827423"/>
            </a:xfrm>
          </p:grpSpPr>
          <p:sp>
            <p:nvSpPr>
              <p:cNvPr id="4" name="Google Shape;1268;p35">
                <a:extLst>
                  <a:ext uri="{FF2B5EF4-FFF2-40B4-BE49-F238E27FC236}">
                    <a16:creationId xmlns:a16="http://schemas.microsoft.com/office/drawing/2014/main" id="{73C08218-3A7D-F0F7-AEA3-C51FE6AD477F}"/>
                  </a:ext>
                </a:extLst>
              </p:cNvPr>
              <p:cNvSpPr/>
              <p:nvPr/>
            </p:nvSpPr>
            <p:spPr>
              <a:xfrm rot="10800000">
                <a:off x="531450" y="2248200"/>
                <a:ext cx="1346700" cy="1346700"/>
              </a:xfrm>
              <a:prstGeom prst="arc">
                <a:avLst>
                  <a:gd name="adj1" fmla="val 10811050"/>
                  <a:gd name="adj2" fmla="val 0"/>
                </a:avLst>
              </a:prstGeom>
              <a:noFill/>
              <a:ln w="76200" cap="flat" cmpd="sng">
                <a:solidFill>
                  <a:srgbClr val="62A84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cxnSp>
            <p:nvCxnSpPr>
              <p:cNvPr id="5" name="Google Shape;1269;p35">
                <a:extLst>
                  <a:ext uri="{FF2B5EF4-FFF2-40B4-BE49-F238E27FC236}">
                    <a16:creationId xmlns:a16="http://schemas.microsoft.com/office/drawing/2014/main" id="{5FAB0CFC-6204-2133-35DD-8A977A8D0A4D}"/>
                  </a:ext>
                </a:extLst>
              </p:cNvPr>
              <p:cNvCxnSpPr>
                <a:cxnSpLocks/>
                <a:stCxn id="4" idx="2"/>
              </p:cNvCxnSpPr>
              <p:nvPr/>
            </p:nvCxnSpPr>
            <p:spPr>
              <a:xfrm flipV="1">
                <a:off x="531450" y="1767477"/>
                <a:ext cx="0" cy="1154073"/>
              </a:xfrm>
              <a:prstGeom prst="straightConnector1">
                <a:avLst/>
              </a:prstGeom>
              <a:noFill/>
              <a:ln w="76200" cap="flat" cmpd="sng">
                <a:solidFill>
                  <a:srgbClr val="62A844"/>
                </a:solidFill>
                <a:prstDash val="solid"/>
                <a:round/>
                <a:headEnd type="none" w="med" len="med"/>
                <a:tailEnd type="none" w="med" len="med"/>
              </a:ln>
            </p:spPr>
          </p:cxnSp>
          <p:grpSp>
            <p:nvGrpSpPr>
              <p:cNvPr id="6" name="Google Shape;1270;p35">
                <a:extLst>
                  <a:ext uri="{FF2B5EF4-FFF2-40B4-BE49-F238E27FC236}">
                    <a16:creationId xmlns:a16="http://schemas.microsoft.com/office/drawing/2014/main" id="{EA780BE7-B362-73A3-0360-96A1C64613DC}"/>
                  </a:ext>
                </a:extLst>
              </p:cNvPr>
              <p:cNvGrpSpPr/>
              <p:nvPr/>
            </p:nvGrpSpPr>
            <p:grpSpPr>
              <a:xfrm>
                <a:off x="836677" y="2156250"/>
                <a:ext cx="736471" cy="1142036"/>
                <a:chOff x="836677" y="2156250"/>
                <a:chExt cx="736471" cy="1142036"/>
              </a:xfrm>
            </p:grpSpPr>
            <p:cxnSp>
              <p:nvCxnSpPr>
                <p:cNvPr id="7" name="Google Shape;1271;p35">
                  <a:extLst>
                    <a:ext uri="{FF2B5EF4-FFF2-40B4-BE49-F238E27FC236}">
                      <a16:creationId xmlns:a16="http://schemas.microsoft.com/office/drawing/2014/main" id="{BC651B09-9CF5-A444-8D7C-97CCFE97DD03}"/>
                    </a:ext>
                  </a:extLst>
                </p:cNvPr>
                <p:cNvCxnSpPr/>
                <p:nvPr/>
              </p:nvCxnSpPr>
              <p:spPr>
                <a:xfrm rot="10800000">
                  <a:off x="1200425" y="2156250"/>
                  <a:ext cx="0" cy="289800"/>
                </a:xfrm>
                <a:prstGeom prst="straightConnector1">
                  <a:avLst/>
                </a:prstGeom>
                <a:noFill/>
                <a:ln w="9525" cap="flat" cmpd="sng">
                  <a:solidFill>
                    <a:schemeClr val="dk2"/>
                  </a:solidFill>
                  <a:prstDash val="solid"/>
                  <a:round/>
                  <a:headEnd type="oval" w="med" len="med"/>
                  <a:tailEnd type="oval" w="med" len="med"/>
                </a:ln>
              </p:spPr>
            </p:cxnSp>
            <p:grpSp>
              <p:nvGrpSpPr>
                <p:cNvPr id="8" name="Google Shape;1272;p35">
                  <a:extLst>
                    <a:ext uri="{FF2B5EF4-FFF2-40B4-BE49-F238E27FC236}">
                      <a16:creationId xmlns:a16="http://schemas.microsoft.com/office/drawing/2014/main" id="{5FE8A280-3A09-C4AE-7264-9FDF230E59D9}"/>
                    </a:ext>
                  </a:extLst>
                </p:cNvPr>
                <p:cNvGrpSpPr/>
                <p:nvPr/>
              </p:nvGrpSpPr>
              <p:grpSpPr>
                <a:xfrm>
                  <a:off x="836677" y="2561257"/>
                  <a:ext cx="736471" cy="737029"/>
                  <a:chOff x="836677" y="2561257"/>
                  <a:chExt cx="736471" cy="737029"/>
                </a:xfrm>
              </p:grpSpPr>
              <p:sp>
                <p:nvSpPr>
                  <p:cNvPr id="12" name="Google Shape;1273;p35">
                    <a:extLst>
                      <a:ext uri="{FF2B5EF4-FFF2-40B4-BE49-F238E27FC236}">
                        <a16:creationId xmlns:a16="http://schemas.microsoft.com/office/drawing/2014/main" id="{FC1BCA67-5F21-3992-5FA2-6392D0BE8C60}"/>
                      </a:ext>
                    </a:extLst>
                  </p:cNvPr>
                  <p:cNvSpPr/>
                  <p:nvPr/>
                </p:nvSpPr>
                <p:spPr>
                  <a:xfrm>
                    <a:off x="83667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13" name="Google Shape;1274;p35">
                    <a:extLst>
                      <a:ext uri="{FF2B5EF4-FFF2-40B4-BE49-F238E27FC236}">
                        <a16:creationId xmlns:a16="http://schemas.microsoft.com/office/drawing/2014/main" id="{15A77CDA-7171-8AED-A87D-14D8103E9727}"/>
                      </a:ext>
                    </a:extLst>
                  </p:cNvPr>
                  <p:cNvSpPr/>
                  <p:nvPr/>
                </p:nvSpPr>
                <p:spPr>
                  <a:xfrm>
                    <a:off x="94863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spc="-150" dirty="0">
                      <a:solidFill>
                        <a:schemeClr val="accent1"/>
                      </a:solidFill>
                      <a:latin typeface="Calibri" panose="020F0502020204030204" pitchFamily="34" charset="0"/>
                      <a:ea typeface="Fira Sans"/>
                      <a:cs typeface="Calibri" panose="020F0502020204030204" pitchFamily="34" charset="0"/>
                      <a:sym typeface="Fira Sans"/>
                    </a:endParaRPr>
                  </a:p>
                </p:txBody>
              </p:sp>
            </p:grpSp>
          </p:grpSp>
        </p:grpSp>
        <p:grpSp>
          <p:nvGrpSpPr>
            <p:cNvPr id="14" name="Google Shape;1278;p35">
              <a:extLst>
                <a:ext uri="{FF2B5EF4-FFF2-40B4-BE49-F238E27FC236}">
                  <a16:creationId xmlns:a16="http://schemas.microsoft.com/office/drawing/2014/main" id="{57AA9827-A05D-5E0C-E4CE-ABBDD0F8E263}"/>
                </a:ext>
              </a:extLst>
            </p:cNvPr>
            <p:cNvGrpSpPr/>
            <p:nvPr/>
          </p:nvGrpSpPr>
          <p:grpSpPr>
            <a:xfrm>
              <a:off x="5477282" y="2204435"/>
              <a:ext cx="2407268" cy="2571632"/>
              <a:chOff x="3225325" y="2156250"/>
              <a:chExt cx="1346700" cy="1438650"/>
            </a:xfrm>
          </p:grpSpPr>
          <p:sp>
            <p:nvSpPr>
              <p:cNvPr id="15" name="Google Shape;1279;p35">
                <a:extLst>
                  <a:ext uri="{FF2B5EF4-FFF2-40B4-BE49-F238E27FC236}">
                    <a16:creationId xmlns:a16="http://schemas.microsoft.com/office/drawing/2014/main" id="{6BE3AECD-FC49-A9EB-02A6-E988EB40B947}"/>
                  </a:ext>
                </a:extLst>
              </p:cNvPr>
              <p:cNvSpPr/>
              <p:nvPr/>
            </p:nvSpPr>
            <p:spPr>
              <a:xfrm rot="10800000">
                <a:off x="3225325" y="2248200"/>
                <a:ext cx="1346700" cy="1346700"/>
              </a:xfrm>
              <a:prstGeom prst="arc">
                <a:avLst>
                  <a:gd name="adj1" fmla="val 10811050"/>
                  <a:gd name="adj2" fmla="val 0"/>
                </a:avLst>
              </a:prstGeom>
              <a:noFill/>
              <a:ln w="76200" cap="flat" cmpd="sng">
                <a:solidFill>
                  <a:srgbClr val="0289A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16" name="Google Shape;1280;p35">
                <a:extLst>
                  <a:ext uri="{FF2B5EF4-FFF2-40B4-BE49-F238E27FC236}">
                    <a16:creationId xmlns:a16="http://schemas.microsoft.com/office/drawing/2014/main" id="{776A4706-071D-CD3C-BFE5-BDB16F8D77A6}"/>
                  </a:ext>
                </a:extLst>
              </p:cNvPr>
              <p:cNvGrpSpPr/>
              <p:nvPr/>
            </p:nvGrpSpPr>
            <p:grpSpPr>
              <a:xfrm>
                <a:off x="3530407" y="2156250"/>
                <a:ext cx="736471" cy="1142036"/>
                <a:chOff x="3530407" y="2156250"/>
                <a:chExt cx="736471" cy="1142036"/>
              </a:xfrm>
            </p:grpSpPr>
            <p:cxnSp>
              <p:nvCxnSpPr>
                <p:cNvPr id="17" name="Google Shape;1281;p35">
                  <a:extLst>
                    <a:ext uri="{FF2B5EF4-FFF2-40B4-BE49-F238E27FC236}">
                      <a16:creationId xmlns:a16="http://schemas.microsoft.com/office/drawing/2014/main" id="{88811CCA-F554-32C6-46C2-0F52A42DCBA8}"/>
                    </a:ext>
                  </a:extLst>
                </p:cNvPr>
                <p:cNvCxnSpPr/>
                <p:nvPr/>
              </p:nvCxnSpPr>
              <p:spPr>
                <a:xfrm rot="10800000">
                  <a:off x="3898644" y="2156250"/>
                  <a:ext cx="0" cy="289800"/>
                </a:xfrm>
                <a:prstGeom prst="straightConnector1">
                  <a:avLst/>
                </a:prstGeom>
                <a:noFill/>
                <a:ln w="9525" cap="flat" cmpd="sng">
                  <a:solidFill>
                    <a:schemeClr val="dk2"/>
                  </a:solidFill>
                  <a:prstDash val="solid"/>
                  <a:round/>
                  <a:headEnd type="oval" w="med" len="med"/>
                  <a:tailEnd type="oval" w="med" len="med"/>
                </a:ln>
              </p:spPr>
            </p:cxnSp>
            <p:grpSp>
              <p:nvGrpSpPr>
                <p:cNvPr id="18" name="Google Shape;1282;p35">
                  <a:extLst>
                    <a:ext uri="{FF2B5EF4-FFF2-40B4-BE49-F238E27FC236}">
                      <a16:creationId xmlns:a16="http://schemas.microsoft.com/office/drawing/2014/main" id="{A081B1F0-4DD1-C451-97C8-4A414CE12BDD}"/>
                    </a:ext>
                  </a:extLst>
                </p:cNvPr>
                <p:cNvGrpSpPr/>
                <p:nvPr/>
              </p:nvGrpSpPr>
              <p:grpSpPr>
                <a:xfrm>
                  <a:off x="3530407" y="2561257"/>
                  <a:ext cx="736471" cy="737029"/>
                  <a:chOff x="3530407" y="2561257"/>
                  <a:chExt cx="736471" cy="737029"/>
                </a:xfrm>
              </p:grpSpPr>
              <p:sp>
                <p:nvSpPr>
                  <p:cNvPr id="22" name="Google Shape;1283;p35">
                    <a:extLst>
                      <a:ext uri="{FF2B5EF4-FFF2-40B4-BE49-F238E27FC236}">
                        <a16:creationId xmlns:a16="http://schemas.microsoft.com/office/drawing/2014/main" id="{A5ACB346-B2FD-3407-21BA-E19094B3E0F9}"/>
                      </a:ext>
                    </a:extLst>
                  </p:cNvPr>
                  <p:cNvSpPr/>
                  <p:nvPr/>
                </p:nvSpPr>
                <p:spPr>
                  <a:xfrm>
                    <a:off x="353040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23" name="Google Shape;1284;p35">
                    <a:extLst>
                      <a:ext uri="{FF2B5EF4-FFF2-40B4-BE49-F238E27FC236}">
                        <a16:creationId xmlns:a16="http://schemas.microsoft.com/office/drawing/2014/main" id="{B116A1A7-0771-1E1B-4771-F985DDAD4327}"/>
                      </a:ext>
                    </a:extLst>
                  </p:cNvPr>
                  <p:cNvSpPr/>
                  <p:nvPr/>
                </p:nvSpPr>
                <p:spPr>
                  <a:xfrm>
                    <a:off x="364318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3"/>
                      </a:solidFill>
                      <a:latin typeface="Calibri" panose="020F0502020204030204" pitchFamily="34" charset="0"/>
                      <a:cs typeface="Calibri" panose="020F0502020204030204" pitchFamily="34" charset="0"/>
                    </a:endParaRPr>
                  </a:p>
                </p:txBody>
              </p:sp>
            </p:grpSp>
          </p:grpSp>
        </p:grpSp>
        <p:grpSp>
          <p:nvGrpSpPr>
            <p:cNvPr id="33" name="Google Shape;1297;p35">
              <a:extLst>
                <a:ext uri="{FF2B5EF4-FFF2-40B4-BE49-F238E27FC236}">
                  <a16:creationId xmlns:a16="http://schemas.microsoft.com/office/drawing/2014/main" id="{4424B40D-ABDB-FD07-7985-0527D973BC94}"/>
                </a:ext>
              </a:extLst>
            </p:cNvPr>
            <p:cNvGrpSpPr/>
            <p:nvPr/>
          </p:nvGrpSpPr>
          <p:grpSpPr>
            <a:xfrm>
              <a:off x="3066713" y="2380284"/>
              <a:ext cx="2413170" cy="2589509"/>
              <a:chOff x="1876776" y="2254625"/>
              <a:chExt cx="1350000" cy="1448650"/>
            </a:xfrm>
          </p:grpSpPr>
          <p:sp>
            <p:nvSpPr>
              <p:cNvPr id="34" name="Google Shape;1298;p35">
                <a:extLst>
                  <a:ext uri="{FF2B5EF4-FFF2-40B4-BE49-F238E27FC236}">
                    <a16:creationId xmlns:a16="http://schemas.microsoft.com/office/drawing/2014/main" id="{3A369FC0-31B8-2C2A-A61F-8521B98A5CD1}"/>
                  </a:ext>
                </a:extLst>
              </p:cNvPr>
              <p:cNvSpPr/>
              <p:nvPr/>
            </p:nvSpPr>
            <p:spPr>
              <a:xfrm>
                <a:off x="1876776" y="2254625"/>
                <a:ext cx="1350000" cy="1350000"/>
              </a:xfrm>
              <a:prstGeom prst="arc">
                <a:avLst>
                  <a:gd name="adj1" fmla="val 10811050"/>
                  <a:gd name="adj2" fmla="val 0"/>
                </a:avLst>
              </a:prstGeom>
              <a:noFill/>
              <a:ln w="76200" cap="flat" cmpd="sng">
                <a:solidFill>
                  <a:srgbClr val="3D824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grpSp>
            <p:nvGrpSpPr>
              <p:cNvPr id="35" name="Google Shape;1299;p35">
                <a:extLst>
                  <a:ext uri="{FF2B5EF4-FFF2-40B4-BE49-F238E27FC236}">
                    <a16:creationId xmlns:a16="http://schemas.microsoft.com/office/drawing/2014/main" id="{08630910-851A-A1A5-C1E3-87112BC72F09}"/>
                  </a:ext>
                </a:extLst>
              </p:cNvPr>
              <p:cNvGrpSpPr/>
              <p:nvPr/>
            </p:nvGrpSpPr>
            <p:grpSpPr>
              <a:xfrm>
                <a:off x="2183542" y="2561257"/>
                <a:ext cx="736471" cy="1142018"/>
                <a:chOff x="2183542" y="2561257"/>
                <a:chExt cx="736471" cy="1142018"/>
              </a:xfrm>
            </p:grpSpPr>
            <p:cxnSp>
              <p:nvCxnSpPr>
                <p:cNvPr id="36" name="Google Shape;1300;p35">
                  <a:extLst>
                    <a:ext uri="{FF2B5EF4-FFF2-40B4-BE49-F238E27FC236}">
                      <a16:creationId xmlns:a16="http://schemas.microsoft.com/office/drawing/2014/main" id="{2D1F6CAF-444C-3A84-0FE3-0E766DB30A29}"/>
                    </a:ext>
                  </a:extLst>
                </p:cNvPr>
                <p:cNvCxnSpPr/>
                <p:nvPr/>
              </p:nvCxnSpPr>
              <p:spPr>
                <a:xfrm rot="10800000">
                  <a:off x="2551800" y="3413475"/>
                  <a:ext cx="0" cy="289800"/>
                </a:xfrm>
                <a:prstGeom prst="straightConnector1">
                  <a:avLst/>
                </a:prstGeom>
                <a:noFill/>
                <a:ln w="9525" cap="flat" cmpd="sng">
                  <a:solidFill>
                    <a:schemeClr val="dk2"/>
                  </a:solidFill>
                  <a:prstDash val="solid"/>
                  <a:round/>
                  <a:headEnd type="oval" w="med" len="med"/>
                  <a:tailEnd type="oval" w="med" len="med"/>
                </a:ln>
              </p:spPr>
            </p:cxnSp>
            <p:grpSp>
              <p:nvGrpSpPr>
                <p:cNvPr id="37" name="Google Shape;1301;p35">
                  <a:extLst>
                    <a:ext uri="{FF2B5EF4-FFF2-40B4-BE49-F238E27FC236}">
                      <a16:creationId xmlns:a16="http://schemas.microsoft.com/office/drawing/2014/main" id="{AFD42001-EAEC-F530-1363-1B77E18D6060}"/>
                    </a:ext>
                  </a:extLst>
                </p:cNvPr>
                <p:cNvGrpSpPr/>
                <p:nvPr/>
              </p:nvGrpSpPr>
              <p:grpSpPr>
                <a:xfrm>
                  <a:off x="2183542" y="2561257"/>
                  <a:ext cx="736471" cy="737029"/>
                  <a:chOff x="2183542" y="2561257"/>
                  <a:chExt cx="736471" cy="737029"/>
                </a:xfrm>
              </p:grpSpPr>
              <p:sp>
                <p:nvSpPr>
                  <p:cNvPr id="41" name="Google Shape;1302;p35">
                    <a:extLst>
                      <a:ext uri="{FF2B5EF4-FFF2-40B4-BE49-F238E27FC236}">
                        <a16:creationId xmlns:a16="http://schemas.microsoft.com/office/drawing/2014/main" id="{82640AF3-FEE1-E9EB-3DAC-9F6F24FC8FB9}"/>
                      </a:ext>
                    </a:extLst>
                  </p:cNvPr>
                  <p:cNvSpPr/>
                  <p:nvPr/>
                </p:nvSpPr>
                <p:spPr>
                  <a:xfrm>
                    <a:off x="2183542"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42" name="Google Shape;1303;p35">
                    <a:extLst>
                      <a:ext uri="{FF2B5EF4-FFF2-40B4-BE49-F238E27FC236}">
                        <a16:creationId xmlns:a16="http://schemas.microsoft.com/office/drawing/2014/main" id="{7F4FF117-CB63-467B-8236-680C2345151E}"/>
                      </a:ext>
                    </a:extLst>
                  </p:cNvPr>
                  <p:cNvSpPr/>
                  <p:nvPr/>
                </p:nvSpPr>
                <p:spPr>
                  <a:xfrm>
                    <a:off x="2296297"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2"/>
                      </a:solidFill>
                      <a:latin typeface="Calibri" panose="020F0502020204030204" pitchFamily="34" charset="0"/>
                      <a:cs typeface="Calibri" panose="020F0502020204030204" pitchFamily="34" charset="0"/>
                    </a:endParaRPr>
                  </a:p>
                </p:txBody>
              </p:sp>
            </p:grpSp>
          </p:grpSp>
        </p:grpSp>
        <p:grpSp>
          <p:nvGrpSpPr>
            <p:cNvPr id="43" name="Google Shape;1307;p35">
              <a:extLst>
                <a:ext uri="{FF2B5EF4-FFF2-40B4-BE49-F238E27FC236}">
                  <a16:creationId xmlns:a16="http://schemas.microsoft.com/office/drawing/2014/main" id="{D85E4249-5A8F-BBA1-47A8-4E085BC38D58}"/>
                </a:ext>
              </a:extLst>
            </p:cNvPr>
            <p:cNvGrpSpPr/>
            <p:nvPr/>
          </p:nvGrpSpPr>
          <p:grpSpPr>
            <a:xfrm>
              <a:off x="7881833" y="2380285"/>
              <a:ext cx="2413168" cy="2589509"/>
              <a:chOff x="4570501" y="2254625"/>
              <a:chExt cx="1350000" cy="1448650"/>
            </a:xfrm>
          </p:grpSpPr>
          <p:sp>
            <p:nvSpPr>
              <p:cNvPr id="44" name="Google Shape;1308;p35">
                <a:extLst>
                  <a:ext uri="{FF2B5EF4-FFF2-40B4-BE49-F238E27FC236}">
                    <a16:creationId xmlns:a16="http://schemas.microsoft.com/office/drawing/2014/main" id="{EE3ABAC5-E3C8-E35D-0439-F382B7D93659}"/>
                  </a:ext>
                </a:extLst>
              </p:cNvPr>
              <p:cNvSpPr/>
              <p:nvPr/>
            </p:nvSpPr>
            <p:spPr>
              <a:xfrm>
                <a:off x="4570501" y="2254625"/>
                <a:ext cx="1350000" cy="1350000"/>
              </a:xfrm>
              <a:prstGeom prst="arc">
                <a:avLst>
                  <a:gd name="adj1" fmla="val 10811050"/>
                  <a:gd name="adj2" fmla="val 0"/>
                </a:avLst>
              </a:prstGeom>
              <a:noFill/>
              <a:ln w="76200" cap="flat" cmpd="sng">
                <a:solidFill>
                  <a:srgbClr val="06677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45" name="Google Shape;1309;p35">
                <a:extLst>
                  <a:ext uri="{FF2B5EF4-FFF2-40B4-BE49-F238E27FC236}">
                    <a16:creationId xmlns:a16="http://schemas.microsoft.com/office/drawing/2014/main" id="{8CFB62A2-35FE-A57A-AB95-0776679F00E3}"/>
                  </a:ext>
                </a:extLst>
              </p:cNvPr>
              <p:cNvGrpSpPr/>
              <p:nvPr/>
            </p:nvGrpSpPr>
            <p:grpSpPr>
              <a:xfrm>
                <a:off x="4877272" y="2561257"/>
                <a:ext cx="736471" cy="1142018"/>
                <a:chOff x="4877272" y="2561257"/>
                <a:chExt cx="736471" cy="1142018"/>
              </a:xfrm>
            </p:grpSpPr>
            <p:cxnSp>
              <p:nvCxnSpPr>
                <p:cNvPr id="46" name="Google Shape;1310;p35">
                  <a:extLst>
                    <a:ext uri="{FF2B5EF4-FFF2-40B4-BE49-F238E27FC236}">
                      <a16:creationId xmlns:a16="http://schemas.microsoft.com/office/drawing/2014/main" id="{61DE0871-4576-7B60-0D71-22D470940BE4}"/>
                    </a:ext>
                  </a:extLst>
                </p:cNvPr>
                <p:cNvCxnSpPr/>
                <p:nvPr/>
              </p:nvCxnSpPr>
              <p:spPr>
                <a:xfrm rot="10800000">
                  <a:off x="5245500" y="3413475"/>
                  <a:ext cx="0" cy="289800"/>
                </a:xfrm>
                <a:prstGeom prst="straightConnector1">
                  <a:avLst/>
                </a:prstGeom>
                <a:noFill/>
                <a:ln w="9525" cap="flat" cmpd="sng">
                  <a:solidFill>
                    <a:schemeClr val="dk2"/>
                  </a:solidFill>
                  <a:prstDash val="solid"/>
                  <a:round/>
                  <a:headEnd type="oval" w="med" len="med"/>
                  <a:tailEnd type="oval" w="med" len="med"/>
                </a:ln>
              </p:spPr>
            </p:cxnSp>
            <p:grpSp>
              <p:nvGrpSpPr>
                <p:cNvPr id="47" name="Google Shape;1311;p35">
                  <a:extLst>
                    <a:ext uri="{FF2B5EF4-FFF2-40B4-BE49-F238E27FC236}">
                      <a16:creationId xmlns:a16="http://schemas.microsoft.com/office/drawing/2014/main" id="{4DA7E607-23DF-FC06-C62E-E009578C59F8}"/>
                    </a:ext>
                  </a:extLst>
                </p:cNvPr>
                <p:cNvGrpSpPr/>
                <p:nvPr/>
              </p:nvGrpSpPr>
              <p:grpSpPr>
                <a:xfrm>
                  <a:off x="4877272" y="2561257"/>
                  <a:ext cx="736471" cy="737029"/>
                  <a:chOff x="4877272" y="2561257"/>
                  <a:chExt cx="736471" cy="737029"/>
                </a:xfrm>
              </p:grpSpPr>
              <p:sp>
                <p:nvSpPr>
                  <p:cNvPr id="51" name="Google Shape;1312;p35">
                    <a:extLst>
                      <a:ext uri="{FF2B5EF4-FFF2-40B4-BE49-F238E27FC236}">
                        <a16:creationId xmlns:a16="http://schemas.microsoft.com/office/drawing/2014/main" id="{55B3A8D9-40C2-3409-E87D-BDDC5E9BF8CA}"/>
                      </a:ext>
                    </a:extLst>
                  </p:cNvPr>
                  <p:cNvSpPr/>
                  <p:nvPr/>
                </p:nvSpPr>
                <p:spPr>
                  <a:xfrm>
                    <a:off x="4877272"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52" name="Google Shape;1313;p35">
                    <a:extLst>
                      <a:ext uri="{FF2B5EF4-FFF2-40B4-BE49-F238E27FC236}">
                        <a16:creationId xmlns:a16="http://schemas.microsoft.com/office/drawing/2014/main" id="{1F160C2C-4EEB-2515-7DF3-ED5D366DAC34}"/>
                      </a:ext>
                    </a:extLst>
                  </p:cNvPr>
                  <p:cNvSpPr/>
                  <p:nvPr/>
                </p:nvSpPr>
                <p:spPr>
                  <a:xfrm>
                    <a:off x="4990072"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4"/>
                      </a:solidFill>
                      <a:latin typeface="Calibri" panose="020F0502020204030204" pitchFamily="34" charset="0"/>
                      <a:cs typeface="Calibri" panose="020F0502020204030204" pitchFamily="34" charset="0"/>
                    </a:endParaRPr>
                  </a:p>
                </p:txBody>
              </p:sp>
            </p:grpSp>
          </p:grpSp>
        </p:grpSp>
        <p:sp>
          <p:nvSpPr>
            <p:cNvPr id="85" name="Google Shape;1306;p35">
              <a:extLst>
                <a:ext uri="{FF2B5EF4-FFF2-40B4-BE49-F238E27FC236}">
                  <a16:creationId xmlns:a16="http://schemas.microsoft.com/office/drawing/2014/main" id="{F2A38DC8-6585-46F8-FE28-027C44EF0774}"/>
                </a:ext>
              </a:extLst>
            </p:cNvPr>
            <p:cNvSpPr txBox="1"/>
            <p:nvPr/>
          </p:nvSpPr>
          <p:spPr>
            <a:xfrm>
              <a:off x="3235004" y="4335550"/>
              <a:ext cx="2100595" cy="1078955"/>
            </a:xfrm>
            <a:prstGeom prst="rect">
              <a:avLst/>
            </a:prstGeom>
            <a:noFill/>
            <a:ln>
              <a:noFill/>
            </a:ln>
          </p:spPr>
          <p:txBody>
            <a:bodyPr spcFirstLastPara="1" wrap="square" lIns="91425" tIns="91425" rIns="91425" bIns="91425" anchor="t" anchorCtr="0">
              <a:noAutofit/>
            </a:bodyPr>
            <a:lstStyle/>
            <a:p>
              <a:pPr algn="ctr">
                <a:lnSpc>
                  <a:spcPts val="1620"/>
                </a:lnSpc>
              </a:pPr>
              <a:r>
                <a:rPr lang="en-IE" sz="2400" b="1" dirty="0">
                  <a:solidFill>
                    <a:srgbClr val="3D8241"/>
                  </a:solidFill>
                  <a:latin typeface="Calibri" panose="020F0502020204030204" pitchFamily="34" charset="0"/>
                  <a:ea typeface="Fira Sans"/>
                  <a:cs typeface="Calibri" panose="020F0502020204030204" pitchFamily="34" charset="0"/>
                  <a:sym typeface="Fira Sans"/>
                </a:rPr>
                <a:t>Action</a:t>
              </a:r>
            </a:p>
          </p:txBody>
        </p:sp>
        <p:sp>
          <p:nvSpPr>
            <p:cNvPr id="86" name="Google Shape;1277;p35">
              <a:extLst>
                <a:ext uri="{FF2B5EF4-FFF2-40B4-BE49-F238E27FC236}">
                  <a16:creationId xmlns:a16="http://schemas.microsoft.com/office/drawing/2014/main" id="{E10AD30D-390C-CF84-D5E6-FCB312BEF94E}"/>
                </a:ext>
              </a:extLst>
            </p:cNvPr>
            <p:cNvSpPr txBox="1"/>
            <p:nvPr/>
          </p:nvSpPr>
          <p:spPr>
            <a:xfrm>
              <a:off x="639776" y="1820804"/>
              <a:ext cx="2451864" cy="1078955"/>
            </a:xfrm>
            <a:prstGeom prst="rect">
              <a:avLst/>
            </a:prstGeom>
            <a:noFill/>
            <a:ln>
              <a:noFill/>
            </a:ln>
          </p:spPr>
          <p:txBody>
            <a:bodyPr spcFirstLastPara="1" wrap="square" lIns="91425" tIns="91425" rIns="91425" bIns="91425" anchor="b" anchorCtr="0">
              <a:noAutofit/>
            </a:bodyPr>
            <a:lstStyle/>
            <a:p>
              <a:pPr algn="ctr">
                <a:lnSpc>
                  <a:spcPts val="1620"/>
                </a:lnSpc>
              </a:pPr>
              <a:r>
                <a:rPr lang="en-IE" sz="2400" b="1" dirty="0">
                  <a:solidFill>
                    <a:srgbClr val="62A844"/>
                  </a:solidFill>
                  <a:latin typeface="Calibri" panose="020F0502020204030204" pitchFamily="34" charset="0"/>
                  <a:ea typeface="Fira Sans"/>
                  <a:cs typeface="Calibri" panose="020F0502020204030204" pitchFamily="34" charset="0"/>
                  <a:sym typeface="Fira Sans"/>
                </a:rPr>
                <a:t>Awareness</a:t>
              </a:r>
            </a:p>
          </p:txBody>
        </p:sp>
        <p:sp>
          <p:nvSpPr>
            <p:cNvPr id="87" name="Google Shape;1287;p35">
              <a:extLst>
                <a:ext uri="{FF2B5EF4-FFF2-40B4-BE49-F238E27FC236}">
                  <a16:creationId xmlns:a16="http://schemas.microsoft.com/office/drawing/2014/main" id="{B2D13C59-9651-C048-C34F-79DA536D0669}"/>
                </a:ext>
              </a:extLst>
            </p:cNvPr>
            <p:cNvSpPr txBox="1"/>
            <p:nvPr/>
          </p:nvSpPr>
          <p:spPr>
            <a:xfrm>
              <a:off x="5450917" y="1820269"/>
              <a:ext cx="2451864" cy="1079491"/>
            </a:xfrm>
            <a:prstGeom prst="rect">
              <a:avLst/>
            </a:prstGeom>
            <a:noFill/>
            <a:ln>
              <a:noFill/>
            </a:ln>
          </p:spPr>
          <p:txBody>
            <a:bodyPr spcFirstLastPara="1" wrap="square" lIns="91425" tIns="91425" rIns="91425" bIns="91425" anchor="b" anchorCtr="0">
              <a:noAutofit/>
            </a:bodyPr>
            <a:lstStyle/>
            <a:p>
              <a:pPr algn="ctr">
                <a:lnSpc>
                  <a:spcPts val="1620"/>
                </a:lnSpc>
              </a:pPr>
              <a:r>
                <a:rPr lang="en-IE" sz="2400" b="1" dirty="0">
                  <a:solidFill>
                    <a:srgbClr val="0289AE"/>
                  </a:solidFill>
                  <a:latin typeface="Calibri" panose="020F0502020204030204" pitchFamily="34" charset="0"/>
                  <a:ea typeface="Fira Sans"/>
                  <a:cs typeface="Calibri" panose="020F0502020204030204" pitchFamily="34" charset="0"/>
                  <a:sym typeface="Fira Sans"/>
                </a:rPr>
                <a:t>Desire</a:t>
              </a:r>
            </a:p>
          </p:txBody>
        </p:sp>
        <p:sp>
          <p:nvSpPr>
            <p:cNvPr id="88" name="Google Shape;1316;p35">
              <a:extLst>
                <a:ext uri="{FF2B5EF4-FFF2-40B4-BE49-F238E27FC236}">
                  <a16:creationId xmlns:a16="http://schemas.microsoft.com/office/drawing/2014/main" id="{40D44A1C-2CA2-FCF6-B5EC-A25108430111}"/>
                </a:ext>
              </a:extLst>
            </p:cNvPr>
            <p:cNvSpPr txBox="1"/>
            <p:nvPr/>
          </p:nvSpPr>
          <p:spPr>
            <a:xfrm>
              <a:off x="7862568" y="4335550"/>
              <a:ext cx="2451864" cy="1079491"/>
            </a:xfrm>
            <a:prstGeom prst="rect">
              <a:avLst/>
            </a:prstGeom>
            <a:noFill/>
            <a:ln>
              <a:noFill/>
            </a:ln>
          </p:spPr>
          <p:txBody>
            <a:bodyPr spcFirstLastPara="1" wrap="square" lIns="91425" tIns="91425" rIns="91425" bIns="91425" anchor="t" anchorCtr="0">
              <a:noAutofit/>
            </a:bodyPr>
            <a:lstStyle/>
            <a:p>
              <a:pPr algn="ctr">
                <a:lnSpc>
                  <a:spcPts val="1620"/>
                </a:lnSpc>
              </a:pPr>
              <a:r>
                <a:rPr lang="en-IE" sz="2400" b="1" dirty="0">
                  <a:solidFill>
                    <a:srgbClr val="06677F"/>
                  </a:solidFill>
                  <a:latin typeface="Calibri" panose="020F0502020204030204" pitchFamily="34" charset="0"/>
                  <a:ea typeface="Fira Sans"/>
                  <a:cs typeface="Calibri" panose="020F0502020204030204" pitchFamily="34" charset="0"/>
                  <a:sym typeface="Fira Sans"/>
                </a:rPr>
                <a:t>Interest</a:t>
              </a:r>
            </a:p>
          </p:txBody>
        </p:sp>
        <p:grpSp>
          <p:nvGrpSpPr>
            <p:cNvPr id="78" name="Google Shape;1267;p35">
              <a:extLst>
                <a:ext uri="{FF2B5EF4-FFF2-40B4-BE49-F238E27FC236}">
                  <a16:creationId xmlns:a16="http://schemas.microsoft.com/office/drawing/2014/main" id="{06C3EE74-FAF7-98D2-86B5-A039B8968DC6}"/>
                </a:ext>
              </a:extLst>
            </p:cNvPr>
            <p:cNvGrpSpPr/>
            <p:nvPr/>
          </p:nvGrpSpPr>
          <p:grpSpPr>
            <a:xfrm flipH="1">
              <a:off x="10304731" y="-178331"/>
              <a:ext cx="2407270" cy="4954398"/>
              <a:chOff x="531450" y="823259"/>
              <a:chExt cx="1346700" cy="2771641"/>
            </a:xfrm>
          </p:grpSpPr>
          <p:sp>
            <p:nvSpPr>
              <p:cNvPr id="79" name="Google Shape;1268;p35">
                <a:extLst>
                  <a:ext uri="{FF2B5EF4-FFF2-40B4-BE49-F238E27FC236}">
                    <a16:creationId xmlns:a16="http://schemas.microsoft.com/office/drawing/2014/main" id="{F1A7B00C-441F-7D90-97B3-6B1286DFFFD3}"/>
                  </a:ext>
                </a:extLst>
              </p:cNvPr>
              <p:cNvSpPr/>
              <p:nvPr/>
            </p:nvSpPr>
            <p:spPr>
              <a:xfrm rot="10800000">
                <a:off x="531450" y="2248200"/>
                <a:ext cx="1346700" cy="1346700"/>
              </a:xfrm>
              <a:prstGeom prst="arc">
                <a:avLst>
                  <a:gd name="adj1" fmla="val 10811050"/>
                  <a:gd name="adj2" fmla="val 0"/>
                </a:avLst>
              </a:prstGeom>
              <a:noFill/>
              <a:ln w="76200" cap="flat" cmpd="sng">
                <a:solidFill>
                  <a:srgbClr val="EABB2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cxnSp>
            <p:nvCxnSpPr>
              <p:cNvPr id="80" name="Google Shape;1269;p35">
                <a:extLst>
                  <a:ext uri="{FF2B5EF4-FFF2-40B4-BE49-F238E27FC236}">
                    <a16:creationId xmlns:a16="http://schemas.microsoft.com/office/drawing/2014/main" id="{F40E2D06-829F-5F12-3963-1037678371E6}"/>
                  </a:ext>
                </a:extLst>
              </p:cNvPr>
              <p:cNvCxnSpPr>
                <a:cxnSpLocks/>
                <a:stCxn id="79" idx="2"/>
              </p:cNvCxnSpPr>
              <p:nvPr/>
            </p:nvCxnSpPr>
            <p:spPr>
              <a:xfrm flipH="1" flipV="1">
                <a:off x="531450" y="823259"/>
                <a:ext cx="0" cy="2098290"/>
              </a:xfrm>
              <a:prstGeom prst="straightConnector1">
                <a:avLst/>
              </a:prstGeom>
              <a:noFill/>
              <a:ln w="76200" cap="flat" cmpd="sng">
                <a:solidFill>
                  <a:srgbClr val="EABB22"/>
                </a:solidFill>
                <a:prstDash val="solid"/>
                <a:round/>
                <a:headEnd type="none" w="med" len="med"/>
                <a:tailEnd type="none" w="med" len="med"/>
              </a:ln>
            </p:spPr>
          </p:cxnSp>
          <p:grpSp>
            <p:nvGrpSpPr>
              <p:cNvPr id="81" name="Google Shape;1270;p35">
                <a:extLst>
                  <a:ext uri="{FF2B5EF4-FFF2-40B4-BE49-F238E27FC236}">
                    <a16:creationId xmlns:a16="http://schemas.microsoft.com/office/drawing/2014/main" id="{E7CCA69C-0BB6-640C-D31F-0ECE4E344F6A}"/>
                  </a:ext>
                </a:extLst>
              </p:cNvPr>
              <p:cNvGrpSpPr/>
              <p:nvPr/>
            </p:nvGrpSpPr>
            <p:grpSpPr>
              <a:xfrm>
                <a:off x="836677" y="2156250"/>
                <a:ext cx="736471" cy="1142036"/>
                <a:chOff x="836677" y="2156250"/>
                <a:chExt cx="736471" cy="1142036"/>
              </a:xfrm>
            </p:grpSpPr>
            <p:cxnSp>
              <p:nvCxnSpPr>
                <p:cNvPr id="82" name="Google Shape;1271;p35">
                  <a:extLst>
                    <a:ext uri="{FF2B5EF4-FFF2-40B4-BE49-F238E27FC236}">
                      <a16:creationId xmlns:a16="http://schemas.microsoft.com/office/drawing/2014/main" id="{3C335451-7F7C-C752-FEF3-59B0DCA2EA2C}"/>
                    </a:ext>
                  </a:extLst>
                </p:cNvPr>
                <p:cNvCxnSpPr/>
                <p:nvPr/>
              </p:nvCxnSpPr>
              <p:spPr>
                <a:xfrm rot="10800000">
                  <a:off x="1200425" y="2156250"/>
                  <a:ext cx="0" cy="289800"/>
                </a:xfrm>
                <a:prstGeom prst="straightConnector1">
                  <a:avLst/>
                </a:prstGeom>
                <a:noFill/>
                <a:ln w="9525" cap="flat" cmpd="sng">
                  <a:solidFill>
                    <a:schemeClr val="dk2"/>
                  </a:solidFill>
                  <a:prstDash val="solid"/>
                  <a:round/>
                  <a:headEnd type="oval" w="med" len="med"/>
                  <a:tailEnd type="oval" w="med" len="med"/>
                </a:ln>
              </p:spPr>
            </p:cxnSp>
            <p:grpSp>
              <p:nvGrpSpPr>
                <p:cNvPr id="83" name="Google Shape;1272;p35">
                  <a:extLst>
                    <a:ext uri="{FF2B5EF4-FFF2-40B4-BE49-F238E27FC236}">
                      <a16:creationId xmlns:a16="http://schemas.microsoft.com/office/drawing/2014/main" id="{3B1BC290-471E-107D-75CA-B5CA6968F7D9}"/>
                    </a:ext>
                  </a:extLst>
                </p:cNvPr>
                <p:cNvGrpSpPr/>
                <p:nvPr/>
              </p:nvGrpSpPr>
              <p:grpSpPr>
                <a:xfrm>
                  <a:off x="836677" y="2561257"/>
                  <a:ext cx="736471" cy="737029"/>
                  <a:chOff x="836677" y="2561257"/>
                  <a:chExt cx="736471" cy="737029"/>
                </a:xfrm>
              </p:grpSpPr>
              <p:sp>
                <p:nvSpPr>
                  <p:cNvPr id="84" name="Google Shape;1273;p35">
                    <a:extLst>
                      <a:ext uri="{FF2B5EF4-FFF2-40B4-BE49-F238E27FC236}">
                        <a16:creationId xmlns:a16="http://schemas.microsoft.com/office/drawing/2014/main" id="{5E7A839C-A1D0-E0C1-34E0-E4B8A5017963}"/>
                      </a:ext>
                    </a:extLst>
                  </p:cNvPr>
                  <p:cNvSpPr/>
                  <p:nvPr/>
                </p:nvSpPr>
                <p:spPr>
                  <a:xfrm>
                    <a:off x="83667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89" name="Google Shape;1274;p35">
                    <a:extLst>
                      <a:ext uri="{FF2B5EF4-FFF2-40B4-BE49-F238E27FC236}">
                        <a16:creationId xmlns:a16="http://schemas.microsoft.com/office/drawing/2014/main" id="{694E2F79-C6B7-18DB-9BD5-BFF161242712}"/>
                      </a:ext>
                    </a:extLst>
                  </p:cNvPr>
                  <p:cNvSpPr/>
                  <p:nvPr/>
                </p:nvSpPr>
                <p:spPr>
                  <a:xfrm>
                    <a:off x="94863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spc="-150" dirty="0">
                      <a:solidFill>
                        <a:schemeClr val="accent1"/>
                      </a:solidFill>
                      <a:latin typeface="Calibri" panose="020F0502020204030204" pitchFamily="34" charset="0"/>
                      <a:ea typeface="Fira Sans"/>
                      <a:cs typeface="Calibri" panose="020F0502020204030204" pitchFamily="34" charset="0"/>
                      <a:sym typeface="Fira Sans"/>
                    </a:endParaRPr>
                  </a:p>
                </p:txBody>
              </p:sp>
            </p:grpSp>
          </p:grpSp>
        </p:grpSp>
        <p:sp>
          <p:nvSpPr>
            <p:cNvPr id="90" name="Google Shape;1277;p35">
              <a:extLst>
                <a:ext uri="{FF2B5EF4-FFF2-40B4-BE49-F238E27FC236}">
                  <a16:creationId xmlns:a16="http://schemas.microsoft.com/office/drawing/2014/main" id="{A85208F9-3286-52F3-2BB0-AA3B26FB4F33}"/>
                </a:ext>
              </a:extLst>
            </p:cNvPr>
            <p:cNvSpPr txBox="1"/>
            <p:nvPr/>
          </p:nvSpPr>
          <p:spPr>
            <a:xfrm>
              <a:off x="10282611" y="1820803"/>
              <a:ext cx="2451864" cy="1078955"/>
            </a:xfrm>
            <a:prstGeom prst="rect">
              <a:avLst/>
            </a:prstGeom>
            <a:noFill/>
            <a:ln>
              <a:noFill/>
            </a:ln>
          </p:spPr>
          <p:txBody>
            <a:bodyPr spcFirstLastPara="1" wrap="square" lIns="91425" tIns="91425" rIns="91425" bIns="91425" anchor="b" anchorCtr="0">
              <a:noAutofit/>
            </a:bodyPr>
            <a:lstStyle/>
            <a:p>
              <a:pPr algn="ctr">
                <a:lnSpc>
                  <a:spcPts val="1620"/>
                </a:lnSpc>
              </a:pPr>
              <a:r>
                <a:rPr lang="en-IE" sz="2400" b="1" dirty="0">
                  <a:solidFill>
                    <a:srgbClr val="EABB22"/>
                  </a:solidFill>
                  <a:latin typeface="Calibri" panose="020F0502020204030204" pitchFamily="34" charset="0"/>
                  <a:ea typeface="Fira Sans"/>
                  <a:cs typeface="Calibri" panose="020F0502020204030204" pitchFamily="34" charset="0"/>
                  <a:sym typeface="Fira Sans"/>
                </a:rPr>
                <a:t>Goals</a:t>
              </a:r>
            </a:p>
          </p:txBody>
        </p:sp>
      </p:grpSp>
      <p:grpSp>
        <p:nvGrpSpPr>
          <p:cNvPr id="98" name="Graphic 2">
            <a:extLst>
              <a:ext uri="{FF2B5EF4-FFF2-40B4-BE49-F238E27FC236}">
                <a16:creationId xmlns:a16="http://schemas.microsoft.com/office/drawing/2014/main" id="{2A0F5915-38EB-8B13-A37B-0708164D56F0}"/>
              </a:ext>
            </a:extLst>
          </p:cNvPr>
          <p:cNvGrpSpPr/>
          <p:nvPr/>
        </p:nvGrpSpPr>
        <p:grpSpPr>
          <a:xfrm>
            <a:off x="1490917" y="3126213"/>
            <a:ext cx="498371" cy="530671"/>
            <a:chOff x="3918554" y="774528"/>
            <a:chExt cx="868197" cy="924466"/>
          </a:xfrm>
          <a:solidFill>
            <a:srgbClr val="62A844"/>
          </a:solidFill>
        </p:grpSpPr>
        <p:sp>
          <p:nvSpPr>
            <p:cNvPr id="104" name="Freeform 103">
              <a:extLst>
                <a:ext uri="{FF2B5EF4-FFF2-40B4-BE49-F238E27FC236}">
                  <a16:creationId xmlns:a16="http://schemas.microsoft.com/office/drawing/2014/main" id="{64CF2D10-6164-3C40-1B56-4CD397D5B159}"/>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5" name="Freeform 104">
              <a:extLst>
                <a:ext uri="{FF2B5EF4-FFF2-40B4-BE49-F238E27FC236}">
                  <a16:creationId xmlns:a16="http://schemas.microsoft.com/office/drawing/2014/main" id="{20C3ECDA-576E-1653-44CA-8825B6DE8830}"/>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09" name="Graphic 2">
            <a:extLst>
              <a:ext uri="{FF2B5EF4-FFF2-40B4-BE49-F238E27FC236}">
                <a16:creationId xmlns:a16="http://schemas.microsoft.com/office/drawing/2014/main" id="{A82C27AB-6E1A-37C2-8A34-9627AF008769}"/>
              </a:ext>
            </a:extLst>
          </p:cNvPr>
          <p:cNvGrpSpPr/>
          <p:nvPr/>
        </p:nvGrpSpPr>
        <p:grpSpPr>
          <a:xfrm>
            <a:off x="3658031" y="3115517"/>
            <a:ext cx="541959" cy="541367"/>
            <a:chOff x="7257599" y="768348"/>
            <a:chExt cx="868457" cy="867509"/>
          </a:xfrm>
          <a:solidFill>
            <a:srgbClr val="3D8241"/>
          </a:solidFill>
        </p:grpSpPr>
        <p:sp>
          <p:nvSpPr>
            <p:cNvPr id="110" name="Freeform 109">
              <a:extLst>
                <a:ext uri="{FF2B5EF4-FFF2-40B4-BE49-F238E27FC236}">
                  <a16:creationId xmlns:a16="http://schemas.microsoft.com/office/drawing/2014/main" id="{69527C6F-33C9-845B-B3F9-F25630B9B4A1}"/>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1" name="Freeform 110">
              <a:extLst>
                <a:ext uri="{FF2B5EF4-FFF2-40B4-BE49-F238E27FC236}">
                  <a16:creationId xmlns:a16="http://schemas.microsoft.com/office/drawing/2014/main" id="{9624D1AD-54FF-BE14-74A2-1078FDA96577}"/>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2" name="Freeform 111">
              <a:extLst>
                <a:ext uri="{FF2B5EF4-FFF2-40B4-BE49-F238E27FC236}">
                  <a16:creationId xmlns:a16="http://schemas.microsoft.com/office/drawing/2014/main" id="{F49CD617-8D39-5FE1-B6EF-40EBFE3B9436}"/>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3" name="Freeform 112">
              <a:extLst>
                <a:ext uri="{FF2B5EF4-FFF2-40B4-BE49-F238E27FC236}">
                  <a16:creationId xmlns:a16="http://schemas.microsoft.com/office/drawing/2014/main" id="{4CAF39D1-E6F5-0446-53FB-21D3D3B096A2}"/>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4" name="Freeform 113">
              <a:extLst>
                <a:ext uri="{FF2B5EF4-FFF2-40B4-BE49-F238E27FC236}">
                  <a16:creationId xmlns:a16="http://schemas.microsoft.com/office/drawing/2014/main" id="{11A9C8F0-AD99-6CB1-2868-DA641FDB24D4}"/>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15" name="Graphic 2">
            <a:extLst>
              <a:ext uri="{FF2B5EF4-FFF2-40B4-BE49-F238E27FC236}">
                <a16:creationId xmlns:a16="http://schemas.microsoft.com/office/drawing/2014/main" id="{0E387D47-C80C-9965-F80B-7668B7C2830B}"/>
              </a:ext>
            </a:extLst>
          </p:cNvPr>
          <p:cNvGrpSpPr/>
          <p:nvPr/>
        </p:nvGrpSpPr>
        <p:grpSpPr>
          <a:xfrm>
            <a:off x="5827779" y="3062284"/>
            <a:ext cx="546131" cy="546503"/>
            <a:chOff x="7211530" y="2382809"/>
            <a:chExt cx="823268" cy="823829"/>
          </a:xfrm>
          <a:solidFill>
            <a:srgbClr val="0289AE"/>
          </a:solidFill>
        </p:grpSpPr>
        <p:sp>
          <p:nvSpPr>
            <p:cNvPr id="116" name="Freeform 115">
              <a:extLst>
                <a:ext uri="{FF2B5EF4-FFF2-40B4-BE49-F238E27FC236}">
                  <a16:creationId xmlns:a16="http://schemas.microsoft.com/office/drawing/2014/main" id="{8E35A5A0-A985-A095-550F-1B74958416CC}"/>
                </a:ext>
              </a:extLst>
            </p:cNvPr>
            <p:cNvSpPr/>
            <p:nvPr/>
          </p:nvSpPr>
          <p:spPr>
            <a:xfrm>
              <a:off x="7288086" y="3064247"/>
              <a:ext cx="32971" cy="32186"/>
            </a:xfrm>
            <a:custGeom>
              <a:avLst/>
              <a:gdLst>
                <a:gd name="connsiteX0" fmla="*/ 4743 w 32971"/>
                <a:gd name="connsiteY0" fmla="*/ 5087 h 32186"/>
                <a:gd name="connsiteX1" fmla="*/ 4743 w 32971"/>
                <a:gd name="connsiteY1" fmla="*/ 27670 h 32186"/>
                <a:gd name="connsiteX2" fmla="*/ 4743 w 32971"/>
                <a:gd name="connsiteY2" fmla="*/ 27670 h 32186"/>
                <a:gd name="connsiteX3" fmla="*/ 16486 w 32971"/>
                <a:gd name="connsiteY3" fmla="*/ 32186 h 32186"/>
                <a:gd name="connsiteX4" fmla="*/ 28229 w 32971"/>
                <a:gd name="connsiteY4" fmla="*/ 27670 h 32186"/>
                <a:gd name="connsiteX5" fmla="*/ 28229 w 32971"/>
                <a:gd name="connsiteY5" fmla="*/ 5087 h 32186"/>
                <a:gd name="connsiteX6" fmla="*/ 4743 w 32971"/>
                <a:gd name="connsiteY6" fmla="*/ 5087 h 3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71" h="32186">
                  <a:moveTo>
                    <a:pt x="4743" y="5087"/>
                  </a:moveTo>
                  <a:cubicBezTo>
                    <a:pt x="-1581" y="11410"/>
                    <a:pt x="-1581" y="21346"/>
                    <a:pt x="4743" y="27670"/>
                  </a:cubicBezTo>
                  <a:lnTo>
                    <a:pt x="4743" y="27670"/>
                  </a:lnTo>
                  <a:cubicBezTo>
                    <a:pt x="7452" y="30380"/>
                    <a:pt x="11969" y="32186"/>
                    <a:pt x="16486" y="32186"/>
                  </a:cubicBezTo>
                  <a:cubicBezTo>
                    <a:pt x="21002" y="32186"/>
                    <a:pt x="24616" y="30380"/>
                    <a:pt x="28229" y="27670"/>
                  </a:cubicBezTo>
                  <a:cubicBezTo>
                    <a:pt x="34552" y="21346"/>
                    <a:pt x="34552" y="10507"/>
                    <a:pt x="28229" y="5087"/>
                  </a:cubicBezTo>
                  <a:cubicBezTo>
                    <a:pt x="21002" y="-2140"/>
                    <a:pt x="11066" y="-1237"/>
                    <a:pt x="4743" y="508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117" name="Graphic 2">
              <a:extLst>
                <a:ext uri="{FF2B5EF4-FFF2-40B4-BE49-F238E27FC236}">
                  <a16:creationId xmlns:a16="http://schemas.microsoft.com/office/drawing/2014/main" id="{7D653EE5-745C-E4C5-04F0-BD23F0F42203}"/>
                </a:ext>
              </a:extLst>
            </p:cNvPr>
            <p:cNvGrpSpPr/>
            <p:nvPr/>
          </p:nvGrpSpPr>
          <p:grpSpPr>
            <a:xfrm>
              <a:off x="7211530" y="2382809"/>
              <a:ext cx="823268" cy="823829"/>
              <a:chOff x="7211530" y="2382809"/>
              <a:chExt cx="823268" cy="823829"/>
            </a:xfrm>
            <a:grpFill/>
          </p:grpSpPr>
          <p:sp>
            <p:nvSpPr>
              <p:cNvPr id="118" name="Freeform 117">
                <a:extLst>
                  <a:ext uri="{FF2B5EF4-FFF2-40B4-BE49-F238E27FC236}">
                    <a16:creationId xmlns:a16="http://schemas.microsoft.com/office/drawing/2014/main" id="{A1367114-2308-80A6-2147-DB7793D8E613}"/>
                  </a:ext>
                </a:extLst>
              </p:cNvPr>
              <p:cNvSpPr/>
              <p:nvPr/>
            </p:nvSpPr>
            <p:spPr>
              <a:xfrm>
                <a:off x="7606281" y="2382809"/>
                <a:ext cx="32519" cy="104785"/>
              </a:xfrm>
              <a:custGeom>
                <a:avLst/>
                <a:gdLst>
                  <a:gd name="connsiteX0" fmla="*/ 16260 w 32519"/>
                  <a:gd name="connsiteY0" fmla="*/ 104786 h 104785"/>
                  <a:gd name="connsiteX1" fmla="*/ 32519 w 32519"/>
                  <a:gd name="connsiteY1" fmla="*/ 88525 h 104785"/>
                  <a:gd name="connsiteX2" fmla="*/ 32519 w 32519"/>
                  <a:gd name="connsiteY2" fmla="*/ 16260 h 104785"/>
                  <a:gd name="connsiteX3" fmla="*/ 16260 w 32519"/>
                  <a:gd name="connsiteY3" fmla="*/ 0 h 104785"/>
                  <a:gd name="connsiteX4" fmla="*/ 0 w 32519"/>
                  <a:gd name="connsiteY4" fmla="*/ 16260 h 104785"/>
                  <a:gd name="connsiteX5" fmla="*/ 0 w 32519"/>
                  <a:gd name="connsiteY5" fmla="*/ 88525 h 104785"/>
                  <a:gd name="connsiteX6" fmla="*/ 16260 w 32519"/>
                  <a:gd name="connsiteY6" fmla="*/ 104786 h 104785"/>
                  <a:gd name="connsiteX7" fmla="*/ 16260 w 32519"/>
                  <a:gd name="connsiteY7" fmla="*/ 104786 h 10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19" h="104785">
                    <a:moveTo>
                      <a:pt x="16260" y="104786"/>
                    </a:moveTo>
                    <a:cubicBezTo>
                      <a:pt x="25293" y="104786"/>
                      <a:pt x="32519" y="97559"/>
                      <a:pt x="32519" y="88525"/>
                    </a:cubicBezTo>
                    <a:lnTo>
                      <a:pt x="32519" y="16260"/>
                    </a:lnTo>
                    <a:cubicBezTo>
                      <a:pt x="32519" y="7226"/>
                      <a:pt x="25293" y="0"/>
                      <a:pt x="16260" y="0"/>
                    </a:cubicBezTo>
                    <a:cubicBezTo>
                      <a:pt x="7226" y="0"/>
                      <a:pt x="0" y="7226"/>
                      <a:pt x="0" y="16260"/>
                    </a:cubicBezTo>
                    <a:lnTo>
                      <a:pt x="0" y="88525"/>
                    </a:lnTo>
                    <a:cubicBezTo>
                      <a:pt x="0" y="97559"/>
                      <a:pt x="7226" y="104786"/>
                      <a:pt x="16260" y="104786"/>
                    </a:cubicBezTo>
                    <a:lnTo>
                      <a:pt x="16260" y="10478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9" name="Freeform 118">
                <a:extLst>
                  <a:ext uri="{FF2B5EF4-FFF2-40B4-BE49-F238E27FC236}">
                    <a16:creationId xmlns:a16="http://schemas.microsoft.com/office/drawing/2014/main" id="{79E864D6-21CE-C13E-70BE-ADD66374B657}"/>
                  </a:ext>
                </a:extLst>
              </p:cNvPr>
              <p:cNvSpPr/>
              <p:nvPr/>
            </p:nvSpPr>
            <p:spPr>
              <a:xfrm>
                <a:off x="7211530" y="2513251"/>
                <a:ext cx="823268" cy="693387"/>
              </a:xfrm>
              <a:custGeom>
                <a:avLst/>
                <a:gdLst>
                  <a:gd name="connsiteX0" fmla="*/ 808473 w 823268"/>
                  <a:gd name="connsiteY0" fmla="*/ 427811 h 693387"/>
                  <a:gd name="connsiteX1" fmla="*/ 779566 w 823268"/>
                  <a:gd name="connsiteY1" fmla="*/ 398905 h 693387"/>
                  <a:gd name="connsiteX2" fmla="*/ 741627 w 823268"/>
                  <a:gd name="connsiteY2" fmla="*/ 382645 h 693387"/>
                  <a:gd name="connsiteX3" fmla="*/ 715431 w 823268"/>
                  <a:gd name="connsiteY3" fmla="*/ 388968 h 693387"/>
                  <a:gd name="connsiteX4" fmla="*/ 661231 w 823268"/>
                  <a:gd name="connsiteY4" fmla="*/ 334769 h 693387"/>
                  <a:gd name="connsiteX5" fmla="*/ 663941 w 823268"/>
                  <a:gd name="connsiteY5" fmla="*/ 332059 h 693387"/>
                  <a:gd name="connsiteX6" fmla="*/ 663941 w 823268"/>
                  <a:gd name="connsiteY6" fmla="*/ 252567 h 693387"/>
                  <a:gd name="connsiteX7" fmla="*/ 635939 w 823268"/>
                  <a:gd name="connsiteY7" fmla="*/ 237210 h 693387"/>
                  <a:gd name="connsiteX8" fmla="*/ 637745 w 823268"/>
                  <a:gd name="connsiteY8" fmla="*/ 220951 h 693387"/>
                  <a:gd name="connsiteX9" fmla="*/ 621485 w 823268"/>
                  <a:gd name="connsiteY9" fmla="*/ 181204 h 693387"/>
                  <a:gd name="connsiteX10" fmla="*/ 593482 w 823268"/>
                  <a:gd name="connsiteY10" fmla="*/ 165848 h 693387"/>
                  <a:gd name="connsiteX11" fmla="*/ 595289 w 823268"/>
                  <a:gd name="connsiteY11" fmla="*/ 149588 h 693387"/>
                  <a:gd name="connsiteX12" fmla="*/ 579029 w 823268"/>
                  <a:gd name="connsiteY12" fmla="*/ 109842 h 693387"/>
                  <a:gd name="connsiteX13" fmla="*/ 551026 w 823268"/>
                  <a:gd name="connsiteY13" fmla="*/ 94486 h 693387"/>
                  <a:gd name="connsiteX14" fmla="*/ 536573 w 823268"/>
                  <a:gd name="connsiteY14" fmla="*/ 38480 h 693387"/>
                  <a:gd name="connsiteX15" fmla="*/ 490503 w 823268"/>
                  <a:gd name="connsiteY15" fmla="*/ 22220 h 693387"/>
                  <a:gd name="connsiteX16" fmla="*/ 383009 w 823268"/>
                  <a:gd name="connsiteY16" fmla="*/ 2347 h 693387"/>
                  <a:gd name="connsiteX17" fmla="*/ 333326 w 823268"/>
                  <a:gd name="connsiteY17" fmla="*/ 8670 h 693387"/>
                  <a:gd name="connsiteX18" fmla="*/ 330616 w 823268"/>
                  <a:gd name="connsiteY18" fmla="*/ 11380 h 693387"/>
                  <a:gd name="connsiteX19" fmla="*/ 270996 w 823268"/>
                  <a:gd name="connsiteY19" fmla="*/ 24027 h 693387"/>
                  <a:gd name="connsiteX20" fmla="*/ 254737 w 823268"/>
                  <a:gd name="connsiteY20" fmla="*/ 63773 h 693387"/>
                  <a:gd name="connsiteX21" fmla="*/ 256544 w 823268"/>
                  <a:gd name="connsiteY21" fmla="*/ 80032 h 693387"/>
                  <a:gd name="connsiteX22" fmla="*/ 228540 w 823268"/>
                  <a:gd name="connsiteY22" fmla="*/ 95389 h 693387"/>
                  <a:gd name="connsiteX23" fmla="*/ 212281 w 823268"/>
                  <a:gd name="connsiteY23" fmla="*/ 135135 h 693387"/>
                  <a:gd name="connsiteX24" fmla="*/ 214087 w 823268"/>
                  <a:gd name="connsiteY24" fmla="*/ 151395 h 693387"/>
                  <a:gd name="connsiteX25" fmla="*/ 186085 w 823268"/>
                  <a:gd name="connsiteY25" fmla="*/ 166751 h 693387"/>
                  <a:gd name="connsiteX26" fmla="*/ 169824 w 823268"/>
                  <a:gd name="connsiteY26" fmla="*/ 206497 h 693387"/>
                  <a:gd name="connsiteX27" fmla="*/ 179761 w 823268"/>
                  <a:gd name="connsiteY27" fmla="*/ 238113 h 693387"/>
                  <a:gd name="connsiteX28" fmla="*/ 158081 w 823268"/>
                  <a:gd name="connsiteY28" fmla="*/ 251663 h 693387"/>
                  <a:gd name="connsiteX29" fmla="*/ 158081 w 823268"/>
                  <a:gd name="connsiteY29" fmla="*/ 331156 h 693387"/>
                  <a:gd name="connsiteX30" fmla="*/ 160791 w 823268"/>
                  <a:gd name="connsiteY30" fmla="*/ 333866 h 693387"/>
                  <a:gd name="connsiteX31" fmla="*/ 106592 w 823268"/>
                  <a:gd name="connsiteY31" fmla="*/ 388065 h 693387"/>
                  <a:gd name="connsiteX32" fmla="*/ 45166 w 823268"/>
                  <a:gd name="connsiteY32" fmla="*/ 398905 h 693387"/>
                  <a:gd name="connsiteX33" fmla="*/ 16260 w 823268"/>
                  <a:gd name="connsiteY33" fmla="*/ 427811 h 693387"/>
                  <a:gd name="connsiteX34" fmla="*/ 0 w 823268"/>
                  <a:gd name="connsiteY34" fmla="*/ 465751 h 693387"/>
                  <a:gd name="connsiteX35" fmla="*/ 16260 w 823268"/>
                  <a:gd name="connsiteY35" fmla="*/ 503690 h 693387"/>
                  <a:gd name="connsiteX36" fmla="*/ 52393 w 823268"/>
                  <a:gd name="connsiteY36" fmla="*/ 539823 h 693387"/>
                  <a:gd name="connsiteX37" fmla="*/ 74976 w 823268"/>
                  <a:gd name="connsiteY37" fmla="*/ 539823 h 693387"/>
                  <a:gd name="connsiteX38" fmla="*/ 74976 w 823268"/>
                  <a:gd name="connsiteY38" fmla="*/ 517240 h 693387"/>
                  <a:gd name="connsiteX39" fmla="*/ 38843 w 823268"/>
                  <a:gd name="connsiteY39" fmla="*/ 481107 h 693387"/>
                  <a:gd name="connsiteX40" fmla="*/ 32520 w 823268"/>
                  <a:gd name="connsiteY40" fmla="*/ 465751 h 693387"/>
                  <a:gd name="connsiteX41" fmla="*/ 38843 w 823268"/>
                  <a:gd name="connsiteY41" fmla="*/ 450394 h 693387"/>
                  <a:gd name="connsiteX42" fmla="*/ 67749 w 823268"/>
                  <a:gd name="connsiteY42" fmla="*/ 421488 h 693387"/>
                  <a:gd name="connsiteX43" fmla="*/ 93946 w 823268"/>
                  <a:gd name="connsiteY43" fmla="*/ 417875 h 693387"/>
                  <a:gd name="connsiteX44" fmla="*/ 95752 w 823268"/>
                  <a:gd name="connsiteY44" fmla="*/ 420585 h 693387"/>
                  <a:gd name="connsiteX45" fmla="*/ 100269 w 823268"/>
                  <a:gd name="connsiteY45" fmla="*/ 424198 h 693387"/>
                  <a:gd name="connsiteX46" fmla="*/ 264673 w 823268"/>
                  <a:gd name="connsiteY46" fmla="*/ 588603 h 693387"/>
                  <a:gd name="connsiteX47" fmla="*/ 268287 w 823268"/>
                  <a:gd name="connsiteY47" fmla="*/ 593119 h 693387"/>
                  <a:gd name="connsiteX48" fmla="*/ 272803 w 823268"/>
                  <a:gd name="connsiteY48" fmla="*/ 596732 h 693387"/>
                  <a:gd name="connsiteX49" fmla="*/ 278223 w 823268"/>
                  <a:gd name="connsiteY49" fmla="*/ 611186 h 693387"/>
                  <a:gd name="connsiteX50" fmla="*/ 271900 w 823268"/>
                  <a:gd name="connsiteY50" fmla="*/ 626542 h 693387"/>
                  <a:gd name="connsiteX51" fmla="*/ 242994 w 823268"/>
                  <a:gd name="connsiteY51" fmla="*/ 655448 h 693387"/>
                  <a:gd name="connsiteX52" fmla="*/ 212281 w 823268"/>
                  <a:gd name="connsiteY52" fmla="*/ 655448 h 693387"/>
                  <a:gd name="connsiteX53" fmla="*/ 176148 w 823268"/>
                  <a:gd name="connsiteY53" fmla="*/ 619315 h 693387"/>
                  <a:gd name="connsiteX54" fmla="*/ 153565 w 823268"/>
                  <a:gd name="connsiteY54" fmla="*/ 619315 h 693387"/>
                  <a:gd name="connsiteX55" fmla="*/ 153565 w 823268"/>
                  <a:gd name="connsiteY55" fmla="*/ 641898 h 693387"/>
                  <a:gd name="connsiteX56" fmla="*/ 189698 w 823268"/>
                  <a:gd name="connsiteY56" fmla="*/ 678031 h 693387"/>
                  <a:gd name="connsiteX57" fmla="*/ 227637 w 823268"/>
                  <a:gd name="connsiteY57" fmla="*/ 693388 h 693387"/>
                  <a:gd name="connsiteX58" fmla="*/ 265577 w 823268"/>
                  <a:gd name="connsiteY58" fmla="*/ 678031 h 693387"/>
                  <a:gd name="connsiteX59" fmla="*/ 294483 w 823268"/>
                  <a:gd name="connsiteY59" fmla="*/ 649125 h 693387"/>
                  <a:gd name="connsiteX60" fmla="*/ 310743 w 823268"/>
                  <a:gd name="connsiteY60" fmla="*/ 611186 h 693387"/>
                  <a:gd name="connsiteX61" fmla="*/ 302613 w 823268"/>
                  <a:gd name="connsiteY61" fmla="*/ 582279 h 693387"/>
                  <a:gd name="connsiteX62" fmla="*/ 363135 w 823268"/>
                  <a:gd name="connsiteY62" fmla="*/ 521757 h 693387"/>
                  <a:gd name="connsiteX63" fmla="*/ 363135 w 823268"/>
                  <a:gd name="connsiteY63" fmla="*/ 521757 h 693387"/>
                  <a:gd name="connsiteX64" fmla="*/ 408301 w 823268"/>
                  <a:gd name="connsiteY64" fmla="*/ 517240 h 693387"/>
                  <a:gd name="connsiteX65" fmla="*/ 450758 w 823268"/>
                  <a:gd name="connsiteY65" fmla="*/ 517240 h 693387"/>
                  <a:gd name="connsiteX66" fmla="*/ 517603 w 823268"/>
                  <a:gd name="connsiteY66" fmla="*/ 584086 h 693387"/>
                  <a:gd name="connsiteX67" fmla="*/ 511280 w 823268"/>
                  <a:gd name="connsiteY67" fmla="*/ 610282 h 693387"/>
                  <a:gd name="connsiteX68" fmla="*/ 527540 w 823268"/>
                  <a:gd name="connsiteY68" fmla="*/ 648222 h 693387"/>
                  <a:gd name="connsiteX69" fmla="*/ 556446 w 823268"/>
                  <a:gd name="connsiteY69" fmla="*/ 677128 h 693387"/>
                  <a:gd name="connsiteX70" fmla="*/ 594385 w 823268"/>
                  <a:gd name="connsiteY70" fmla="*/ 693388 h 693387"/>
                  <a:gd name="connsiteX71" fmla="*/ 632325 w 823268"/>
                  <a:gd name="connsiteY71" fmla="*/ 677128 h 693387"/>
                  <a:gd name="connsiteX72" fmla="*/ 806666 w 823268"/>
                  <a:gd name="connsiteY72" fmla="*/ 502787 h 693387"/>
                  <a:gd name="connsiteX73" fmla="*/ 822926 w 823268"/>
                  <a:gd name="connsiteY73" fmla="*/ 464847 h 693387"/>
                  <a:gd name="connsiteX74" fmla="*/ 808473 w 823268"/>
                  <a:gd name="connsiteY74" fmla="*/ 427811 h 693387"/>
                  <a:gd name="connsiteX75" fmla="*/ 808473 w 823268"/>
                  <a:gd name="connsiteY75" fmla="*/ 427811 h 693387"/>
                  <a:gd name="connsiteX76" fmla="*/ 377588 w 823268"/>
                  <a:gd name="connsiteY76" fmla="*/ 36673 h 693387"/>
                  <a:gd name="connsiteX77" fmla="*/ 448048 w 823268"/>
                  <a:gd name="connsiteY77" fmla="*/ 50223 h 693387"/>
                  <a:gd name="connsiteX78" fmla="*/ 405592 w 823268"/>
                  <a:gd name="connsiteY78" fmla="*/ 92679 h 693387"/>
                  <a:gd name="connsiteX79" fmla="*/ 380299 w 823268"/>
                  <a:gd name="connsiteY79" fmla="*/ 74612 h 693387"/>
                  <a:gd name="connsiteX80" fmla="*/ 356812 w 823268"/>
                  <a:gd name="connsiteY80" fmla="*/ 37577 h 693387"/>
                  <a:gd name="connsiteX81" fmla="*/ 356812 w 823268"/>
                  <a:gd name="connsiteY81" fmla="*/ 37577 h 693387"/>
                  <a:gd name="connsiteX82" fmla="*/ 356812 w 823268"/>
                  <a:gd name="connsiteY82" fmla="*/ 37577 h 693387"/>
                  <a:gd name="connsiteX83" fmla="*/ 356812 w 823268"/>
                  <a:gd name="connsiteY83" fmla="*/ 35770 h 693387"/>
                  <a:gd name="connsiteX84" fmla="*/ 377588 w 823268"/>
                  <a:gd name="connsiteY84" fmla="*/ 36673 h 693387"/>
                  <a:gd name="connsiteX85" fmla="*/ 377588 w 823268"/>
                  <a:gd name="connsiteY85" fmla="*/ 36673 h 693387"/>
                  <a:gd name="connsiteX86" fmla="*/ 294483 w 823268"/>
                  <a:gd name="connsiteY86" fmla="*/ 49320 h 693387"/>
                  <a:gd name="connsiteX87" fmla="*/ 325196 w 823268"/>
                  <a:gd name="connsiteY87" fmla="*/ 46610 h 693387"/>
                  <a:gd name="connsiteX88" fmla="*/ 357716 w 823268"/>
                  <a:gd name="connsiteY88" fmla="*/ 97196 h 693387"/>
                  <a:gd name="connsiteX89" fmla="*/ 404688 w 823268"/>
                  <a:gd name="connsiteY89" fmla="*/ 126102 h 693387"/>
                  <a:gd name="connsiteX90" fmla="*/ 409205 w 823268"/>
                  <a:gd name="connsiteY90" fmla="*/ 139652 h 693387"/>
                  <a:gd name="connsiteX91" fmla="*/ 401978 w 823268"/>
                  <a:gd name="connsiteY91" fmla="*/ 156815 h 693387"/>
                  <a:gd name="connsiteX92" fmla="*/ 384815 w 823268"/>
                  <a:gd name="connsiteY92" fmla="*/ 164042 h 693387"/>
                  <a:gd name="connsiteX93" fmla="*/ 367652 w 823268"/>
                  <a:gd name="connsiteY93" fmla="*/ 156815 h 693387"/>
                  <a:gd name="connsiteX94" fmla="*/ 367652 w 823268"/>
                  <a:gd name="connsiteY94" fmla="*/ 156815 h 693387"/>
                  <a:gd name="connsiteX95" fmla="*/ 367652 w 823268"/>
                  <a:gd name="connsiteY95" fmla="*/ 156815 h 693387"/>
                  <a:gd name="connsiteX96" fmla="*/ 294483 w 823268"/>
                  <a:gd name="connsiteY96" fmla="*/ 83646 h 693387"/>
                  <a:gd name="connsiteX97" fmla="*/ 287256 w 823268"/>
                  <a:gd name="connsiteY97" fmla="*/ 66482 h 693387"/>
                  <a:gd name="connsiteX98" fmla="*/ 294483 w 823268"/>
                  <a:gd name="connsiteY98" fmla="*/ 49320 h 693387"/>
                  <a:gd name="connsiteX99" fmla="*/ 294483 w 823268"/>
                  <a:gd name="connsiteY99" fmla="*/ 49320 h 693387"/>
                  <a:gd name="connsiteX100" fmla="*/ 252027 w 823268"/>
                  <a:gd name="connsiteY100" fmla="*/ 120682 h 693387"/>
                  <a:gd name="connsiteX101" fmla="*/ 269190 w 823268"/>
                  <a:gd name="connsiteY101" fmla="*/ 113455 h 693387"/>
                  <a:gd name="connsiteX102" fmla="*/ 286353 w 823268"/>
                  <a:gd name="connsiteY102" fmla="*/ 120682 h 693387"/>
                  <a:gd name="connsiteX103" fmla="*/ 345069 w 823268"/>
                  <a:gd name="connsiteY103" fmla="*/ 179398 h 693387"/>
                  <a:gd name="connsiteX104" fmla="*/ 345069 w 823268"/>
                  <a:gd name="connsiteY104" fmla="*/ 212821 h 693387"/>
                  <a:gd name="connsiteX105" fmla="*/ 327906 w 823268"/>
                  <a:gd name="connsiteY105" fmla="*/ 220047 h 693387"/>
                  <a:gd name="connsiteX106" fmla="*/ 310743 w 823268"/>
                  <a:gd name="connsiteY106" fmla="*/ 212821 h 693387"/>
                  <a:gd name="connsiteX107" fmla="*/ 310743 w 823268"/>
                  <a:gd name="connsiteY107" fmla="*/ 212821 h 693387"/>
                  <a:gd name="connsiteX108" fmla="*/ 265577 w 823268"/>
                  <a:gd name="connsiteY108" fmla="*/ 167654 h 693387"/>
                  <a:gd name="connsiteX109" fmla="*/ 265577 w 823268"/>
                  <a:gd name="connsiteY109" fmla="*/ 167654 h 693387"/>
                  <a:gd name="connsiteX110" fmla="*/ 251123 w 823268"/>
                  <a:gd name="connsiteY110" fmla="*/ 153202 h 693387"/>
                  <a:gd name="connsiteX111" fmla="*/ 243897 w 823268"/>
                  <a:gd name="connsiteY111" fmla="*/ 136038 h 693387"/>
                  <a:gd name="connsiteX112" fmla="*/ 252027 w 823268"/>
                  <a:gd name="connsiteY112" fmla="*/ 120682 h 693387"/>
                  <a:gd name="connsiteX113" fmla="*/ 252027 w 823268"/>
                  <a:gd name="connsiteY113" fmla="*/ 120682 h 693387"/>
                  <a:gd name="connsiteX114" fmla="*/ 209571 w 823268"/>
                  <a:gd name="connsiteY114" fmla="*/ 191141 h 693387"/>
                  <a:gd name="connsiteX115" fmla="*/ 226734 w 823268"/>
                  <a:gd name="connsiteY115" fmla="*/ 183914 h 693387"/>
                  <a:gd name="connsiteX116" fmla="*/ 243897 w 823268"/>
                  <a:gd name="connsiteY116" fmla="*/ 191141 h 693387"/>
                  <a:gd name="connsiteX117" fmla="*/ 289063 w 823268"/>
                  <a:gd name="connsiteY117" fmla="*/ 236307 h 693387"/>
                  <a:gd name="connsiteX118" fmla="*/ 296289 w 823268"/>
                  <a:gd name="connsiteY118" fmla="*/ 253470 h 693387"/>
                  <a:gd name="connsiteX119" fmla="*/ 289063 w 823268"/>
                  <a:gd name="connsiteY119" fmla="*/ 270633 h 693387"/>
                  <a:gd name="connsiteX120" fmla="*/ 271900 w 823268"/>
                  <a:gd name="connsiteY120" fmla="*/ 277860 h 693387"/>
                  <a:gd name="connsiteX121" fmla="*/ 254737 w 823268"/>
                  <a:gd name="connsiteY121" fmla="*/ 270633 h 693387"/>
                  <a:gd name="connsiteX122" fmla="*/ 238477 w 823268"/>
                  <a:gd name="connsiteY122" fmla="*/ 254374 h 693387"/>
                  <a:gd name="connsiteX123" fmla="*/ 238477 w 823268"/>
                  <a:gd name="connsiteY123" fmla="*/ 254374 h 693387"/>
                  <a:gd name="connsiteX124" fmla="*/ 209571 w 823268"/>
                  <a:gd name="connsiteY124" fmla="*/ 226370 h 693387"/>
                  <a:gd name="connsiteX125" fmla="*/ 202344 w 823268"/>
                  <a:gd name="connsiteY125" fmla="*/ 209208 h 693387"/>
                  <a:gd name="connsiteX126" fmla="*/ 209571 w 823268"/>
                  <a:gd name="connsiteY126" fmla="*/ 191141 h 693387"/>
                  <a:gd name="connsiteX127" fmla="*/ 209571 w 823268"/>
                  <a:gd name="connsiteY127" fmla="*/ 191141 h 693387"/>
                  <a:gd name="connsiteX128" fmla="*/ 181568 w 823268"/>
                  <a:gd name="connsiteY128" fmla="*/ 276957 h 693387"/>
                  <a:gd name="connsiteX129" fmla="*/ 198731 w 823268"/>
                  <a:gd name="connsiteY129" fmla="*/ 269730 h 693387"/>
                  <a:gd name="connsiteX130" fmla="*/ 215894 w 823268"/>
                  <a:gd name="connsiteY130" fmla="*/ 276957 h 693387"/>
                  <a:gd name="connsiteX131" fmla="*/ 232154 w 823268"/>
                  <a:gd name="connsiteY131" fmla="*/ 293216 h 693387"/>
                  <a:gd name="connsiteX132" fmla="*/ 239380 w 823268"/>
                  <a:gd name="connsiteY132" fmla="*/ 310379 h 693387"/>
                  <a:gd name="connsiteX133" fmla="*/ 232154 w 823268"/>
                  <a:gd name="connsiteY133" fmla="*/ 327543 h 693387"/>
                  <a:gd name="connsiteX134" fmla="*/ 214990 w 823268"/>
                  <a:gd name="connsiteY134" fmla="*/ 334769 h 693387"/>
                  <a:gd name="connsiteX135" fmla="*/ 197828 w 823268"/>
                  <a:gd name="connsiteY135" fmla="*/ 327543 h 693387"/>
                  <a:gd name="connsiteX136" fmla="*/ 196021 w 823268"/>
                  <a:gd name="connsiteY136" fmla="*/ 325736 h 693387"/>
                  <a:gd name="connsiteX137" fmla="*/ 196021 w 823268"/>
                  <a:gd name="connsiteY137" fmla="*/ 325736 h 693387"/>
                  <a:gd name="connsiteX138" fmla="*/ 196021 w 823268"/>
                  <a:gd name="connsiteY138" fmla="*/ 325736 h 693387"/>
                  <a:gd name="connsiteX139" fmla="*/ 181568 w 823268"/>
                  <a:gd name="connsiteY139" fmla="*/ 311283 h 693387"/>
                  <a:gd name="connsiteX140" fmla="*/ 181568 w 823268"/>
                  <a:gd name="connsiteY140" fmla="*/ 276957 h 693387"/>
                  <a:gd name="connsiteX141" fmla="*/ 181568 w 823268"/>
                  <a:gd name="connsiteY141" fmla="*/ 276957 h 693387"/>
                  <a:gd name="connsiteX142" fmla="*/ 513086 w 823268"/>
                  <a:gd name="connsiteY142" fmla="*/ 461234 h 693387"/>
                  <a:gd name="connsiteX143" fmla="*/ 490503 w 823268"/>
                  <a:gd name="connsiteY143" fmla="*/ 461234 h 693387"/>
                  <a:gd name="connsiteX144" fmla="*/ 476051 w 823268"/>
                  <a:gd name="connsiteY144" fmla="*/ 475687 h 693387"/>
                  <a:gd name="connsiteX145" fmla="*/ 413721 w 823268"/>
                  <a:gd name="connsiteY145" fmla="*/ 485624 h 693387"/>
                  <a:gd name="connsiteX146" fmla="*/ 343262 w 823268"/>
                  <a:gd name="connsiteY146" fmla="*/ 500077 h 693387"/>
                  <a:gd name="connsiteX147" fmla="*/ 283643 w 823268"/>
                  <a:gd name="connsiteY147" fmla="*/ 559696 h 693387"/>
                  <a:gd name="connsiteX148" fmla="*/ 133691 w 823268"/>
                  <a:gd name="connsiteY148" fmla="*/ 409745 h 693387"/>
                  <a:gd name="connsiteX149" fmla="*/ 186988 w 823268"/>
                  <a:gd name="connsiteY149" fmla="*/ 356449 h 693387"/>
                  <a:gd name="connsiteX150" fmla="*/ 216797 w 823268"/>
                  <a:gd name="connsiteY150" fmla="*/ 364578 h 693387"/>
                  <a:gd name="connsiteX151" fmla="*/ 256544 w 823268"/>
                  <a:gd name="connsiteY151" fmla="*/ 348319 h 693387"/>
                  <a:gd name="connsiteX152" fmla="*/ 272803 w 823268"/>
                  <a:gd name="connsiteY152" fmla="*/ 308573 h 693387"/>
                  <a:gd name="connsiteX153" fmla="*/ 272803 w 823268"/>
                  <a:gd name="connsiteY153" fmla="*/ 308573 h 693387"/>
                  <a:gd name="connsiteX154" fmla="*/ 272803 w 823268"/>
                  <a:gd name="connsiteY154" fmla="*/ 308573 h 693387"/>
                  <a:gd name="connsiteX155" fmla="*/ 312550 w 823268"/>
                  <a:gd name="connsiteY155" fmla="*/ 292313 h 693387"/>
                  <a:gd name="connsiteX156" fmla="*/ 328809 w 823268"/>
                  <a:gd name="connsiteY156" fmla="*/ 252567 h 693387"/>
                  <a:gd name="connsiteX157" fmla="*/ 328809 w 823268"/>
                  <a:gd name="connsiteY157" fmla="*/ 252567 h 693387"/>
                  <a:gd name="connsiteX158" fmla="*/ 328809 w 823268"/>
                  <a:gd name="connsiteY158" fmla="*/ 252567 h 693387"/>
                  <a:gd name="connsiteX159" fmla="*/ 368555 w 823268"/>
                  <a:gd name="connsiteY159" fmla="*/ 236307 h 693387"/>
                  <a:gd name="connsiteX160" fmla="*/ 384815 w 823268"/>
                  <a:gd name="connsiteY160" fmla="*/ 195658 h 693387"/>
                  <a:gd name="connsiteX161" fmla="*/ 384815 w 823268"/>
                  <a:gd name="connsiteY161" fmla="*/ 195658 h 693387"/>
                  <a:gd name="connsiteX162" fmla="*/ 424561 w 823268"/>
                  <a:gd name="connsiteY162" fmla="*/ 179398 h 693387"/>
                  <a:gd name="connsiteX163" fmla="*/ 440821 w 823268"/>
                  <a:gd name="connsiteY163" fmla="*/ 139652 h 693387"/>
                  <a:gd name="connsiteX164" fmla="*/ 432691 w 823268"/>
                  <a:gd name="connsiteY164" fmla="*/ 109842 h 693387"/>
                  <a:gd name="connsiteX165" fmla="*/ 478760 w 823268"/>
                  <a:gd name="connsiteY165" fmla="*/ 63773 h 693387"/>
                  <a:gd name="connsiteX166" fmla="*/ 491407 w 823268"/>
                  <a:gd name="connsiteY166" fmla="*/ 57449 h 693387"/>
                  <a:gd name="connsiteX167" fmla="*/ 493214 w 823268"/>
                  <a:gd name="connsiteY167" fmla="*/ 57449 h 693387"/>
                  <a:gd name="connsiteX168" fmla="*/ 513086 w 823268"/>
                  <a:gd name="connsiteY168" fmla="*/ 63773 h 693387"/>
                  <a:gd name="connsiteX169" fmla="*/ 513086 w 823268"/>
                  <a:gd name="connsiteY169" fmla="*/ 97196 h 693387"/>
                  <a:gd name="connsiteX170" fmla="*/ 498634 w 823268"/>
                  <a:gd name="connsiteY170" fmla="*/ 111648 h 693387"/>
                  <a:gd name="connsiteX171" fmla="*/ 498634 w 823268"/>
                  <a:gd name="connsiteY171" fmla="*/ 111648 h 693387"/>
                  <a:gd name="connsiteX172" fmla="*/ 482374 w 823268"/>
                  <a:gd name="connsiteY172" fmla="*/ 127909 h 693387"/>
                  <a:gd name="connsiteX173" fmla="*/ 482374 w 823268"/>
                  <a:gd name="connsiteY173" fmla="*/ 150492 h 693387"/>
                  <a:gd name="connsiteX174" fmla="*/ 504957 w 823268"/>
                  <a:gd name="connsiteY174" fmla="*/ 150492 h 693387"/>
                  <a:gd name="connsiteX175" fmla="*/ 519410 w 823268"/>
                  <a:gd name="connsiteY175" fmla="*/ 136038 h 693387"/>
                  <a:gd name="connsiteX176" fmla="*/ 519410 w 823268"/>
                  <a:gd name="connsiteY176" fmla="*/ 136038 h 693387"/>
                  <a:gd name="connsiteX177" fmla="*/ 521217 w 823268"/>
                  <a:gd name="connsiteY177" fmla="*/ 134231 h 693387"/>
                  <a:gd name="connsiteX178" fmla="*/ 554640 w 823268"/>
                  <a:gd name="connsiteY178" fmla="*/ 134231 h 693387"/>
                  <a:gd name="connsiteX179" fmla="*/ 561866 w 823268"/>
                  <a:gd name="connsiteY179" fmla="*/ 151395 h 693387"/>
                  <a:gd name="connsiteX180" fmla="*/ 554640 w 823268"/>
                  <a:gd name="connsiteY180" fmla="*/ 168558 h 693387"/>
                  <a:gd name="connsiteX181" fmla="*/ 540186 w 823268"/>
                  <a:gd name="connsiteY181" fmla="*/ 183011 h 693387"/>
                  <a:gd name="connsiteX182" fmla="*/ 540186 w 823268"/>
                  <a:gd name="connsiteY182" fmla="*/ 183011 h 693387"/>
                  <a:gd name="connsiteX183" fmla="*/ 523926 w 823268"/>
                  <a:gd name="connsiteY183" fmla="*/ 199271 h 693387"/>
                  <a:gd name="connsiteX184" fmla="*/ 523926 w 823268"/>
                  <a:gd name="connsiteY184" fmla="*/ 221854 h 693387"/>
                  <a:gd name="connsiteX185" fmla="*/ 546510 w 823268"/>
                  <a:gd name="connsiteY185" fmla="*/ 221854 h 693387"/>
                  <a:gd name="connsiteX186" fmla="*/ 562769 w 823268"/>
                  <a:gd name="connsiteY186" fmla="*/ 205594 h 693387"/>
                  <a:gd name="connsiteX187" fmla="*/ 579933 w 823268"/>
                  <a:gd name="connsiteY187" fmla="*/ 198368 h 693387"/>
                  <a:gd name="connsiteX188" fmla="*/ 597096 w 823268"/>
                  <a:gd name="connsiteY188" fmla="*/ 205594 h 693387"/>
                  <a:gd name="connsiteX189" fmla="*/ 604322 w 823268"/>
                  <a:gd name="connsiteY189" fmla="*/ 222757 h 693387"/>
                  <a:gd name="connsiteX190" fmla="*/ 597096 w 823268"/>
                  <a:gd name="connsiteY190" fmla="*/ 239920 h 693387"/>
                  <a:gd name="connsiteX191" fmla="*/ 569093 w 823268"/>
                  <a:gd name="connsiteY191" fmla="*/ 267924 h 693387"/>
                  <a:gd name="connsiteX192" fmla="*/ 569093 w 823268"/>
                  <a:gd name="connsiteY192" fmla="*/ 290507 h 693387"/>
                  <a:gd name="connsiteX193" fmla="*/ 580836 w 823268"/>
                  <a:gd name="connsiteY193" fmla="*/ 295023 h 693387"/>
                  <a:gd name="connsiteX194" fmla="*/ 592579 w 823268"/>
                  <a:gd name="connsiteY194" fmla="*/ 290507 h 693387"/>
                  <a:gd name="connsiteX195" fmla="*/ 606129 w 823268"/>
                  <a:gd name="connsiteY195" fmla="*/ 276957 h 693387"/>
                  <a:gd name="connsiteX196" fmla="*/ 606129 w 823268"/>
                  <a:gd name="connsiteY196" fmla="*/ 276957 h 693387"/>
                  <a:gd name="connsiteX197" fmla="*/ 623292 w 823268"/>
                  <a:gd name="connsiteY197" fmla="*/ 269730 h 693387"/>
                  <a:gd name="connsiteX198" fmla="*/ 640455 w 823268"/>
                  <a:gd name="connsiteY198" fmla="*/ 276957 h 693387"/>
                  <a:gd name="connsiteX199" fmla="*/ 640455 w 823268"/>
                  <a:gd name="connsiteY199" fmla="*/ 310379 h 693387"/>
                  <a:gd name="connsiteX200" fmla="*/ 626002 w 823268"/>
                  <a:gd name="connsiteY200" fmla="*/ 324833 h 693387"/>
                  <a:gd name="connsiteX201" fmla="*/ 626002 w 823268"/>
                  <a:gd name="connsiteY201" fmla="*/ 324833 h 693387"/>
                  <a:gd name="connsiteX202" fmla="*/ 626002 w 823268"/>
                  <a:gd name="connsiteY202" fmla="*/ 324833 h 693387"/>
                  <a:gd name="connsiteX203" fmla="*/ 603419 w 823268"/>
                  <a:gd name="connsiteY203" fmla="*/ 347416 h 693387"/>
                  <a:gd name="connsiteX204" fmla="*/ 603419 w 823268"/>
                  <a:gd name="connsiteY204" fmla="*/ 369999 h 693387"/>
                  <a:gd name="connsiteX205" fmla="*/ 615162 w 823268"/>
                  <a:gd name="connsiteY205" fmla="*/ 374515 h 693387"/>
                  <a:gd name="connsiteX206" fmla="*/ 626905 w 823268"/>
                  <a:gd name="connsiteY206" fmla="*/ 369999 h 693387"/>
                  <a:gd name="connsiteX207" fmla="*/ 637745 w 823268"/>
                  <a:gd name="connsiteY207" fmla="*/ 359159 h 693387"/>
                  <a:gd name="connsiteX208" fmla="*/ 690138 w 823268"/>
                  <a:gd name="connsiteY208" fmla="*/ 411551 h 693387"/>
                  <a:gd name="connsiteX209" fmla="*/ 540186 w 823268"/>
                  <a:gd name="connsiteY209" fmla="*/ 561503 h 693387"/>
                  <a:gd name="connsiteX210" fmla="*/ 486890 w 823268"/>
                  <a:gd name="connsiteY210" fmla="*/ 508207 h 693387"/>
                  <a:gd name="connsiteX211" fmla="*/ 497730 w 823268"/>
                  <a:gd name="connsiteY211" fmla="*/ 499174 h 693387"/>
                  <a:gd name="connsiteX212" fmla="*/ 512183 w 823268"/>
                  <a:gd name="connsiteY212" fmla="*/ 484721 h 693387"/>
                  <a:gd name="connsiteX213" fmla="*/ 513086 w 823268"/>
                  <a:gd name="connsiteY213" fmla="*/ 461234 h 693387"/>
                  <a:gd name="connsiteX214" fmla="*/ 513086 w 823268"/>
                  <a:gd name="connsiteY214" fmla="*/ 461234 h 693387"/>
                  <a:gd name="connsiteX215" fmla="*/ 785890 w 823268"/>
                  <a:gd name="connsiteY215" fmla="*/ 482010 h 693387"/>
                  <a:gd name="connsiteX216" fmla="*/ 611549 w 823268"/>
                  <a:gd name="connsiteY216" fmla="*/ 656352 h 693387"/>
                  <a:gd name="connsiteX217" fmla="*/ 596192 w 823268"/>
                  <a:gd name="connsiteY217" fmla="*/ 662675 h 693387"/>
                  <a:gd name="connsiteX218" fmla="*/ 580836 w 823268"/>
                  <a:gd name="connsiteY218" fmla="*/ 656352 h 693387"/>
                  <a:gd name="connsiteX219" fmla="*/ 551930 w 823268"/>
                  <a:gd name="connsiteY219" fmla="*/ 627445 h 693387"/>
                  <a:gd name="connsiteX220" fmla="*/ 545606 w 823268"/>
                  <a:gd name="connsiteY220" fmla="*/ 612089 h 693387"/>
                  <a:gd name="connsiteX221" fmla="*/ 551930 w 823268"/>
                  <a:gd name="connsiteY221" fmla="*/ 596732 h 693387"/>
                  <a:gd name="connsiteX222" fmla="*/ 726271 w 823268"/>
                  <a:gd name="connsiteY222" fmla="*/ 422391 h 693387"/>
                  <a:gd name="connsiteX223" fmla="*/ 741627 w 823268"/>
                  <a:gd name="connsiteY223" fmla="*/ 416068 h 693387"/>
                  <a:gd name="connsiteX224" fmla="*/ 756983 w 823268"/>
                  <a:gd name="connsiteY224" fmla="*/ 422391 h 693387"/>
                  <a:gd name="connsiteX225" fmla="*/ 785890 w 823268"/>
                  <a:gd name="connsiteY225" fmla="*/ 451298 h 693387"/>
                  <a:gd name="connsiteX226" fmla="*/ 792213 w 823268"/>
                  <a:gd name="connsiteY226" fmla="*/ 466654 h 693387"/>
                  <a:gd name="connsiteX227" fmla="*/ 785890 w 823268"/>
                  <a:gd name="connsiteY227" fmla="*/ 482010 h 693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823268" h="693387">
                    <a:moveTo>
                      <a:pt x="808473" y="427811"/>
                    </a:moveTo>
                    <a:lnTo>
                      <a:pt x="779566" y="398905"/>
                    </a:lnTo>
                    <a:cubicBezTo>
                      <a:pt x="769630" y="388968"/>
                      <a:pt x="756080" y="382645"/>
                      <a:pt x="741627" y="382645"/>
                    </a:cubicBezTo>
                    <a:cubicBezTo>
                      <a:pt x="732594" y="382645"/>
                      <a:pt x="723561" y="385355"/>
                      <a:pt x="715431" y="388968"/>
                    </a:cubicBezTo>
                    <a:lnTo>
                      <a:pt x="661231" y="334769"/>
                    </a:lnTo>
                    <a:lnTo>
                      <a:pt x="663941" y="332059"/>
                    </a:lnTo>
                    <a:cubicBezTo>
                      <a:pt x="685621" y="310379"/>
                      <a:pt x="685621" y="274246"/>
                      <a:pt x="663941" y="252567"/>
                    </a:cubicBezTo>
                    <a:cubicBezTo>
                      <a:pt x="655812" y="244437"/>
                      <a:pt x="645875" y="239920"/>
                      <a:pt x="635939" y="237210"/>
                    </a:cubicBezTo>
                    <a:cubicBezTo>
                      <a:pt x="637745" y="231791"/>
                      <a:pt x="637745" y="227274"/>
                      <a:pt x="637745" y="220951"/>
                    </a:cubicBezTo>
                    <a:cubicBezTo>
                      <a:pt x="637745" y="205594"/>
                      <a:pt x="632325" y="192044"/>
                      <a:pt x="621485" y="181204"/>
                    </a:cubicBezTo>
                    <a:cubicBezTo>
                      <a:pt x="613356" y="173075"/>
                      <a:pt x="603419" y="168558"/>
                      <a:pt x="593482" y="165848"/>
                    </a:cubicBezTo>
                    <a:cubicBezTo>
                      <a:pt x="595289" y="160428"/>
                      <a:pt x="595289" y="155911"/>
                      <a:pt x="595289" y="149588"/>
                    </a:cubicBezTo>
                    <a:cubicBezTo>
                      <a:pt x="595289" y="134231"/>
                      <a:pt x="589869" y="120682"/>
                      <a:pt x="579029" y="109842"/>
                    </a:cubicBezTo>
                    <a:cubicBezTo>
                      <a:pt x="570899" y="101712"/>
                      <a:pt x="560963" y="96292"/>
                      <a:pt x="551026" y="94486"/>
                    </a:cubicBezTo>
                    <a:cubicBezTo>
                      <a:pt x="556446" y="75516"/>
                      <a:pt x="551930" y="53836"/>
                      <a:pt x="536573" y="38480"/>
                    </a:cubicBezTo>
                    <a:cubicBezTo>
                      <a:pt x="523926" y="25833"/>
                      <a:pt x="506764" y="20413"/>
                      <a:pt x="490503" y="22220"/>
                    </a:cubicBezTo>
                    <a:lnTo>
                      <a:pt x="383009" y="2347"/>
                    </a:lnTo>
                    <a:cubicBezTo>
                      <a:pt x="366749" y="-363"/>
                      <a:pt x="345972" y="-3073"/>
                      <a:pt x="333326" y="8670"/>
                    </a:cubicBezTo>
                    <a:cubicBezTo>
                      <a:pt x="332422" y="9573"/>
                      <a:pt x="331519" y="10477"/>
                      <a:pt x="330616" y="11380"/>
                    </a:cubicBezTo>
                    <a:cubicBezTo>
                      <a:pt x="310743" y="4154"/>
                      <a:pt x="287256" y="8670"/>
                      <a:pt x="270996" y="24027"/>
                    </a:cubicBezTo>
                    <a:cubicBezTo>
                      <a:pt x="260156" y="34866"/>
                      <a:pt x="254737" y="48416"/>
                      <a:pt x="254737" y="63773"/>
                    </a:cubicBezTo>
                    <a:cubicBezTo>
                      <a:pt x="254737" y="69193"/>
                      <a:pt x="255640" y="74612"/>
                      <a:pt x="256544" y="80032"/>
                    </a:cubicBezTo>
                    <a:cubicBezTo>
                      <a:pt x="245704" y="81839"/>
                      <a:pt x="235767" y="87259"/>
                      <a:pt x="228540" y="95389"/>
                    </a:cubicBezTo>
                    <a:cubicBezTo>
                      <a:pt x="217701" y="106229"/>
                      <a:pt x="212281" y="119779"/>
                      <a:pt x="212281" y="135135"/>
                    </a:cubicBezTo>
                    <a:cubicBezTo>
                      <a:pt x="212281" y="140555"/>
                      <a:pt x="213184" y="145975"/>
                      <a:pt x="214087" y="151395"/>
                    </a:cubicBezTo>
                    <a:cubicBezTo>
                      <a:pt x="203247" y="153202"/>
                      <a:pt x="193311" y="158621"/>
                      <a:pt x="186085" y="166751"/>
                    </a:cubicBezTo>
                    <a:cubicBezTo>
                      <a:pt x="175245" y="177591"/>
                      <a:pt x="169824" y="191141"/>
                      <a:pt x="169824" y="206497"/>
                    </a:cubicBezTo>
                    <a:cubicBezTo>
                      <a:pt x="169824" y="218241"/>
                      <a:pt x="173438" y="229080"/>
                      <a:pt x="179761" y="238113"/>
                    </a:cubicBezTo>
                    <a:cubicBezTo>
                      <a:pt x="171631" y="240824"/>
                      <a:pt x="164405" y="245340"/>
                      <a:pt x="158081" y="251663"/>
                    </a:cubicBezTo>
                    <a:cubicBezTo>
                      <a:pt x="136402" y="273343"/>
                      <a:pt x="136402" y="309476"/>
                      <a:pt x="158081" y="331156"/>
                    </a:cubicBezTo>
                    <a:lnTo>
                      <a:pt x="160791" y="333866"/>
                    </a:lnTo>
                    <a:lnTo>
                      <a:pt x="106592" y="388065"/>
                    </a:lnTo>
                    <a:cubicBezTo>
                      <a:pt x="86719" y="379032"/>
                      <a:pt x="61426" y="381742"/>
                      <a:pt x="45166" y="398905"/>
                    </a:cubicBezTo>
                    <a:lnTo>
                      <a:pt x="16260" y="427811"/>
                    </a:lnTo>
                    <a:cubicBezTo>
                      <a:pt x="6323" y="437748"/>
                      <a:pt x="0" y="451298"/>
                      <a:pt x="0" y="465751"/>
                    </a:cubicBezTo>
                    <a:cubicBezTo>
                      <a:pt x="0" y="480204"/>
                      <a:pt x="5420" y="493754"/>
                      <a:pt x="16260" y="503690"/>
                    </a:cubicBezTo>
                    <a:lnTo>
                      <a:pt x="52393" y="539823"/>
                    </a:lnTo>
                    <a:cubicBezTo>
                      <a:pt x="58716" y="546146"/>
                      <a:pt x="68653" y="546146"/>
                      <a:pt x="74976" y="539823"/>
                    </a:cubicBezTo>
                    <a:cubicBezTo>
                      <a:pt x="81299" y="533500"/>
                      <a:pt x="81299" y="523563"/>
                      <a:pt x="74976" y="517240"/>
                    </a:cubicBezTo>
                    <a:lnTo>
                      <a:pt x="38843" y="481107"/>
                    </a:lnTo>
                    <a:cubicBezTo>
                      <a:pt x="34326" y="476591"/>
                      <a:pt x="32520" y="471171"/>
                      <a:pt x="32520" y="465751"/>
                    </a:cubicBezTo>
                    <a:cubicBezTo>
                      <a:pt x="32520" y="460331"/>
                      <a:pt x="34326" y="454911"/>
                      <a:pt x="38843" y="450394"/>
                    </a:cubicBezTo>
                    <a:lnTo>
                      <a:pt x="67749" y="421488"/>
                    </a:lnTo>
                    <a:cubicBezTo>
                      <a:pt x="74976" y="414261"/>
                      <a:pt x="85816" y="413358"/>
                      <a:pt x="93946" y="417875"/>
                    </a:cubicBezTo>
                    <a:cubicBezTo>
                      <a:pt x="94849" y="418778"/>
                      <a:pt x="94849" y="419681"/>
                      <a:pt x="95752" y="420585"/>
                    </a:cubicBezTo>
                    <a:cubicBezTo>
                      <a:pt x="97559" y="422391"/>
                      <a:pt x="98462" y="423294"/>
                      <a:pt x="100269" y="424198"/>
                    </a:cubicBezTo>
                    <a:lnTo>
                      <a:pt x="264673" y="588603"/>
                    </a:lnTo>
                    <a:cubicBezTo>
                      <a:pt x="265577" y="590409"/>
                      <a:pt x="266480" y="592216"/>
                      <a:pt x="268287" y="593119"/>
                    </a:cubicBezTo>
                    <a:cubicBezTo>
                      <a:pt x="270093" y="594925"/>
                      <a:pt x="270996" y="595829"/>
                      <a:pt x="272803" y="596732"/>
                    </a:cubicBezTo>
                    <a:cubicBezTo>
                      <a:pt x="276417" y="600346"/>
                      <a:pt x="278223" y="605765"/>
                      <a:pt x="278223" y="611186"/>
                    </a:cubicBezTo>
                    <a:cubicBezTo>
                      <a:pt x="278223" y="616605"/>
                      <a:pt x="276417" y="622025"/>
                      <a:pt x="271900" y="626542"/>
                    </a:cubicBezTo>
                    <a:lnTo>
                      <a:pt x="242994" y="655448"/>
                    </a:lnTo>
                    <a:cubicBezTo>
                      <a:pt x="234864" y="663578"/>
                      <a:pt x="220411" y="663578"/>
                      <a:pt x="212281" y="655448"/>
                    </a:cubicBezTo>
                    <a:lnTo>
                      <a:pt x="176148" y="619315"/>
                    </a:lnTo>
                    <a:cubicBezTo>
                      <a:pt x="169824" y="612992"/>
                      <a:pt x="159888" y="612992"/>
                      <a:pt x="153565" y="619315"/>
                    </a:cubicBezTo>
                    <a:cubicBezTo>
                      <a:pt x="147241" y="625639"/>
                      <a:pt x="147241" y="635575"/>
                      <a:pt x="153565" y="641898"/>
                    </a:cubicBezTo>
                    <a:lnTo>
                      <a:pt x="189698" y="678031"/>
                    </a:lnTo>
                    <a:cubicBezTo>
                      <a:pt x="200537" y="688871"/>
                      <a:pt x="214087" y="693388"/>
                      <a:pt x="227637" y="693388"/>
                    </a:cubicBezTo>
                    <a:cubicBezTo>
                      <a:pt x="241187" y="693388"/>
                      <a:pt x="255640" y="687968"/>
                      <a:pt x="265577" y="678031"/>
                    </a:cubicBezTo>
                    <a:lnTo>
                      <a:pt x="294483" y="649125"/>
                    </a:lnTo>
                    <a:cubicBezTo>
                      <a:pt x="304419" y="639188"/>
                      <a:pt x="310743" y="625639"/>
                      <a:pt x="310743" y="611186"/>
                    </a:cubicBezTo>
                    <a:cubicBezTo>
                      <a:pt x="310743" y="601249"/>
                      <a:pt x="308033" y="591313"/>
                      <a:pt x="302613" y="582279"/>
                    </a:cubicBezTo>
                    <a:lnTo>
                      <a:pt x="363135" y="521757"/>
                    </a:lnTo>
                    <a:cubicBezTo>
                      <a:pt x="363135" y="521757"/>
                      <a:pt x="363135" y="521757"/>
                      <a:pt x="363135" y="521757"/>
                    </a:cubicBezTo>
                    <a:cubicBezTo>
                      <a:pt x="370362" y="514530"/>
                      <a:pt x="389332" y="516337"/>
                      <a:pt x="408301" y="517240"/>
                    </a:cubicBezTo>
                    <a:cubicBezTo>
                      <a:pt x="421851" y="518143"/>
                      <a:pt x="436304" y="519047"/>
                      <a:pt x="450758" y="517240"/>
                    </a:cubicBezTo>
                    <a:lnTo>
                      <a:pt x="517603" y="584086"/>
                    </a:lnTo>
                    <a:cubicBezTo>
                      <a:pt x="513086" y="592216"/>
                      <a:pt x="511280" y="601249"/>
                      <a:pt x="511280" y="610282"/>
                    </a:cubicBezTo>
                    <a:cubicBezTo>
                      <a:pt x="511280" y="624736"/>
                      <a:pt x="516700" y="638285"/>
                      <a:pt x="527540" y="648222"/>
                    </a:cubicBezTo>
                    <a:lnTo>
                      <a:pt x="556446" y="677128"/>
                    </a:lnTo>
                    <a:cubicBezTo>
                      <a:pt x="566383" y="687064"/>
                      <a:pt x="579933" y="693388"/>
                      <a:pt x="594385" y="693388"/>
                    </a:cubicBezTo>
                    <a:cubicBezTo>
                      <a:pt x="608839" y="693388"/>
                      <a:pt x="622389" y="687968"/>
                      <a:pt x="632325" y="677128"/>
                    </a:cubicBezTo>
                    <a:lnTo>
                      <a:pt x="806666" y="502787"/>
                    </a:lnTo>
                    <a:cubicBezTo>
                      <a:pt x="816603" y="492850"/>
                      <a:pt x="822926" y="479300"/>
                      <a:pt x="822926" y="464847"/>
                    </a:cubicBezTo>
                    <a:cubicBezTo>
                      <a:pt x="824732" y="451298"/>
                      <a:pt x="819313" y="437748"/>
                      <a:pt x="808473" y="427811"/>
                    </a:cubicBezTo>
                    <a:lnTo>
                      <a:pt x="808473" y="427811"/>
                    </a:lnTo>
                    <a:close/>
                    <a:moveTo>
                      <a:pt x="377588" y="36673"/>
                    </a:moveTo>
                    <a:lnTo>
                      <a:pt x="448048" y="50223"/>
                    </a:lnTo>
                    <a:lnTo>
                      <a:pt x="405592" y="92679"/>
                    </a:lnTo>
                    <a:cubicBezTo>
                      <a:pt x="399268" y="89969"/>
                      <a:pt x="390235" y="83646"/>
                      <a:pt x="380299" y="74612"/>
                    </a:cubicBezTo>
                    <a:cubicBezTo>
                      <a:pt x="366749" y="61966"/>
                      <a:pt x="356812" y="46610"/>
                      <a:pt x="356812" y="37577"/>
                    </a:cubicBezTo>
                    <a:cubicBezTo>
                      <a:pt x="356812" y="37577"/>
                      <a:pt x="356812" y="37577"/>
                      <a:pt x="356812" y="37577"/>
                    </a:cubicBezTo>
                    <a:cubicBezTo>
                      <a:pt x="356812" y="37577"/>
                      <a:pt x="356812" y="37577"/>
                      <a:pt x="356812" y="37577"/>
                    </a:cubicBezTo>
                    <a:cubicBezTo>
                      <a:pt x="356812" y="36673"/>
                      <a:pt x="356812" y="36673"/>
                      <a:pt x="356812" y="35770"/>
                    </a:cubicBezTo>
                    <a:cubicBezTo>
                      <a:pt x="358619" y="34866"/>
                      <a:pt x="364038" y="33963"/>
                      <a:pt x="377588" y="36673"/>
                    </a:cubicBezTo>
                    <a:lnTo>
                      <a:pt x="377588" y="36673"/>
                    </a:lnTo>
                    <a:close/>
                    <a:moveTo>
                      <a:pt x="294483" y="49320"/>
                    </a:moveTo>
                    <a:cubicBezTo>
                      <a:pt x="302613" y="41189"/>
                      <a:pt x="315259" y="40286"/>
                      <a:pt x="325196" y="46610"/>
                    </a:cubicBezTo>
                    <a:cubicBezTo>
                      <a:pt x="330616" y="68289"/>
                      <a:pt x="349586" y="89065"/>
                      <a:pt x="357716" y="97196"/>
                    </a:cubicBezTo>
                    <a:cubicBezTo>
                      <a:pt x="364038" y="103519"/>
                      <a:pt x="383912" y="121585"/>
                      <a:pt x="404688" y="126102"/>
                    </a:cubicBezTo>
                    <a:cubicBezTo>
                      <a:pt x="407398" y="129715"/>
                      <a:pt x="409205" y="135135"/>
                      <a:pt x="409205" y="139652"/>
                    </a:cubicBezTo>
                    <a:cubicBezTo>
                      <a:pt x="409205" y="145975"/>
                      <a:pt x="406495" y="152298"/>
                      <a:pt x="401978" y="156815"/>
                    </a:cubicBezTo>
                    <a:cubicBezTo>
                      <a:pt x="397461" y="161331"/>
                      <a:pt x="391138" y="164042"/>
                      <a:pt x="384815" y="164042"/>
                    </a:cubicBezTo>
                    <a:cubicBezTo>
                      <a:pt x="378492" y="164042"/>
                      <a:pt x="372169" y="161331"/>
                      <a:pt x="367652" y="156815"/>
                    </a:cubicBezTo>
                    <a:lnTo>
                      <a:pt x="367652" y="156815"/>
                    </a:lnTo>
                    <a:lnTo>
                      <a:pt x="367652" y="156815"/>
                    </a:lnTo>
                    <a:lnTo>
                      <a:pt x="294483" y="83646"/>
                    </a:lnTo>
                    <a:cubicBezTo>
                      <a:pt x="289967" y="79129"/>
                      <a:pt x="287256" y="72806"/>
                      <a:pt x="287256" y="66482"/>
                    </a:cubicBezTo>
                    <a:cubicBezTo>
                      <a:pt x="288160" y="60160"/>
                      <a:pt x="290870" y="53836"/>
                      <a:pt x="294483" y="49320"/>
                    </a:cubicBezTo>
                    <a:lnTo>
                      <a:pt x="294483" y="49320"/>
                    </a:lnTo>
                    <a:close/>
                    <a:moveTo>
                      <a:pt x="252027" y="120682"/>
                    </a:moveTo>
                    <a:cubicBezTo>
                      <a:pt x="256544" y="116165"/>
                      <a:pt x="262867" y="113455"/>
                      <a:pt x="269190" y="113455"/>
                    </a:cubicBezTo>
                    <a:cubicBezTo>
                      <a:pt x="275513" y="113455"/>
                      <a:pt x="281836" y="116165"/>
                      <a:pt x="286353" y="120682"/>
                    </a:cubicBezTo>
                    <a:lnTo>
                      <a:pt x="345069" y="179398"/>
                    </a:lnTo>
                    <a:cubicBezTo>
                      <a:pt x="354102" y="188431"/>
                      <a:pt x="354102" y="203787"/>
                      <a:pt x="345069" y="212821"/>
                    </a:cubicBezTo>
                    <a:cubicBezTo>
                      <a:pt x="340552" y="217337"/>
                      <a:pt x="334229" y="220047"/>
                      <a:pt x="327906" y="220047"/>
                    </a:cubicBezTo>
                    <a:cubicBezTo>
                      <a:pt x="321583" y="220047"/>
                      <a:pt x="315259" y="217337"/>
                      <a:pt x="310743" y="212821"/>
                    </a:cubicBezTo>
                    <a:lnTo>
                      <a:pt x="310743" y="212821"/>
                    </a:lnTo>
                    <a:lnTo>
                      <a:pt x="265577" y="167654"/>
                    </a:lnTo>
                    <a:cubicBezTo>
                      <a:pt x="265577" y="167654"/>
                      <a:pt x="265577" y="167654"/>
                      <a:pt x="265577" y="167654"/>
                    </a:cubicBezTo>
                    <a:lnTo>
                      <a:pt x="251123" y="153202"/>
                    </a:lnTo>
                    <a:cubicBezTo>
                      <a:pt x="246607" y="148685"/>
                      <a:pt x="243897" y="142362"/>
                      <a:pt x="243897" y="136038"/>
                    </a:cubicBezTo>
                    <a:cubicBezTo>
                      <a:pt x="245704" y="130619"/>
                      <a:pt x="247510" y="125198"/>
                      <a:pt x="252027" y="120682"/>
                    </a:cubicBezTo>
                    <a:lnTo>
                      <a:pt x="252027" y="120682"/>
                    </a:lnTo>
                    <a:close/>
                    <a:moveTo>
                      <a:pt x="209571" y="191141"/>
                    </a:moveTo>
                    <a:cubicBezTo>
                      <a:pt x="214087" y="186625"/>
                      <a:pt x="220411" y="183914"/>
                      <a:pt x="226734" y="183914"/>
                    </a:cubicBezTo>
                    <a:cubicBezTo>
                      <a:pt x="233057" y="183914"/>
                      <a:pt x="239380" y="186625"/>
                      <a:pt x="243897" y="191141"/>
                    </a:cubicBezTo>
                    <a:lnTo>
                      <a:pt x="289063" y="236307"/>
                    </a:lnTo>
                    <a:cubicBezTo>
                      <a:pt x="293579" y="240824"/>
                      <a:pt x="296289" y="247147"/>
                      <a:pt x="296289" y="253470"/>
                    </a:cubicBezTo>
                    <a:cubicBezTo>
                      <a:pt x="296289" y="259793"/>
                      <a:pt x="293579" y="266117"/>
                      <a:pt x="289063" y="270633"/>
                    </a:cubicBezTo>
                    <a:cubicBezTo>
                      <a:pt x="284546" y="275150"/>
                      <a:pt x="278223" y="277860"/>
                      <a:pt x="271900" y="277860"/>
                    </a:cubicBezTo>
                    <a:cubicBezTo>
                      <a:pt x="265577" y="277860"/>
                      <a:pt x="259253" y="275150"/>
                      <a:pt x="254737" y="270633"/>
                    </a:cubicBezTo>
                    <a:lnTo>
                      <a:pt x="238477" y="254374"/>
                    </a:lnTo>
                    <a:cubicBezTo>
                      <a:pt x="238477" y="254374"/>
                      <a:pt x="238477" y="254374"/>
                      <a:pt x="238477" y="254374"/>
                    </a:cubicBezTo>
                    <a:lnTo>
                      <a:pt x="209571" y="226370"/>
                    </a:lnTo>
                    <a:cubicBezTo>
                      <a:pt x="205054" y="221854"/>
                      <a:pt x="202344" y="215530"/>
                      <a:pt x="202344" y="209208"/>
                    </a:cubicBezTo>
                    <a:cubicBezTo>
                      <a:pt x="203247" y="201981"/>
                      <a:pt x="205054" y="195658"/>
                      <a:pt x="209571" y="191141"/>
                    </a:cubicBezTo>
                    <a:lnTo>
                      <a:pt x="209571" y="191141"/>
                    </a:lnTo>
                    <a:close/>
                    <a:moveTo>
                      <a:pt x="181568" y="276957"/>
                    </a:moveTo>
                    <a:cubicBezTo>
                      <a:pt x="186085" y="272440"/>
                      <a:pt x="192407" y="269730"/>
                      <a:pt x="198731" y="269730"/>
                    </a:cubicBezTo>
                    <a:cubicBezTo>
                      <a:pt x="205054" y="269730"/>
                      <a:pt x="211377" y="272440"/>
                      <a:pt x="215894" y="276957"/>
                    </a:cubicBezTo>
                    <a:lnTo>
                      <a:pt x="232154" y="293216"/>
                    </a:lnTo>
                    <a:cubicBezTo>
                      <a:pt x="236670" y="297733"/>
                      <a:pt x="239380" y="304056"/>
                      <a:pt x="239380" y="310379"/>
                    </a:cubicBezTo>
                    <a:cubicBezTo>
                      <a:pt x="239380" y="316703"/>
                      <a:pt x="236670" y="323026"/>
                      <a:pt x="232154" y="327543"/>
                    </a:cubicBezTo>
                    <a:cubicBezTo>
                      <a:pt x="227637" y="332059"/>
                      <a:pt x="221314" y="334769"/>
                      <a:pt x="214990" y="334769"/>
                    </a:cubicBezTo>
                    <a:cubicBezTo>
                      <a:pt x="208668" y="334769"/>
                      <a:pt x="202344" y="332059"/>
                      <a:pt x="197828" y="327543"/>
                    </a:cubicBezTo>
                    <a:lnTo>
                      <a:pt x="196021" y="325736"/>
                    </a:lnTo>
                    <a:cubicBezTo>
                      <a:pt x="196021" y="325736"/>
                      <a:pt x="196021" y="325736"/>
                      <a:pt x="196021" y="325736"/>
                    </a:cubicBezTo>
                    <a:cubicBezTo>
                      <a:pt x="196021" y="325736"/>
                      <a:pt x="196021" y="325736"/>
                      <a:pt x="196021" y="325736"/>
                    </a:cubicBezTo>
                    <a:lnTo>
                      <a:pt x="181568" y="311283"/>
                    </a:lnTo>
                    <a:cubicBezTo>
                      <a:pt x="172535" y="301346"/>
                      <a:pt x="172535" y="285990"/>
                      <a:pt x="181568" y="276957"/>
                    </a:cubicBezTo>
                    <a:lnTo>
                      <a:pt x="181568" y="276957"/>
                    </a:lnTo>
                    <a:close/>
                    <a:moveTo>
                      <a:pt x="513086" y="461234"/>
                    </a:moveTo>
                    <a:cubicBezTo>
                      <a:pt x="506764" y="454911"/>
                      <a:pt x="496827" y="454911"/>
                      <a:pt x="490503" y="461234"/>
                    </a:cubicBezTo>
                    <a:lnTo>
                      <a:pt x="476051" y="475687"/>
                    </a:lnTo>
                    <a:cubicBezTo>
                      <a:pt x="462501" y="489237"/>
                      <a:pt x="437208" y="487431"/>
                      <a:pt x="413721" y="485624"/>
                    </a:cubicBezTo>
                    <a:cubicBezTo>
                      <a:pt x="387525" y="483817"/>
                      <a:pt x="360425" y="482010"/>
                      <a:pt x="343262" y="500077"/>
                    </a:cubicBezTo>
                    <a:lnTo>
                      <a:pt x="283643" y="559696"/>
                    </a:lnTo>
                    <a:lnTo>
                      <a:pt x="133691" y="409745"/>
                    </a:lnTo>
                    <a:lnTo>
                      <a:pt x="186988" y="356449"/>
                    </a:lnTo>
                    <a:cubicBezTo>
                      <a:pt x="196021" y="361869"/>
                      <a:pt x="205957" y="364578"/>
                      <a:pt x="216797" y="364578"/>
                    </a:cubicBezTo>
                    <a:cubicBezTo>
                      <a:pt x="232154" y="364578"/>
                      <a:pt x="245704" y="359159"/>
                      <a:pt x="256544" y="348319"/>
                    </a:cubicBezTo>
                    <a:cubicBezTo>
                      <a:pt x="267383" y="337479"/>
                      <a:pt x="272803" y="323929"/>
                      <a:pt x="272803" y="308573"/>
                    </a:cubicBezTo>
                    <a:cubicBezTo>
                      <a:pt x="272803" y="308573"/>
                      <a:pt x="272803" y="308573"/>
                      <a:pt x="272803" y="308573"/>
                    </a:cubicBezTo>
                    <a:cubicBezTo>
                      <a:pt x="272803" y="308573"/>
                      <a:pt x="272803" y="308573"/>
                      <a:pt x="272803" y="308573"/>
                    </a:cubicBezTo>
                    <a:cubicBezTo>
                      <a:pt x="288160" y="308573"/>
                      <a:pt x="301710" y="303153"/>
                      <a:pt x="312550" y="292313"/>
                    </a:cubicBezTo>
                    <a:cubicBezTo>
                      <a:pt x="323389" y="281473"/>
                      <a:pt x="328809" y="267924"/>
                      <a:pt x="328809" y="252567"/>
                    </a:cubicBezTo>
                    <a:cubicBezTo>
                      <a:pt x="328809" y="252567"/>
                      <a:pt x="328809" y="252567"/>
                      <a:pt x="328809" y="252567"/>
                    </a:cubicBezTo>
                    <a:cubicBezTo>
                      <a:pt x="328809" y="252567"/>
                      <a:pt x="328809" y="252567"/>
                      <a:pt x="328809" y="252567"/>
                    </a:cubicBezTo>
                    <a:cubicBezTo>
                      <a:pt x="344166" y="252567"/>
                      <a:pt x="357716" y="247147"/>
                      <a:pt x="368555" y="236307"/>
                    </a:cubicBezTo>
                    <a:cubicBezTo>
                      <a:pt x="379395" y="225467"/>
                      <a:pt x="384815" y="211014"/>
                      <a:pt x="384815" y="195658"/>
                    </a:cubicBezTo>
                    <a:cubicBezTo>
                      <a:pt x="384815" y="195658"/>
                      <a:pt x="384815" y="195658"/>
                      <a:pt x="384815" y="195658"/>
                    </a:cubicBezTo>
                    <a:cubicBezTo>
                      <a:pt x="400171" y="195658"/>
                      <a:pt x="413721" y="190238"/>
                      <a:pt x="424561" y="179398"/>
                    </a:cubicBezTo>
                    <a:cubicBezTo>
                      <a:pt x="435401" y="168558"/>
                      <a:pt x="440821" y="155008"/>
                      <a:pt x="440821" y="139652"/>
                    </a:cubicBezTo>
                    <a:cubicBezTo>
                      <a:pt x="440821" y="128812"/>
                      <a:pt x="438111" y="118875"/>
                      <a:pt x="432691" y="109842"/>
                    </a:cubicBezTo>
                    <a:lnTo>
                      <a:pt x="478760" y="63773"/>
                    </a:lnTo>
                    <a:cubicBezTo>
                      <a:pt x="482374" y="60160"/>
                      <a:pt x="486890" y="58353"/>
                      <a:pt x="491407" y="57449"/>
                    </a:cubicBezTo>
                    <a:cubicBezTo>
                      <a:pt x="492310" y="57449"/>
                      <a:pt x="492310" y="57449"/>
                      <a:pt x="493214" y="57449"/>
                    </a:cubicBezTo>
                    <a:cubicBezTo>
                      <a:pt x="500440" y="56546"/>
                      <a:pt x="507667" y="58353"/>
                      <a:pt x="513086" y="63773"/>
                    </a:cubicBezTo>
                    <a:cubicBezTo>
                      <a:pt x="522120" y="72806"/>
                      <a:pt x="522120" y="88162"/>
                      <a:pt x="513086" y="97196"/>
                    </a:cubicBezTo>
                    <a:lnTo>
                      <a:pt x="498634" y="111648"/>
                    </a:lnTo>
                    <a:cubicBezTo>
                      <a:pt x="498634" y="111648"/>
                      <a:pt x="498634" y="111648"/>
                      <a:pt x="498634" y="111648"/>
                    </a:cubicBezTo>
                    <a:lnTo>
                      <a:pt x="482374" y="127909"/>
                    </a:lnTo>
                    <a:cubicBezTo>
                      <a:pt x="476051" y="134231"/>
                      <a:pt x="476051" y="144168"/>
                      <a:pt x="482374" y="150492"/>
                    </a:cubicBezTo>
                    <a:cubicBezTo>
                      <a:pt x="488697" y="156815"/>
                      <a:pt x="498634" y="156815"/>
                      <a:pt x="504957" y="150492"/>
                    </a:cubicBezTo>
                    <a:lnTo>
                      <a:pt x="519410" y="136038"/>
                    </a:lnTo>
                    <a:cubicBezTo>
                      <a:pt x="519410" y="136038"/>
                      <a:pt x="519410" y="136038"/>
                      <a:pt x="519410" y="136038"/>
                    </a:cubicBezTo>
                    <a:lnTo>
                      <a:pt x="521217" y="134231"/>
                    </a:lnTo>
                    <a:cubicBezTo>
                      <a:pt x="530250" y="125198"/>
                      <a:pt x="545606" y="125198"/>
                      <a:pt x="554640" y="134231"/>
                    </a:cubicBezTo>
                    <a:cubicBezTo>
                      <a:pt x="559156" y="138748"/>
                      <a:pt x="561866" y="145071"/>
                      <a:pt x="561866" y="151395"/>
                    </a:cubicBezTo>
                    <a:cubicBezTo>
                      <a:pt x="561866" y="157718"/>
                      <a:pt x="559156" y="164042"/>
                      <a:pt x="554640" y="168558"/>
                    </a:cubicBezTo>
                    <a:lnTo>
                      <a:pt x="540186" y="183011"/>
                    </a:lnTo>
                    <a:cubicBezTo>
                      <a:pt x="540186" y="183011"/>
                      <a:pt x="540186" y="183011"/>
                      <a:pt x="540186" y="183011"/>
                    </a:cubicBezTo>
                    <a:lnTo>
                      <a:pt x="523926" y="199271"/>
                    </a:lnTo>
                    <a:cubicBezTo>
                      <a:pt x="517603" y="205594"/>
                      <a:pt x="517603" y="215530"/>
                      <a:pt x="523926" y="221854"/>
                    </a:cubicBezTo>
                    <a:cubicBezTo>
                      <a:pt x="530250" y="228177"/>
                      <a:pt x="540186" y="228177"/>
                      <a:pt x="546510" y="221854"/>
                    </a:cubicBezTo>
                    <a:lnTo>
                      <a:pt x="562769" y="205594"/>
                    </a:lnTo>
                    <a:cubicBezTo>
                      <a:pt x="567286" y="201078"/>
                      <a:pt x="573609" y="198368"/>
                      <a:pt x="579933" y="198368"/>
                    </a:cubicBezTo>
                    <a:cubicBezTo>
                      <a:pt x="586256" y="198368"/>
                      <a:pt x="592579" y="201078"/>
                      <a:pt x="597096" y="205594"/>
                    </a:cubicBezTo>
                    <a:cubicBezTo>
                      <a:pt x="601612" y="210111"/>
                      <a:pt x="604322" y="216434"/>
                      <a:pt x="604322" y="222757"/>
                    </a:cubicBezTo>
                    <a:cubicBezTo>
                      <a:pt x="604322" y="229080"/>
                      <a:pt x="601612" y="235404"/>
                      <a:pt x="597096" y="239920"/>
                    </a:cubicBezTo>
                    <a:lnTo>
                      <a:pt x="569093" y="267924"/>
                    </a:lnTo>
                    <a:cubicBezTo>
                      <a:pt x="562769" y="274246"/>
                      <a:pt x="562769" y="284183"/>
                      <a:pt x="569093" y="290507"/>
                    </a:cubicBezTo>
                    <a:cubicBezTo>
                      <a:pt x="572706" y="294120"/>
                      <a:pt x="576319" y="295023"/>
                      <a:pt x="580836" y="295023"/>
                    </a:cubicBezTo>
                    <a:cubicBezTo>
                      <a:pt x="585352" y="295023"/>
                      <a:pt x="588966" y="293216"/>
                      <a:pt x="592579" y="290507"/>
                    </a:cubicBezTo>
                    <a:lnTo>
                      <a:pt x="606129" y="276957"/>
                    </a:lnTo>
                    <a:cubicBezTo>
                      <a:pt x="606129" y="276957"/>
                      <a:pt x="606129" y="276957"/>
                      <a:pt x="606129" y="276957"/>
                    </a:cubicBezTo>
                    <a:cubicBezTo>
                      <a:pt x="610646" y="272440"/>
                      <a:pt x="616968" y="269730"/>
                      <a:pt x="623292" y="269730"/>
                    </a:cubicBezTo>
                    <a:cubicBezTo>
                      <a:pt x="629615" y="269730"/>
                      <a:pt x="635939" y="272440"/>
                      <a:pt x="640455" y="276957"/>
                    </a:cubicBezTo>
                    <a:cubicBezTo>
                      <a:pt x="649488" y="285990"/>
                      <a:pt x="649488" y="301346"/>
                      <a:pt x="640455" y="310379"/>
                    </a:cubicBezTo>
                    <a:lnTo>
                      <a:pt x="626002" y="324833"/>
                    </a:lnTo>
                    <a:cubicBezTo>
                      <a:pt x="626002" y="324833"/>
                      <a:pt x="626002" y="324833"/>
                      <a:pt x="626002" y="324833"/>
                    </a:cubicBezTo>
                    <a:cubicBezTo>
                      <a:pt x="626002" y="324833"/>
                      <a:pt x="626002" y="324833"/>
                      <a:pt x="626002" y="324833"/>
                    </a:cubicBezTo>
                    <a:lnTo>
                      <a:pt x="603419" y="347416"/>
                    </a:lnTo>
                    <a:cubicBezTo>
                      <a:pt x="597096" y="353739"/>
                      <a:pt x="597096" y="363675"/>
                      <a:pt x="603419" y="369999"/>
                    </a:cubicBezTo>
                    <a:cubicBezTo>
                      <a:pt x="607032" y="373612"/>
                      <a:pt x="610646" y="374515"/>
                      <a:pt x="615162" y="374515"/>
                    </a:cubicBezTo>
                    <a:cubicBezTo>
                      <a:pt x="619679" y="374515"/>
                      <a:pt x="623292" y="372709"/>
                      <a:pt x="626905" y="369999"/>
                    </a:cubicBezTo>
                    <a:lnTo>
                      <a:pt x="637745" y="359159"/>
                    </a:lnTo>
                    <a:lnTo>
                      <a:pt x="690138" y="411551"/>
                    </a:lnTo>
                    <a:lnTo>
                      <a:pt x="540186" y="561503"/>
                    </a:lnTo>
                    <a:lnTo>
                      <a:pt x="486890" y="508207"/>
                    </a:lnTo>
                    <a:cubicBezTo>
                      <a:pt x="490503" y="505497"/>
                      <a:pt x="494117" y="502787"/>
                      <a:pt x="497730" y="499174"/>
                    </a:cubicBezTo>
                    <a:lnTo>
                      <a:pt x="512183" y="484721"/>
                    </a:lnTo>
                    <a:cubicBezTo>
                      <a:pt x="519410" y="478397"/>
                      <a:pt x="519410" y="467557"/>
                      <a:pt x="513086" y="461234"/>
                    </a:cubicBezTo>
                    <a:lnTo>
                      <a:pt x="513086" y="461234"/>
                    </a:lnTo>
                    <a:close/>
                    <a:moveTo>
                      <a:pt x="785890" y="482010"/>
                    </a:moveTo>
                    <a:lnTo>
                      <a:pt x="611549" y="656352"/>
                    </a:lnTo>
                    <a:cubicBezTo>
                      <a:pt x="607032" y="660868"/>
                      <a:pt x="601612" y="662675"/>
                      <a:pt x="596192" y="662675"/>
                    </a:cubicBezTo>
                    <a:cubicBezTo>
                      <a:pt x="590772" y="662675"/>
                      <a:pt x="585352" y="660868"/>
                      <a:pt x="580836" y="656352"/>
                    </a:cubicBezTo>
                    <a:lnTo>
                      <a:pt x="551930" y="627445"/>
                    </a:lnTo>
                    <a:cubicBezTo>
                      <a:pt x="547413" y="623832"/>
                      <a:pt x="545606" y="617508"/>
                      <a:pt x="545606" y="612089"/>
                    </a:cubicBezTo>
                    <a:cubicBezTo>
                      <a:pt x="545606" y="606669"/>
                      <a:pt x="547413" y="601249"/>
                      <a:pt x="551930" y="596732"/>
                    </a:cubicBezTo>
                    <a:lnTo>
                      <a:pt x="726271" y="422391"/>
                    </a:lnTo>
                    <a:cubicBezTo>
                      <a:pt x="730787" y="417875"/>
                      <a:pt x="736207" y="416068"/>
                      <a:pt x="741627" y="416068"/>
                    </a:cubicBezTo>
                    <a:cubicBezTo>
                      <a:pt x="747047" y="416068"/>
                      <a:pt x="752467" y="417875"/>
                      <a:pt x="756983" y="422391"/>
                    </a:cubicBezTo>
                    <a:lnTo>
                      <a:pt x="785890" y="451298"/>
                    </a:lnTo>
                    <a:cubicBezTo>
                      <a:pt x="790406" y="455814"/>
                      <a:pt x="792213" y="461234"/>
                      <a:pt x="792213" y="466654"/>
                    </a:cubicBezTo>
                    <a:cubicBezTo>
                      <a:pt x="792213" y="472074"/>
                      <a:pt x="789503" y="477494"/>
                      <a:pt x="785890" y="4820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0" name="Freeform 119">
                <a:extLst>
                  <a:ext uri="{FF2B5EF4-FFF2-40B4-BE49-F238E27FC236}">
                    <a16:creationId xmlns:a16="http://schemas.microsoft.com/office/drawing/2014/main" id="{E3F6DF1A-8643-7247-6FAC-524722B40A87}"/>
                  </a:ext>
                </a:extLst>
              </p:cNvPr>
              <p:cNvSpPr/>
              <p:nvPr/>
            </p:nvSpPr>
            <p:spPr>
              <a:xfrm>
                <a:off x="7343189" y="2388003"/>
                <a:ext cx="91687" cy="90558"/>
              </a:xfrm>
              <a:custGeom>
                <a:avLst/>
                <a:gdLst>
                  <a:gd name="connsiteX0" fmla="*/ 63458 w 91687"/>
                  <a:gd name="connsiteY0" fmla="*/ 86041 h 90558"/>
                  <a:gd name="connsiteX1" fmla="*/ 75201 w 91687"/>
                  <a:gd name="connsiteY1" fmla="*/ 90558 h 90558"/>
                  <a:gd name="connsiteX2" fmla="*/ 86945 w 91687"/>
                  <a:gd name="connsiteY2" fmla="*/ 86041 h 90558"/>
                  <a:gd name="connsiteX3" fmla="*/ 86945 w 91687"/>
                  <a:gd name="connsiteY3" fmla="*/ 63458 h 90558"/>
                  <a:gd name="connsiteX4" fmla="*/ 27326 w 91687"/>
                  <a:gd name="connsiteY4" fmla="*/ 4743 h 90558"/>
                  <a:gd name="connsiteX5" fmla="*/ 4743 w 91687"/>
                  <a:gd name="connsiteY5" fmla="*/ 4743 h 90558"/>
                  <a:gd name="connsiteX6" fmla="*/ 4743 w 91687"/>
                  <a:gd name="connsiteY6" fmla="*/ 27326 h 90558"/>
                  <a:gd name="connsiteX7" fmla="*/ 63458 w 91687"/>
                  <a:gd name="connsiteY7" fmla="*/ 86041 h 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7" h="90558">
                    <a:moveTo>
                      <a:pt x="63458" y="86041"/>
                    </a:moveTo>
                    <a:cubicBezTo>
                      <a:pt x="67071" y="89654"/>
                      <a:pt x="70685" y="90558"/>
                      <a:pt x="75201" y="90558"/>
                    </a:cubicBezTo>
                    <a:cubicBezTo>
                      <a:pt x="79718" y="90558"/>
                      <a:pt x="83331" y="88751"/>
                      <a:pt x="86945" y="86041"/>
                    </a:cubicBezTo>
                    <a:cubicBezTo>
                      <a:pt x="93268" y="79718"/>
                      <a:pt x="93268" y="69781"/>
                      <a:pt x="86945" y="63458"/>
                    </a:cubicBezTo>
                    <a:lnTo>
                      <a:pt x="27326" y="4743"/>
                    </a:lnTo>
                    <a:cubicBezTo>
                      <a:pt x="21002" y="-1581"/>
                      <a:pt x="11065" y="-1581"/>
                      <a:pt x="4743" y="4743"/>
                    </a:cubicBezTo>
                    <a:cubicBezTo>
                      <a:pt x="-1581" y="11065"/>
                      <a:pt x="-1581" y="21002"/>
                      <a:pt x="4743" y="27326"/>
                    </a:cubicBezTo>
                    <a:lnTo>
                      <a:pt x="63458" y="86041"/>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1" name="Freeform 120">
                <a:extLst>
                  <a:ext uri="{FF2B5EF4-FFF2-40B4-BE49-F238E27FC236}">
                    <a16:creationId xmlns:a16="http://schemas.microsoft.com/office/drawing/2014/main" id="{AE9C8DCF-A05A-6DB2-67DE-8A1E7A66E1D0}"/>
                  </a:ext>
                </a:extLst>
              </p:cNvPr>
              <p:cNvSpPr/>
              <p:nvPr/>
            </p:nvSpPr>
            <p:spPr>
              <a:xfrm>
                <a:off x="7812012" y="2388003"/>
                <a:ext cx="91687" cy="90558"/>
              </a:xfrm>
              <a:custGeom>
                <a:avLst/>
                <a:gdLst>
                  <a:gd name="connsiteX0" fmla="*/ 15582 w 91687"/>
                  <a:gd name="connsiteY0" fmla="*/ 90558 h 90558"/>
                  <a:gd name="connsiteX1" fmla="*/ 27326 w 91687"/>
                  <a:gd name="connsiteY1" fmla="*/ 86041 h 90558"/>
                  <a:gd name="connsiteX2" fmla="*/ 86945 w 91687"/>
                  <a:gd name="connsiteY2" fmla="*/ 27326 h 90558"/>
                  <a:gd name="connsiteX3" fmla="*/ 86945 w 91687"/>
                  <a:gd name="connsiteY3" fmla="*/ 4743 h 90558"/>
                  <a:gd name="connsiteX4" fmla="*/ 64362 w 91687"/>
                  <a:gd name="connsiteY4" fmla="*/ 4743 h 90558"/>
                  <a:gd name="connsiteX5" fmla="*/ 4743 w 91687"/>
                  <a:gd name="connsiteY5" fmla="*/ 63458 h 90558"/>
                  <a:gd name="connsiteX6" fmla="*/ 4743 w 91687"/>
                  <a:gd name="connsiteY6" fmla="*/ 86041 h 90558"/>
                  <a:gd name="connsiteX7" fmla="*/ 15582 w 91687"/>
                  <a:gd name="connsiteY7" fmla="*/ 90558 h 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7" h="90558">
                    <a:moveTo>
                      <a:pt x="15582" y="90558"/>
                    </a:moveTo>
                    <a:cubicBezTo>
                      <a:pt x="20099" y="90558"/>
                      <a:pt x="23713" y="88751"/>
                      <a:pt x="27326" y="86041"/>
                    </a:cubicBezTo>
                    <a:lnTo>
                      <a:pt x="86945" y="27326"/>
                    </a:lnTo>
                    <a:cubicBezTo>
                      <a:pt x="93268" y="21002"/>
                      <a:pt x="93268" y="11065"/>
                      <a:pt x="86945" y="4743"/>
                    </a:cubicBezTo>
                    <a:cubicBezTo>
                      <a:pt x="80622" y="-1581"/>
                      <a:pt x="70685" y="-1581"/>
                      <a:pt x="64362" y="4743"/>
                    </a:cubicBezTo>
                    <a:lnTo>
                      <a:pt x="4743" y="63458"/>
                    </a:lnTo>
                    <a:cubicBezTo>
                      <a:pt x="-1581" y="69781"/>
                      <a:pt x="-1581" y="79718"/>
                      <a:pt x="4743" y="86041"/>
                    </a:cubicBezTo>
                    <a:cubicBezTo>
                      <a:pt x="6549" y="88751"/>
                      <a:pt x="11066" y="90558"/>
                      <a:pt x="15582" y="9055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2" name="Freeform 121">
                <a:extLst>
                  <a:ext uri="{FF2B5EF4-FFF2-40B4-BE49-F238E27FC236}">
                    <a16:creationId xmlns:a16="http://schemas.microsoft.com/office/drawing/2014/main" id="{2206CA83-A5E1-23E5-3500-71CDC5DF1778}"/>
                  </a:ext>
                </a:extLst>
              </p:cNvPr>
              <p:cNvSpPr/>
              <p:nvPr/>
            </p:nvSpPr>
            <p:spPr>
              <a:xfrm>
                <a:off x="7748339" y="2918715"/>
                <a:ext cx="32046" cy="32283"/>
              </a:xfrm>
              <a:custGeom>
                <a:avLst/>
                <a:gdLst>
                  <a:gd name="connsiteX0" fmla="*/ 16023 w 32046"/>
                  <a:gd name="connsiteY0" fmla="*/ 32283 h 32283"/>
                  <a:gd name="connsiteX1" fmla="*/ 23250 w 32046"/>
                  <a:gd name="connsiteY1" fmla="*/ 30477 h 32283"/>
                  <a:gd name="connsiteX2" fmla="*/ 30476 w 32046"/>
                  <a:gd name="connsiteY2" fmla="*/ 8797 h 32283"/>
                  <a:gd name="connsiteX3" fmla="*/ 8797 w 32046"/>
                  <a:gd name="connsiteY3" fmla="*/ 1570 h 32283"/>
                  <a:gd name="connsiteX4" fmla="*/ 8797 w 32046"/>
                  <a:gd name="connsiteY4" fmla="*/ 1570 h 32283"/>
                  <a:gd name="connsiteX5" fmla="*/ 1570 w 32046"/>
                  <a:gd name="connsiteY5" fmla="*/ 23250 h 32283"/>
                  <a:gd name="connsiteX6" fmla="*/ 16023 w 32046"/>
                  <a:gd name="connsiteY6" fmla="*/ 32283 h 32283"/>
                  <a:gd name="connsiteX7" fmla="*/ 16023 w 32046"/>
                  <a:gd name="connsiteY7" fmla="*/ 32283 h 3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046" h="32283">
                    <a:moveTo>
                      <a:pt x="16023" y="32283"/>
                    </a:moveTo>
                    <a:cubicBezTo>
                      <a:pt x="18733" y="32283"/>
                      <a:pt x="21443" y="31380"/>
                      <a:pt x="23250" y="30477"/>
                    </a:cubicBezTo>
                    <a:cubicBezTo>
                      <a:pt x="31380" y="26863"/>
                      <a:pt x="34090" y="16927"/>
                      <a:pt x="30476" y="8797"/>
                    </a:cubicBezTo>
                    <a:cubicBezTo>
                      <a:pt x="26863" y="667"/>
                      <a:pt x="16926" y="-2043"/>
                      <a:pt x="8797" y="1570"/>
                    </a:cubicBezTo>
                    <a:lnTo>
                      <a:pt x="8797" y="1570"/>
                    </a:lnTo>
                    <a:cubicBezTo>
                      <a:pt x="667" y="5184"/>
                      <a:pt x="-2043" y="15120"/>
                      <a:pt x="1570" y="23250"/>
                    </a:cubicBezTo>
                    <a:cubicBezTo>
                      <a:pt x="4280" y="29573"/>
                      <a:pt x="9700" y="32283"/>
                      <a:pt x="16023" y="32283"/>
                    </a:cubicBezTo>
                    <a:lnTo>
                      <a:pt x="16023" y="3228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125" name="Graphic 2">
            <a:extLst>
              <a:ext uri="{FF2B5EF4-FFF2-40B4-BE49-F238E27FC236}">
                <a16:creationId xmlns:a16="http://schemas.microsoft.com/office/drawing/2014/main" id="{1857F5B4-6F7B-4AC1-AD08-957ED2A061F9}"/>
              </a:ext>
            </a:extLst>
          </p:cNvPr>
          <p:cNvGrpSpPr/>
          <p:nvPr/>
        </p:nvGrpSpPr>
        <p:grpSpPr>
          <a:xfrm>
            <a:off x="8074355" y="3115517"/>
            <a:ext cx="440703" cy="508911"/>
            <a:chOff x="8823055" y="3850915"/>
            <a:chExt cx="751563" cy="867883"/>
          </a:xfrm>
          <a:solidFill>
            <a:srgbClr val="06677F"/>
          </a:solidFill>
        </p:grpSpPr>
        <p:sp>
          <p:nvSpPr>
            <p:cNvPr id="126" name="Freeform 125">
              <a:extLst>
                <a:ext uri="{FF2B5EF4-FFF2-40B4-BE49-F238E27FC236}">
                  <a16:creationId xmlns:a16="http://schemas.microsoft.com/office/drawing/2014/main" id="{A9A1C248-E46C-3822-F839-3E175F868575}"/>
                </a:ext>
              </a:extLst>
            </p:cNvPr>
            <p:cNvSpPr/>
            <p:nvPr/>
          </p:nvSpPr>
          <p:spPr>
            <a:xfrm>
              <a:off x="9444540" y="4039501"/>
              <a:ext cx="72265" cy="28906"/>
            </a:xfrm>
            <a:custGeom>
              <a:avLst/>
              <a:gdLst>
                <a:gd name="connsiteX0" fmla="*/ 57813 w 72265"/>
                <a:gd name="connsiteY0" fmla="*/ 28906 h 28906"/>
                <a:gd name="connsiteX1" fmla="*/ 14453 w 72265"/>
                <a:gd name="connsiteY1" fmla="*/ 28906 h 28906"/>
                <a:gd name="connsiteX2" fmla="*/ 0 w 72265"/>
                <a:gd name="connsiteY2" fmla="*/ 14453 h 28906"/>
                <a:gd name="connsiteX3" fmla="*/ 14453 w 72265"/>
                <a:gd name="connsiteY3" fmla="*/ 0 h 28906"/>
                <a:gd name="connsiteX4" fmla="*/ 57813 w 72265"/>
                <a:gd name="connsiteY4" fmla="*/ 0 h 28906"/>
                <a:gd name="connsiteX5" fmla="*/ 72266 w 72265"/>
                <a:gd name="connsiteY5" fmla="*/ 14453 h 28906"/>
                <a:gd name="connsiteX6" fmla="*/ 57813 w 72265"/>
                <a:gd name="connsiteY6" fmla="*/ 28906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265" h="28906">
                  <a:moveTo>
                    <a:pt x="57813" y="28906"/>
                  </a:moveTo>
                  <a:lnTo>
                    <a:pt x="14453" y="28906"/>
                  </a:lnTo>
                  <a:cubicBezTo>
                    <a:pt x="6323" y="28906"/>
                    <a:pt x="0" y="22583"/>
                    <a:pt x="0" y="14453"/>
                  </a:cubicBezTo>
                  <a:cubicBezTo>
                    <a:pt x="0" y="6323"/>
                    <a:pt x="6323" y="0"/>
                    <a:pt x="14453" y="0"/>
                  </a:cubicBezTo>
                  <a:lnTo>
                    <a:pt x="57813" y="0"/>
                  </a:lnTo>
                  <a:cubicBezTo>
                    <a:pt x="65942" y="0"/>
                    <a:pt x="72266" y="6323"/>
                    <a:pt x="72266" y="14453"/>
                  </a:cubicBezTo>
                  <a:cubicBezTo>
                    <a:pt x="72266" y="22583"/>
                    <a:pt x="65942" y="28906"/>
                    <a:pt x="5781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7" name="Freeform 126">
              <a:extLst>
                <a:ext uri="{FF2B5EF4-FFF2-40B4-BE49-F238E27FC236}">
                  <a16:creationId xmlns:a16="http://schemas.microsoft.com/office/drawing/2014/main" id="{D0A3D4B4-E493-B45C-B647-AC26EED69198}"/>
                </a:ext>
              </a:extLst>
            </p:cNvPr>
            <p:cNvSpPr/>
            <p:nvPr/>
          </p:nvSpPr>
          <p:spPr>
            <a:xfrm>
              <a:off x="9413827" y="3902196"/>
              <a:ext cx="66846" cy="50585"/>
            </a:xfrm>
            <a:custGeom>
              <a:avLst/>
              <a:gdLst>
                <a:gd name="connsiteX0" fmla="*/ 14453 w 66846"/>
                <a:gd name="connsiteY0" fmla="*/ 50586 h 50585"/>
                <a:gd name="connsiteX1" fmla="*/ 0 w 66846"/>
                <a:gd name="connsiteY1" fmla="*/ 36133 h 50585"/>
                <a:gd name="connsiteX2" fmla="*/ 7227 w 66846"/>
                <a:gd name="connsiteY2" fmla="*/ 23486 h 50585"/>
                <a:gd name="connsiteX3" fmla="*/ 45166 w 66846"/>
                <a:gd name="connsiteY3" fmla="*/ 1807 h 50585"/>
                <a:gd name="connsiteX4" fmla="*/ 65039 w 66846"/>
                <a:gd name="connsiteY4" fmla="*/ 7226 h 50585"/>
                <a:gd name="connsiteX5" fmla="*/ 59620 w 66846"/>
                <a:gd name="connsiteY5" fmla="*/ 27100 h 50585"/>
                <a:gd name="connsiteX6" fmla="*/ 21680 w 66846"/>
                <a:gd name="connsiteY6" fmla="*/ 48780 h 50585"/>
                <a:gd name="connsiteX7" fmla="*/ 14453 w 66846"/>
                <a:gd name="connsiteY7" fmla="*/ 50586 h 5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846" h="50585">
                  <a:moveTo>
                    <a:pt x="14453" y="50586"/>
                  </a:moveTo>
                  <a:cubicBezTo>
                    <a:pt x="6323" y="50586"/>
                    <a:pt x="0" y="44263"/>
                    <a:pt x="0" y="36133"/>
                  </a:cubicBezTo>
                  <a:cubicBezTo>
                    <a:pt x="0" y="30713"/>
                    <a:pt x="2710" y="26197"/>
                    <a:pt x="7227" y="23486"/>
                  </a:cubicBezTo>
                  <a:lnTo>
                    <a:pt x="45166" y="1807"/>
                  </a:lnTo>
                  <a:cubicBezTo>
                    <a:pt x="52393" y="-1807"/>
                    <a:pt x="60523" y="0"/>
                    <a:pt x="65039" y="7226"/>
                  </a:cubicBezTo>
                  <a:cubicBezTo>
                    <a:pt x="68653" y="14453"/>
                    <a:pt x="66846" y="22583"/>
                    <a:pt x="59620" y="27100"/>
                  </a:cubicBezTo>
                  <a:lnTo>
                    <a:pt x="21680" y="48780"/>
                  </a:lnTo>
                  <a:cubicBezTo>
                    <a:pt x="19873" y="49683"/>
                    <a:pt x="17163" y="50586"/>
                    <a:pt x="14453" y="5058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8" name="Freeform 127">
              <a:extLst>
                <a:ext uri="{FF2B5EF4-FFF2-40B4-BE49-F238E27FC236}">
                  <a16:creationId xmlns:a16="http://schemas.microsoft.com/office/drawing/2014/main" id="{34812DE7-64C5-D073-D661-AC0D60B029DD}"/>
                </a:ext>
              </a:extLst>
            </p:cNvPr>
            <p:cNvSpPr/>
            <p:nvPr/>
          </p:nvSpPr>
          <p:spPr>
            <a:xfrm>
              <a:off x="8880867" y="4039501"/>
              <a:ext cx="72265" cy="28906"/>
            </a:xfrm>
            <a:custGeom>
              <a:avLst/>
              <a:gdLst>
                <a:gd name="connsiteX0" fmla="*/ 57813 w 72265"/>
                <a:gd name="connsiteY0" fmla="*/ 28906 h 28906"/>
                <a:gd name="connsiteX1" fmla="*/ 14453 w 72265"/>
                <a:gd name="connsiteY1" fmla="*/ 28906 h 28906"/>
                <a:gd name="connsiteX2" fmla="*/ 0 w 72265"/>
                <a:gd name="connsiteY2" fmla="*/ 14453 h 28906"/>
                <a:gd name="connsiteX3" fmla="*/ 14453 w 72265"/>
                <a:gd name="connsiteY3" fmla="*/ 0 h 28906"/>
                <a:gd name="connsiteX4" fmla="*/ 57813 w 72265"/>
                <a:gd name="connsiteY4" fmla="*/ 0 h 28906"/>
                <a:gd name="connsiteX5" fmla="*/ 72266 w 72265"/>
                <a:gd name="connsiteY5" fmla="*/ 14453 h 28906"/>
                <a:gd name="connsiteX6" fmla="*/ 57813 w 72265"/>
                <a:gd name="connsiteY6" fmla="*/ 28906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265" h="28906">
                  <a:moveTo>
                    <a:pt x="57813" y="28906"/>
                  </a:moveTo>
                  <a:lnTo>
                    <a:pt x="14453" y="28906"/>
                  </a:lnTo>
                  <a:cubicBezTo>
                    <a:pt x="6323" y="28906"/>
                    <a:pt x="0" y="22583"/>
                    <a:pt x="0" y="14453"/>
                  </a:cubicBezTo>
                  <a:cubicBezTo>
                    <a:pt x="0" y="6323"/>
                    <a:pt x="6323" y="0"/>
                    <a:pt x="14453" y="0"/>
                  </a:cubicBezTo>
                  <a:lnTo>
                    <a:pt x="57813" y="0"/>
                  </a:lnTo>
                  <a:cubicBezTo>
                    <a:pt x="65943" y="0"/>
                    <a:pt x="72266" y="6323"/>
                    <a:pt x="72266" y="14453"/>
                  </a:cubicBezTo>
                  <a:cubicBezTo>
                    <a:pt x="72266" y="22583"/>
                    <a:pt x="65943" y="28906"/>
                    <a:pt x="5781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9" name="Freeform 128">
              <a:extLst>
                <a:ext uri="{FF2B5EF4-FFF2-40B4-BE49-F238E27FC236}">
                  <a16:creationId xmlns:a16="http://schemas.microsoft.com/office/drawing/2014/main" id="{F9C65624-CB64-BBEF-1404-92CD5111EE95}"/>
                </a:ext>
              </a:extLst>
            </p:cNvPr>
            <p:cNvSpPr/>
            <p:nvPr/>
          </p:nvSpPr>
          <p:spPr>
            <a:xfrm>
              <a:off x="8917904" y="3902196"/>
              <a:ext cx="66845" cy="50585"/>
            </a:xfrm>
            <a:custGeom>
              <a:avLst/>
              <a:gdLst>
                <a:gd name="connsiteX0" fmla="*/ 52393 w 66845"/>
                <a:gd name="connsiteY0" fmla="*/ 50586 h 50585"/>
                <a:gd name="connsiteX1" fmla="*/ 45166 w 66845"/>
                <a:gd name="connsiteY1" fmla="*/ 48780 h 50585"/>
                <a:gd name="connsiteX2" fmla="*/ 7226 w 66845"/>
                <a:gd name="connsiteY2" fmla="*/ 27100 h 50585"/>
                <a:gd name="connsiteX3" fmla="*/ 1807 w 66845"/>
                <a:gd name="connsiteY3" fmla="*/ 7226 h 50585"/>
                <a:gd name="connsiteX4" fmla="*/ 21679 w 66845"/>
                <a:gd name="connsiteY4" fmla="*/ 1807 h 50585"/>
                <a:gd name="connsiteX5" fmla="*/ 59619 w 66845"/>
                <a:gd name="connsiteY5" fmla="*/ 23486 h 50585"/>
                <a:gd name="connsiteX6" fmla="*/ 65039 w 66845"/>
                <a:gd name="connsiteY6" fmla="*/ 43359 h 50585"/>
                <a:gd name="connsiteX7" fmla="*/ 52393 w 66845"/>
                <a:gd name="connsiteY7" fmla="*/ 50586 h 5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845" h="50585">
                  <a:moveTo>
                    <a:pt x="52393" y="50586"/>
                  </a:moveTo>
                  <a:cubicBezTo>
                    <a:pt x="49683" y="50586"/>
                    <a:pt x="46973" y="49683"/>
                    <a:pt x="45166" y="48780"/>
                  </a:cubicBezTo>
                  <a:lnTo>
                    <a:pt x="7226" y="27100"/>
                  </a:lnTo>
                  <a:cubicBezTo>
                    <a:pt x="0" y="23486"/>
                    <a:pt x="-1807" y="14453"/>
                    <a:pt x="1807" y="7226"/>
                  </a:cubicBezTo>
                  <a:cubicBezTo>
                    <a:pt x="5420" y="0"/>
                    <a:pt x="14453" y="-1807"/>
                    <a:pt x="21679" y="1807"/>
                  </a:cubicBezTo>
                  <a:lnTo>
                    <a:pt x="59619" y="23486"/>
                  </a:lnTo>
                  <a:cubicBezTo>
                    <a:pt x="66845" y="27100"/>
                    <a:pt x="68652" y="36133"/>
                    <a:pt x="65039" y="43359"/>
                  </a:cubicBezTo>
                  <a:cubicBezTo>
                    <a:pt x="62329" y="47876"/>
                    <a:pt x="56909" y="50586"/>
                    <a:pt x="52393" y="5058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0" name="Freeform 129">
              <a:extLst>
                <a:ext uri="{FF2B5EF4-FFF2-40B4-BE49-F238E27FC236}">
                  <a16:creationId xmlns:a16="http://schemas.microsoft.com/office/drawing/2014/main" id="{0CC18DC9-83FA-4584-4687-62B834D062ED}"/>
                </a:ext>
              </a:extLst>
            </p:cNvPr>
            <p:cNvSpPr/>
            <p:nvPr/>
          </p:nvSpPr>
          <p:spPr>
            <a:xfrm>
              <a:off x="8917904" y="4155126"/>
              <a:ext cx="66845" cy="50585"/>
            </a:xfrm>
            <a:custGeom>
              <a:avLst/>
              <a:gdLst>
                <a:gd name="connsiteX0" fmla="*/ 14453 w 66845"/>
                <a:gd name="connsiteY0" fmla="*/ 50586 h 50585"/>
                <a:gd name="connsiteX1" fmla="*/ 0 w 66845"/>
                <a:gd name="connsiteY1" fmla="*/ 36133 h 50585"/>
                <a:gd name="connsiteX2" fmla="*/ 7226 w 66845"/>
                <a:gd name="connsiteY2" fmla="*/ 23486 h 50585"/>
                <a:gd name="connsiteX3" fmla="*/ 45166 w 66845"/>
                <a:gd name="connsiteY3" fmla="*/ 1807 h 50585"/>
                <a:gd name="connsiteX4" fmla="*/ 65039 w 66845"/>
                <a:gd name="connsiteY4" fmla="*/ 7226 h 50585"/>
                <a:gd name="connsiteX5" fmla="*/ 59619 w 66845"/>
                <a:gd name="connsiteY5" fmla="*/ 27100 h 50585"/>
                <a:gd name="connsiteX6" fmla="*/ 21679 w 66845"/>
                <a:gd name="connsiteY6" fmla="*/ 48780 h 50585"/>
                <a:gd name="connsiteX7" fmla="*/ 14453 w 66845"/>
                <a:gd name="connsiteY7" fmla="*/ 50586 h 5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845" h="50585">
                  <a:moveTo>
                    <a:pt x="14453" y="50586"/>
                  </a:moveTo>
                  <a:cubicBezTo>
                    <a:pt x="6323" y="50586"/>
                    <a:pt x="0" y="44263"/>
                    <a:pt x="0" y="36133"/>
                  </a:cubicBezTo>
                  <a:cubicBezTo>
                    <a:pt x="0" y="30713"/>
                    <a:pt x="2710" y="26197"/>
                    <a:pt x="7226" y="23486"/>
                  </a:cubicBezTo>
                  <a:lnTo>
                    <a:pt x="45166" y="1807"/>
                  </a:lnTo>
                  <a:cubicBezTo>
                    <a:pt x="52393" y="-1807"/>
                    <a:pt x="60523" y="0"/>
                    <a:pt x="65039" y="7226"/>
                  </a:cubicBezTo>
                  <a:cubicBezTo>
                    <a:pt x="68652" y="14453"/>
                    <a:pt x="66845" y="22583"/>
                    <a:pt x="59619" y="27100"/>
                  </a:cubicBezTo>
                  <a:lnTo>
                    <a:pt x="21679" y="48780"/>
                  </a:lnTo>
                  <a:cubicBezTo>
                    <a:pt x="19873" y="49683"/>
                    <a:pt x="17163" y="50586"/>
                    <a:pt x="14453" y="5058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1" name="Freeform 130">
              <a:extLst>
                <a:ext uri="{FF2B5EF4-FFF2-40B4-BE49-F238E27FC236}">
                  <a16:creationId xmlns:a16="http://schemas.microsoft.com/office/drawing/2014/main" id="{0EAB7534-D727-2B6D-0292-217EAA97FDBF}"/>
                </a:ext>
              </a:extLst>
            </p:cNvPr>
            <p:cNvSpPr/>
            <p:nvPr/>
          </p:nvSpPr>
          <p:spPr>
            <a:xfrm>
              <a:off x="9213290" y="3952782"/>
              <a:ext cx="130155" cy="202344"/>
            </a:xfrm>
            <a:custGeom>
              <a:avLst/>
              <a:gdLst>
                <a:gd name="connsiteX0" fmla="*/ 43359 w 130155"/>
                <a:gd name="connsiteY0" fmla="*/ 202344 h 202344"/>
                <a:gd name="connsiteX1" fmla="*/ 0 w 130155"/>
                <a:gd name="connsiteY1" fmla="*/ 158985 h 202344"/>
                <a:gd name="connsiteX2" fmla="*/ 0 w 130155"/>
                <a:gd name="connsiteY2" fmla="*/ 43360 h 202344"/>
                <a:gd name="connsiteX3" fmla="*/ 43359 w 130155"/>
                <a:gd name="connsiteY3" fmla="*/ 0 h 202344"/>
                <a:gd name="connsiteX4" fmla="*/ 86719 w 130155"/>
                <a:gd name="connsiteY4" fmla="*/ 43360 h 202344"/>
                <a:gd name="connsiteX5" fmla="*/ 86719 w 130155"/>
                <a:gd name="connsiteY5" fmla="*/ 45166 h 202344"/>
                <a:gd name="connsiteX6" fmla="*/ 128271 w 130155"/>
                <a:gd name="connsiteY6" fmla="*/ 115626 h 202344"/>
                <a:gd name="connsiteX7" fmla="*/ 86719 w 130155"/>
                <a:gd name="connsiteY7" fmla="*/ 157178 h 202344"/>
                <a:gd name="connsiteX8" fmla="*/ 86719 w 130155"/>
                <a:gd name="connsiteY8" fmla="*/ 158985 h 202344"/>
                <a:gd name="connsiteX9" fmla="*/ 43359 w 130155"/>
                <a:gd name="connsiteY9" fmla="*/ 202344 h 202344"/>
                <a:gd name="connsiteX10" fmla="*/ 43359 w 130155"/>
                <a:gd name="connsiteY10" fmla="*/ 28906 h 202344"/>
                <a:gd name="connsiteX11" fmla="*/ 28906 w 130155"/>
                <a:gd name="connsiteY11" fmla="*/ 43360 h 202344"/>
                <a:gd name="connsiteX12" fmla="*/ 28906 w 130155"/>
                <a:gd name="connsiteY12" fmla="*/ 158985 h 202344"/>
                <a:gd name="connsiteX13" fmla="*/ 43359 w 130155"/>
                <a:gd name="connsiteY13" fmla="*/ 173438 h 202344"/>
                <a:gd name="connsiteX14" fmla="*/ 57812 w 130155"/>
                <a:gd name="connsiteY14" fmla="*/ 158985 h 202344"/>
                <a:gd name="connsiteX15" fmla="*/ 56005 w 130155"/>
                <a:gd name="connsiteY15" fmla="*/ 151758 h 202344"/>
                <a:gd name="connsiteX16" fmla="*/ 60522 w 130155"/>
                <a:gd name="connsiteY16" fmla="*/ 131885 h 202344"/>
                <a:gd name="connsiteX17" fmla="*/ 71362 w 130155"/>
                <a:gd name="connsiteY17" fmla="*/ 130079 h 202344"/>
                <a:gd name="connsiteX18" fmla="*/ 101172 w 130155"/>
                <a:gd name="connsiteY18" fmla="*/ 101172 h 202344"/>
                <a:gd name="connsiteX19" fmla="*/ 101172 w 130155"/>
                <a:gd name="connsiteY19" fmla="*/ 101172 h 202344"/>
                <a:gd name="connsiteX20" fmla="*/ 72266 w 130155"/>
                <a:gd name="connsiteY20" fmla="*/ 72266 h 202344"/>
                <a:gd name="connsiteX21" fmla="*/ 56909 w 130155"/>
                <a:gd name="connsiteY21" fmla="*/ 66846 h 202344"/>
                <a:gd name="connsiteX22" fmla="*/ 56005 w 130155"/>
                <a:gd name="connsiteY22" fmla="*/ 50586 h 202344"/>
                <a:gd name="connsiteX23" fmla="*/ 57812 w 130155"/>
                <a:gd name="connsiteY23" fmla="*/ 43360 h 202344"/>
                <a:gd name="connsiteX24" fmla="*/ 43359 w 130155"/>
                <a:gd name="connsiteY24" fmla="*/ 28906 h 20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155" h="202344">
                  <a:moveTo>
                    <a:pt x="43359" y="202344"/>
                  </a:moveTo>
                  <a:cubicBezTo>
                    <a:pt x="18970" y="202344"/>
                    <a:pt x="0" y="183375"/>
                    <a:pt x="0" y="158985"/>
                  </a:cubicBezTo>
                  <a:lnTo>
                    <a:pt x="0" y="43360"/>
                  </a:lnTo>
                  <a:cubicBezTo>
                    <a:pt x="0" y="18970"/>
                    <a:pt x="18970" y="0"/>
                    <a:pt x="43359" y="0"/>
                  </a:cubicBezTo>
                  <a:cubicBezTo>
                    <a:pt x="67749" y="0"/>
                    <a:pt x="86719" y="18970"/>
                    <a:pt x="86719" y="43360"/>
                  </a:cubicBezTo>
                  <a:cubicBezTo>
                    <a:pt x="86719" y="44263"/>
                    <a:pt x="86719" y="44263"/>
                    <a:pt x="86719" y="45166"/>
                  </a:cubicBezTo>
                  <a:cubicBezTo>
                    <a:pt x="117432" y="53296"/>
                    <a:pt x="136401" y="84912"/>
                    <a:pt x="128271" y="115626"/>
                  </a:cubicBezTo>
                  <a:cubicBezTo>
                    <a:pt x="122852" y="136402"/>
                    <a:pt x="107495" y="151758"/>
                    <a:pt x="86719" y="157178"/>
                  </a:cubicBezTo>
                  <a:cubicBezTo>
                    <a:pt x="86719" y="158081"/>
                    <a:pt x="86719" y="158081"/>
                    <a:pt x="86719" y="158985"/>
                  </a:cubicBezTo>
                  <a:cubicBezTo>
                    <a:pt x="86719" y="183375"/>
                    <a:pt x="67749" y="202344"/>
                    <a:pt x="43359" y="202344"/>
                  </a:cubicBezTo>
                  <a:close/>
                  <a:moveTo>
                    <a:pt x="43359" y="28906"/>
                  </a:moveTo>
                  <a:cubicBezTo>
                    <a:pt x="35229" y="28906"/>
                    <a:pt x="28906" y="35230"/>
                    <a:pt x="28906" y="43360"/>
                  </a:cubicBezTo>
                  <a:lnTo>
                    <a:pt x="28906" y="158985"/>
                  </a:lnTo>
                  <a:cubicBezTo>
                    <a:pt x="28906" y="167114"/>
                    <a:pt x="35229" y="173438"/>
                    <a:pt x="43359" y="173438"/>
                  </a:cubicBezTo>
                  <a:cubicBezTo>
                    <a:pt x="51489" y="173438"/>
                    <a:pt x="57812" y="167114"/>
                    <a:pt x="57812" y="158985"/>
                  </a:cubicBezTo>
                  <a:cubicBezTo>
                    <a:pt x="57812" y="156275"/>
                    <a:pt x="56909" y="153565"/>
                    <a:pt x="56005" y="151758"/>
                  </a:cubicBezTo>
                  <a:cubicBezTo>
                    <a:pt x="51489" y="144531"/>
                    <a:pt x="54199" y="136402"/>
                    <a:pt x="60522" y="131885"/>
                  </a:cubicBezTo>
                  <a:cubicBezTo>
                    <a:pt x="64136" y="130079"/>
                    <a:pt x="67749" y="129175"/>
                    <a:pt x="71362" y="130079"/>
                  </a:cubicBezTo>
                  <a:cubicBezTo>
                    <a:pt x="87622" y="130079"/>
                    <a:pt x="101172" y="117432"/>
                    <a:pt x="101172" y="101172"/>
                  </a:cubicBezTo>
                  <a:cubicBezTo>
                    <a:pt x="101172" y="101172"/>
                    <a:pt x="101172" y="101172"/>
                    <a:pt x="101172" y="101172"/>
                  </a:cubicBezTo>
                  <a:cubicBezTo>
                    <a:pt x="101172" y="84912"/>
                    <a:pt x="88525" y="72266"/>
                    <a:pt x="72266" y="72266"/>
                  </a:cubicBezTo>
                  <a:cubicBezTo>
                    <a:pt x="66845" y="73169"/>
                    <a:pt x="60522" y="71363"/>
                    <a:pt x="56909" y="66846"/>
                  </a:cubicBezTo>
                  <a:cubicBezTo>
                    <a:pt x="53296" y="62329"/>
                    <a:pt x="53296" y="56006"/>
                    <a:pt x="56005" y="50586"/>
                  </a:cubicBezTo>
                  <a:cubicBezTo>
                    <a:pt x="56909" y="48780"/>
                    <a:pt x="57812" y="46070"/>
                    <a:pt x="57812" y="43360"/>
                  </a:cubicBezTo>
                  <a:cubicBezTo>
                    <a:pt x="57812" y="35230"/>
                    <a:pt x="51489" y="28906"/>
                    <a:pt x="43359"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2" name="Freeform 131">
              <a:extLst>
                <a:ext uri="{FF2B5EF4-FFF2-40B4-BE49-F238E27FC236}">
                  <a16:creationId xmlns:a16="http://schemas.microsoft.com/office/drawing/2014/main" id="{865A4888-0312-82BA-1525-87255C2C75EB}"/>
                </a:ext>
              </a:extLst>
            </p:cNvPr>
            <p:cNvSpPr/>
            <p:nvPr/>
          </p:nvSpPr>
          <p:spPr>
            <a:xfrm>
              <a:off x="9054227" y="3952782"/>
              <a:ext cx="130156" cy="202344"/>
            </a:xfrm>
            <a:custGeom>
              <a:avLst/>
              <a:gdLst>
                <a:gd name="connsiteX0" fmla="*/ 86797 w 130156"/>
                <a:gd name="connsiteY0" fmla="*/ 202344 h 202344"/>
                <a:gd name="connsiteX1" fmla="*/ 43437 w 130156"/>
                <a:gd name="connsiteY1" fmla="*/ 158985 h 202344"/>
                <a:gd name="connsiteX2" fmla="*/ 43437 w 130156"/>
                <a:gd name="connsiteY2" fmla="*/ 157178 h 202344"/>
                <a:gd name="connsiteX3" fmla="*/ 1885 w 130156"/>
                <a:gd name="connsiteY3" fmla="*/ 86719 h 202344"/>
                <a:gd name="connsiteX4" fmla="*/ 43437 w 130156"/>
                <a:gd name="connsiteY4" fmla="*/ 45166 h 202344"/>
                <a:gd name="connsiteX5" fmla="*/ 43437 w 130156"/>
                <a:gd name="connsiteY5" fmla="*/ 43360 h 202344"/>
                <a:gd name="connsiteX6" fmla="*/ 86797 w 130156"/>
                <a:gd name="connsiteY6" fmla="*/ 0 h 202344"/>
                <a:gd name="connsiteX7" fmla="*/ 130156 w 130156"/>
                <a:gd name="connsiteY7" fmla="*/ 43360 h 202344"/>
                <a:gd name="connsiteX8" fmla="*/ 130156 w 130156"/>
                <a:gd name="connsiteY8" fmla="*/ 158985 h 202344"/>
                <a:gd name="connsiteX9" fmla="*/ 86797 w 130156"/>
                <a:gd name="connsiteY9" fmla="*/ 202344 h 202344"/>
                <a:gd name="connsiteX10" fmla="*/ 61504 w 130156"/>
                <a:gd name="connsiteY10" fmla="*/ 130079 h 202344"/>
                <a:gd name="connsiteX11" fmla="*/ 73247 w 130156"/>
                <a:gd name="connsiteY11" fmla="*/ 136402 h 202344"/>
                <a:gd name="connsiteX12" fmla="*/ 74150 w 130156"/>
                <a:gd name="connsiteY12" fmla="*/ 152662 h 202344"/>
                <a:gd name="connsiteX13" fmla="*/ 72344 w 130156"/>
                <a:gd name="connsiteY13" fmla="*/ 159888 h 202344"/>
                <a:gd name="connsiteX14" fmla="*/ 86797 w 130156"/>
                <a:gd name="connsiteY14" fmla="*/ 174341 h 202344"/>
                <a:gd name="connsiteX15" fmla="*/ 101250 w 130156"/>
                <a:gd name="connsiteY15" fmla="*/ 159888 h 202344"/>
                <a:gd name="connsiteX16" fmla="*/ 101250 w 130156"/>
                <a:gd name="connsiteY16" fmla="*/ 44263 h 202344"/>
                <a:gd name="connsiteX17" fmla="*/ 86797 w 130156"/>
                <a:gd name="connsiteY17" fmla="*/ 29810 h 202344"/>
                <a:gd name="connsiteX18" fmla="*/ 72344 w 130156"/>
                <a:gd name="connsiteY18" fmla="*/ 44263 h 202344"/>
                <a:gd name="connsiteX19" fmla="*/ 74150 w 130156"/>
                <a:gd name="connsiteY19" fmla="*/ 51489 h 202344"/>
                <a:gd name="connsiteX20" fmla="*/ 69634 w 130156"/>
                <a:gd name="connsiteY20" fmla="*/ 71363 h 202344"/>
                <a:gd name="connsiteX21" fmla="*/ 58794 w 130156"/>
                <a:gd name="connsiteY21" fmla="*/ 73169 h 202344"/>
                <a:gd name="connsiteX22" fmla="*/ 28984 w 130156"/>
                <a:gd name="connsiteY22" fmla="*/ 102076 h 202344"/>
                <a:gd name="connsiteX23" fmla="*/ 28984 w 130156"/>
                <a:gd name="connsiteY23" fmla="*/ 102076 h 202344"/>
                <a:gd name="connsiteX24" fmla="*/ 57891 w 130156"/>
                <a:gd name="connsiteY24" fmla="*/ 130982 h 202344"/>
                <a:gd name="connsiteX25" fmla="*/ 61504 w 130156"/>
                <a:gd name="connsiteY25" fmla="*/ 130079 h 20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156" h="202344">
                  <a:moveTo>
                    <a:pt x="86797" y="202344"/>
                  </a:moveTo>
                  <a:cubicBezTo>
                    <a:pt x="62407" y="202344"/>
                    <a:pt x="43437" y="183375"/>
                    <a:pt x="43437" y="158985"/>
                  </a:cubicBezTo>
                  <a:cubicBezTo>
                    <a:pt x="43437" y="158081"/>
                    <a:pt x="43437" y="158081"/>
                    <a:pt x="43437" y="157178"/>
                  </a:cubicBezTo>
                  <a:cubicBezTo>
                    <a:pt x="12725" y="149048"/>
                    <a:pt x="-6245" y="117432"/>
                    <a:pt x="1885" y="86719"/>
                  </a:cubicBezTo>
                  <a:cubicBezTo>
                    <a:pt x="7304" y="65943"/>
                    <a:pt x="22661" y="50586"/>
                    <a:pt x="43437" y="45166"/>
                  </a:cubicBezTo>
                  <a:cubicBezTo>
                    <a:pt x="43437" y="44263"/>
                    <a:pt x="43437" y="44263"/>
                    <a:pt x="43437" y="43360"/>
                  </a:cubicBezTo>
                  <a:cubicBezTo>
                    <a:pt x="43437" y="18970"/>
                    <a:pt x="62407" y="0"/>
                    <a:pt x="86797" y="0"/>
                  </a:cubicBezTo>
                  <a:cubicBezTo>
                    <a:pt x="111186" y="0"/>
                    <a:pt x="130156" y="18970"/>
                    <a:pt x="130156" y="43360"/>
                  </a:cubicBezTo>
                  <a:lnTo>
                    <a:pt x="130156" y="158985"/>
                  </a:lnTo>
                  <a:cubicBezTo>
                    <a:pt x="130156" y="183375"/>
                    <a:pt x="111186" y="202344"/>
                    <a:pt x="86797" y="202344"/>
                  </a:cubicBezTo>
                  <a:close/>
                  <a:moveTo>
                    <a:pt x="61504" y="130079"/>
                  </a:moveTo>
                  <a:cubicBezTo>
                    <a:pt x="66020" y="130079"/>
                    <a:pt x="70537" y="131885"/>
                    <a:pt x="73247" y="136402"/>
                  </a:cubicBezTo>
                  <a:cubicBezTo>
                    <a:pt x="76860" y="140918"/>
                    <a:pt x="76860" y="147242"/>
                    <a:pt x="74150" y="152662"/>
                  </a:cubicBezTo>
                  <a:cubicBezTo>
                    <a:pt x="73247" y="154468"/>
                    <a:pt x="72344" y="157178"/>
                    <a:pt x="72344" y="159888"/>
                  </a:cubicBezTo>
                  <a:cubicBezTo>
                    <a:pt x="72344" y="168018"/>
                    <a:pt x="78667" y="174341"/>
                    <a:pt x="86797" y="174341"/>
                  </a:cubicBezTo>
                  <a:cubicBezTo>
                    <a:pt x="94927" y="174341"/>
                    <a:pt x="101250" y="168018"/>
                    <a:pt x="101250" y="159888"/>
                  </a:cubicBezTo>
                  <a:lnTo>
                    <a:pt x="101250" y="44263"/>
                  </a:lnTo>
                  <a:cubicBezTo>
                    <a:pt x="101250" y="36133"/>
                    <a:pt x="94927" y="29810"/>
                    <a:pt x="86797" y="29810"/>
                  </a:cubicBezTo>
                  <a:cubicBezTo>
                    <a:pt x="78667" y="29810"/>
                    <a:pt x="72344" y="36133"/>
                    <a:pt x="72344" y="44263"/>
                  </a:cubicBezTo>
                  <a:cubicBezTo>
                    <a:pt x="72344" y="46973"/>
                    <a:pt x="73247" y="49683"/>
                    <a:pt x="74150" y="51489"/>
                  </a:cubicBezTo>
                  <a:cubicBezTo>
                    <a:pt x="78667" y="58716"/>
                    <a:pt x="75957" y="66846"/>
                    <a:pt x="69634" y="71363"/>
                  </a:cubicBezTo>
                  <a:cubicBezTo>
                    <a:pt x="66020" y="73169"/>
                    <a:pt x="62407" y="74072"/>
                    <a:pt x="58794" y="73169"/>
                  </a:cubicBezTo>
                  <a:cubicBezTo>
                    <a:pt x="42534" y="73169"/>
                    <a:pt x="28984" y="85816"/>
                    <a:pt x="28984" y="102076"/>
                  </a:cubicBezTo>
                  <a:cubicBezTo>
                    <a:pt x="28984" y="102076"/>
                    <a:pt x="28984" y="102076"/>
                    <a:pt x="28984" y="102076"/>
                  </a:cubicBezTo>
                  <a:cubicBezTo>
                    <a:pt x="28984" y="118335"/>
                    <a:pt x="41631" y="130982"/>
                    <a:pt x="57891" y="130982"/>
                  </a:cubicBezTo>
                  <a:cubicBezTo>
                    <a:pt x="58794" y="130079"/>
                    <a:pt x="60601" y="130079"/>
                    <a:pt x="61504" y="13007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3" name="Freeform 132">
              <a:extLst>
                <a:ext uri="{FF2B5EF4-FFF2-40B4-BE49-F238E27FC236}">
                  <a16:creationId xmlns:a16="http://schemas.microsoft.com/office/drawing/2014/main" id="{9E81EEBA-B959-5AC0-0CF1-9644A9FE77AE}"/>
                </a:ext>
              </a:extLst>
            </p:cNvPr>
            <p:cNvSpPr/>
            <p:nvPr/>
          </p:nvSpPr>
          <p:spPr>
            <a:xfrm>
              <a:off x="9413426" y="4155126"/>
              <a:ext cx="67247" cy="50585"/>
            </a:xfrm>
            <a:custGeom>
              <a:avLst/>
              <a:gdLst>
                <a:gd name="connsiteX0" fmla="*/ 7628 w 67247"/>
                <a:gd name="connsiteY0" fmla="*/ 27100 h 50585"/>
                <a:gd name="connsiteX1" fmla="*/ 45567 w 67247"/>
                <a:gd name="connsiteY1" fmla="*/ 48780 h 50585"/>
                <a:gd name="connsiteX2" fmla="*/ 65441 w 67247"/>
                <a:gd name="connsiteY2" fmla="*/ 43359 h 50585"/>
                <a:gd name="connsiteX3" fmla="*/ 60021 w 67247"/>
                <a:gd name="connsiteY3" fmla="*/ 23486 h 50585"/>
                <a:gd name="connsiteX4" fmla="*/ 22081 w 67247"/>
                <a:gd name="connsiteY4" fmla="*/ 1807 h 50585"/>
                <a:gd name="connsiteX5" fmla="*/ 2208 w 67247"/>
                <a:gd name="connsiteY5" fmla="*/ 7226 h 50585"/>
                <a:gd name="connsiteX6" fmla="*/ 7628 w 67247"/>
                <a:gd name="connsiteY6" fmla="*/ 27100 h 50585"/>
                <a:gd name="connsiteX7" fmla="*/ 7628 w 67247"/>
                <a:gd name="connsiteY7" fmla="*/ 27100 h 5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47" h="50585">
                  <a:moveTo>
                    <a:pt x="7628" y="27100"/>
                  </a:moveTo>
                  <a:lnTo>
                    <a:pt x="45567" y="48780"/>
                  </a:lnTo>
                  <a:cubicBezTo>
                    <a:pt x="52794" y="52393"/>
                    <a:pt x="60924" y="50586"/>
                    <a:pt x="65441" y="43359"/>
                  </a:cubicBezTo>
                  <a:cubicBezTo>
                    <a:pt x="69054" y="36133"/>
                    <a:pt x="67247" y="28003"/>
                    <a:pt x="60021" y="23486"/>
                  </a:cubicBezTo>
                  <a:lnTo>
                    <a:pt x="22081" y="1807"/>
                  </a:lnTo>
                  <a:cubicBezTo>
                    <a:pt x="14855" y="-1807"/>
                    <a:pt x="6725" y="0"/>
                    <a:pt x="2208" y="7226"/>
                  </a:cubicBezTo>
                  <a:cubicBezTo>
                    <a:pt x="-2308" y="14453"/>
                    <a:pt x="401" y="22583"/>
                    <a:pt x="7628" y="27100"/>
                  </a:cubicBezTo>
                  <a:cubicBezTo>
                    <a:pt x="7628" y="27100"/>
                    <a:pt x="7628" y="27100"/>
                    <a:pt x="7628" y="2710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4" name="Freeform 133">
              <a:extLst>
                <a:ext uri="{FF2B5EF4-FFF2-40B4-BE49-F238E27FC236}">
                  <a16:creationId xmlns:a16="http://schemas.microsoft.com/office/drawing/2014/main" id="{F340CDA2-E9CD-8E9A-C893-5C9A06CFAC1C}"/>
                </a:ext>
              </a:extLst>
            </p:cNvPr>
            <p:cNvSpPr/>
            <p:nvPr/>
          </p:nvSpPr>
          <p:spPr>
            <a:xfrm>
              <a:off x="8823055" y="3850915"/>
              <a:ext cx="751563" cy="867883"/>
            </a:xfrm>
            <a:custGeom>
              <a:avLst/>
              <a:gdLst>
                <a:gd name="connsiteX0" fmla="*/ 653101 w 751563"/>
                <a:gd name="connsiteY0" fmla="*/ 546301 h 867883"/>
                <a:gd name="connsiteX1" fmla="*/ 519410 w 751563"/>
                <a:gd name="connsiteY1" fmla="*/ 512878 h 867883"/>
                <a:gd name="connsiteX2" fmla="*/ 520313 w 751563"/>
                <a:gd name="connsiteY2" fmla="*/ 509265 h 867883"/>
                <a:gd name="connsiteX3" fmla="*/ 509473 w 751563"/>
                <a:gd name="connsiteY3" fmla="*/ 492101 h 867883"/>
                <a:gd name="connsiteX4" fmla="*/ 462501 w 751563"/>
                <a:gd name="connsiteY4" fmla="*/ 480358 h 867883"/>
                <a:gd name="connsiteX5" fmla="*/ 462501 w 751563"/>
                <a:gd name="connsiteY5" fmla="*/ 476745 h 867883"/>
                <a:gd name="connsiteX6" fmla="*/ 476954 w 751563"/>
                <a:gd name="connsiteY6" fmla="*/ 476745 h 867883"/>
                <a:gd name="connsiteX7" fmla="*/ 491407 w 751563"/>
                <a:gd name="connsiteY7" fmla="*/ 462292 h 867883"/>
                <a:gd name="connsiteX8" fmla="*/ 491407 w 751563"/>
                <a:gd name="connsiteY8" fmla="*/ 404479 h 867883"/>
                <a:gd name="connsiteX9" fmla="*/ 476954 w 751563"/>
                <a:gd name="connsiteY9" fmla="*/ 390026 h 867883"/>
                <a:gd name="connsiteX10" fmla="*/ 462501 w 751563"/>
                <a:gd name="connsiteY10" fmla="*/ 390026 h 867883"/>
                <a:gd name="connsiteX11" fmla="*/ 462501 w 751563"/>
                <a:gd name="connsiteY11" fmla="*/ 384606 h 867883"/>
                <a:gd name="connsiteX12" fmla="*/ 558253 w 751563"/>
                <a:gd name="connsiteY12" fmla="*/ 115416 h 867883"/>
                <a:gd name="connsiteX13" fmla="*/ 289063 w 751563"/>
                <a:gd name="connsiteY13" fmla="*/ 19664 h 867883"/>
                <a:gd name="connsiteX14" fmla="*/ 193310 w 751563"/>
                <a:gd name="connsiteY14" fmla="*/ 288854 h 867883"/>
                <a:gd name="connsiteX15" fmla="*/ 289063 w 751563"/>
                <a:gd name="connsiteY15" fmla="*/ 384606 h 867883"/>
                <a:gd name="connsiteX16" fmla="*/ 289063 w 751563"/>
                <a:gd name="connsiteY16" fmla="*/ 390026 h 867883"/>
                <a:gd name="connsiteX17" fmla="*/ 274609 w 751563"/>
                <a:gd name="connsiteY17" fmla="*/ 390026 h 867883"/>
                <a:gd name="connsiteX18" fmla="*/ 260156 w 751563"/>
                <a:gd name="connsiteY18" fmla="*/ 404479 h 867883"/>
                <a:gd name="connsiteX19" fmla="*/ 260156 w 751563"/>
                <a:gd name="connsiteY19" fmla="*/ 462292 h 867883"/>
                <a:gd name="connsiteX20" fmla="*/ 274609 w 751563"/>
                <a:gd name="connsiteY20" fmla="*/ 476745 h 867883"/>
                <a:gd name="connsiteX21" fmla="*/ 289063 w 751563"/>
                <a:gd name="connsiteY21" fmla="*/ 476745 h 867883"/>
                <a:gd name="connsiteX22" fmla="*/ 289063 w 751563"/>
                <a:gd name="connsiteY22" fmla="*/ 480358 h 867883"/>
                <a:gd name="connsiteX23" fmla="*/ 242090 w 751563"/>
                <a:gd name="connsiteY23" fmla="*/ 492101 h 867883"/>
                <a:gd name="connsiteX24" fmla="*/ 231250 w 751563"/>
                <a:gd name="connsiteY24" fmla="*/ 509265 h 867883"/>
                <a:gd name="connsiteX25" fmla="*/ 232154 w 751563"/>
                <a:gd name="connsiteY25" fmla="*/ 512878 h 867883"/>
                <a:gd name="connsiteX26" fmla="*/ 98462 w 751563"/>
                <a:gd name="connsiteY26" fmla="*/ 546301 h 867883"/>
                <a:gd name="connsiteX27" fmla="*/ 0 w 751563"/>
                <a:gd name="connsiteY27" fmla="*/ 672766 h 867883"/>
                <a:gd name="connsiteX28" fmla="*/ 0 w 751563"/>
                <a:gd name="connsiteY28" fmla="*/ 853430 h 867883"/>
                <a:gd name="connsiteX29" fmla="*/ 14453 w 751563"/>
                <a:gd name="connsiteY29" fmla="*/ 867883 h 867883"/>
                <a:gd name="connsiteX30" fmla="*/ 737110 w 751563"/>
                <a:gd name="connsiteY30" fmla="*/ 867883 h 867883"/>
                <a:gd name="connsiteX31" fmla="*/ 751564 w 751563"/>
                <a:gd name="connsiteY31" fmla="*/ 853430 h 867883"/>
                <a:gd name="connsiteX32" fmla="*/ 751564 w 751563"/>
                <a:gd name="connsiteY32" fmla="*/ 672766 h 867883"/>
                <a:gd name="connsiteX33" fmla="*/ 653101 w 751563"/>
                <a:gd name="connsiteY33" fmla="*/ 546301 h 867883"/>
                <a:gd name="connsiteX34" fmla="*/ 488697 w 751563"/>
                <a:gd name="connsiteY34" fmla="*/ 517394 h 867883"/>
                <a:gd name="connsiteX35" fmla="*/ 475147 w 751563"/>
                <a:gd name="connsiteY35" fmla="*/ 582433 h 867883"/>
                <a:gd name="connsiteX36" fmla="*/ 401978 w 751563"/>
                <a:gd name="connsiteY36" fmla="*/ 558044 h 867883"/>
                <a:gd name="connsiteX37" fmla="*/ 451661 w 751563"/>
                <a:gd name="connsiteY37" fmla="*/ 508361 h 867883"/>
                <a:gd name="connsiteX38" fmla="*/ 488697 w 751563"/>
                <a:gd name="connsiteY38" fmla="*/ 517394 h 867883"/>
                <a:gd name="connsiteX39" fmla="*/ 375782 w 751563"/>
                <a:gd name="connsiteY39" fmla="*/ 544494 h 867883"/>
                <a:gd name="connsiteX40" fmla="*/ 317969 w 751563"/>
                <a:gd name="connsiteY40" fmla="*/ 486682 h 867883"/>
                <a:gd name="connsiteX41" fmla="*/ 317969 w 751563"/>
                <a:gd name="connsiteY41" fmla="*/ 478551 h 867883"/>
                <a:gd name="connsiteX42" fmla="*/ 433594 w 751563"/>
                <a:gd name="connsiteY42" fmla="*/ 478551 h 867883"/>
                <a:gd name="connsiteX43" fmla="*/ 433594 w 751563"/>
                <a:gd name="connsiteY43" fmla="*/ 486682 h 867883"/>
                <a:gd name="connsiteX44" fmla="*/ 375782 w 751563"/>
                <a:gd name="connsiteY44" fmla="*/ 544494 h 867883"/>
                <a:gd name="connsiteX45" fmla="*/ 395655 w 751563"/>
                <a:gd name="connsiteY45" fmla="*/ 614953 h 867883"/>
                <a:gd name="connsiteX46" fmla="*/ 376685 w 751563"/>
                <a:gd name="connsiteY46" fmla="*/ 621276 h 867883"/>
                <a:gd name="connsiteX47" fmla="*/ 356812 w 751563"/>
                <a:gd name="connsiteY47" fmla="*/ 614953 h 867883"/>
                <a:gd name="connsiteX48" fmla="*/ 359522 w 751563"/>
                <a:gd name="connsiteY48" fmla="*/ 585143 h 867883"/>
                <a:gd name="connsiteX49" fmla="*/ 375782 w 751563"/>
                <a:gd name="connsiteY49" fmla="*/ 579724 h 867883"/>
                <a:gd name="connsiteX50" fmla="*/ 392041 w 751563"/>
                <a:gd name="connsiteY50" fmla="*/ 585143 h 867883"/>
                <a:gd name="connsiteX51" fmla="*/ 395655 w 751563"/>
                <a:gd name="connsiteY51" fmla="*/ 614953 h 867883"/>
                <a:gd name="connsiteX52" fmla="*/ 202344 w 751563"/>
                <a:gd name="connsiteY52" fmla="*/ 203038 h 867883"/>
                <a:gd name="connsiteX53" fmla="*/ 375782 w 751563"/>
                <a:gd name="connsiteY53" fmla="*/ 29601 h 867883"/>
                <a:gd name="connsiteX54" fmla="*/ 549219 w 751563"/>
                <a:gd name="connsiteY54" fmla="*/ 203038 h 867883"/>
                <a:gd name="connsiteX55" fmla="*/ 442628 w 751563"/>
                <a:gd name="connsiteY55" fmla="*/ 362926 h 867883"/>
                <a:gd name="connsiteX56" fmla="*/ 433594 w 751563"/>
                <a:gd name="connsiteY56" fmla="*/ 376476 h 867883"/>
                <a:gd name="connsiteX57" fmla="*/ 433594 w 751563"/>
                <a:gd name="connsiteY57" fmla="*/ 390929 h 867883"/>
                <a:gd name="connsiteX58" fmla="*/ 317969 w 751563"/>
                <a:gd name="connsiteY58" fmla="*/ 390929 h 867883"/>
                <a:gd name="connsiteX59" fmla="*/ 317969 w 751563"/>
                <a:gd name="connsiteY59" fmla="*/ 376476 h 867883"/>
                <a:gd name="connsiteX60" fmla="*/ 308936 w 751563"/>
                <a:gd name="connsiteY60" fmla="*/ 362926 h 867883"/>
                <a:gd name="connsiteX61" fmla="*/ 202344 w 751563"/>
                <a:gd name="connsiteY61" fmla="*/ 203038 h 867883"/>
                <a:gd name="connsiteX62" fmla="*/ 289063 w 751563"/>
                <a:gd name="connsiteY62" fmla="*/ 419836 h 867883"/>
                <a:gd name="connsiteX63" fmla="*/ 462501 w 751563"/>
                <a:gd name="connsiteY63" fmla="*/ 419836 h 867883"/>
                <a:gd name="connsiteX64" fmla="*/ 462501 w 751563"/>
                <a:gd name="connsiteY64" fmla="*/ 448742 h 867883"/>
                <a:gd name="connsiteX65" fmla="*/ 289063 w 751563"/>
                <a:gd name="connsiteY65" fmla="*/ 448742 h 867883"/>
                <a:gd name="connsiteX66" fmla="*/ 289063 w 751563"/>
                <a:gd name="connsiteY66" fmla="*/ 419836 h 867883"/>
                <a:gd name="connsiteX67" fmla="*/ 298999 w 751563"/>
                <a:gd name="connsiteY67" fmla="*/ 508361 h 867883"/>
                <a:gd name="connsiteX68" fmla="*/ 348682 w 751563"/>
                <a:gd name="connsiteY68" fmla="*/ 558044 h 867883"/>
                <a:gd name="connsiteX69" fmla="*/ 275513 w 751563"/>
                <a:gd name="connsiteY69" fmla="*/ 582433 h 867883"/>
                <a:gd name="connsiteX70" fmla="*/ 261963 w 751563"/>
                <a:gd name="connsiteY70" fmla="*/ 517394 h 867883"/>
                <a:gd name="connsiteX71" fmla="*/ 298999 w 751563"/>
                <a:gd name="connsiteY71" fmla="*/ 508361 h 867883"/>
                <a:gd name="connsiteX72" fmla="*/ 173438 w 751563"/>
                <a:gd name="connsiteY72" fmla="*/ 838977 h 867883"/>
                <a:gd name="connsiteX73" fmla="*/ 173438 w 751563"/>
                <a:gd name="connsiteY73" fmla="*/ 708898 h 867883"/>
                <a:gd name="connsiteX74" fmla="*/ 158984 w 751563"/>
                <a:gd name="connsiteY74" fmla="*/ 694445 h 867883"/>
                <a:gd name="connsiteX75" fmla="*/ 144531 w 751563"/>
                <a:gd name="connsiteY75" fmla="*/ 708898 h 867883"/>
                <a:gd name="connsiteX76" fmla="*/ 144531 w 751563"/>
                <a:gd name="connsiteY76" fmla="*/ 838977 h 867883"/>
                <a:gd name="connsiteX77" fmla="*/ 28906 w 751563"/>
                <a:gd name="connsiteY77" fmla="*/ 838977 h 867883"/>
                <a:gd name="connsiteX78" fmla="*/ 28906 w 751563"/>
                <a:gd name="connsiteY78" fmla="*/ 672766 h 867883"/>
                <a:gd name="connsiteX79" fmla="*/ 105689 w 751563"/>
                <a:gd name="connsiteY79" fmla="*/ 574304 h 867883"/>
                <a:gd name="connsiteX80" fmla="*/ 225830 w 751563"/>
                <a:gd name="connsiteY80" fmla="*/ 544494 h 867883"/>
                <a:gd name="connsiteX81" fmla="*/ 176148 w 751563"/>
                <a:gd name="connsiteY81" fmla="*/ 614050 h 867883"/>
                <a:gd name="connsiteX82" fmla="*/ 177954 w 751563"/>
                <a:gd name="connsiteY82" fmla="*/ 633020 h 867883"/>
                <a:gd name="connsiteX83" fmla="*/ 225830 w 751563"/>
                <a:gd name="connsiteY83" fmla="*/ 680896 h 867883"/>
                <a:gd name="connsiteX84" fmla="*/ 206860 w 751563"/>
                <a:gd name="connsiteY84" fmla="*/ 699865 h 867883"/>
                <a:gd name="connsiteX85" fmla="*/ 203247 w 751563"/>
                <a:gd name="connsiteY85" fmla="*/ 714319 h 867883"/>
                <a:gd name="connsiteX86" fmla="*/ 241187 w 751563"/>
                <a:gd name="connsiteY86" fmla="*/ 839880 h 867883"/>
                <a:gd name="connsiteX87" fmla="*/ 173438 w 751563"/>
                <a:gd name="connsiteY87" fmla="*/ 839880 h 867883"/>
                <a:gd name="connsiteX88" fmla="*/ 270996 w 751563"/>
                <a:gd name="connsiteY88" fmla="*/ 838977 h 867883"/>
                <a:gd name="connsiteX89" fmla="*/ 233057 w 751563"/>
                <a:gd name="connsiteY89" fmla="*/ 712512 h 867883"/>
                <a:gd name="connsiteX90" fmla="*/ 255640 w 751563"/>
                <a:gd name="connsiteY90" fmla="*/ 689929 h 867883"/>
                <a:gd name="connsiteX91" fmla="*/ 255640 w 751563"/>
                <a:gd name="connsiteY91" fmla="*/ 669153 h 867883"/>
                <a:gd name="connsiteX92" fmla="*/ 206860 w 751563"/>
                <a:gd name="connsiteY92" fmla="*/ 620373 h 867883"/>
                <a:gd name="connsiteX93" fmla="*/ 243897 w 751563"/>
                <a:gd name="connsiteY93" fmla="*/ 568884 h 867883"/>
                <a:gd name="connsiteX94" fmla="*/ 299903 w 751563"/>
                <a:gd name="connsiteY94" fmla="*/ 838977 h 867883"/>
                <a:gd name="connsiteX95" fmla="*/ 270996 w 751563"/>
                <a:gd name="connsiteY95" fmla="*/ 838977 h 867883"/>
                <a:gd name="connsiteX96" fmla="*/ 313453 w 751563"/>
                <a:gd name="connsiteY96" fmla="*/ 758581 h 867883"/>
                <a:gd name="connsiteX97" fmla="*/ 282740 w 751563"/>
                <a:gd name="connsiteY97" fmla="*/ 611340 h 867883"/>
                <a:gd name="connsiteX98" fmla="*/ 329712 w 751563"/>
                <a:gd name="connsiteY98" fmla="*/ 595983 h 867883"/>
                <a:gd name="connsiteX99" fmla="*/ 313453 w 751563"/>
                <a:gd name="connsiteY99" fmla="*/ 758581 h 867883"/>
                <a:gd name="connsiteX100" fmla="*/ 334229 w 751563"/>
                <a:gd name="connsiteY100" fmla="*/ 838977 h 867883"/>
                <a:gd name="connsiteX101" fmla="*/ 353198 w 751563"/>
                <a:gd name="connsiteY101" fmla="*/ 644763 h 867883"/>
                <a:gd name="connsiteX102" fmla="*/ 371265 w 751563"/>
                <a:gd name="connsiteY102" fmla="*/ 651086 h 867883"/>
                <a:gd name="connsiteX103" fmla="*/ 375782 w 751563"/>
                <a:gd name="connsiteY103" fmla="*/ 651989 h 867883"/>
                <a:gd name="connsiteX104" fmla="*/ 380298 w 751563"/>
                <a:gd name="connsiteY104" fmla="*/ 651086 h 867883"/>
                <a:gd name="connsiteX105" fmla="*/ 398365 w 751563"/>
                <a:gd name="connsiteY105" fmla="*/ 644763 h 867883"/>
                <a:gd name="connsiteX106" fmla="*/ 417335 w 751563"/>
                <a:gd name="connsiteY106" fmla="*/ 838977 h 867883"/>
                <a:gd name="connsiteX107" fmla="*/ 334229 w 751563"/>
                <a:gd name="connsiteY107" fmla="*/ 838977 h 867883"/>
                <a:gd name="connsiteX108" fmla="*/ 422754 w 751563"/>
                <a:gd name="connsiteY108" fmla="*/ 595080 h 867883"/>
                <a:gd name="connsiteX109" fmla="*/ 469727 w 751563"/>
                <a:gd name="connsiteY109" fmla="*/ 610437 h 867883"/>
                <a:gd name="connsiteX110" fmla="*/ 439014 w 751563"/>
                <a:gd name="connsiteY110" fmla="*/ 758581 h 867883"/>
                <a:gd name="connsiteX111" fmla="*/ 422754 w 751563"/>
                <a:gd name="connsiteY111" fmla="*/ 595080 h 867883"/>
                <a:gd name="connsiteX112" fmla="*/ 451661 w 751563"/>
                <a:gd name="connsiteY112" fmla="*/ 838977 h 867883"/>
                <a:gd name="connsiteX113" fmla="*/ 507667 w 751563"/>
                <a:gd name="connsiteY113" fmla="*/ 568884 h 867883"/>
                <a:gd name="connsiteX114" fmla="*/ 544703 w 751563"/>
                <a:gd name="connsiteY114" fmla="*/ 620373 h 867883"/>
                <a:gd name="connsiteX115" fmla="*/ 495923 w 751563"/>
                <a:gd name="connsiteY115" fmla="*/ 669153 h 867883"/>
                <a:gd name="connsiteX116" fmla="*/ 495923 w 751563"/>
                <a:gd name="connsiteY116" fmla="*/ 689929 h 867883"/>
                <a:gd name="connsiteX117" fmla="*/ 518506 w 751563"/>
                <a:gd name="connsiteY117" fmla="*/ 712512 h 867883"/>
                <a:gd name="connsiteX118" fmla="*/ 480567 w 751563"/>
                <a:gd name="connsiteY118" fmla="*/ 838977 h 867883"/>
                <a:gd name="connsiteX119" fmla="*/ 451661 w 751563"/>
                <a:gd name="connsiteY119" fmla="*/ 838977 h 867883"/>
                <a:gd name="connsiteX120" fmla="*/ 722657 w 751563"/>
                <a:gd name="connsiteY120" fmla="*/ 838977 h 867883"/>
                <a:gd name="connsiteX121" fmla="*/ 607032 w 751563"/>
                <a:gd name="connsiteY121" fmla="*/ 838977 h 867883"/>
                <a:gd name="connsiteX122" fmla="*/ 607032 w 751563"/>
                <a:gd name="connsiteY122" fmla="*/ 708898 h 867883"/>
                <a:gd name="connsiteX123" fmla="*/ 592579 w 751563"/>
                <a:gd name="connsiteY123" fmla="*/ 694445 h 867883"/>
                <a:gd name="connsiteX124" fmla="*/ 578126 w 751563"/>
                <a:gd name="connsiteY124" fmla="*/ 708898 h 867883"/>
                <a:gd name="connsiteX125" fmla="*/ 578126 w 751563"/>
                <a:gd name="connsiteY125" fmla="*/ 838977 h 867883"/>
                <a:gd name="connsiteX126" fmla="*/ 510377 w 751563"/>
                <a:gd name="connsiteY126" fmla="*/ 838977 h 867883"/>
                <a:gd name="connsiteX127" fmla="*/ 548316 w 751563"/>
                <a:gd name="connsiteY127" fmla="*/ 713415 h 867883"/>
                <a:gd name="connsiteX128" fmla="*/ 544703 w 751563"/>
                <a:gd name="connsiteY128" fmla="*/ 698962 h 867883"/>
                <a:gd name="connsiteX129" fmla="*/ 525733 w 751563"/>
                <a:gd name="connsiteY129" fmla="*/ 679992 h 867883"/>
                <a:gd name="connsiteX130" fmla="*/ 573609 w 751563"/>
                <a:gd name="connsiteY130" fmla="*/ 632116 h 867883"/>
                <a:gd name="connsiteX131" fmla="*/ 575416 w 751563"/>
                <a:gd name="connsiteY131" fmla="*/ 613147 h 867883"/>
                <a:gd name="connsiteX132" fmla="*/ 525733 w 751563"/>
                <a:gd name="connsiteY132" fmla="*/ 543591 h 867883"/>
                <a:gd name="connsiteX133" fmla="*/ 645875 w 751563"/>
                <a:gd name="connsiteY133" fmla="*/ 573400 h 867883"/>
                <a:gd name="connsiteX134" fmla="*/ 722657 w 751563"/>
                <a:gd name="connsiteY134" fmla="*/ 671862 h 867883"/>
                <a:gd name="connsiteX135" fmla="*/ 722657 w 751563"/>
                <a:gd name="connsiteY135" fmla="*/ 838977 h 8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751563" h="867883">
                  <a:moveTo>
                    <a:pt x="653101" y="546301"/>
                  </a:moveTo>
                  <a:lnTo>
                    <a:pt x="519410" y="512878"/>
                  </a:lnTo>
                  <a:lnTo>
                    <a:pt x="520313" y="509265"/>
                  </a:lnTo>
                  <a:cubicBezTo>
                    <a:pt x="522120" y="502038"/>
                    <a:pt x="517603" y="493908"/>
                    <a:pt x="509473" y="492101"/>
                  </a:cubicBezTo>
                  <a:lnTo>
                    <a:pt x="462501" y="480358"/>
                  </a:lnTo>
                  <a:lnTo>
                    <a:pt x="462501" y="476745"/>
                  </a:lnTo>
                  <a:lnTo>
                    <a:pt x="476954" y="476745"/>
                  </a:lnTo>
                  <a:cubicBezTo>
                    <a:pt x="485084" y="476745"/>
                    <a:pt x="491407" y="470422"/>
                    <a:pt x="491407" y="462292"/>
                  </a:cubicBezTo>
                  <a:lnTo>
                    <a:pt x="491407" y="404479"/>
                  </a:lnTo>
                  <a:cubicBezTo>
                    <a:pt x="491407" y="396349"/>
                    <a:pt x="485084" y="390026"/>
                    <a:pt x="476954" y="390026"/>
                  </a:cubicBezTo>
                  <a:lnTo>
                    <a:pt x="462501" y="390026"/>
                  </a:lnTo>
                  <a:lnTo>
                    <a:pt x="462501" y="384606"/>
                  </a:lnTo>
                  <a:cubicBezTo>
                    <a:pt x="563672" y="336730"/>
                    <a:pt x="606129" y="215685"/>
                    <a:pt x="558253" y="115416"/>
                  </a:cubicBezTo>
                  <a:cubicBezTo>
                    <a:pt x="510377" y="14244"/>
                    <a:pt x="389331" y="-28212"/>
                    <a:pt x="289063" y="19664"/>
                  </a:cubicBezTo>
                  <a:cubicBezTo>
                    <a:pt x="187891" y="67540"/>
                    <a:pt x="145435" y="188585"/>
                    <a:pt x="193310" y="288854"/>
                  </a:cubicBezTo>
                  <a:cubicBezTo>
                    <a:pt x="213184" y="331310"/>
                    <a:pt x="247510" y="364733"/>
                    <a:pt x="289063" y="384606"/>
                  </a:cubicBezTo>
                  <a:lnTo>
                    <a:pt x="289063" y="390026"/>
                  </a:lnTo>
                  <a:lnTo>
                    <a:pt x="274609" y="390026"/>
                  </a:lnTo>
                  <a:cubicBezTo>
                    <a:pt x="266480" y="390026"/>
                    <a:pt x="260156" y="396349"/>
                    <a:pt x="260156" y="404479"/>
                  </a:cubicBezTo>
                  <a:lnTo>
                    <a:pt x="260156" y="462292"/>
                  </a:lnTo>
                  <a:cubicBezTo>
                    <a:pt x="260156" y="470422"/>
                    <a:pt x="266480" y="476745"/>
                    <a:pt x="274609" y="476745"/>
                  </a:cubicBezTo>
                  <a:lnTo>
                    <a:pt x="289063" y="476745"/>
                  </a:lnTo>
                  <a:lnTo>
                    <a:pt x="289063" y="480358"/>
                  </a:lnTo>
                  <a:lnTo>
                    <a:pt x="242090" y="492101"/>
                  </a:lnTo>
                  <a:cubicBezTo>
                    <a:pt x="234864" y="493908"/>
                    <a:pt x="229443" y="501134"/>
                    <a:pt x="231250" y="509265"/>
                  </a:cubicBezTo>
                  <a:lnTo>
                    <a:pt x="232154" y="512878"/>
                  </a:lnTo>
                  <a:lnTo>
                    <a:pt x="98462" y="546301"/>
                  </a:lnTo>
                  <a:cubicBezTo>
                    <a:pt x="40649" y="560754"/>
                    <a:pt x="0" y="613147"/>
                    <a:pt x="0" y="672766"/>
                  </a:cubicBezTo>
                  <a:lnTo>
                    <a:pt x="0" y="853430"/>
                  </a:lnTo>
                  <a:cubicBezTo>
                    <a:pt x="0" y="861560"/>
                    <a:pt x="6323" y="867883"/>
                    <a:pt x="14453" y="867883"/>
                  </a:cubicBezTo>
                  <a:lnTo>
                    <a:pt x="737110" y="867883"/>
                  </a:lnTo>
                  <a:cubicBezTo>
                    <a:pt x="745240" y="867883"/>
                    <a:pt x="751564" y="861560"/>
                    <a:pt x="751564" y="853430"/>
                  </a:cubicBezTo>
                  <a:lnTo>
                    <a:pt x="751564" y="672766"/>
                  </a:lnTo>
                  <a:cubicBezTo>
                    <a:pt x="751564" y="613147"/>
                    <a:pt x="710914" y="560754"/>
                    <a:pt x="653101" y="546301"/>
                  </a:cubicBezTo>
                  <a:close/>
                  <a:moveTo>
                    <a:pt x="488697" y="517394"/>
                  </a:moveTo>
                  <a:lnTo>
                    <a:pt x="475147" y="582433"/>
                  </a:lnTo>
                  <a:lnTo>
                    <a:pt x="401978" y="558044"/>
                  </a:lnTo>
                  <a:lnTo>
                    <a:pt x="451661" y="508361"/>
                  </a:lnTo>
                  <a:lnTo>
                    <a:pt x="488697" y="517394"/>
                  </a:lnTo>
                  <a:close/>
                  <a:moveTo>
                    <a:pt x="375782" y="544494"/>
                  </a:moveTo>
                  <a:lnTo>
                    <a:pt x="317969" y="486682"/>
                  </a:lnTo>
                  <a:lnTo>
                    <a:pt x="317969" y="478551"/>
                  </a:lnTo>
                  <a:lnTo>
                    <a:pt x="433594" y="478551"/>
                  </a:lnTo>
                  <a:lnTo>
                    <a:pt x="433594" y="486682"/>
                  </a:lnTo>
                  <a:lnTo>
                    <a:pt x="375782" y="544494"/>
                  </a:lnTo>
                  <a:close/>
                  <a:moveTo>
                    <a:pt x="395655" y="614953"/>
                  </a:moveTo>
                  <a:lnTo>
                    <a:pt x="376685" y="621276"/>
                  </a:lnTo>
                  <a:lnTo>
                    <a:pt x="356812" y="614953"/>
                  </a:lnTo>
                  <a:lnTo>
                    <a:pt x="359522" y="585143"/>
                  </a:lnTo>
                  <a:lnTo>
                    <a:pt x="375782" y="579724"/>
                  </a:lnTo>
                  <a:lnTo>
                    <a:pt x="392041" y="585143"/>
                  </a:lnTo>
                  <a:lnTo>
                    <a:pt x="395655" y="614953"/>
                  </a:lnTo>
                  <a:close/>
                  <a:moveTo>
                    <a:pt x="202344" y="203038"/>
                  </a:moveTo>
                  <a:cubicBezTo>
                    <a:pt x="202344" y="107286"/>
                    <a:pt x="280030" y="29601"/>
                    <a:pt x="375782" y="29601"/>
                  </a:cubicBezTo>
                  <a:cubicBezTo>
                    <a:pt x="471534" y="29601"/>
                    <a:pt x="549219" y="107286"/>
                    <a:pt x="549219" y="203038"/>
                  </a:cubicBezTo>
                  <a:cubicBezTo>
                    <a:pt x="549219" y="272594"/>
                    <a:pt x="506763" y="335827"/>
                    <a:pt x="442628" y="362926"/>
                  </a:cubicBezTo>
                  <a:cubicBezTo>
                    <a:pt x="437207" y="364733"/>
                    <a:pt x="433594" y="370153"/>
                    <a:pt x="433594" y="376476"/>
                  </a:cubicBezTo>
                  <a:lnTo>
                    <a:pt x="433594" y="390929"/>
                  </a:lnTo>
                  <a:lnTo>
                    <a:pt x="317969" y="390929"/>
                  </a:lnTo>
                  <a:lnTo>
                    <a:pt x="317969" y="376476"/>
                  </a:lnTo>
                  <a:cubicBezTo>
                    <a:pt x="317969" y="371056"/>
                    <a:pt x="314356" y="365636"/>
                    <a:pt x="308936" y="362926"/>
                  </a:cubicBezTo>
                  <a:cubicBezTo>
                    <a:pt x="244800" y="336730"/>
                    <a:pt x="202344" y="273497"/>
                    <a:pt x="202344" y="203038"/>
                  </a:cubicBezTo>
                  <a:close/>
                  <a:moveTo>
                    <a:pt x="289063" y="419836"/>
                  </a:moveTo>
                  <a:lnTo>
                    <a:pt x="462501" y="419836"/>
                  </a:lnTo>
                  <a:lnTo>
                    <a:pt x="462501" y="448742"/>
                  </a:lnTo>
                  <a:lnTo>
                    <a:pt x="289063" y="448742"/>
                  </a:lnTo>
                  <a:lnTo>
                    <a:pt x="289063" y="419836"/>
                  </a:lnTo>
                  <a:close/>
                  <a:moveTo>
                    <a:pt x="298999" y="508361"/>
                  </a:moveTo>
                  <a:lnTo>
                    <a:pt x="348682" y="558044"/>
                  </a:lnTo>
                  <a:lnTo>
                    <a:pt x="275513" y="582433"/>
                  </a:lnTo>
                  <a:lnTo>
                    <a:pt x="261963" y="517394"/>
                  </a:lnTo>
                  <a:lnTo>
                    <a:pt x="298999" y="508361"/>
                  </a:lnTo>
                  <a:close/>
                  <a:moveTo>
                    <a:pt x="173438" y="838977"/>
                  </a:moveTo>
                  <a:lnTo>
                    <a:pt x="173438" y="708898"/>
                  </a:lnTo>
                  <a:cubicBezTo>
                    <a:pt x="173438" y="700769"/>
                    <a:pt x="167114" y="694445"/>
                    <a:pt x="158984" y="694445"/>
                  </a:cubicBezTo>
                  <a:cubicBezTo>
                    <a:pt x="150855" y="694445"/>
                    <a:pt x="144531" y="700769"/>
                    <a:pt x="144531" y="708898"/>
                  </a:cubicBezTo>
                  <a:lnTo>
                    <a:pt x="144531" y="838977"/>
                  </a:lnTo>
                  <a:lnTo>
                    <a:pt x="28906" y="838977"/>
                  </a:lnTo>
                  <a:lnTo>
                    <a:pt x="28906" y="672766"/>
                  </a:lnTo>
                  <a:cubicBezTo>
                    <a:pt x="28906" y="626696"/>
                    <a:pt x="60523" y="586047"/>
                    <a:pt x="105689" y="574304"/>
                  </a:cubicBezTo>
                  <a:lnTo>
                    <a:pt x="225830" y="544494"/>
                  </a:lnTo>
                  <a:lnTo>
                    <a:pt x="176148" y="614050"/>
                  </a:lnTo>
                  <a:cubicBezTo>
                    <a:pt x="171631" y="619470"/>
                    <a:pt x="172534" y="627599"/>
                    <a:pt x="177954" y="633020"/>
                  </a:cubicBezTo>
                  <a:lnTo>
                    <a:pt x="225830" y="680896"/>
                  </a:lnTo>
                  <a:lnTo>
                    <a:pt x="206860" y="699865"/>
                  </a:lnTo>
                  <a:cubicBezTo>
                    <a:pt x="203247" y="703479"/>
                    <a:pt x="201441" y="708898"/>
                    <a:pt x="203247" y="714319"/>
                  </a:cubicBezTo>
                  <a:lnTo>
                    <a:pt x="241187" y="839880"/>
                  </a:lnTo>
                  <a:lnTo>
                    <a:pt x="173438" y="839880"/>
                  </a:lnTo>
                  <a:close/>
                  <a:moveTo>
                    <a:pt x="270996" y="838977"/>
                  </a:moveTo>
                  <a:lnTo>
                    <a:pt x="233057" y="712512"/>
                  </a:lnTo>
                  <a:lnTo>
                    <a:pt x="255640" y="689929"/>
                  </a:lnTo>
                  <a:cubicBezTo>
                    <a:pt x="261060" y="684509"/>
                    <a:pt x="261060" y="675475"/>
                    <a:pt x="255640" y="669153"/>
                  </a:cubicBezTo>
                  <a:lnTo>
                    <a:pt x="206860" y="620373"/>
                  </a:lnTo>
                  <a:lnTo>
                    <a:pt x="243897" y="568884"/>
                  </a:lnTo>
                  <a:lnTo>
                    <a:pt x="299903" y="838977"/>
                  </a:lnTo>
                  <a:lnTo>
                    <a:pt x="270996" y="838977"/>
                  </a:lnTo>
                  <a:close/>
                  <a:moveTo>
                    <a:pt x="313453" y="758581"/>
                  </a:moveTo>
                  <a:lnTo>
                    <a:pt x="282740" y="611340"/>
                  </a:lnTo>
                  <a:lnTo>
                    <a:pt x="329712" y="595983"/>
                  </a:lnTo>
                  <a:lnTo>
                    <a:pt x="313453" y="758581"/>
                  </a:lnTo>
                  <a:close/>
                  <a:moveTo>
                    <a:pt x="334229" y="838977"/>
                  </a:moveTo>
                  <a:lnTo>
                    <a:pt x="353198" y="644763"/>
                  </a:lnTo>
                  <a:lnTo>
                    <a:pt x="371265" y="651086"/>
                  </a:lnTo>
                  <a:cubicBezTo>
                    <a:pt x="373072" y="651086"/>
                    <a:pt x="373975" y="651989"/>
                    <a:pt x="375782" y="651989"/>
                  </a:cubicBezTo>
                  <a:cubicBezTo>
                    <a:pt x="377588" y="651989"/>
                    <a:pt x="378491" y="651989"/>
                    <a:pt x="380298" y="651086"/>
                  </a:cubicBezTo>
                  <a:lnTo>
                    <a:pt x="398365" y="644763"/>
                  </a:lnTo>
                  <a:lnTo>
                    <a:pt x="417335" y="838977"/>
                  </a:lnTo>
                  <a:lnTo>
                    <a:pt x="334229" y="838977"/>
                  </a:lnTo>
                  <a:close/>
                  <a:moveTo>
                    <a:pt x="422754" y="595080"/>
                  </a:moveTo>
                  <a:lnTo>
                    <a:pt x="469727" y="610437"/>
                  </a:lnTo>
                  <a:lnTo>
                    <a:pt x="439014" y="758581"/>
                  </a:lnTo>
                  <a:lnTo>
                    <a:pt x="422754" y="595080"/>
                  </a:lnTo>
                  <a:close/>
                  <a:moveTo>
                    <a:pt x="451661" y="838977"/>
                  </a:moveTo>
                  <a:lnTo>
                    <a:pt x="507667" y="568884"/>
                  </a:lnTo>
                  <a:lnTo>
                    <a:pt x="544703" y="620373"/>
                  </a:lnTo>
                  <a:lnTo>
                    <a:pt x="495923" y="669153"/>
                  </a:lnTo>
                  <a:cubicBezTo>
                    <a:pt x="490503" y="674572"/>
                    <a:pt x="490503" y="683606"/>
                    <a:pt x="495923" y="689929"/>
                  </a:cubicBezTo>
                  <a:lnTo>
                    <a:pt x="518506" y="712512"/>
                  </a:lnTo>
                  <a:lnTo>
                    <a:pt x="480567" y="838977"/>
                  </a:lnTo>
                  <a:lnTo>
                    <a:pt x="451661" y="838977"/>
                  </a:lnTo>
                  <a:close/>
                  <a:moveTo>
                    <a:pt x="722657" y="838977"/>
                  </a:moveTo>
                  <a:lnTo>
                    <a:pt x="607032" y="838977"/>
                  </a:lnTo>
                  <a:lnTo>
                    <a:pt x="607032" y="708898"/>
                  </a:lnTo>
                  <a:cubicBezTo>
                    <a:pt x="607032" y="700769"/>
                    <a:pt x="600709" y="694445"/>
                    <a:pt x="592579" y="694445"/>
                  </a:cubicBezTo>
                  <a:cubicBezTo>
                    <a:pt x="584449" y="694445"/>
                    <a:pt x="578126" y="700769"/>
                    <a:pt x="578126" y="708898"/>
                  </a:cubicBezTo>
                  <a:lnTo>
                    <a:pt x="578126" y="838977"/>
                  </a:lnTo>
                  <a:lnTo>
                    <a:pt x="510377" y="838977"/>
                  </a:lnTo>
                  <a:lnTo>
                    <a:pt x="548316" y="713415"/>
                  </a:lnTo>
                  <a:cubicBezTo>
                    <a:pt x="550122" y="707995"/>
                    <a:pt x="548316" y="702575"/>
                    <a:pt x="544703" y="698962"/>
                  </a:cubicBezTo>
                  <a:lnTo>
                    <a:pt x="525733" y="679992"/>
                  </a:lnTo>
                  <a:lnTo>
                    <a:pt x="573609" y="632116"/>
                  </a:lnTo>
                  <a:cubicBezTo>
                    <a:pt x="579029" y="626696"/>
                    <a:pt x="579029" y="619470"/>
                    <a:pt x="575416" y="613147"/>
                  </a:cubicBezTo>
                  <a:lnTo>
                    <a:pt x="525733" y="543591"/>
                  </a:lnTo>
                  <a:lnTo>
                    <a:pt x="645875" y="573400"/>
                  </a:lnTo>
                  <a:cubicBezTo>
                    <a:pt x="691041" y="584240"/>
                    <a:pt x="722657" y="624890"/>
                    <a:pt x="722657" y="671862"/>
                  </a:cubicBezTo>
                  <a:lnTo>
                    <a:pt x="722657" y="83897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37" name="Graphic 3">
            <a:extLst>
              <a:ext uri="{FF2B5EF4-FFF2-40B4-BE49-F238E27FC236}">
                <a16:creationId xmlns:a16="http://schemas.microsoft.com/office/drawing/2014/main" id="{8D25A155-D159-7F01-CA34-608B92E43D7F}"/>
              </a:ext>
            </a:extLst>
          </p:cNvPr>
          <p:cNvGrpSpPr/>
          <p:nvPr/>
        </p:nvGrpSpPr>
        <p:grpSpPr>
          <a:xfrm>
            <a:off x="10249942" y="3184894"/>
            <a:ext cx="421916" cy="423893"/>
            <a:chOff x="10641325" y="2076985"/>
            <a:chExt cx="1044352" cy="1049245"/>
          </a:xfrm>
          <a:solidFill>
            <a:srgbClr val="EABB22"/>
          </a:solidFill>
        </p:grpSpPr>
        <p:sp>
          <p:nvSpPr>
            <p:cNvPr id="138" name="Freeform 137">
              <a:extLst>
                <a:ext uri="{FF2B5EF4-FFF2-40B4-BE49-F238E27FC236}">
                  <a16:creationId xmlns:a16="http://schemas.microsoft.com/office/drawing/2014/main" id="{4E26FD29-3724-E5D4-0503-FD352DDEAD36}"/>
                </a:ext>
              </a:extLst>
            </p:cNvPr>
            <p:cNvSpPr/>
            <p:nvPr/>
          </p:nvSpPr>
          <p:spPr>
            <a:xfrm>
              <a:off x="10690304" y="2076985"/>
              <a:ext cx="995373" cy="991647"/>
            </a:xfrm>
            <a:custGeom>
              <a:avLst/>
              <a:gdLst>
                <a:gd name="connsiteX0" fmla="*/ 991216 w 995373"/>
                <a:gd name="connsiteY0" fmla="*/ 20709 h 991647"/>
                <a:gd name="connsiteX1" fmla="*/ 974758 w 995373"/>
                <a:gd name="connsiteY1" fmla="*/ 4253 h 991647"/>
                <a:gd name="connsiteX2" fmla="*/ 733395 w 995373"/>
                <a:gd name="connsiteY2" fmla="*/ 28938 h 991647"/>
                <a:gd name="connsiteX3" fmla="*/ 527687 w 995373"/>
                <a:gd name="connsiteY3" fmla="*/ 157847 h 991647"/>
                <a:gd name="connsiteX4" fmla="*/ 396035 w 995373"/>
                <a:gd name="connsiteY4" fmla="*/ 289500 h 991647"/>
                <a:gd name="connsiteX5" fmla="*/ 204041 w 995373"/>
                <a:gd name="connsiteY5" fmla="*/ 314185 h 991647"/>
                <a:gd name="connsiteX6" fmla="*/ 193069 w 995373"/>
                <a:gd name="connsiteY6" fmla="*/ 319670 h 991647"/>
                <a:gd name="connsiteX7" fmla="*/ 6562 w 995373"/>
                <a:gd name="connsiteY7" fmla="*/ 506178 h 991647"/>
                <a:gd name="connsiteX8" fmla="*/ 1076 w 995373"/>
                <a:gd name="connsiteY8" fmla="*/ 525377 h 991647"/>
                <a:gd name="connsiteX9" fmla="*/ 17533 w 995373"/>
                <a:gd name="connsiteY9" fmla="*/ 539091 h 991647"/>
                <a:gd name="connsiteX10" fmla="*/ 157414 w 995373"/>
                <a:gd name="connsiteY10" fmla="*/ 563776 h 991647"/>
                <a:gd name="connsiteX11" fmla="*/ 184841 w 995373"/>
                <a:gd name="connsiteY11" fmla="*/ 591204 h 991647"/>
                <a:gd name="connsiteX12" fmla="*/ 127244 w 995373"/>
                <a:gd name="connsiteY12" fmla="*/ 621374 h 991647"/>
                <a:gd name="connsiteX13" fmla="*/ 116272 w 995373"/>
                <a:gd name="connsiteY13" fmla="*/ 635088 h 991647"/>
                <a:gd name="connsiteX14" fmla="*/ 121758 w 995373"/>
                <a:gd name="connsiteY14" fmla="*/ 651545 h 991647"/>
                <a:gd name="connsiteX15" fmla="*/ 341180 w 995373"/>
                <a:gd name="connsiteY15" fmla="*/ 870966 h 991647"/>
                <a:gd name="connsiteX16" fmla="*/ 354893 w 995373"/>
                <a:gd name="connsiteY16" fmla="*/ 876451 h 991647"/>
                <a:gd name="connsiteX17" fmla="*/ 357635 w 995373"/>
                <a:gd name="connsiteY17" fmla="*/ 876451 h 991647"/>
                <a:gd name="connsiteX18" fmla="*/ 371349 w 995373"/>
                <a:gd name="connsiteY18" fmla="*/ 865480 h 991647"/>
                <a:gd name="connsiteX19" fmla="*/ 401521 w 995373"/>
                <a:gd name="connsiteY19" fmla="*/ 807882 h 991647"/>
                <a:gd name="connsiteX20" fmla="*/ 428948 w 995373"/>
                <a:gd name="connsiteY20" fmla="*/ 835310 h 991647"/>
                <a:gd name="connsiteX21" fmla="*/ 453632 w 995373"/>
                <a:gd name="connsiteY21" fmla="*/ 975191 h 991647"/>
                <a:gd name="connsiteX22" fmla="*/ 467346 w 995373"/>
                <a:gd name="connsiteY22" fmla="*/ 991647 h 991647"/>
                <a:gd name="connsiteX23" fmla="*/ 472832 w 995373"/>
                <a:gd name="connsiteY23" fmla="*/ 991647 h 991647"/>
                <a:gd name="connsiteX24" fmla="*/ 486546 w 995373"/>
                <a:gd name="connsiteY24" fmla="*/ 986162 h 991647"/>
                <a:gd name="connsiteX25" fmla="*/ 670312 w 995373"/>
                <a:gd name="connsiteY25" fmla="*/ 802397 h 991647"/>
                <a:gd name="connsiteX26" fmla="*/ 675798 w 995373"/>
                <a:gd name="connsiteY26" fmla="*/ 791425 h 991647"/>
                <a:gd name="connsiteX27" fmla="*/ 700481 w 995373"/>
                <a:gd name="connsiteY27" fmla="*/ 599432 h 991647"/>
                <a:gd name="connsiteX28" fmla="*/ 832134 w 995373"/>
                <a:gd name="connsiteY28" fmla="*/ 467780 h 991647"/>
                <a:gd name="connsiteX29" fmla="*/ 961044 w 995373"/>
                <a:gd name="connsiteY29" fmla="*/ 262073 h 991647"/>
                <a:gd name="connsiteX30" fmla="*/ 991216 w 995373"/>
                <a:gd name="connsiteY30" fmla="*/ 20709 h 991647"/>
                <a:gd name="connsiteX31" fmla="*/ 160156 w 995373"/>
                <a:gd name="connsiteY31" fmla="*/ 525377 h 991647"/>
                <a:gd name="connsiteX32" fmla="*/ 61417 w 995373"/>
                <a:gd name="connsiteY32" fmla="*/ 506178 h 991647"/>
                <a:gd name="connsiteX33" fmla="*/ 215011 w 995373"/>
                <a:gd name="connsiteY33" fmla="*/ 352583 h 991647"/>
                <a:gd name="connsiteX34" fmla="*/ 346665 w 995373"/>
                <a:gd name="connsiteY34" fmla="*/ 336127 h 991647"/>
                <a:gd name="connsiteX35" fmla="*/ 160156 w 995373"/>
                <a:gd name="connsiteY35" fmla="*/ 525377 h 991647"/>
                <a:gd name="connsiteX36" fmla="*/ 349408 w 995373"/>
                <a:gd name="connsiteY36" fmla="*/ 827081 h 991647"/>
                <a:gd name="connsiteX37" fmla="*/ 165642 w 995373"/>
                <a:gd name="connsiteY37" fmla="*/ 643316 h 991647"/>
                <a:gd name="connsiteX38" fmla="*/ 209527 w 995373"/>
                <a:gd name="connsiteY38" fmla="*/ 618632 h 991647"/>
                <a:gd name="connsiteX39" fmla="*/ 371349 w 995373"/>
                <a:gd name="connsiteY39" fmla="*/ 780454 h 991647"/>
                <a:gd name="connsiteX40" fmla="*/ 349408 w 995373"/>
                <a:gd name="connsiteY40" fmla="*/ 827081 h 991647"/>
                <a:gd name="connsiteX41" fmla="*/ 642884 w 995373"/>
                <a:gd name="connsiteY41" fmla="*/ 783197 h 991647"/>
                <a:gd name="connsiteX42" fmla="*/ 489288 w 995373"/>
                <a:gd name="connsiteY42" fmla="*/ 936792 h 991647"/>
                <a:gd name="connsiteX43" fmla="*/ 470090 w 995373"/>
                <a:gd name="connsiteY43" fmla="*/ 838053 h 991647"/>
                <a:gd name="connsiteX44" fmla="*/ 656598 w 995373"/>
                <a:gd name="connsiteY44" fmla="*/ 651545 h 991647"/>
                <a:gd name="connsiteX45" fmla="*/ 642884 w 995373"/>
                <a:gd name="connsiteY45" fmla="*/ 783197 h 991647"/>
                <a:gd name="connsiteX46" fmla="*/ 807450 w 995373"/>
                <a:gd name="connsiteY46" fmla="*/ 443095 h 991647"/>
                <a:gd name="connsiteX47" fmla="*/ 448146 w 995373"/>
                <a:gd name="connsiteY47" fmla="*/ 802397 h 991647"/>
                <a:gd name="connsiteX48" fmla="*/ 193069 w 995373"/>
                <a:gd name="connsiteY48" fmla="*/ 547320 h 991647"/>
                <a:gd name="connsiteX49" fmla="*/ 552373 w 995373"/>
                <a:gd name="connsiteY49" fmla="*/ 188018 h 991647"/>
                <a:gd name="connsiteX50" fmla="*/ 738881 w 995373"/>
                <a:gd name="connsiteY50" fmla="*/ 70079 h 991647"/>
                <a:gd name="connsiteX51" fmla="*/ 804706 w 995373"/>
                <a:gd name="connsiteY51" fmla="*/ 193503 h 991647"/>
                <a:gd name="connsiteX52" fmla="*/ 928131 w 995373"/>
                <a:gd name="connsiteY52" fmla="*/ 259330 h 991647"/>
                <a:gd name="connsiteX53" fmla="*/ 807450 w 995373"/>
                <a:gd name="connsiteY53" fmla="*/ 443095 h 991647"/>
                <a:gd name="connsiteX54" fmla="*/ 939103 w 995373"/>
                <a:gd name="connsiteY54" fmla="*/ 218188 h 991647"/>
                <a:gd name="connsiteX55" fmla="*/ 832134 w 995373"/>
                <a:gd name="connsiteY55" fmla="*/ 163333 h 991647"/>
                <a:gd name="connsiteX56" fmla="*/ 777279 w 995373"/>
                <a:gd name="connsiteY56" fmla="*/ 56365 h 991647"/>
                <a:gd name="connsiteX57" fmla="*/ 955558 w 995373"/>
                <a:gd name="connsiteY57" fmla="*/ 39909 h 991647"/>
                <a:gd name="connsiteX58" fmla="*/ 939103 w 995373"/>
                <a:gd name="connsiteY58" fmla="*/ 218188 h 99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995373" h="991647">
                  <a:moveTo>
                    <a:pt x="991216" y="20709"/>
                  </a:moveTo>
                  <a:cubicBezTo>
                    <a:pt x="991216" y="12481"/>
                    <a:pt x="982986" y="4253"/>
                    <a:pt x="974758" y="4253"/>
                  </a:cubicBezTo>
                  <a:cubicBezTo>
                    <a:pt x="892475" y="-6718"/>
                    <a:pt x="810192" y="4253"/>
                    <a:pt x="733395" y="28938"/>
                  </a:cubicBezTo>
                  <a:cubicBezTo>
                    <a:pt x="656598" y="56365"/>
                    <a:pt x="585285" y="100249"/>
                    <a:pt x="527687" y="157847"/>
                  </a:cubicBezTo>
                  <a:lnTo>
                    <a:pt x="396035" y="289500"/>
                  </a:lnTo>
                  <a:lnTo>
                    <a:pt x="204041" y="314185"/>
                  </a:lnTo>
                  <a:cubicBezTo>
                    <a:pt x="198555" y="314185"/>
                    <a:pt x="195813" y="316928"/>
                    <a:pt x="193069" y="319670"/>
                  </a:cubicBezTo>
                  <a:lnTo>
                    <a:pt x="6562" y="506178"/>
                  </a:lnTo>
                  <a:cubicBezTo>
                    <a:pt x="1076" y="511664"/>
                    <a:pt x="-1666" y="519892"/>
                    <a:pt x="1076" y="525377"/>
                  </a:cubicBezTo>
                  <a:cubicBezTo>
                    <a:pt x="3819" y="533606"/>
                    <a:pt x="9304" y="536349"/>
                    <a:pt x="17533" y="539091"/>
                  </a:cubicBezTo>
                  <a:lnTo>
                    <a:pt x="157414" y="563776"/>
                  </a:lnTo>
                  <a:lnTo>
                    <a:pt x="184841" y="591204"/>
                  </a:lnTo>
                  <a:lnTo>
                    <a:pt x="127244" y="621374"/>
                  </a:lnTo>
                  <a:cubicBezTo>
                    <a:pt x="121758" y="624117"/>
                    <a:pt x="119014" y="629603"/>
                    <a:pt x="116272" y="635088"/>
                  </a:cubicBezTo>
                  <a:cubicBezTo>
                    <a:pt x="116272" y="640573"/>
                    <a:pt x="116272" y="648802"/>
                    <a:pt x="121758" y="651545"/>
                  </a:cubicBezTo>
                  <a:lnTo>
                    <a:pt x="341180" y="870966"/>
                  </a:lnTo>
                  <a:cubicBezTo>
                    <a:pt x="343922" y="873708"/>
                    <a:pt x="349408" y="876451"/>
                    <a:pt x="354893" y="876451"/>
                  </a:cubicBezTo>
                  <a:cubicBezTo>
                    <a:pt x="354893" y="876451"/>
                    <a:pt x="357635" y="876451"/>
                    <a:pt x="357635" y="876451"/>
                  </a:cubicBezTo>
                  <a:cubicBezTo>
                    <a:pt x="363121" y="876451"/>
                    <a:pt x="368607" y="870966"/>
                    <a:pt x="371349" y="865480"/>
                  </a:cubicBezTo>
                  <a:lnTo>
                    <a:pt x="401521" y="807882"/>
                  </a:lnTo>
                  <a:lnTo>
                    <a:pt x="428948" y="835310"/>
                  </a:lnTo>
                  <a:lnTo>
                    <a:pt x="453632" y="975191"/>
                  </a:lnTo>
                  <a:cubicBezTo>
                    <a:pt x="453632" y="983419"/>
                    <a:pt x="459118" y="988905"/>
                    <a:pt x="467346" y="991647"/>
                  </a:cubicBezTo>
                  <a:cubicBezTo>
                    <a:pt x="470090" y="991647"/>
                    <a:pt x="470090" y="991647"/>
                    <a:pt x="472832" y="991647"/>
                  </a:cubicBezTo>
                  <a:cubicBezTo>
                    <a:pt x="478318" y="991647"/>
                    <a:pt x="483804" y="988905"/>
                    <a:pt x="486546" y="986162"/>
                  </a:cubicBezTo>
                  <a:lnTo>
                    <a:pt x="670312" y="802397"/>
                  </a:lnTo>
                  <a:cubicBezTo>
                    <a:pt x="673054" y="799654"/>
                    <a:pt x="675798" y="794168"/>
                    <a:pt x="675798" y="791425"/>
                  </a:cubicBezTo>
                  <a:lnTo>
                    <a:pt x="700481" y="599432"/>
                  </a:lnTo>
                  <a:lnTo>
                    <a:pt x="832134" y="467780"/>
                  </a:lnTo>
                  <a:cubicBezTo>
                    <a:pt x="889733" y="410182"/>
                    <a:pt x="933617" y="338870"/>
                    <a:pt x="961044" y="262073"/>
                  </a:cubicBezTo>
                  <a:cubicBezTo>
                    <a:pt x="991216" y="185275"/>
                    <a:pt x="1002186" y="102992"/>
                    <a:pt x="991216" y="20709"/>
                  </a:cubicBezTo>
                  <a:close/>
                  <a:moveTo>
                    <a:pt x="160156" y="525377"/>
                  </a:moveTo>
                  <a:lnTo>
                    <a:pt x="61417" y="506178"/>
                  </a:lnTo>
                  <a:lnTo>
                    <a:pt x="215011" y="352583"/>
                  </a:lnTo>
                  <a:lnTo>
                    <a:pt x="346665" y="336127"/>
                  </a:lnTo>
                  <a:lnTo>
                    <a:pt x="160156" y="525377"/>
                  </a:lnTo>
                  <a:close/>
                  <a:moveTo>
                    <a:pt x="349408" y="827081"/>
                  </a:moveTo>
                  <a:lnTo>
                    <a:pt x="165642" y="643316"/>
                  </a:lnTo>
                  <a:lnTo>
                    <a:pt x="209527" y="618632"/>
                  </a:lnTo>
                  <a:lnTo>
                    <a:pt x="371349" y="780454"/>
                  </a:lnTo>
                  <a:lnTo>
                    <a:pt x="349408" y="827081"/>
                  </a:lnTo>
                  <a:close/>
                  <a:moveTo>
                    <a:pt x="642884" y="783197"/>
                  </a:moveTo>
                  <a:lnTo>
                    <a:pt x="489288" y="936792"/>
                  </a:lnTo>
                  <a:lnTo>
                    <a:pt x="470090" y="838053"/>
                  </a:lnTo>
                  <a:lnTo>
                    <a:pt x="656598" y="651545"/>
                  </a:lnTo>
                  <a:lnTo>
                    <a:pt x="642884" y="783197"/>
                  </a:lnTo>
                  <a:close/>
                  <a:moveTo>
                    <a:pt x="807450" y="443095"/>
                  </a:moveTo>
                  <a:lnTo>
                    <a:pt x="448146" y="802397"/>
                  </a:lnTo>
                  <a:lnTo>
                    <a:pt x="193069" y="547320"/>
                  </a:lnTo>
                  <a:lnTo>
                    <a:pt x="552373" y="188018"/>
                  </a:lnTo>
                  <a:cubicBezTo>
                    <a:pt x="604485" y="135905"/>
                    <a:pt x="667568" y="94764"/>
                    <a:pt x="738881" y="70079"/>
                  </a:cubicBezTo>
                  <a:cubicBezTo>
                    <a:pt x="747109" y="116706"/>
                    <a:pt x="771794" y="157847"/>
                    <a:pt x="804706" y="193503"/>
                  </a:cubicBezTo>
                  <a:cubicBezTo>
                    <a:pt x="837620" y="226417"/>
                    <a:pt x="881505" y="248359"/>
                    <a:pt x="928131" y="259330"/>
                  </a:cubicBezTo>
                  <a:cubicBezTo>
                    <a:pt x="900703" y="327899"/>
                    <a:pt x="859562" y="390982"/>
                    <a:pt x="807450" y="443095"/>
                  </a:cubicBezTo>
                  <a:close/>
                  <a:moveTo>
                    <a:pt x="939103" y="218188"/>
                  </a:moveTo>
                  <a:cubicBezTo>
                    <a:pt x="897961" y="212703"/>
                    <a:pt x="862305" y="190761"/>
                    <a:pt x="832134" y="163333"/>
                  </a:cubicBezTo>
                  <a:cubicBezTo>
                    <a:pt x="801964" y="133162"/>
                    <a:pt x="782764" y="97507"/>
                    <a:pt x="777279" y="56365"/>
                  </a:cubicBezTo>
                  <a:cubicBezTo>
                    <a:pt x="834878" y="39909"/>
                    <a:pt x="895219" y="34423"/>
                    <a:pt x="955558" y="39909"/>
                  </a:cubicBezTo>
                  <a:cubicBezTo>
                    <a:pt x="958302" y="100249"/>
                    <a:pt x="952816" y="160590"/>
                    <a:pt x="939103" y="218188"/>
                  </a:cubicBezTo>
                  <a:close/>
                </a:path>
              </a:pathLst>
            </a:custGeom>
            <a:grpFill/>
            <a:ln w="27426" cap="flat">
              <a:noFill/>
              <a:prstDash val="solid"/>
              <a:miter/>
            </a:ln>
          </p:spPr>
          <p:txBody>
            <a:bodyPr rtlCol="0" anchor="ctr"/>
            <a:lstStyle/>
            <a:p>
              <a:endParaRPr lang="en-US"/>
            </a:p>
          </p:txBody>
        </p:sp>
        <p:sp>
          <p:nvSpPr>
            <p:cNvPr id="139" name="Freeform 138">
              <a:extLst>
                <a:ext uri="{FF2B5EF4-FFF2-40B4-BE49-F238E27FC236}">
                  <a16:creationId xmlns:a16="http://schemas.microsoft.com/office/drawing/2014/main" id="{50CF25EF-B7B0-59FD-D73D-AADEFEDF3864}"/>
                </a:ext>
              </a:extLst>
            </p:cNvPr>
            <p:cNvSpPr/>
            <p:nvPr/>
          </p:nvSpPr>
          <p:spPr>
            <a:xfrm>
              <a:off x="11188507" y="2334258"/>
              <a:ext cx="239991" cy="240677"/>
            </a:xfrm>
            <a:custGeom>
              <a:avLst/>
              <a:gdLst>
                <a:gd name="connsiteX0" fmla="*/ 34971 w 239991"/>
                <a:gd name="connsiteY0" fmla="*/ 34970 h 240677"/>
                <a:gd name="connsiteX1" fmla="*/ 34971 w 239991"/>
                <a:gd name="connsiteY1" fmla="*/ 205021 h 240677"/>
                <a:gd name="connsiteX2" fmla="*/ 119996 w 239991"/>
                <a:gd name="connsiteY2" fmla="*/ 240677 h 240677"/>
                <a:gd name="connsiteX3" fmla="*/ 205022 w 239991"/>
                <a:gd name="connsiteY3" fmla="*/ 205021 h 240677"/>
                <a:gd name="connsiteX4" fmla="*/ 205022 w 239991"/>
                <a:gd name="connsiteY4" fmla="*/ 205021 h 240677"/>
                <a:gd name="connsiteX5" fmla="*/ 205022 w 239991"/>
                <a:gd name="connsiteY5" fmla="*/ 34970 h 240677"/>
                <a:gd name="connsiteX6" fmla="*/ 34971 w 239991"/>
                <a:gd name="connsiteY6" fmla="*/ 34970 h 240677"/>
                <a:gd name="connsiteX7" fmla="*/ 177595 w 239991"/>
                <a:gd name="connsiteY7" fmla="*/ 177594 h 240677"/>
                <a:gd name="connsiteX8" fmla="*/ 62398 w 239991"/>
                <a:gd name="connsiteY8" fmla="*/ 177594 h 240677"/>
                <a:gd name="connsiteX9" fmla="*/ 62398 w 239991"/>
                <a:gd name="connsiteY9" fmla="*/ 62398 h 240677"/>
                <a:gd name="connsiteX10" fmla="*/ 119996 w 239991"/>
                <a:gd name="connsiteY10" fmla="*/ 37713 h 240677"/>
                <a:gd name="connsiteX11" fmla="*/ 177595 w 239991"/>
                <a:gd name="connsiteY11" fmla="*/ 62398 h 240677"/>
                <a:gd name="connsiteX12" fmla="*/ 177595 w 239991"/>
                <a:gd name="connsiteY12" fmla="*/ 177594 h 24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9991" h="240677">
                  <a:moveTo>
                    <a:pt x="34971" y="34970"/>
                  </a:moveTo>
                  <a:cubicBezTo>
                    <a:pt x="-11657" y="81597"/>
                    <a:pt x="-11657" y="158394"/>
                    <a:pt x="34971" y="205021"/>
                  </a:cubicBezTo>
                  <a:cubicBezTo>
                    <a:pt x="59654" y="229706"/>
                    <a:pt x="89826" y="240677"/>
                    <a:pt x="119996" y="240677"/>
                  </a:cubicBezTo>
                  <a:cubicBezTo>
                    <a:pt x="150167" y="240677"/>
                    <a:pt x="180337" y="229706"/>
                    <a:pt x="205022" y="205021"/>
                  </a:cubicBezTo>
                  <a:lnTo>
                    <a:pt x="205022" y="205021"/>
                  </a:lnTo>
                  <a:cubicBezTo>
                    <a:pt x="251648" y="158394"/>
                    <a:pt x="251648" y="81597"/>
                    <a:pt x="205022" y="34970"/>
                  </a:cubicBezTo>
                  <a:cubicBezTo>
                    <a:pt x="158395" y="-11657"/>
                    <a:pt x="81598" y="-11657"/>
                    <a:pt x="34971" y="34970"/>
                  </a:cubicBezTo>
                  <a:close/>
                  <a:moveTo>
                    <a:pt x="177595" y="177594"/>
                  </a:moveTo>
                  <a:cubicBezTo>
                    <a:pt x="147423" y="207764"/>
                    <a:pt x="95312" y="207764"/>
                    <a:pt x="62398" y="177594"/>
                  </a:cubicBezTo>
                  <a:cubicBezTo>
                    <a:pt x="32227" y="147424"/>
                    <a:pt x="32227" y="95311"/>
                    <a:pt x="62398" y="62398"/>
                  </a:cubicBezTo>
                  <a:cubicBezTo>
                    <a:pt x="78854" y="45941"/>
                    <a:pt x="98054" y="37713"/>
                    <a:pt x="119996" y="37713"/>
                  </a:cubicBezTo>
                  <a:cubicBezTo>
                    <a:pt x="141937" y="37713"/>
                    <a:pt x="161137" y="45941"/>
                    <a:pt x="177595" y="62398"/>
                  </a:cubicBezTo>
                  <a:cubicBezTo>
                    <a:pt x="207765" y="95311"/>
                    <a:pt x="207765" y="144681"/>
                    <a:pt x="177595" y="177594"/>
                  </a:cubicBezTo>
                  <a:close/>
                </a:path>
              </a:pathLst>
            </a:custGeom>
            <a:grpFill/>
            <a:ln w="27426" cap="flat">
              <a:noFill/>
              <a:prstDash val="solid"/>
              <a:miter/>
            </a:ln>
          </p:spPr>
          <p:txBody>
            <a:bodyPr rtlCol="0" anchor="ctr"/>
            <a:lstStyle/>
            <a:p>
              <a:endParaRPr lang="en-US"/>
            </a:p>
          </p:txBody>
        </p:sp>
        <p:sp>
          <p:nvSpPr>
            <p:cNvPr id="140" name="Freeform 139">
              <a:extLst>
                <a:ext uri="{FF2B5EF4-FFF2-40B4-BE49-F238E27FC236}">
                  <a16:creationId xmlns:a16="http://schemas.microsoft.com/office/drawing/2014/main" id="{0A008202-6752-77B0-16F8-AADCC6A214A7}"/>
                </a:ext>
              </a:extLst>
            </p:cNvPr>
            <p:cNvSpPr/>
            <p:nvPr/>
          </p:nvSpPr>
          <p:spPr>
            <a:xfrm>
              <a:off x="10696180" y="2862240"/>
              <a:ext cx="207763" cy="209135"/>
            </a:xfrm>
            <a:custGeom>
              <a:avLst/>
              <a:gdLst>
                <a:gd name="connsiteX0" fmla="*/ 203651 w 207763"/>
                <a:gd name="connsiteY0" fmla="*/ 6171 h 209135"/>
                <a:gd name="connsiteX1" fmla="*/ 176223 w 207763"/>
                <a:gd name="connsiteY1" fmla="*/ 6171 h 209135"/>
                <a:gd name="connsiteX2" fmla="*/ 6171 w 207763"/>
                <a:gd name="connsiteY2" fmla="*/ 176223 h 209135"/>
                <a:gd name="connsiteX3" fmla="*/ 6171 w 207763"/>
                <a:gd name="connsiteY3" fmla="*/ 203650 h 209135"/>
                <a:gd name="connsiteX4" fmla="*/ 19885 w 207763"/>
                <a:gd name="connsiteY4" fmla="*/ 209136 h 209135"/>
                <a:gd name="connsiteX5" fmla="*/ 33599 w 207763"/>
                <a:gd name="connsiteY5" fmla="*/ 203650 h 209135"/>
                <a:gd name="connsiteX6" fmla="*/ 203651 w 207763"/>
                <a:gd name="connsiteY6" fmla="*/ 33599 h 209135"/>
                <a:gd name="connsiteX7" fmla="*/ 203651 w 207763"/>
                <a:gd name="connsiteY7" fmla="*/ 6171 h 20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763" h="209135">
                  <a:moveTo>
                    <a:pt x="203651" y="6171"/>
                  </a:moveTo>
                  <a:cubicBezTo>
                    <a:pt x="195421" y="-2057"/>
                    <a:pt x="184451" y="-2057"/>
                    <a:pt x="176223" y="6171"/>
                  </a:cubicBezTo>
                  <a:lnTo>
                    <a:pt x="6171" y="176223"/>
                  </a:lnTo>
                  <a:cubicBezTo>
                    <a:pt x="-2057" y="184451"/>
                    <a:pt x="-2057" y="195422"/>
                    <a:pt x="6171" y="203650"/>
                  </a:cubicBezTo>
                  <a:cubicBezTo>
                    <a:pt x="8913" y="206393"/>
                    <a:pt x="14399" y="209136"/>
                    <a:pt x="19885" y="209136"/>
                  </a:cubicBezTo>
                  <a:cubicBezTo>
                    <a:pt x="25371" y="209136"/>
                    <a:pt x="30855" y="206393"/>
                    <a:pt x="33599" y="203650"/>
                  </a:cubicBezTo>
                  <a:lnTo>
                    <a:pt x="203651" y="33599"/>
                  </a:lnTo>
                  <a:cubicBezTo>
                    <a:pt x="209135" y="25371"/>
                    <a:pt x="209135" y="14399"/>
                    <a:pt x="203651" y="6171"/>
                  </a:cubicBezTo>
                  <a:close/>
                </a:path>
              </a:pathLst>
            </a:custGeom>
            <a:grpFill/>
            <a:ln w="27426" cap="flat">
              <a:noFill/>
              <a:prstDash val="solid"/>
              <a:miter/>
            </a:ln>
          </p:spPr>
          <p:txBody>
            <a:bodyPr rtlCol="0" anchor="ctr"/>
            <a:lstStyle/>
            <a:p>
              <a:endParaRPr lang="en-US"/>
            </a:p>
          </p:txBody>
        </p:sp>
        <p:sp>
          <p:nvSpPr>
            <p:cNvPr id="141" name="Freeform 140">
              <a:extLst>
                <a:ext uri="{FF2B5EF4-FFF2-40B4-BE49-F238E27FC236}">
                  <a16:creationId xmlns:a16="http://schemas.microsoft.com/office/drawing/2014/main" id="{D154097C-DA68-0796-E3BE-7C4CCE2EECE1}"/>
                </a:ext>
              </a:extLst>
            </p:cNvPr>
            <p:cNvSpPr/>
            <p:nvPr/>
          </p:nvSpPr>
          <p:spPr>
            <a:xfrm>
              <a:off x="10841547" y="2917095"/>
              <a:ext cx="116566" cy="115881"/>
            </a:xfrm>
            <a:custGeom>
              <a:avLst/>
              <a:gdLst>
                <a:gd name="connsiteX0" fmla="*/ 82968 w 116566"/>
                <a:gd name="connsiteY0" fmla="*/ 6171 h 115881"/>
                <a:gd name="connsiteX1" fmla="*/ 6171 w 116566"/>
                <a:gd name="connsiteY1" fmla="*/ 82968 h 115881"/>
                <a:gd name="connsiteX2" fmla="*/ 6171 w 116566"/>
                <a:gd name="connsiteY2" fmla="*/ 110396 h 115881"/>
                <a:gd name="connsiteX3" fmla="*/ 19885 w 116566"/>
                <a:gd name="connsiteY3" fmla="*/ 115881 h 115881"/>
                <a:gd name="connsiteX4" fmla="*/ 33599 w 116566"/>
                <a:gd name="connsiteY4" fmla="*/ 110396 h 115881"/>
                <a:gd name="connsiteX5" fmla="*/ 110396 w 116566"/>
                <a:gd name="connsiteY5" fmla="*/ 33599 h 115881"/>
                <a:gd name="connsiteX6" fmla="*/ 110396 w 116566"/>
                <a:gd name="connsiteY6" fmla="*/ 6171 h 115881"/>
                <a:gd name="connsiteX7" fmla="*/ 82968 w 116566"/>
                <a:gd name="connsiteY7" fmla="*/ 6171 h 115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566" h="115881">
                  <a:moveTo>
                    <a:pt x="82968" y="6171"/>
                  </a:moveTo>
                  <a:lnTo>
                    <a:pt x="6171" y="82968"/>
                  </a:lnTo>
                  <a:cubicBezTo>
                    <a:pt x="-2057" y="91197"/>
                    <a:pt x="-2057" y="102168"/>
                    <a:pt x="6171" y="110396"/>
                  </a:cubicBezTo>
                  <a:cubicBezTo>
                    <a:pt x="8913" y="113139"/>
                    <a:pt x="14399" y="115881"/>
                    <a:pt x="19885" y="115881"/>
                  </a:cubicBezTo>
                  <a:cubicBezTo>
                    <a:pt x="25371" y="115881"/>
                    <a:pt x="30857" y="113139"/>
                    <a:pt x="33599" y="110396"/>
                  </a:cubicBezTo>
                  <a:lnTo>
                    <a:pt x="110396" y="33599"/>
                  </a:lnTo>
                  <a:cubicBezTo>
                    <a:pt x="118624" y="25371"/>
                    <a:pt x="118624" y="14399"/>
                    <a:pt x="110396" y="6171"/>
                  </a:cubicBezTo>
                  <a:cubicBezTo>
                    <a:pt x="104910" y="-2057"/>
                    <a:pt x="91196" y="-2057"/>
                    <a:pt x="82968" y="6171"/>
                  </a:cubicBezTo>
                  <a:close/>
                </a:path>
              </a:pathLst>
            </a:custGeom>
            <a:grpFill/>
            <a:ln w="27426" cap="flat">
              <a:noFill/>
              <a:prstDash val="solid"/>
              <a:miter/>
            </a:ln>
          </p:spPr>
          <p:txBody>
            <a:bodyPr rtlCol="0" anchor="ctr"/>
            <a:lstStyle/>
            <a:p>
              <a:endParaRPr lang="en-US"/>
            </a:p>
          </p:txBody>
        </p:sp>
        <p:sp>
          <p:nvSpPr>
            <p:cNvPr id="142" name="Freeform 141">
              <a:extLst>
                <a:ext uri="{FF2B5EF4-FFF2-40B4-BE49-F238E27FC236}">
                  <a16:creationId xmlns:a16="http://schemas.microsoft.com/office/drawing/2014/main" id="{9AE2F0A8-3C9D-EBB1-9C62-1E210155489C}"/>
                </a:ext>
              </a:extLst>
            </p:cNvPr>
            <p:cNvSpPr/>
            <p:nvPr/>
          </p:nvSpPr>
          <p:spPr>
            <a:xfrm>
              <a:off x="10800014" y="3032976"/>
              <a:ext cx="40503" cy="39770"/>
            </a:xfrm>
            <a:custGeom>
              <a:avLst/>
              <a:gdLst>
                <a:gd name="connsiteX0" fmla="*/ 20275 w 40503"/>
                <a:gd name="connsiteY0" fmla="*/ 0 h 39770"/>
                <a:gd name="connsiteX1" fmla="*/ 1076 w 40503"/>
                <a:gd name="connsiteY1" fmla="*/ 13714 h 39770"/>
                <a:gd name="connsiteX2" fmla="*/ 6562 w 40503"/>
                <a:gd name="connsiteY2" fmla="*/ 35656 h 39770"/>
                <a:gd name="connsiteX3" fmla="*/ 31247 w 40503"/>
                <a:gd name="connsiteY3" fmla="*/ 35656 h 39770"/>
                <a:gd name="connsiteX4" fmla="*/ 39475 w 40503"/>
                <a:gd name="connsiteY4" fmla="*/ 10971 h 39770"/>
                <a:gd name="connsiteX5" fmla="*/ 20275 w 40503"/>
                <a:gd name="connsiteY5" fmla="*/ 0 h 3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03" h="39770">
                  <a:moveTo>
                    <a:pt x="20275" y="0"/>
                  </a:moveTo>
                  <a:cubicBezTo>
                    <a:pt x="12047" y="0"/>
                    <a:pt x="3819" y="5486"/>
                    <a:pt x="1076" y="13714"/>
                  </a:cubicBezTo>
                  <a:cubicBezTo>
                    <a:pt x="-1666" y="21942"/>
                    <a:pt x="1076" y="30171"/>
                    <a:pt x="6562" y="35656"/>
                  </a:cubicBezTo>
                  <a:cubicBezTo>
                    <a:pt x="12047" y="41141"/>
                    <a:pt x="23018" y="41141"/>
                    <a:pt x="31247" y="35656"/>
                  </a:cubicBezTo>
                  <a:cubicBezTo>
                    <a:pt x="39475" y="30171"/>
                    <a:pt x="42217" y="19200"/>
                    <a:pt x="39475" y="10971"/>
                  </a:cubicBezTo>
                  <a:cubicBezTo>
                    <a:pt x="36731" y="5486"/>
                    <a:pt x="28503" y="0"/>
                    <a:pt x="20275" y="0"/>
                  </a:cubicBezTo>
                  <a:close/>
                </a:path>
              </a:pathLst>
            </a:custGeom>
            <a:grpFill/>
            <a:ln w="27426" cap="flat">
              <a:noFill/>
              <a:prstDash val="solid"/>
              <a:miter/>
            </a:ln>
          </p:spPr>
          <p:txBody>
            <a:bodyPr rtlCol="0" anchor="ctr"/>
            <a:lstStyle/>
            <a:p>
              <a:endParaRPr lang="en-US"/>
            </a:p>
          </p:txBody>
        </p:sp>
        <p:sp>
          <p:nvSpPr>
            <p:cNvPr id="143" name="Freeform 142">
              <a:extLst>
                <a:ext uri="{FF2B5EF4-FFF2-40B4-BE49-F238E27FC236}">
                  <a16:creationId xmlns:a16="http://schemas.microsoft.com/office/drawing/2014/main" id="{A4F1F850-706A-1CEE-81B6-BEA32876B322}"/>
                </a:ext>
              </a:extLst>
            </p:cNvPr>
            <p:cNvSpPr/>
            <p:nvPr/>
          </p:nvSpPr>
          <p:spPr>
            <a:xfrm>
              <a:off x="10839490" y="3045471"/>
              <a:ext cx="27427" cy="1218"/>
            </a:xfrm>
            <a:custGeom>
              <a:avLst/>
              <a:gdLst>
                <a:gd name="connsiteX0" fmla="*/ 0 w 27427"/>
                <a:gd name="connsiteY0" fmla="*/ 1219 h 1218"/>
                <a:gd name="connsiteX1" fmla="*/ 0 w 27427"/>
                <a:gd name="connsiteY1" fmla="*/ 1219 h 1218"/>
                <a:gd name="connsiteX2" fmla="*/ 0 w 27427"/>
                <a:gd name="connsiteY2" fmla="*/ 1219 h 1218"/>
              </a:gdLst>
              <a:ahLst/>
              <a:cxnLst>
                <a:cxn ang="0">
                  <a:pos x="connsiteX0" y="connsiteY0"/>
                </a:cxn>
                <a:cxn ang="0">
                  <a:pos x="connsiteX1" y="connsiteY1"/>
                </a:cxn>
                <a:cxn ang="0">
                  <a:pos x="connsiteX2" y="connsiteY2"/>
                </a:cxn>
              </a:cxnLst>
              <a:rect l="l" t="t" r="r" b="b"/>
              <a:pathLst>
                <a:path w="27427" h="1218">
                  <a:moveTo>
                    <a:pt x="0" y="1219"/>
                  </a:moveTo>
                  <a:cubicBezTo>
                    <a:pt x="0" y="1219"/>
                    <a:pt x="0" y="-1524"/>
                    <a:pt x="0" y="1219"/>
                  </a:cubicBezTo>
                  <a:lnTo>
                    <a:pt x="0" y="1219"/>
                  </a:lnTo>
                  <a:close/>
                </a:path>
              </a:pathLst>
            </a:custGeom>
            <a:grpFill/>
            <a:ln w="27426" cap="flat">
              <a:noFill/>
              <a:prstDash val="solid"/>
              <a:miter/>
            </a:ln>
          </p:spPr>
          <p:txBody>
            <a:bodyPr rtlCol="0" anchor="ctr"/>
            <a:lstStyle/>
            <a:p>
              <a:endParaRPr lang="en-US"/>
            </a:p>
          </p:txBody>
        </p:sp>
        <p:sp>
          <p:nvSpPr>
            <p:cNvPr id="144" name="Freeform 143">
              <a:extLst>
                <a:ext uri="{FF2B5EF4-FFF2-40B4-BE49-F238E27FC236}">
                  <a16:creationId xmlns:a16="http://schemas.microsoft.com/office/drawing/2014/main" id="{33179FAF-6E2C-CAD1-08D8-8F9F90765EB9}"/>
                </a:ext>
              </a:extLst>
            </p:cNvPr>
            <p:cNvSpPr/>
            <p:nvPr/>
          </p:nvSpPr>
          <p:spPr>
            <a:xfrm>
              <a:off x="10748292" y="3076175"/>
              <a:ext cx="50741" cy="50055"/>
            </a:xfrm>
            <a:custGeom>
              <a:avLst/>
              <a:gdLst>
                <a:gd name="connsiteX0" fmla="*/ 17143 w 50741"/>
                <a:gd name="connsiteY0" fmla="*/ 6171 h 50055"/>
                <a:gd name="connsiteX1" fmla="*/ 6171 w 50741"/>
                <a:gd name="connsiteY1" fmla="*/ 17143 h 50055"/>
                <a:gd name="connsiteX2" fmla="*/ 6171 w 50741"/>
                <a:gd name="connsiteY2" fmla="*/ 44570 h 50055"/>
                <a:gd name="connsiteX3" fmla="*/ 19885 w 50741"/>
                <a:gd name="connsiteY3" fmla="*/ 50056 h 50055"/>
                <a:gd name="connsiteX4" fmla="*/ 33599 w 50741"/>
                <a:gd name="connsiteY4" fmla="*/ 44570 h 50055"/>
                <a:gd name="connsiteX5" fmla="*/ 44570 w 50741"/>
                <a:gd name="connsiteY5" fmla="*/ 33599 h 50055"/>
                <a:gd name="connsiteX6" fmla="*/ 44570 w 50741"/>
                <a:gd name="connsiteY6" fmla="*/ 6171 h 50055"/>
                <a:gd name="connsiteX7" fmla="*/ 17143 w 50741"/>
                <a:gd name="connsiteY7" fmla="*/ 6171 h 5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41" h="50055">
                  <a:moveTo>
                    <a:pt x="17143" y="6171"/>
                  </a:moveTo>
                  <a:lnTo>
                    <a:pt x="6171" y="17143"/>
                  </a:lnTo>
                  <a:cubicBezTo>
                    <a:pt x="-2057" y="25371"/>
                    <a:pt x="-2057" y="36342"/>
                    <a:pt x="6171" y="44570"/>
                  </a:cubicBezTo>
                  <a:cubicBezTo>
                    <a:pt x="8915" y="47313"/>
                    <a:pt x="14401" y="50056"/>
                    <a:pt x="19885" y="50056"/>
                  </a:cubicBezTo>
                  <a:cubicBezTo>
                    <a:pt x="25371" y="50056"/>
                    <a:pt x="30857" y="47313"/>
                    <a:pt x="33599" y="44570"/>
                  </a:cubicBezTo>
                  <a:lnTo>
                    <a:pt x="44570" y="33599"/>
                  </a:lnTo>
                  <a:cubicBezTo>
                    <a:pt x="52798" y="25371"/>
                    <a:pt x="52798" y="14400"/>
                    <a:pt x="44570" y="6171"/>
                  </a:cubicBezTo>
                  <a:cubicBezTo>
                    <a:pt x="36342" y="-2057"/>
                    <a:pt x="25371" y="-2057"/>
                    <a:pt x="17143" y="6171"/>
                  </a:cubicBezTo>
                  <a:close/>
                </a:path>
              </a:pathLst>
            </a:custGeom>
            <a:grpFill/>
            <a:ln w="27426" cap="flat">
              <a:noFill/>
              <a:prstDash val="solid"/>
              <a:miter/>
            </a:ln>
          </p:spPr>
          <p:txBody>
            <a:bodyPr rtlCol="0" anchor="ctr"/>
            <a:lstStyle/>
            <a:p>
              <a:endParaRPr lang="en-US"/>
            </a:p>
          </p:txBody>
        </p:sp>
        <p:sp>
          <p:nvSpPr>
            <p:cNvPr id="145" name="Freeform 144">
              <a:extLst>
                <a:ext uri="{FF2B5EF4-FFF2-40B4-BE49-F238E27FC236}">
                  <a16:creationId xmlns:a16="http://schemas.microsoft.com/office/drawing/2014/main" id="{6A8F03EB-5615-B99E-8D19-061529E22973}"/>
                </a:ext>
              </a:extLst>
            </p:cNvPr>
            <p:cNvSpPr/>
            <p:nvPr/>
          </p:nvSpPr>
          <p:spPr>
            <a:xfrm>
              <a:off x="10641325" y="2900638"/>
              <a:ext cx="116566" cy="115881"/>
            </a:xfrm>
            <a:custGeom>
              <a:avLst/>
              <a:gdLst>
                <a:gd name="connsiteX0" fmla="*/ 110396 w 116566"/>
                <a:gd name="connsiteY0" fmla="*/ 6171 h 115881"/>
                <a:gd name="connsiteX1" fmla="*/ 82968 w 116566"/>
                <a:gd name="connsiteY1" fmla="*/ 6171 h 115881"/>
                <a:gd name="connsiteX2" fmla="*/ 6171 w 116566"/>
                <a:gd name="connsiteY2" fmla="*/ 82969 h 115881"/>
                <a:gd name="connsiteX3" fmla="*/ 6171 w 116566"/>
                <a:gd name="connsiteY3" fmla="*/ 110396 h 115881"/>
                <a:gd name="connsiteX4" fmla="*/ 19885 w 116566"/>
                <a:gd name="connsiteY4" fmla="*/ 115882 h 115881"/>
                <a:gd name="connsiteX5" fmla="*/ 33599 w 116566"/>
                <a:gd name="connsiteY5" fmla="*/ 110396 h 115881"/>
                <a:gd name="connsiteX6" fmla="*/ 110396 w 116566"/>
                <a:gd name="connsiteY6" fmla="*/ 33599 h 115881"/>
                <a:gd name="connsiteX7" fmla="*/ 110396 w 116566"/>
                <a:gd name="connsiteY7" fmla="*/ 6171 h 115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566" h="115881">
                  <a:moveTo>
                    <a:pt x="110396" y="6171"/>
                  </a:moveTo>
                  <a:cubicBezTo>
                    <a:pt x="102168" y="-2057"/>
                    <a:pt x="91196" y="-2057"/>
                    <a:pt x="82968" y="6171"/>
                  </a:cubicBezTo>
                  <a:lnTo>
                    <a:pt x="6171" y="82969"/>
                  </a:lnTo>
                  <a:cubicBezTo>
                    <a:pt x="-2057" y="91197"/>
                    <a:pt x="-2057" y="102168"/>
                    <a:pt x="6171" y="110396"/>
                  </a:cubicBezTo>
                  <a:cubicBezTo>
                    <a:pt x="8913" y="113139"/>
                    <a:pt x="14399" y="115882"/>
                    <a:pt x="19885" y="115882"/>
                  </a:cubicBezTo>
                  <a:cubicBezTo>
                    <a:pt x="25371" y="115882"/>
                    <a:pt x="30855" y="113139"/>
                    <a:pt x="33599" y="110396"/>
                  </a:cubicBezTo>
                  <a:lnTo>
                    <a:pt x="110396" y="33599"/>
                  </a:lnTo>
                  <a:cubicBezTo>
                    <a:pt x="118624" y="28113"/>
                    <a:pt x="118624" y="14400"/>
                    <a:pt x="110396" y="6171"/>
                  </a:cubicBezTo>
                  <a:close/>
                </a:path>
              </a:pathLst>
            </a:custGeom>
            <a:grpFill/>
            <a:ln w="27426" cap="flat">
              <a:noFill/>
              <a:prstDash val="solid"/>
              <a:miter/>
            </a:ln>
          </p:spPr>
          <p:txBody>
            <a:bodyPr rtlCol="0" anchor="ctr"/>
            <a:lstStyle/>
            <a:p>
              <a:endParaRPr lang="en-US"/>
            </a:p>
          </p:txBody>
        </p:sp>
        <p:sp>
          <p:nvSpPr>
            <p:cNvPr id="146" name="Freeform 145">
              <a:extLst>
                <a:ext uri="{FF2B5EF4-FFF2-40B4-BE49-F238E27FC236}">
                  <a16:creationId xmlns:a16="http://schemas.microsoft.com/office/drawing/2014/main" id="{3BD99D5F-3625-FAE8-16B0-58D2CC8284F0}"/>
                </a:ext>
              </a:extLst>
            </p:cNvPr>
            <p:cNvSpPr/>
            <p:nvPr/>
          </p:nvSpPr>
          <p:spPr>
            <a:xfrm>
              <a:off x="10756959" y="2861124"/>
              <a:ext cx="38645" cy="38485"/>
            </a:xfrm>
            <a:custGeom>
              <a:avLst/>
              <a:gdLst>
                <a:gd name="connsiteX0" fmla="*/ 24932 w 38645"/>
                <a:gd name="connsiteY0" fmla="*/ 37457 h 38485"/>
                <a:gd name="connsiteX1" fmla="*/ 38646 w 38645"/>
                <a:gd name="connsiteY1" fmla="*/ 21001 h 38485"/>
                <a:gd name="connsiteX2" fmla="*/ 27676 w 38645"/>
                <a:gd name="connsiteY2" fmla="*/ 1801 h 38485"/>
                <a:gd name="connsiteX3" fmla="*/ 5734 w 38645"/>
                <a:gd name="connsiteY3" fmla="*/ 4544 h 38485"/>
                <a:gd name="connsiteX4" fmla="*/ 2990 w 38645"/>
                <a:gd name="connsiteY4" fmla="*/ 29229 h 38485"/>
                <a:gd name="connsiteX5" fmla="*/ 2990 w 38645"/>
                <a:gd name="connsiteY5" fmla="*/ 29229 h 38485"/>
                <a:gd name="connsiteX6" fmla="*/ 2990 w 38645"/>
                <a:gd name="connsiteY6" fmla="*/ 29229 h 38485"/>
                <a:gd name="connsiteX7" fmla="*/ 24932 w 38645"/>
                <a:gd name="connsiteY7" fmla="*/ 37457 h 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38485">
                  <a:moveTo>
                    <a:pt x="24932" y="37457"/>
                  </a:moveTo>
                  <a:cubicBezTo>
                    <a:pt x="33161" y="34714"/>
                    <a:pt x="38646" y="29229"/>
                    <a:pt x="38646" y="21001"/>
                  </a:cubicBezTo>
                  <a:cubicBezTo>
                    <a:pt x="38646" y="12773"/>
                    <a:pt x="35904" y="4544"/>
                    <a:pt x="27676" y="1801"/>
                  </a:cubicBezTo>
                  <a:cubicBezTo>
                    <a:pt x="19448" y="-941"/>
                    <a:pt x="11218" y="-941"/>
                    <a:pt x="5734" y="4544"/>
                  </a:cubicBezTo>
                  <a:cubicBezTo>
                    <a:pt x="248" y="10030"/>
                    <a:pt x="-2496" y="21001"/>
                    <a:pt x="2990" y="29229"/>
                  </a:cubicBezTo>
                  <a:cubicBezTo>
                    <a:pt x="2990" y="29229"/>
                    <a:pt x="2990" y="29229"/>
                    <a:pt x="2990" y="29229"/>
                  </a:cubicBezTo>
                  <a:cubicBezTo>
                    <a:pt x="2990" y="29229"/>
                    <a:pt x="2990" y="29229"/>
                    <a:pt x="2990" y="29229"/>
                  </a:cubicBezTo>
                  <a:cubicBezTo>
                    <a:pt x="8476" y="37457"/>
                    <a:pt x="16704" y="40200"/>
                    <a:pt x="24932" y="37457"/>
                  </a:cubicBezTo>
                  <a:close/>
                </a:path>
              </a:pathLst>
            </a:custGeom>
            <a:grpFill/>
            <a:ln w="27426" cap="flat">
              <a:noFill/>
              <a:prstDash val="solid"/>
              <a:miter/>
            </a:ln>
          </p:spPr>
          <p:txBody>
            <a:bodyPr rtlCol="0" anchor="ctr"/>
            <a:lstStyle/>
            <a:p>
              <a:endParaRPr lang="en-US"/>
            </a:p>
          </p:txBody>
        </p:sp>
        <p:sp>
          <p:nvSpPr>
            <p:cNvPr id="147" name="Freeform 146">
              <a:extLst>
                <a:ext uri="{FF2B5EF4-FFF2-40B4-BE49-F238E27FC236}">
                  <a16:creationId xmlns:a16="http://schemas.microsoft.com/office/drawing/2014/main" id="{49CD2268-14D8-342A-1B2C-98A8D1A9DAD3}"/>
                </a:ext>
              </a:extLst>
            </p:cNvPr>
            <p:cNvSpPr/>
            <p:nvPr/>
          </p:nvSpPr>
          <p:spPr>
            <a:xfrm>
              <a:off x="10800405" y="2807384"/>
              <a:ext cx="50741" cy="50055"/>
            </a:xfrm>
            <a:custGeom>
              <a:avLst/>
              <a:gdLst>
                <a:gd name="connsiteX0" fmla="*/ 33599 w 50741"/>
                <a:gd name="connsiteY0" fmla="*/ 44570 h 50055"/>
                <a:gd name="connsiteX1" fmla="*/ 44570 w 50741"/>
                <a:gd name="connsiteY1" fmla="*/ 33599 h 50055"/>
                <a:gd name="connsiteX2" fmla="*/ 44570 w 50741"/>
                <a:gd name="connsiteY2" fmla="*/ 6171 h 50055"/>
                <a:gd name="connsiteX3" fmla="*/ 17143 w 50741"/>
                <a:gd name="connsiteY3" fmla="*/ 6171 h 50055"/>
                <a:gd name="connsiteX4" fmla="*/ 6171 w 50741"/>
                <a:gd name="connsiteY4" fmla="*/ 17142 h 50055"/>
                <a:gd name="connsiteX5" fmla="*/ 6171 w 50741"/>
                <a:gd name="connsiteY5" fmla="*/ 44570 h 50055"/>
                <a:gd name="connsiteX6" fmla="*/ 19885 w 50741"/>
                <a:gd name="connsiteY6" fmla="*/ 50055 h 50055"/>
                <a:gd name="connsiteX7" fmla="*/ 33599 w 50741"/>
                <a:gd name="connsiteY7" fmla="*/ 44570 h 5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41" h="50055">
                  <a:moveTo>
                    <a:pt x="33599" y="44570"/>
                  </a:moveTo>
                  <a:lnTo>
                    <a:pt x="44570" y="33599"/>
                  </a:lnTo>
                  <a:cubicBezTo>
                    <a:pt x="52798" y="25371"/>
                    <a:pt x="52798" y="14399"/>
                    <a:pt x="44570" y="6171"/>
                  </a:cubicBezTo>
                  <a:cubicBezTo>
                    <a:pt x="36341" y="-2057"/>
                    <a:pt x="25371" y="-2057"/>
                    <a:pt x="17143" y="6171"/>
                  </a:cubicBezTo>
                  <a:lnTo>
                    <a:pt x="6171" y="17142"/>
                  </a:lnTo>
                  <a:cubicBezTo>
                    <a:pt x="-2057" y="25371"/>
                    <a:pt x="-2057" y="36342"/>
                    <a:pt x="6171" y="44570"/>
                  </a:cubicBezTo>
                  <a:cubicBezTo>
                    <a:pt x="8913" y="47312"/>
                    <a:pt x="14399" y="50055"/>
                    <a:pt x="19885" y="50055"/>
                  </a:cubicBezTo>
                  <a:cubicBezTo>
                    <a:pt x="25371" y="50055"/>
                    <a:pt x="30857" y="50055"/>
                    <a:pt x="33599" y="44570"/>
                  </a:cubicBezTo>
                  <a:close/>
                </a:path>
              </a:pathLst>
            </a:custGeom>
            <a:grp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41616164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582BDC-EC0C-1160-F4E8-85282B7397E0}"/>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7E17B56B-AD0B-0F31-2540-FE45CB3ACEAD}"/>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IE" sz="2400" b="1" dirty="0"/>
              <a:t>Aurora Courtyard</a:t>
            </a:r>
            <a:endParaRPr lang="en-GB" sz="2400" b="1" dirty="0">
              <a:solidFill>
                <a:srgbClr val="62A844"/>
              </a:solidFill>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008BDC17-FF63-F916-E05D-BA11D97F83CD}"/>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7DEC0515-BFFA-5664-2608-57CFFD4E8DCB}"/>
              </a:ext>
            </a:extLst>
          </p:cNvPr>
          <p:cNvSpPr/>
          <p:nvPr/>
        </p:nvSpPr>
        <p:spPr>
          <a:xfrm flipH="1">
            <a:off x="440913" y="904179"/>
            <a:ext cx="6793605" cy="5647700"/>
          </a:xfrm>
          <a:prstGeom prst="rect">
            <a:avLst/>
          </a:prstGeom>
        </p:spPr>
        <p:txBody>
          <a:bodyPr wrap="square" numCol="1" spcCol="216000">
            <a:spAutoFit/>
          </a:bodyPr>
          <a:lstStyle/>
          <a:p>
            <a:r>
              <a:rPr lang="en-GB" sz="1900" dirty="0"/>
              <a:t>Aurora Courtyard Hotel introduced several sustainability measures including opt-in housekeeping, refill stations, and digital guest information. While management viewed these as responsible and modern, guest reactions became inconsistent because the experience was not fully aligned across touchpoints. Some guests appreciated the sustainability approach, while others interpreted it as reduced service or hidden cost-cutting.</a:t>
            </a:r>
          </a:p>
          <a:p>
            <a:endParaRPr lang="en-GB" sz="1900" dirty="0"/>
          </a:p>
          <a:p>
            <a:r>
              <a:rPr lang="en-GB" sz="1900" dirty="0"/>
              <a:t>The operational challenge was not the sustainability measures themselves. The challenge was inconsistency across the guest journey. Welcome emails had low engagement, reception teams answered questions differently, and housekeeping staff lacked clear guidance on service expectations and replenishment routines.</a:t>
            </a:r>
          </a:p>
          <a:p>
            <a:endParaRPr lang="en-GB" sz="1900" dirty="0"/>
          </a:p>
          <a:p>
            <a:r>
              <a:rPr lang="en-GB" sz="1900" dirty="0"/>
              <a:t>This illustrates a central principle of guest journey design: guests experience one connected service, not separate departments. If sustainability communication feels disconnected between booking, arrival, room experience, and staff interaction, trust weakens quickly.</a:t>
            </a:r>
          </a:p>
        </p:txBody>
      </p:sp>
      <p:pic>
        <p:nvPicPr>
          <p:cNvPr id="10" name="Picture 9">
            <a:extLst>
              <a:ext uri="{FF2B5EF4-FFF2-40B4-BE49-F238E27FC236}">
                <a16:creationId xmlns:a16="http://schemas.microsoft.com/office/drawing/2014/main" id="{C74FD7D7-11B1-FA69-A3B7-7CD31385FE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7" name="Picture 6">
            <a:extLst>
              <a:ext uri="{FF2B5EF4-FFF2-40B4-BE49-F238E27FC236}">
                <a16:creationId xmlns:a16="http://schemas.microsoft.com/office/drawing/2014/main" id="{4AA2E2D6-0D2F-62F9-D4F0-07C9BAE608F9}"/>
              </a:ext>
            </a:extLst>
          </p:cNvPr>
          <p:cNvPicPr>
            <a:picLocks noChangeAspect="1"/>
          </p:cNvPicPr>
          <p:nvPr/>
        </p:nvPicPr>
        <p:blipFill>
          <a:blip r:embed="rId4"/>
          <a:stretch>
            <a:fillRect/>
          </a:stretch>
        </p:blipFill>
        <p:spPr>
          <a:xfrm>
            <a:off x="7336634" y="0"/>
            <a:ext cx="4855366" cy="6858000"/>
          </a:xfrm>
          <a:prstGeom prst="rect">
            <a:avLst/>
          </a:prstGeom>
        </p:spPr>
      </p:pic>
    </p:spTree>
    <p:extLst>
      <p:ext uri="{BB962C8B-B14F-4D97-AF65-F5344CB8AC3E}">
        <p14:creationId xmlns:p14="http://schemas.microsoft.com/office/powerpoint/2010/main" val="11066943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676BF-4812-9F72-2928-E5A451BC6031}"/>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B9A1BC9F-7681-0219-7C82-E8DC43956A0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5EC96C52-DCB0-D0AD-760B-0004B35584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88" name="TextBox 6">
            <a:extLst>
              <a:ext uri="{FF2B5EF4-FFF2-40B4-BE49-F238E27FC236}">
                <a16:creationId xmlns:a16="http://schemas.microsoft.com/office/drawing/2014/main" id="{B3EBE978-D505-9F6F-B812-8BFE0483F58A}"/>
              </a:ext>
            </a:extLst>
          </p:cNvPr>
          <p:cNvSpPr txBox="1"/>
          <p:nvPr/>
        </p:nvSpPr>
        <p:spPr>
          <a:xfrm>
            <a:off x="570086" y="1166842"/>
            <a:ext cx="6058767" cy="4196020"/>
          </a:xfrm>
          <a:prstGeom prst="rect">
            <a:avLst/>
          </a:prstGeom>
          <a:noFill/>
        </p:spPr>
        <p:txBody>
          <a:bodyPr wrap="square" lIns="91440" tIns="45720" rIns="91440" bIns="45720" rtlCol="0" anchor="t">
            <a:spAutoFit/>
          </a:bodyPr>
          <a:lstStyle/>
          <a:p>
            <a:pPr>
              <a:lnSpc>
                <a:spcPts val="1960"/>
              </a:lnSpc>
            </a:pPr>
            <a:r>
              <a:rPr lang="en-US" dirty="0">
                <a:solidFill>
                  <a:srgbClr val="262626"/>
                </a:solidFill>
              </a:rPr>
              <a:t>A customer journey map is a visual way of understanding how people experience a service over time and across channels.</a:t>
            </a:r>
          </a:p>
          <a:p>
            <a:pPr>
              <a:lnSpc>
                <a:spcPts val="1960"/>
              </a:lnSpc>
            </a:pPr>
            <a:endParaRPr lang="en-US" dirty="0">
              <a:solidFill>
                <a:srgbClr val="262626"/>
              </a:solidFill>
            </a:endParaRPr>
          </a:p>
          <a:p>
            <a:pPr>
              <a:lnSpc>
                <a:spcPts val="1960"/>
              </a:lnSpc>
            </a:pPr>
            <a:r>
              <a:rPr lang="en-US" sz="2000" b="1" dirty="0">
                <a:solidFill>
                  <a:srgbClr val="0289AE"/>
                </a:solidFill>
              </a:rPr>
              <a:t>It helps teams identify:</a:t>
            </a:r>
          </a:p>
          <a:p>
            <a:pPr marL="285750" indent="-285750">
              <a:lnSpc>
                <a:spcPts val="1960"/>
              </a:lnSpc>
              <a:buClr>
                <a:srgbClr val="62A844"/>
              </a:buClr>
              <a:buFont typeface="Arial" panose="020B0604020202020204" pitchFamily="34" charset="0"/>
              <a:buChar char="•"/>
            </a:pPr>
            <a:r>
              <a:rPr lang="en-US" dirty="0">
                <a:solidFill>
                  <a:srgbClr val="262626"/>
                </a:solidFill>
              </a:rPr>
              <a:t>stages</a:t>
            </a:r>
          </a:p>
          <a:p>
            <a:pPr marL="285750" indent="-285750">
              <a:lnSpc>
                <a:spcPts val="1960"/>
              </a:lnSpc>
              <a:buClr>
                <a:srgbClr val="62A844"/>
              </a:buClr>
              <a:buFont typeface="Arial" panose="020B0604020202020204" pitchFamily="34" charset="0"/>
              <a:buChar char="•"/>
            </a:pPr>
            <a:r>
              <a:rPr lang="en-US" dirty="0">
                <a:solidFill>
                  <a:srgbClr val="262626"/>
                </a:solidFill>
              </a:rPr>
              <a:t>touchpoints</a:t>
            </a:r>
          </a:p>
          <a:p>
            <a:pPr marL="285750" indent="-285750">
              <a:lnSpc>
                <a:spcPts val="1960"/>
              </a:lnSpc>
              <a:buClr>
                <a:srgbClr val="62A844"/>
              </a:buClr>
              <a:buFont typeface="Arial" panose="020B0604020202020204" pitchFamily="34" charset="0"/>
              <a:buChar char="•"/>
            </a:pPr>
            <a:r>
              <a:rPr lang="en-US" dirty="0">
                <a:solidFill>
                  <a:srgbClr val="262626"/>
                </a:solidFill>
              </a:rPr>
              <a:t>channels</a:t>
            </a:r>
          </a:p>
          <a:p>
            <a:pPr marL="285750" indent="-285750">
              <a:lnSpc>
                <a:spcPts val="1960"/>
              </a:lnSpc>
              <a:buClr>
                <a:srgbClr val="62A844"/>
              </a:buClr>
              <a:buFont typeface="Arial" panose="020B0604020202020204" pitchFamily="34" charset="0"/>
              <a:buChar char="•"/>
            </a:pPr>
            <a:r>
              <a:rPr lang="en-US" dirty="0">
                <a:solidFill>
                  <a:srgbClr val="262626"/>
                </a:solidFill>
              </a:rPr>
              <a:t>actions</a:t>
            </a:r>
          </a:p>
          <a:p>
            <a:pPr marL="285750" indent="-285750">
              <a:lnSpc>
                <a:spcPts val="1960"/>
              </a:lnSpc>
              <a:buClr>
                <a:srgbClr val="62A844"/>
              </a:buClr>
              <a:buFont typeface="Arial" panose="020B0604020202020204" pitchFamily="34" charset="0"/>
              <a:buChar char="•"/>
            </a:pPr>
            <a:r>
              <a:rPr lang="en-US" dirty="0">
                <a:solidFill>
                  <a:srgbClr val="262626"/>
                </a:solidFill>
              </a:rPr>
              <a:t>emotions</a:t>
            </a:r>
          </a:p>
          <a:p>
            <a:pPr marL="285750" indent="-285750">
              <a:lnSpc>
                <a:spcPts val="1960"/>
              </a:lnSpc>
              <a:buClr>
                <a:srgbClr val="62A844"/>
              </a:buClr>
              <a:buFont typeface="Arial" panose="020B0604020202020204" pitchFamily="34" charset="0"/>
              <a:buChar char="•"/>
            </a:pPr>
            <a:r>
              <a:rPr lang="en-US" dirty="0">
                <a:solidFill>
                  <a:srgbClr val="262626"/>
                </a:solidFill>
              </a:rPr>
              <a:t>pain points</a:t>
            </a:r>
          </a:p>
          <a:p>
            <a:pPr marL="285750" indent="-285750">
              <a:lnSpc>
                <a:spcPts val="1960"/>
              </a:lnSpc>
              <a:buClr>
                <a:srgbClr val="62A844"/>
              </a:buClr>
              <a:buFont typeface="Arial" panose="020B0604020202020204" pitchFamily="34" charset="0"/>
              <a:buChar char="•"/>
            </a:pPr>
            <a:r>
              <a:rPr lang="en-US" dirty="0">
                <a:solidFill>
                  <a:srgbClr val="262626"/>
                </a:solidFill>
              </a:rPr>
              <a:t>unmet needs</a:t>
            </a:r>
          </a:p>
          <a:p>
            <a:pPr marL="285750" indent="-285750">
              <a:lnSpc>
                <a:spcPts val="1960"/>
              </a:lnSpc>
              <a:buClr>
                <a:srgbClr val="62A844"/>
              </a:buClr>
              <a:buFont typeface="Arial" panose="020B0604020202020204" pitchFamily="34" charset="0"/>
              <a:buChar char="•"/>
            </a:pPr>
            <a:r>
              <a:rPr lang="en-US" dirty="0">
                <a:solidFill>
                  <a:srgbClr val="262626"/>
                </a:solidFill>
              </a:rPr>
              <a:t>opportunities for improvement</a:t>
            </a:r>
          </a:p>
          <a:p>
            <a:pPr marL="285750" indent="-285750">
              <a:lnSpc>
                <a:spcPts val="1960"/>
              </a:lnSpc>
              <a:buFont typeface="Arial" panose="020B0604020202020204" pitchFamily="34" charset="0"/>
              <a:buChar char="•"/>
            </a:pPr>
            <a:endParaRPr lang="en-US" dirty="0">
              <a:solidFill>
                <a:srgbClr val="262626"/>
              </a:solidFill>
            </a:endParaRPr>
          </a:p>
          <a:p>
            <a:pPr>
              <a:lnSpc>
                <a:spcPts val="1960"/>
              </a:lnSpc>
            </a:pPr>
            <a:r>
              <a:rPr lang="en-US" dirty="0">
                <a:solidFill>
                  <a:srgbClr val="262626"/>
                </a:solidFill>
              </a:rPr>
              <a:t>In hospitality, journey mapping is useful because it helps</a:t>
            </a:r>
            <a:br>
              <a:rPr lang="en-US" dirty="0">
                <a:solidFill>
                  <a:srgbClr val="262626"/>
                </a:solidFill>
              </a:rPr>
            </a:br>
            <a:r>
              <a:rPr lang="en-US" dirty="0">
                <a:solidFill>
                  <a:srgbClr val="262626"/>
                </a:solidFill>
              </a:rPr>
              <a:t> us move beyond operational assumptions and see the </a:t>
            </a:r>
            <a:br>
              <a:rPr lang="en-US" dirty="0">
                <a:solidFill>
                  <a:srgbClr val="262626"/>
                </a:solidFill>
              </a:rPr>
            </a:br>
            <a:r>
              <a:rPr lang="en-US" dirty="0">
                <a:solidFill>
                  <a:srgbClr val="262626"/>
                </a:solidFill>
              </a:rPr>
              <a:t>service from the guest perspective.</a:t>
            </a:r>
          </a:p>
        </p:txBody>
      </p:sp>
      <p:sp>
        <p:nvSpPr>
          <p:cNvPr id="5" name="Rectangle: Rounded Corners 252">
            <a:extLst>
              <a:ext uri="{FF2B5EF4-FFF2-40B4-BE49-F238E27FC236}">
                <a16:creationId xmlns:a16="http://schemas.microsoft.com/office/drawing/2014/main" id="{0A921E04-7AC5-CBA8-22B9-24CF97669C7C}"/>
              </a:ext>
            </a:extLst>
          </p:cNvPr>
          <p:cNvSpPr/>
          <p:nvPr/>
        </p:nvSpPr>
        <p:spPr>
          <a:xfrm>
            <a:off x="0" y="5725520"/>
            <a:ext cx="4983772" cy="357187"/>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3" name="Graphic 293">
            <a:extLst>
              <a:ext uri="{FF2B5EF4-FFF2-40B4-BE49-F238E27FC236}">
                <a16:creationId xmlns:a16="http://schemas.microsoft.com/office/drawing/2014/main" id="{63C5023C-FC1E-A18D-C651-8F6A1451A066}"/>
              </a:ext>
            </a:extLst>
          </p:cNvPr>
          <p:cNvGrpSpPr/>
          <p:nvPr/>
        </p:nvGrpSpPr>
        <p:grpSpPr>
          <a:xfrm>
            <a:off x="8828108" y="1810342"/>
            <a:ext cx="403890" cy="607047"/>
            <a:chOff x="-5153318" y="-2615084"/>
            <a:chExt cx="386102" cy="580312"/>
          </a:xfrm>
        </p:grpSpPr>
        <p:sp>
          <p:nvSpPr>
            <p:cNvPr id="44" name="Freeform: Shape 823">
              <a:extLst>
                <a:ext uri="{FF2B5EF4-FFF2-40B4-BE49-F238E27FC236}">
                  <a16:creationId xmlns:a16="http://schemas.microsoft.com/office/drawing/2014/main" id="{F65D43E5-7EDC-380E-73EC-BADDD8AF283C}"/>
                </a:ext>
              </a:extLst>
            </p:cNvPr>
            <p:cNvSpPr/>
            <p:nvPr/>
          </p:nvSpPr>
          <p:spPr>
            <a:xfrm>
              <a:off x="-5115797" y="-2496137"/>
              <a:ext cx="348581" cy="257229"/>
            </a:xfrm>
            <a:custGeom>
              <a:avLst/>
              <a:gdLst>
                <a:gd name="connsiteX0" fmla="*/ 21689 w 348581"/>
                <a:gd name="connsiteY0" fmla="*/ 527 h 257229"/>
                <a:gd name="connsiteX1" fmla="*/ 335709 w 348581"/>
                <a:gd name="connsiteY1" fmla="*/ 79756 h 257229"/>
                <a:gd name="connsiteX2" fmla="*/ 338633 w 348581"/>
                <a:gd name="connsiteY2" fmla="*/ 111770 h 257229"/>
                <a:gd name="connsiteX3" fmla="*/ 24127 w 348581"/>
                <a:gd name="connsiteY3" fmla="*/ 255664 h 257229"/>
                <a:gd name="connsiteX4" fmla="*/ 0 w 348581"/>
                <a:gd name="connsiteY4" fmla="*/ 240138 h 257229"/>
                <a:gd name="connsiteX5" fmla="*/ 486 w 348581"/>
                <a:gd name="connsiteY5" fmla="*/ 17015 h 257229"/>
                <a:gd name="connsiteX6" fmla="*/ 21689 w 348581"/>
                <a:gd name="connsiteY6" fmla="*/ 527 h 2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581" h="257229">
                  <a:moveTo>
                    <a:pt x="21689" y="527"/>
                  </a:moveTo>
                  <a:lnTo>
                    <a:pt x="335709" y="79756"/>
                  </a:lnTo>
                  <a:cubicBezTo>
                    <a:pt x="351311" y="83690"/>
                    <a:pt x="353263" y="105074"/>
                    <a:pt x="338633" y="111770"/>
                  </a:cubicBezTo>
                  <a:lnTo>
                    <a:pt x="24127" y="255664"/>
                  </a:lnTo>
                  <a:cubicBezTo>
                    <a:pt x="12830" y="260836"/>
                    <a:pt x="-28" y="252559"/>
                    <a:pt x="0" y="240138"/>
                  </a:cubicBezTo>
                  <a:lnTo>
                    <a:pt x="486" y="17015"/>
                  </a:lnTo>
                  <a:cubicBezTo>
                    <a:pt x="515" y="5919"/>
                    <a:pt x="10944" y="-2187"/>
                    <a:pt x="21689" y="527"/>
                  </a:cubicBezTo>
                  <a:close/>
                </a:path>
              </a:pathLst>
            </a:custGeom>
            <a:solidFill>
              <a:srgbClr val="62A844"/>
            </a:solidFill>
            <a:ln w="9525" cap="flat">
              <a:noFill/>
              <a:prstDash val="solid"/>
              <a:miter/>
            </a:ln>
          </p:spPr>
          <p:txBody>
            <a:bodyPr rtlCol="0" anchor="ctr"/>
            <a:lstStyle/>
            <a:p>
              <a:endParaRPr lang="en-US"/>
            </a:p>
          </p:txBody>
        </p:sp>
        <p:sp>
          <p:nvSpPr>
            <p:cNvPr id="45" name="Freeform: Shape 824">
              <a:extLst>
                <a:ext uri="{FF2B5EF4-FFF2-40B4-BE49-F238E27FC236}">
                  <a16:creationId xmlns:a16="http://schemas.microsoft.com/office/drawing/2014/main" id="{20DBBE1F-FBB7-2D79-1ED6-A279BB94B7A6}"/>
                </a:ext>
              </a:extLst>
            </p:cNvPr>
            <p:cNvSpPr/>
            <p:nvPr/>
          </p:nvSpPr>
          <p:spPr>
            <a:xfrm>
              <a:off x="-5116273" y="-2574867"/>
              <a:ext cx="1171" cy="540096"/>
            </a:xfrm>
            <a:custGeom>
              <a:avLst/>
              <a:gdLst>
                <a:gd name="connsiteX0" fmla="*/ 1171 w 1171"/>
                <a:gd name="connsiteY0" fmla="*/ 0 h 540096"/>
                <a:gd name="connsiteX1" fmla="*/ 0 w 1171"/>
                <a:gd name="connsiteY1" fmla="*/ 540096 h 540096"/>
              </a:gdLst>
              <a:ahLst/>
              <a:cxnLst>
                <a:cxn ang="0">
                  <a:pos x="connsiteX0" y="connsiteY0"/>
                </a:cxn>
                <a:cxn ang="0">
                  <a:pos x="connsiteX1" y="connsiteY1"/>
                </a:cxn>
              </a:cxnLst>
              <a:rect l="l" t="t" r="r" b="b"/>
              <a:pathLst>
                <a:path w="1171" h="540096">
                  <a:moveTo>
                    <a:pt x="1171" y="0"/>
                  </a:moveTo>
                  <a:lnTo>
                    <a:pt x="0" y="540096"/>
                  </a:lnTo>
                </a:path>
              </a:pathLst>
            </a:custGeom>
            <a:ln w="28575" cap="flat">
              <a:solidFill>
                <a:srgbClr val="1028A7"/>
              </a:solidFill>
              <a:prstDash val="solid"/>
              <a:miter/>
            </a:ln>
          </p:spPr>
          <p:txBody>
            <a:bodyPr rtlCol="0" anchor="ctr"/>
            <a:lstStyle/>
            <a:p>
              <a:endParaRPr lang="en-US"/>
            </a:p>
          </p:txBody>
        </p:sp>
        <p:sp>
          <p:nvSpPr>
            <p:cNvPr id="46" name="Freeform: Shape 825">
              <a:extLst>
                <a:ext uri="{FF2B5EF4-FFF2-40B4-BE49-F238E27FC236}">
                  <a16:creationId xmlns:a16="http://schemas.microsoft.com/office/drawing/2014/main" id="{B0847CCE-AFB2-CC8E-FD92-267F7B79D164}"/>
                </a:ext>
              </a:extLst>
            </p:cNvPr>
            <p:cNvSpPr/>
            <p:nvPr/>
          </p:nvSpPr>
          <p:spPr>
            <a:xfrm>
              <a:off x="-5153318" y="-2615084"/>
              <a:ext cx="77233" cy="77233"/>
            </a:xfrm>
            <a:custGeom>
              <a:avLst/>
              <a:gdLst>
                <a:gd name="connsiteX0" fmla="*/ 76050 w 77233"/>
                <a:gd name="connsiteY0" fmla="*/ 48065 h 77233"/>
                <a:gd name="connsiteX1" fmla="*/ 29168 w 77233"/>
                <a:gd name="connsiteY1" fmla="*/ 76050 h 77233"/>
                <a:gd name="connsiteX2" fmla="*/ 1183 w 77233"/>
                <a:gd name="connsiteY2" fmla="*/ 29168 h 77233"/>
                <a:gd name="connsiteX3" fmla="*/ 48056 w 77233"/>
                <a:gd name="connsiteY3" fmla="*/ 1183 h 77233"/>
                <a:gd name="connsiteX4" fmla="*/ 76050 w 77233"/>
                <a:gd name="connsiteY4" fmla="*/ 48065 h 77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33" h="77233">
                  <a:moveTo>
                    <a:pt x="76050" y="48065"/>
                  </a:moveTo>
                  <a:cubicBezTo>
                    <a:pt x="70830" y="68735"/>
                    <a:pt x="49847" y="81270"/>
                    <a:pt x="29168" y="76050"/>
                  </a:cubicBezTo>
                  <a:cubicBezTo>
                    <a:pt x="8499" y="70830"/>
                    <a:pt x="-4036" y="49847"/>
                    <a:pt x="1183" y="29168"/>
                  </a:cubicBezTo>
                  <a:cubicBezTo>
                    <a:pt x="6403" y="8499"/>
                    <a:pt x="27387" y="-4036"/>
                    <a:pt x="48056" y="1183"/>
                  </a:cubicBezTo>
                  <a:cubicBezTo>
                    <a:pt x="68735" y="6403"/>
                    <a:pt x="81270" y="27387"/>
                    <a:pt x="76050" y="48065"/>
                  </a:cubicBezTo>
                  <a:close/>
                </a:path>
              </a:pathLst>
            </a:custGeom>
            <a:solidFill>
              <a:srgbClr val="1028A7"/>
            </a:solidFill>
            <a:ln w="9525" cap="flat">
              <a:noFill/>
              <a:prstDash val="solid"/>
              <a:miter/>
            </a:ln>
          </p:spPr>
          <p:txBody>
            <a:bodyPr rtlCol="0" anchor="ctr"/>
            <a:lstStyle/>
            <a:p>
              <a:endParaRPr lang="en-US"/>
            </a:p>
          </p:txBody>
        </p:sp>
      </p:grpSp>
      <p:grpSp>
        <p:nvGrpSpPr>
          <p:cNvPr id="47" name="Graphic 293">
            <a:extLst>
              <a:ext uri="{FF2B5EF4-FFF2-40B4-BE49-F238E27FC236}">
                <a16:creationId xmlns:a16="http://schemas.microsoft.com/office/drawing/2014/main" id="{2B1AAF73-6FCC-5023-4EE6-1BB6FEBE0162}"/>
              </a:ext>
            </a:extLst>
          </p:cNvPr>
          <p:cNvGrpSpPr/>
          <p:nvPr/>
        </p:nvGrpSpPr>
        <p:grpSpPr>
          <a:xfrm>
            <a:off x="4533913" y="1455921"/>
            <a:ext cx="6847208" cy="5200210"/>
            <a:chOff x="-9471008" y="-2890155"/>
            <a:chExt cx="6545654" cy="4971192"/>
          </a:xfrm>
        </p:grpSpPr>
        <p:sp>
          <p:nvSpPr>
            <p:cNvPr id="48" name="Freeform: Shape 811">
              <a:extLst>
                <a:ext uri="{FF2B5EF4-FFF2-40B4-BE49-F238E27FC236}">
                  <a16:creationId xmlns:a16="http://schemas.microsoft.com/office/drawing/2014/main" id="{FC07B379-75E0-B04C-0144-191C38197C85}"/>
                </a:ext>
              </a:extLst>
            </p:cNvPr>
            <p:cNvSpPr/>
            <p:nvPr/>
          </p:nvSpPr>
          <p:spPr>
            <a:xfrm>
              <a:off x="-3565767" y="442259"/>
              <a:ext cx="640413" cy="743921"/>
            </a:xfrm>
            <a:custGeom>
              <a:avLst/>
              <a:gdLst>
                <a:gd name="connsiteX0" fmla="*/ 0 w 640413"/>
                <a:gd name="connsiteY0" fmla="*/ 0 h 743921"/>
                <a:gd name="connsiteX1" fmla="*/ 0 w 640413"/>
                <a:gd name="connsiteY1" fmla="*/ 16174 h 743921"/>
                <a:gd name="connsiteX2" fmla="*/ 0 w 640413"/>
                <a:gd name="connsiteY2" fmla="*/ 743922 h 743921"/>
                <a:gd name="connsiteX3" fmla="*/ 640413 w 640413"/>
                <a:gd name="connsiteY3" fmla="*/ 371961 h 743921"/>
                <a:gd name="connsiteX4" fmla="*/ 0 w 640413"/>
                <a:gd name="connsiteY4" fmla="*/ 0 h 74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13" h="743921">
                  <a:moveTo>
                    <a:pt x="0" y="0"/>
                  </a:moveTo>
                  <a:lnTo>
                    <a:pt x="0" y="16174"/>
                  </a:lnTo>
                  <a:lnTo>
                    <a:pt x="0" y="743922"/>
                  </a:lnTo>
                  <a:cubicBezTo>
                    <a:pt x="0" y="743922"/>
                    <a:pt x="637184" y="371961"/>
                    <a:pt x="640413" y="371961"/>
                  </a:cubicBezTo>
                  <a:lnTo>
                    <a:pt x="0" y="0"/>
                  </a:lnTo>
                  <a:close/>
                </a:path>
              </a:pathLst>
            </a:custGeom>
            <a:solidFill>
              <a:schemeClr val="bg1">
                <a:lumMod val="85000"/>
              </a:schemeClr>
            </a:solidFill>
            <a:ln w="9525" cap="flat">
              <a:noFill/>
              <a:prstDash val="solid"/>
              <a:miter/>
            </a:ln>
          </p:spPr>
          <p:txBody>
            <a:bodyPr rtlCol="0" anchor="ctr"/>
            <a:lstStyle/>
            <a:p>
              <a:endParaRPr lang="en-US"/>
            </a:p>
          </p:txBody>
        </p:sp>
        <p:sp>
          <p:nvSpPr>
            <p:cNvPr id="49" name="Freeform: Shape 812">
              <a:extLst>
                <a:ext uri="{FF2B5EF4-FFF2-40B4-BE49-F238E27FC236}">
                  <a16:creationId xmlns:a16="http://schemas.microsoft.com/office/drawing/2014/main" id="{F770CA57-0E76-4760-8E24-FB368A74D70A}"/>
                </a:ext>
              </a:extLst>
            </p:cNvPr>
            <p:cNvSpPr/>
            <p:nvPr/>
          </p:nvSpPr>
          <p:spPr>
            <a:xfrm>
              <a:off x="-9055098" y="-1417445"/>
              <a:ext cx="5821642" cy="3498482"/>
            </a:xfrm>
            <a:custGeom>
              <a:avLst/>
              <a:gdLst>
                <a:gd name="connsiteX0" fmla="*/ 2945483 w 5821642"/>
                <a:gd name="connsiteY0" fmla="*/ 3628216 h 3628215"/>
                <a:gd name="connsiteX1" fmla="*/ 2383527 w 5821642"/>
                <a:gd name="connsiteY1" fmla="*/ 3389947 h 3628215"/>
                <a:gd name="connsiteX2" fmla="*/ 2178291 w 5821642"/>
                <a:gd name="connsiteY2" fmla="*/ 2849585 h 3628215"/>
                <a:gd name="connsiteX3" fmla="*/ 2178253 w 5821642"/>
                <a:gd name="connsiteY3" fmla="*/ 2841993 h 3628215"/>
                <a:gd name="connsiteX4" fmla="*/ 2050990 w 5821642"/>
                <a:gd name="connsiteY4" fmla="*/ 2090099 h 3628215"/>
                <a:gd name="connsiteX5" fmla="*/ 1902647 w 5821642"/>
                <a:gd name="connsiteY5" fmla="*/ 2056514 h 3628215"/>
                <a:gd name="connsiteX6" fmla="*/ 1649540 w 5821642"/>
                <a:gd name="connsiteY6" fmla="*/ 2491178 h 3628215"/>
                <a:gd name="connsiteX7" fmla="*/ 1579778 w 5821642"/>
                <a:gd name="connsiteY7" fmla="*/ 2784167 h 3628215"/>
                <a:gd name="connsiteX8" fmla="*/ 1288885 w 5821642"/>
                <a:gd name="connsiteY8" fmla="*/ 3030074 h 3628215"/>
                <a:gd name="connsiteX9" fmla="*/ 728234 w 5821642"/>
                <a:gd name="connsiteY9" fmla="*/ 3061440 h 3628215"/>
                <a:gd name="connsiteX10" fmla="*/ 3515 w 5821642"/>
                <a:gd name="connsiteY10" fmla="*/ 3062173 h 3628215"/>
                <a:gd name="connsiteX11" fmla="*/ 0 w 5821642"/>
                <a:gd name="connsiteY11" fmla="*/ 2705615 h 3628215"/>
                <a:gd name="connsiteX12" fmla="*/ 749627 w 5821642"/>
                <a:gd name="connsiteY12" fmla="*/ 2720274 h 3628215"/>
                <a:gd name="connsiteX13" fmla="*/ 1185796 w 5821642"/>
                <a:gd name="connsiteY13" fmla="*/ 2704147 h 3628215"/>
                <a:gd name="connsiteX14" fmla="*/ 1281646 w 5821642"/>
                <a:gd name="connsiteY14" fmla="*/ 2616908 h 3628215"/>
                <a:gd name="connsiteX15" fmla="*/ 1310078 w 5821642"/>
                <a:gd name="connsiteY15" fmla="*/ 2450983 h 3628215"/>
                <a:gd name="connsiteX16" fmla="*/ 1412072 w 5821642"/>
                <a:gd name="connsiteY16" fmla="*/ 2027396 h 3628215"/>
                <a:gd name="connsiteX17" fmla="*/ 1866776 w 5821642"/>
                <a:gd name="connsiteY17" fmla="*/ 1716567 h 3628215"/>
                <a:gd name="connsiteX18" fmla="*/ 2279075 w 5821642"/>
                <a:gd name="connsiteY18" fmla="*/ 1835487 h 3628215"/>
                <a:gd name="connsiteX19" fmla="*/ 2520077 w 5821642"/>
                <a:gd name="connsiteY19" fmla="*/ 2840403 h 3628215"/>
                <a:gd name="connsiteX20" fmla="*/ 2520115 w 5821642"/>
                <a:gd name="connsiteY20" fmla="*/ 2847985 h 3628215"/>
                <a:gd name="connsiteX21" fmla="*/ 2945483 w 5821642"/>
                <a:gd name="connsiteY21" fmla="*/ 3286382 h 3628215"/>
                <a:gd name="connsiteX22" fmla="*/ 3225336 w 5821642"/>
                <a:gd name="connsiteY22" fmla="*/ 3182255 h 3628215"/>
                <a:gd name="connsiteX23" fmla="*/ 3379994 w 5821642"/>
                <a:gd name="connsiteY23" fmla="*/ 2532993 h 3628215"/>
                <a:gd name="connsiteX24" fmla="*/ 3406931 w 5821642"/>
                <a:gd name="connsiteY24" fmla="*/ 485946 h 3628215"/>
                <a:gd name="connsiteX25" fmla="*/ 3995833 w 5821642"/>
                <a:gd name="connsiteY25" fmla="*/ 0 h 3628215"/>
                <a:gd name="connsiteX26" fmla="*/ 3995852 w 5821642"/>
                <a:gd name="connsiteY26" fmla="*/ 0 h 3628215"/>
                <a:gd name="connsiteX27" fmla="*/ 4460996 w 5821642"/>
                <a:gd name="connsiteY27" fmla="*/ 188404 h 3628215"/>
                <a:gd name="connsiteX28" fmla="*/ 4639256 w 5821642"/>
                <a:gd name="connsiteY28" fmla="*/ 855316 h 3628215"/>
                <a:gd name="connsiteX29" fmla="*/ 4676327 w 5821642"/>
                <a:gd name="connsiteY29" fmla="*/ 2145582 h 3628215"/>
                <a:gd name="connsiteX30" fmla="*/ 4945895 w 5821642"/>
                <a:gd name="connsiteY30" fmla="*/ 2173519 h 3628215"/>
                <a:gd name="connsiteX31" fmla="*/ 5805583 w 5821642"/>
                <a:gd name="connsiteY31" fmla="*/ 2163490 h 3628215"/>
                <a:gd name="connsiteX32" fmla="*/ 5821642 w 5821642"/>
                <a:gd name="connsiteY32" fmla="*/ 2516734 h 3628215"/>
                <a:gd name="connsiteX33" fmla="*/ 4873562 w 5821642"/>
                <a:gd name="connsiteY33" fmla="*/ 2514848 h 3628215"/>
                <a:gd name="connsiteX34" fmla="*/ 4584525 w 5821642"/>
                <a:gd name="connsiteY34" fmla="*/ 2475291 h 3628215"/>
                <a:gd name="connsiteX35" fmla="*/ 4342476 w 5821642"/>
                <a:gd name="connsiteY35" fmla="*/ 2229907 h 3628215"/>
                <a:gd name="connsiteX36" fmla="*/ 4297432 w 5821642"/>
                <a:gd name="connsiteY36" fmla="*/ 855259 h 3628215"/>
                <a:gd name="connsiteX37" fmla="*/ 4200963 w 5821642"/>
                <a:gd name="connsiteY37" fmla="*/ 410289 h 3628215"/>
                <a:gd name="connsiteX38" fmla="*/ 3995842 w 5821642"/>
                <a:gd name="connsiteY38" fmla="*/ 341833 h 3628215"/>
                <a:gd name="connsiteX39" fmla="*/ 3743192 w 5821642"/>
                <a:gd name="connsiteY39" fmla="*/ 547468 h 3628215"/>
                <a:gd name="connsiteX40" fmla="*/ 3721522 w 5821642"/>
                <a:gd name="connsiteY40" fmla="*/ 2518496 h 3628215"/>
                <a:gd name="connsiteX41" fmla="*/ 3683061 w 5821642"/>
                <a:gd name="connsiteY41" fmla="*/ 3003042 h 3628215"/>
                <a:gd name="connsiteX42" fmla="*/ 3472120 w 5821642"/>
                <a:gd name="connsiteY42" fmla="*/ 3418780 h 3628215"/>
                <a:gd name="connsiteX43" fmla="*/ 2945483 w 5821642"/>
                <a:gd name="connsiteY43" fmla="*/ 3628216 h 362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821642" h="3628215">
                  <a:moveTo>
                    <a:pt x="2945483" y="3628216"/>
                  </a:moveTo>
                  <a:cubicBezTo>
                    <a:pt x="2724341" y="3628216"/>
                    <a:pt x="2524773" y="3543595"/>
                    <a:pt x="2383527" y="3389947"/>
                  </a:cubicBezTo>
                  <a:cubicBezTo>
                    <a:pt x="2252139" y="3247016"/>
                    <a:pt x="2179244" y="3055115"/>
                    <a:pt x="2178291" y="2849585"/>
                  </a:cubicBezTo>
                  <a:lnTo>
                    <a:pt x="2178253" y="2841993"/>
                  </a:lnTo>
                  <a:cubicBezTo>
                    <a:pt x="2176996" y="2571664"/>
                    <a:pt x="2175281" y="2201447"/>
                    <a:pt x="2050990" y="2090099"/>
                  </a:cubicBezTo>
                  <a:cubicBezTo>
                    <a:pt x="2029882" y="2071192"/>
                    <a:pt x="1991554" y="2047132"/>
                    <a:pt x="1902647" y="2056514"/>
                  </a:cubicBezTo>
                  <a:cubicBezTo>
                    <a:pt x="1729302" y="2074812"/>
                    <a:pt x="1685630" y="2186302"/>
                    <a:pt x="1649540" y="2491178"/>
                  </a:cubicBezTo>
                  <a:cubicBezTo>
                    <a:pt x="1635966" y="2605859"/>
                    <a:pt x="1624241" y="2704910"/>
                    <a:pt x="1579778" y="2784167"/>
                  </a:cubicBezTo>
                  <a:cubicBezTo>
                    <a:pt x="1527877" y="2876683"/>
                    <a:pt x="1452725" y="2978248"/>
                    <a:pt x="1288885" y="3030074"/>
                  </a:cubicBezTo>
                  <a:cubicBezTo>
                    <a:pt x="1165850" y="3068984"/>
                    <a:pt x="998172" y="3078366"/>
                    <a:pt x="728234" y="3061440"/>
                  </a:cubicBezTo>
                  <a:cubicBezTo>
                    <a:pt x="401774" y="3040971"/>
                    <a:pt x="3515" y="3062173"/>
                    <a:pt x="3515" y="3062173"/>
                  </a:cubicBezTo>
                  <a:lnTo>
                    <a:pt x="0" y="2705615"/>
                  </a:lnTo>
                  <a:cubicBezTo>
                    <a:pt x="7506" y="2704919"/>
                    <a:pt x="392554" y="2697880"/>
                    <a:pt x="749627" y="2720274"/>
                  </a:cubicBezTo>
                  <a:cubicBezTo>
                    <a:pt x="968931" y="2734028"/>
                    <a:pt x="1107529" y="2728903"/>
                    <a:pt x="1185796" y="2704147"/>
                  </a:cubicBezTo>
                  <a:cubicBezTo>
                    <a:pt x="1231630" y="2689650"/>
                    <a:pt x="1250442" y="2672525"/>
                    <a:pt x="1281646" y="2616908"/>
                  </a:cubicBezTo>
                  <a:cubicBezTo>
                    <a:pt x="1293152" y="2593915"/>
                    <a:pt x="1303344" y="2507904"/>
                    <a:pt x="1310078" y="2450983"/>
                  </a:cubicBezTo>
                  <a:cubicBezTo>
                    <a:pt x="1325128" y="2323862"/>
                    <a:pt x="1343863" y="2165652"/>
                    <a:pt x="1412072" y="2027396"/>
                  </a:cubicBezTo>
                  <a:cubicBezTo>
                    <a:pt x="1501569" y="1845993"/>
                    <a:pt x="1658807" y="1738512"/>
                    <a:pt x="1866776" y="1716567"/>
                  </a:cubicBezTo>
                  <a:cubicBezTo>
                    <a:pt x="2032749" y="1699060"/>
                    <a:pt x="2171443" y="1739065"/>
                    <a:pt x="2279075" y="1835487"/>
                  </a:cubicBezTo>
                  <a:cubicBezTo>
                    <a:pt x="2516410" y="2048094"/>
                    <a:pt x="2518362" y="2469023"/>
                    <a:pt x="2520077" y="2840403"/>
                  </a:cubicBezTo>
                  <a:lnTo>
                    <a:pt x="2520115" y="2847985"/>
                  </a:lnTo>
                  <a:cubicBezTo>
                    <a:pt x="2521106" y="3059135"/>
                    <a:pt x="2654637" y="3286382"/>
                    <a:pt x="2945483" y="3286382"/>
                  </a:cubicBezTo>
                  <a:cubicBezTo>
                    <a:pt x="3066631" y="3286382"/>
                    <a:pt x="3158176" y="3252321"/>
                    <a:pt x="3225336" y="3182255"/>
                  </a:cubicBezTo>
                  <a:cubicBezTo>
                    <a:pt x="3337865" y="3064850"/>
                    <a:pt x="3392786" y="2834269"/>
                    <a:pt x="3379994" y="2532993"/>
                  </a:cubicBezTo>
                  <a:cubicBezTo>
                    <a:pt x="3365335" y="2187655"/>
                    <a:pt x="3359296" y="746322"/>
                    <a:pt x="3406931" y="485946"/>
                  </a:cubicBezTo>
                  <a:cubicBezTo>
                    <a:pt x="3456785" y="213465"/>
                    <a:pt x="3715474" y="0"/>
                    <a:pt x="3995833" y="0"/>
                  </a:cubicBezTo>
                  <a:cubicBezTo>
                    <a:pt x="3995852" y="0"/>
                    <a:pt x="3995833" y="0"/>
                    <a:pt x="3995852" y="0"/>
                  </a:cubicBezTo>
                  <a:cubicBezTo>
                    <a:pt x="4200678" y="10"/>
                    <a:pt x="4352830" y="61636"/>
                    <a:pt x="4460996" y="188404"/>
                  </a:cubicBezTo>
                  <a:cubicBezTo>
                    <a:pt x="4581001" y="329051"/>
                    <a:pt x="4639313" y="547202"/>
                    <a:pt x="4639256" y="855316"/>
                  </a:cubicBezTo>
                  <a:cubicBezTo>
                    <a:pt x="4639152" y="1437942"/>
                    <a:pt x="4653868" y="1943291"/>
                    <a:pt x="4676327" y="2145582"/>
                  </a:cubicBezTo>
                  <a:cubicBezTo>
                    <a:pt x="4707331" y="2156775"/>
                    <a:pt x="4783589" y="2175358"/>
                    <a:pt x="4945895" y="2173519"/>
                  </a:cubicBezTo>
                  <a:cubicBezTo>
                    <a:pt x="5080064" y="2172062"/>
                    <a:pt x="5804402" y="2163642"/>
                    <a:pt x="5805583" y="2163490"/>
                  </a:cubicBezTo>
                  <a:lnTo>
                    <a:pt x="5821642" y="2516734"/>
                  </a:lnTo>
                  <a:cubicBezTo>
                    <a:pt x="5814175" y="2517686"/>
                    <a:pt x="5058128" y="2519448"/>
                    <a:pt x="4873562" y="2514848"/>
                  </a:cubicBezTo>
                  <a:cubicBezTo>
                    <a:pt x="4755309" y="2511905"/>
                    <a:pt x="4660764" y="2498970"/>
                    <a:pt x="4584525" y="2475291"/>
                  </a:cubicBezTo>
                  <a:cubicBezTo>
                    <a:pt x="4503744" y="2450202"/>
                    <a:pt x="4364889" y="2384965"/>
                    <a:pt x="4342476" y="2229907"/>
                  </a:cubicBezTo>
                  <a:cubicBezTo>
                    <a:pt x="4309091" y="1998945"/>
                    <a:pt x="4297347" y="1345044"/>
                    <a:pt x="4297432" y="855259"/>
                  </a:cubicBezTo>
                  <a:cubicBezTo>
                    <a:pt x="4297480" y="580987"/>
                    <a:pt x="4244998" y="461896"/>
                    <a:pt x="4200963" y="410289"/>
                  </a:cubicBezTo>
                  <a:cubicBezTo>
                    <a:pt x="4172083" y="376438"/>
                    <a:pt x="4125125" y="341843"/>
                    <a:pt x="3995842" y="341833"/>
                  </a:cubicBezTo>
                  <a:cubicBezTo>
                    <a:pt x="3881295" y="341833"/>
                    <a:pt x="3763232" y="437921"/>
                    <a:pt x="3743192" y="547468"/>
                  </a:cubicBezTo>
                  <a:cubicBezTo>
                    <a:pt x="3706159" y="749846"/>
                    <a:pt x="3704435" y="2115922"/>
                    <a:pt x="3721522" y="2518496"/>
                  </a:cubicBezTo>
                  <a:cubicBezTo>
                    <a:pt x="3729190" y="2699071"/>
                    <a:pt x="3716245" y="2862091"/>
                    <a:pt x="3683061" y="3003042"/>
                  </a:cubicBezTo>
                  <a:cubicBezTo>
                    <a:pt x="3642541" y="3175149"/>
                    <a:pt x="3571570" y="3315024"/>
                    <a:pt x="3472120" y="3418780"/>
                  </a:cubicBezTo>
                  <a:cubicBezTo>
                    <a:pt x="3338922" y="3557759"/>
                    <a:pt x="3161738" y="3628216"/>
                    <a:pt x="2945483" y="3628216"/>
                  </a:cubicBezTo>
                  <a:close/>
                </a:path>
              </a:pathLst>
            </a:custGeom>
            <a:solidFill>
              <a:schemeClr val="bg1">
                <a:lumMod val="85000"/>
              </a:schemeClr>
            </a:solidFill>
            <a:ln w="9525" cap="flat">
              <a:noFill/>
              <a:prstDash val="solid"/>
              <a:miter/>
            </a:ln>
          </p:spPr>
          <p:txBody>
            <a:bodyPr rtlCol="0" anchor="ctr"/>
            <a:lstStyle/>
            <a:p>
              <a:endParaRPr lang="en-US" dirty="0"/>
            </a:p>
          </p:txBody>
        </p:sp>
        <p:sp>
          <p:nvSpPr>
            <p:cNvPr id="50" name="Freeform: Shape 813">
              <a:extLst>
                <a:ext uri="{FF2B5EF4-FFF2-40B4-BE49-F238E27FC236}">
                  <a16:creationId xmlns:a16="http://schemas.microsoft.com/office/drawing/2014/main" id="{09BB28BD-4DF7-9D51-2638-DE1A56417C34}"/>
                </a:ext>
              </a:extLst>
            </p:cNvPr>
            <p:cNvSpPr/>
            <p:nvPr/>
          </p:nvSpPr>
          <p:spPr>
            <a:xfrm>
              <a:off x="-9471008" y="-2890155"/>
              <a:ext cx="9525" cy="9525"/>
            </a:xfrm>
            <a:custGeom>
              <a:avLst/>
              <a:gdLst/>
              <a:ahLst/>
              <a:cxnLst/>
              <a:rect l="l" t="t" r="r" b="b"/>
              <a:pathLst>
                <a:path w="9525" h="9525"/>
              </a:pathLst>
            </a:custGeom>
            <a:noFill/>
            <a:ln w="9525" cap="flat">
              <a:solidFill>
                <a:srgbClr val="3C4FB7"/>
              </a:solidFill>
              <a:prstDash val="solid"/>
              <a:miter/>
            </a:ln>
          </p:spPr>
          <p:txBody>
            <a:bodyPr rtlCol="0" anchor="ctr"/>
            <a:lstStyle/>
            <a:p>
              <a:endParaRPr lang="en-US"/>
            </a:p>
          </p:txBody>
        </p:sp>
      </p:grpSp>
      <p:grpSp>
        <p:nvGrpSpPr>
          <p:cNvPr id="51" name="Graphic 293">
            <a:extLst>
              <a:ext uri="{FF2B5EF4-FFF2-40B4-BE49-F238E27FC236}">
                <a16:creationId xmlns:a16="http://schemas.microsoft.com/office/drawing/2014/main" id="{188A8C11-06B0-01C3-B12A-C7264CA19966}"/>
              </a:ext>
            </a:extLst>
          </p:cNvPr>
          <p:cNvGrpSpPr/>
          <p:nvPr/>
        </p:nvGrpSpPr>
        <p:grpSpPr>
          <a:xfrm>
            <a:off x="7680449" y="2402055"/>
            <a:ext cx="1206916" cy="3466917"/>
            <a:chOff x="-6250433" y="-2049430"/>
            <a:chExt cx="1153763" cy="3314233"/>
          </a:xfrm>
        </p:grpSpPr>
        <p:sp>
          <p:nvSpPr>
            <p:cNvPr id="52" name="Freeform: Shape 784">
              <a:extLst>
                <a:ext uri="{FF2B5EF4-FFF2-40B4-BE49-F238E27FC236}">
                  <a16:creationId xmlns:a16="http://schemas.microsoft.com/office/drawing/2014/main" id="{6960E07E-224F-AB8F-8BBB-59B858FCA3F6}"/>
                </a:ext>
              </a:extLst>
            </p:cNvPr>
            <p:cNvSpPr/>
            <p:nvPr/>
          </p:nvSpPr>
          <p:spPr>
            <a:xfrm>
              <a:off x="-6072830" y="-1409141"/>
              <a:ext cx="140139" cy="76057"/>
            </a:xfrm>
            <a:custGeom>
              <a:avLst/>
              <a:gdLst>
                <a:gd name="connsiteX0" fmla="*/ 0 w 140139"/>
                <a:gd name="connsiteY0" fmla="*/ 76057 h 76057"/>
                <a:gd name="connsiteX1" fmla="*/ 46206 w 140139"/>
                <a:gd name="connsiteY1" fmla="*/ 35138 h 76057"/>
                <a:gd name="connsiteX2" fmla="*/ 130835 w 140139"/>
                <a:gd name="connsiteY2" fmla="*/ 0 h 76057"/>
                <a:gd name="connsiteX3" fmla="*/ 125406 w 140139"/>
                <a:gd name="connsiteY3" fmla="*/ 44434 h 76057"/>
                <a:gd name="connsiteX4" fmla="*/ 81077 w 140139"/>
                <a:gd name="connsiteY4" fmla="*/ 66284 h 76057"/>
                <a:gd name="connsiteX5" fmla="*/ 0 w 140139"/>
                <a:gd name="connsiteY5" fmla="*/ 76057 h 76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39" h="76057">
                  <a:moveTo>
                    <a:pt x="0" y="76057"/>
                  </a:moveTo>
                  <a:cubicBezTo>
                    <a:pt x="0" y="76057"/>
                    <a:pt x="35042" y="40719"/>
                    <a:pt x="46206" y="35138"/>
                  </a:cubicBezTo>
                  <a:cubicBezTo>
                    <a:pt x="57369" y="29556"/>
                    <a:pt x="130835" y="0"/>
                    <a:pt x="130835" y="0"/>
                  </a:cubicBezTo>
                  <a:cubicBezTo>
                    <a:pt x="130835" y="0"/>
                    <a:pt x="155019" y="16535"/>
                    <a:pt x="125406" y="44434"/>
                  </a:cubicBezTo>
                  <a:cubicBezTo>
                    <a:pt x="103756" y="64837"/>
                    <a:pt x="81077" y="66284"/>
                    <a:pt x="81077" y="66284"/>
                  </a:cubicBezTo>
                  <a:lnTo>
                    <a:pt x="0" y="76057"/>
                  </a:lnTo>
                  <a:close/>
                </a:path>
              </a:pathLst>
            </a:custGeom>
            <a:solidFill>
              <a:srgbClr val="FFAC8D"/>
            </a:solidFill>
            <a:ln w="9525" cap="flat">
              <a:noFill/>
              <a:prstDash val="solid"/>
              <a:miter/>
            </a:ln>
          </p:spPr>
          <p:txBody>
            <a:bodyPr rtlCol="0" anchor="ctr"/>
            <a:lstStyle/>
            <a:p>
              <a:endParaRPr lang="en-US"/>
            </a:p>
          </p:txBody>
        </p:sp>
        <p:sp>
          <p:nvSpPr>
            <p:cNvPr id="53" name="Freeform: Shape 785">
              <a:extLst>
                <a:ext uri="{FF2B5EF4-FFF2-40B4-BE49-F238E27FC236}">
                  <a16:creationId xmlns:a16="http://schemas.microsoft.com/office/drawing/2014/main" id="{C2CEEFF5-39E4-D5F6-2343-BB09E5E636C9}"/>
                </a:ext>
              </a:extLst>
            </p:cNvPr>
            <p:cNvSpPr/>
            <p:nvPr/>
          </p:nvSpPr>
          <p:spPr>
            <a:xfrm>
              <a:off x="-6250433" y="-1335112"/>
              <a:ext cx="203463" cy="160105"/>
            </a:xfrm>
            <a:custGeom>
              <a:avLst/>
              <a:gdLst>
                <a:gd name="connsiteX0" fmla="*/ 171097 w 203463"/>
                <a:gd name="connsiteY0" fmla="*/ 0 h 160105"/>
                <a:gd name="connsiteX1" fmla="*/ 0 w 203463"/>
                <a:gd name="connsiteY1" fmla="*/ 52378 h 160105"/>
                <a:gd name="connsiteX2" fmla="*/ 44301 w 203463"/>
                <a:gd name="connsiteY2" fmla="*/ 160106 h 160105"/>
                <a:gd name="connsiteX3" fmla="*/ 203463 w 203463"/>
                <a:gd name="connsiteY3" fmla="*/ 103213 h 160105"/>
              </a:gdLst>
              <a:ahLst/>
              <a:cxnLst>
                <a:cxn ang="0">
                  <a:pos x="connsiteX0" y="connsiteY0"/>
                </a:cxn>
                <a:cxn ang="0">
                  <a:pos x="connsiteX1" y="connsiteY1"/>
                </a:cxn>
                <a:cxn ang="0">
                  <a:pos x="connsiteX2" y="connsiteY2"/>
                </a:cxn>
                <a:cxn ang="0">
                  <a:pos x="connsiteX3" y="connsiteY3"/>
                </a:cxn>
              </a:cxnLst>
              <a:rect l="l" t="t" r="r" b="b"/>
              <a:pathLst>
                <a:path w="203463" h="160105">
                  <a:moveTo>
                    <a:pt x="171097" y="0"/>
                  </a:moveTo>
                  <a:lnTo>
                    <a:pt x="0" y="52378"/>
                  </a:lnTo>
                  <a:lnTo>
                    <a:pt x="44301" y="160106"/>
                  </a:lnTo>
                  <a:lnTo>
                    <a:pt x="203463" y="103213"/>
                  </a:lnTo>
                  <a:close/>
                </a:path>
              </a:pathLst>
            </a:custGeom>
            <a:solidFill>
              <a:srgbClr val="FFAC8D"/>
            </a:solidFill>
            <a:ln w="9525" cap="flat">
              <a:noFill/>
              <a:prstDash val="solid"/>
              <a:miter/>
            </a:ln>
          </p:spPr>
          <p:txBody>
            <a:bodyPr rtlCol="0" anchor="ctr"/>
            <a:lstStyle/>
            <a:p>
              <a:endParaRPr lang="en-US"/>
            </a:p>
          </p:txBody>
        </p:sp>
        <p:sp>
          <p:nvSpPr>
            <p:cNvPr id="54" name="Freeform: Shape 786">
              <a:extLst>
                <a:ext uri="{FF2B5EF4-FFF2-40B4-BE49-F238E27FC236}">
                  <a16:creationId xmlns:a16="http://schemas.microsoft.com/office/drawing/2014/main" id="{EFD8C4C6-D18D-8F58-3712-CE35E0379FE7}"/>
                </a:ext>
              </a:extLst>
            </p:cNvPr>
            <p:cNvSpPr/>
            <p:nvPr/>
          </p:nvSpPr>
          <p:spPr>
            <a:xfrm>
              <a:off x="-6107311" y="-1361564"/>
              <a:ext cx="192247" cy="166425"/>
            </a:xfrm>
            <a:custGeom>
              <a:avLst/>
              <a:gdLst>
                <a:gd name="connsiteX0" fmla="*/ 0 w 192247"/>
                <a:gd name="connsiteY0" fmla="*/ 35976 h 166425"/>
                <a:gd name="connsiteX1" fmla="*/ 85839 w 192247"/>
                <a:gd name="connsiteY1" fmla="*/ 12421 h 166425"/>
                <a:gd name="connsiteX2" fmla="*/ 175174 w 192247"/>
                <a:gd name="connsiteY2" fmla="*/ 0 h 166425"/>
                <a:gd name="connsiteX3" fmla="*/ 180794 w 192247"/>
                <a:gd name="connsiteY3" fmla="*/ 40596 h 166425"/>
                <a:gd name="connsiteX4" fmla="*/ 174317 w 192247"/>
                <a:gd name="connsiteY4" fmla="*/ 86687 h 166425"/>
                <a:gd name="connsiteX5" fmla="*/ 171678 w 192247"/>
                <a:gd name="connsiteY5" fmla="*/ 129940 h 166425"/>
                <a:gd name="connsiteX6" fmla="*/ 154467 w 192247"/>
                <a:gd name="connsiteY6" fmla="*/ 163897 h 166425"/>
                <a:gd name="connsiteX7" fmla="*/ 11906 w 192247"/>
                <a:gd name="connsiteY7" fmla="*/ 128178 h 166425"/>
                <a:gd name="connsiteX8" fmla="*/ 0 w 192247"/>
                <a:gd name="connsiteY8" fmla="*/ 35976 h 16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247" h="166425">
                  <a:moveTo>
                    <a:pt x="0" y="35976"/>
                  </a:moveTo>
                  <a:cubicBezTo>
                    <a:pt x="0" y="35976"/>
                    <a:pt x="48463" y="17640"/>
                    <a:pt x="85839" y="12421"/>
                  </a:cubicBezTo>
                  <a:cubicBezTo>
                    <a:pt x="123215" y="7201"/>
                    <a:pt x="175174" y="0"/>
                    <a:pt x="175174" y="0"/>
                  </a:cubicBezTo>
                  <a:cubicBezTo>
                    <a:pt x="175174" y="0"/>
                    <a:pt x="209512" y="27203"/>
                    <a:pt x="180794" y="40596"/>
                  </a:cubicBezTo>
                  <a:cubicBezTo>
                    <a:pt x="180794" y="40596"/>
                    <a:pt x="201196" y="69475"/>
                    <a:pt x="174317" y="86687"/>
                  </a:cubicBezTo>
                  <a:cubicBezTo>
                    <a:pt x="174317" y="86687"/>
                    <a:pt x="200158" y="113757"/>
                    <a:pt x="171678" y="129940"/>
                  </a:cubicBezTo>
                  <a:cubicBezTo>
                    <a:pt x="171678" y="129940"/>
                    <a:pt x="186128" y="149733"/>
                    <a:pt x="154467" y="163897"/>
                  </a:cubicBezTo>
                  <a:cubicBezTo>
                    <a:pt x="122815" y="178051"/>
                    <a:pt x="11906" y="128178"/>
                    <a:pt x="11906" y="128178"/>
                  </a:cubicBezTo>
                  <a:lnTo>
                    <a:pt x="0" y="35976"/>
                  </a:lnTo>
                  <a:close/>
                </a:path>
              </a:pathLst>
            </a:custGeom>
            <a:solidFill>
              <a:srgbClr val="FFAC8D"/>
            </a:solidFill>
            <a:ln w="9525" cap="flat">
              <a:noFill/>
              <a:prstDash val="solid"/>
              <a:miter/>
            </a:ln>
          </p:spPr>
          <p:txBody>
            <a:bodyPr rtlCol="0" anchor="ctr"/>
            <a:lstStyle/>
            <a:p>
              <a:endParaRPr lang="en-US"/>
            </a:p>
          </p:txBody>
        </p:sp>
        <p:sp>
          <p:nvSpPr>
            <p:cNvPr id="55" name="Freeform: Shape 787">
              <a:extLst>
                <a:ext uri="{FF2B5EF4-FFF2-40B4-BE49-F238E27FC236}">
                  <a16:creationId xmlns:a16="http://schemas.microsoft.com/office/drawing/2014/main" id="{0DFB6969-6004-4FDD-DBA9-574A5868F06D}"/>
                </a:ext>
              </a:extLst>
            </p:cNvPr>
            <p:cNvSpPr/>
            <p:nvPr/>
          </p:nvSpPr>
          <p:spPr>
            <a:xfrm>
              <a:off x="-6185428" y="-2049430"/>
              <a:ext cx="1088757" cy="3314233"/>
            </a:xfrm>
            <a:custGeom>
              <a:avLst/>
              <a:gdLst>
                <a:gd name="connsiteX0" fmla="*/ 82708 w 1088757"/>
                <a:gd name="connsiteY0" fmla="*/ 3314233 h 3314233"/>
                <a:gd name="connsiteX1" fmla="*/ 337264 w 1088757"/>
                <a:gd name="connsiteY1" fmla="*/ 3165329 h 3314233"/>
                <a:gd name="connsiteX2" fmla="*/ 123313 w 1088757"/>
                <a:gd name="connsiteY2" fmla="*/ 3228623 h 3314233"/>
                <a:gd name="connsiteX3" fmla="*/ 67173 w 1088757"/>
                <a:gd name="connsiteY3" fmla="*/ 3228423 h 3314233"/>
                <a:gd name="connsiteX4" fmla="*/ 1689 w 1088757"/>
                <a:gd name="connsiteY4" fmla="*/ 3130782 h 3314233"/>
                <a:gd name="connsiteX5" fmla="*/ 18624 w 1088757"/>
                <a:gd name="connsiteY5" fmla="*/ 3095073 h 3314233"/>
                <a:gd name="connsiteX6" fmla="*/ 239061 w 1088757"/>
                <a:gd name="connsiteY6" fmla="*/ 3037380 h 3314233"/>
                <a:gd name="connsiteX7" fmla="*/ 259607 w 1088757"/>
                <a:gd name="connsiteY7" fmla="*/ 2898229 h 3314233"/>
                <a:gd name="connsiteX8" fmla="*/ 185483 w 1088757"/>
                <a:gd name="connsiteY8" fmla="*/ 2766841 h 3314233"/>
                <a:gd name="connsiteX9" fmla="*/ 153631 w 1088757"/>
                <a:gd name="connsiteY9" fmla="*/ 2554719 h 3314233"/>
                <a:gd name="connsiteX10" fmla="*/ 206781 w 1088757"/>
                <a:gd name="connsiteY10" fmla="*/ 461715 h 3314233"/>
                <a:gd name="connsiteX11" fmla="*/ 1088758 w 1088757"/>
                <a:gd name="connsiteY11" fmla="*/ 0 h 331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757" h="3314233">
                  <a:moveTo>
                    <a:pt x="82708" y="3314233"/>
                  </a:moveTo>
                  <a:cubicBezTo>
                    <a:pt x="319605" y="3293926"/>
                    <a:pt x="360210" y="3216097"/>
                    <a:pt x="337264" y="3165329"/>
                  </a:cubicBezTo>
                  <a:cubicBezTo>
                    <a:pt x="314318" y="3114561"/>
                    <a:pt x="231317" y="3210830"/>
                    <a:pt x="123313" y="3228623"/>
                  </a:cubicBezTo>
                  <a:cubicBezTo>
                    <a:pt x="101187" y="3232271"/>
                    <a:pt x="82594" y="3231537"/>
                    <a:pt x="67173" y="3228423"/>
                  </a:cubicBezTo>
                  <a:cubicBezTo>
                    <a:pt x="22558" y="3219431"/>
                    <a:pt x="-7617" y="3175340"/>
                    <a:pt x="1689" y="3130782"/>
                  </a:cubicBezTo>
                  <a:cubicBezTo>
                    <a:pt x="4375" y="3117923"/>
                    <a:pt x="9880" y="3106484"/>
                    <a:pt x="18624" y="3095073"/>
                  </a:cubicBezTo>
                  <a:cubicBezTo>
                    <a:pt x="66335" y="3032893"/>
                    <a:pt x="177787" y="3086243"/>
                    <a:pt x="239061" y="3037380"/>
                  </a:cubicBezTo>
                  <a:cubicBezTo>
                    <a:pt x="278418" y="3005995"/>
                    <a:pt x="278761" y="2944787"/>
                    <a:pt x="259607" y="2898229"/>
                  </a:cubicBezTo>
                  <a:cubicBezTo>
                    <a:pt x="240461" y="2851671"/>
                    <a:pt x="206419" y="2812628"/>
                    <a:pt x="185483" y="2766841"/>
                  </a:cubicBezTo>
                  <a:cubicBezTo>
                    <a:pt x="155517" y="2701309"/>
                    <a:pt x="154308" y="2626776"/>
                    <a:pt x="153631" y="2554719"/>
                  </a:cubicBezTo>
                  <a:cubicBezTo>
                    <a:pt x="147688" y="1927746"/>
                    <a:pt x="189474" y="1097813"/>
                    <a:pt x="206781" y="461715"/>
                  </a:cubicBezTo>
                  <a:cubicBezTo>
                    <a:pt x="206781" y="461715"/>
                    <a:pt x="505113" y="65046"/>
                    <a:pt x="1088758" y="0"/>
                  </a:cubicBezTo>
                </a:path>
              </a:pathLst>
            </a:custGeom>
            <a:noFill/>
            <a:ln w="19050" cap="rnd">
              <a:solidFill>
                <a:srgbClr val="06677F"/>
              </a:solidFill>
              <a:prstDash val="solid"/>
              <a:round/>
            </a:ln>
          </p:spPr>
          <p:txBody>
            <a:bodyPr rtlCol="0" anchor="ctr"/>
            <a:lstStyle/>
            <a:p>
              <a:endParaRPr lang="en-US"/>
            </a:p>
          </p:txBody>
        </p:sp>
        <p:grpSp>
          <p:nvGrpSpPr>
            <p:cNvPr id="56" name="Graphic 293">
              <a:extLst>
                <a:ext uri="{FF2B5EF4-FFF2-40B4-BE49-F238E27FC236}">
                  <a16:creationId xmlns:a16="http://schemas.microsoft.com/office/drawing/2014/main" id="{DABE204B-50DE-4D9A-2CBD-1B79D63EDBEB}"/>
                </a:ext>
              </a:extLst>
            </p:cNvPr>
            <p:cNvGrpSpPr/>
            <p:nvPr/>
          </p:nvGrpSpPr>
          <p:grpSpPr>
            <a:xfrm>
              <a:off x="-6036517" y="-1361693"/>
              <a:ext cx="108754" cy="54158"/>
              <a:chOff x="-6036517" y="-1361693"/>
              <a:chExt cx="108754" cy="54158"/>
            </a:xfrm>
          </p:grpSpPr>
          <p:sp>
            <p:nvSpPr>
              <p:cNvPr id="1093" name="Freeform: Shape 799">
                <a:extLst>
                  <a:ext uri="{FF2B5EF4-FFF2-40B4-BE49-F238E27FC236}">
                    <a16:creationId xmlns:a16="http://schemas.microsoft.com/office/drawing/2014/main" id="{EC5E1869-BA30-2B3C-1A99-8CE3684C2536}"/>
                  </a:ext>
                </a:extLst>
              </p:cNvPr>
              <p:cNvSpPr/>
              <p:nvPr/>
            </p:nvSpPr>
            <p:spPr>
              <a:xfrm>
                <a:off x="-6034143" y="-1361564"/>
                <a:ext cx="106359" cy="51645"/>
              </a:xfrm>
              <a:custGeom>
                <a:avLst/>
                <a:gdLst>
                  <a:gd name="connsiteX0" fmla="*/ 106360 w 106359"/>
                  <a:gd name="connsiteY0" fmla="*/ 38881 h 51645"/>
                  <a:gd name="connsiteX1" fmla="*/ 29255 w 106359"/>
                  <a:gd name="connsiteY1" fmla="*/ 51645 h 51645"/>
                  <a:gd name="connsiteX2" fmla="*/ 9891 w 106359"/>
                  <a:gd name="connsiteY2" fmla="*/ 48416 h 51645"/>
                  <a:gd name="connsiteX3" fmla="*/ 99 w 106359"/>
                  <a:gd name="connsiteY3" fmla="*/ 32633 h 51645"/>
                  <a:gd name="connsiteX4" fmla="*/ 15872 w 106359"/>
                  <a:gd name="connsiteY4" fmla="*/ 16954 h 51645"/>
                  <a:gd name="connsiteX5" fmla="*/ 98216 w 106359"/>
                  <a:gd name="connsiteY5" fmla="*/ 0 h 5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359" h="51645">
                    <a:moveTo>
                      <a:pt x="106360" y="38881"/>
                    </a:moveTo>
                    <a:cubicBezTo>
                      <a:pt x="81566" y="47225"/>
                      <a:pt x="55420" y="51559"/>
                      <a:pt x="29255" y="51645"/>
                    </a:cubicBezTo>
                    <a:cubicBezTo>
                      <a:pt x="22644" y="51664"/>
                      <a:pt x="15796" y="51359"/>
                      <a:pt x="9891" y="48416"/>
                    </a:cubicBezTo>
                    <a:cubicBezTo>
                      <a:pt x="3976" y="45463"/>
                      <a:pt x="-749" y="39186"/>
                      <a:pt x="99" y="32633"/>
                    </a:cubicBezTo>
                    <a:cubicBezTo>
                      <a:pt x="1099" y="24937"/>
                      <a:pt x="6443" y="18374"/>
                      <a:pt x="15872" y="16954"/>
                    </a:cubicBezTo>
                    <a:lnTo>
                      <a:pt x="98216" y="0"/>
                    </a:lnTo>
                  </a:path>
                </a:pathLst>
              </a:custGeom>
              <a:solidFill>
                <a:srgbClr val="FFAC8D"/>
              </a:solidFill>
              <a:ln w="9525" cap="flat">
                <a:noFill/>
                <a:prstDash val="solid"/>
                <a:miter/>
              </a:ln>
            </p:spPr>
            <p:txBody>
              <a:bodyPr rtlCol="0" anchor="ctr"/>
              <a:lstStyle/>
              <a:p>
                <a:endParaRPr lang="en-US"/>
              </a:p>
            </p:txBody>
          </p:sp>
          <p:sp>
            <p:nvSpPr>
              <p:cNvPr id="1094" name="Freeform: Shape 800">
                <a:extLst>
                  <a:ext uri="{FF2B5EF4-FFF2-40B4-BE49-F238E27FC236}">
                    <a16:creationId xmlns:a16="http://schemas.microsoft.com/office/drawing/2014/main" id="{860847FD-12E7-19A7-0F37-B7391665EFBE}"/>
                  </a:ext>
                </a:extLst>
              </p:cNvPr>
              <p:cNvSpPr/>
              <p:nvPr/>
            </p:nvSpPr>
            <p:spPr>
              <a:xfrm>
                <a:off x="-6036517" y="-1361693"/>
                <a:ext cx="108754" cy="54158"/>
              </a:xfrm>
              <a:custGeom>
                <a:avLst/>
                <a:gdLst>
                  <a:gd name="connsiteX0" fmla="*/ 100609 w 108754"/>
                  <a:gd name="connsiteY0" fmla="*/ 130 h 54158"/>
                  <a:gd name="connsiteX1" fmla="*/ 68509 w 108754"/>
                  <a:gd name="connsiteY1" fmla="*/ 8531 h 54158"/>
                  <a:gd name="connsiteX2" fmla="*/ 33391 w 108754"/>
                  <a:gd name="connsiteY2" fmla="*/ 16303 h 54158"/>
                  <a:gd name="connsiteX3" fmla="*/ 23228 w 108754"/>
                  <a:gd name="connsiteY3" fmla="*/ 18484 h 54158"/>
                  <a:gd name="connsiteX4" fmla="*/ 13407 w 108754"/>
                  <a:gd name="connsiteY4" fmla="*/ 21066 h 54158"/>
                  <a:gd name="connsiteX5" fmla="*/ 6625 w 108754"/>
                  <a:gd name="connsiteY5" fmla="*/ 27657 h 54158"/>
                  <a:gd name="connsiteX6" fmla="*/ 5263 w 108754"/>
                  <a:gd name="connsiteY6" fmla="*/ 37049 h 54158"/>
                  <a:gd name="connsiteX7" fmla="*/ 20341 w 108754"/>
                  <a:gd name="connsiteY7" fmla="*/ 48602 h 54158"/>
                  <a:gd name="connsiteX8" fmla="*/ 40982 w 108754"/>
                  <a:gd name="connsiteY8" fmla="*/ 49279 h 54158"/>
                  <a:gd name="connsiteX9" fmla="*/ 76415 w 108754"/>
                  <a:gd name="connsiteY9" fmla="*/ 45688 h 54158"/>
                  <a:gd name="connsiteX10" fmla="*/ 108752 w 108754"/>
                  <a:gd name="connsiteY10" fmla="*/ 39011 h 54158"/>
                  <a:gd name="connsiteX11" fmla="*/ 100551 w 108754"/>
                  <a:gd name="connsiteY11" fmla="*/ 42611 h 54158"/>
                  <a:gd name="connsiteX12" fmla="*/ 77072 w 108754"/>
                  <a:gd name="connsiteY12" fmla="*/ 49126 h 54158"/>
                  <a:gd name="connsiteX13" fmla="*/ 41172 w 108754"/>
                  <a:gd name="connsiteY13" fmla="*/ 53841 h 54158"/>
                  <a:gd name="connsiteX14" fmla="*/ 19465 w 108754"/>
                  <a:gd name="connsiteY14" fmla="*/ 53374 h 54158"/>
                  <a:gd name="connsiteX15" fmla="*/ 482 w 108754"/>
                  <a:gd name="connsiteY15" fmla="*/ 38363 h 54158"/>
                  <a:gd name="connsiteX16" fmla="*/ 11312 w 108754"/>
                  <a:gd name="connsiteY16" fmla="*/ 16675 h 54158"/>
                  <a:gd name="connsiteX17" fmla="*/ 22389 w 108754"/>
                  <a:gd name="connsiteY17" fmla="*/ 13817 h 54158"/>
                  <a:gd name="connsiteX18" fmla="*/ 32571 w 108754"/>
                  <a:gd name="connsiteY18" fmla="*/ 11807 h 54158"/>
                  <a:gd name="connsiteX19" fmla="*/ 67843 w 108754"/>
                  <a:gd name="connsiteY19" fmla="*/ 5092 h 54158"/>
                  <a:gd name="connsiteX20" fmla="*/ 100609 w 108754"/>
                  <a:gd name="connsiteY20" fmla="*/ 130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754" h="54158">
                    <a:moveTo>
                      <a:pt x="100609" y="130"/>
                    </a:moveTo>
                    <a:cubicBezTo>
                      <a:pt x="100742" y="796"/>
                      <a:pt x="88474" y="3959"/>
                      <a:pt x="68509" y="8531"/>
                    </a:cubicBezTo>
                    <a:cubicBezTo>
                      <a:pt x="58060" y="10845"/>
                      <a:pt x="46249" y="13455"/>
                      <a:pt x="33391" y="16303"/>
                    </a:cubicBezTo>
                    <a:cubicBezTo>
                      <a:pt x="30066" y="17018"/>
                      <a:pt x="26676" y="17741"/>
                      <a:pt x="23228" y="18484"/>
                    </a:cubicBezTo>
                    <a:cubicBezTo>
                      <a:pt x="19713" y="19361"/>
                      <a:pt x="16188" y="19627"/>
                      <a:pt x="13407" y="21066"/>
                    </a:cubicBezTo>
                    <a:cubicBezTo>
                      <a:pt x="10531" y="22456"/>
                      <a:pt x="8102" y="24742"/>
                      <a:pt x="6625" y="27657"/>
                    </a:cubicBezTo>
                    <a:cubicBezTo>
                      <a:pt x="5177" y="30610"/>
                      <a:pt x="4378" y="34086"/>
                      <a:pt x="5263" y="37049"/>
                    </a:cubicBezTo>
                    <a:cubicBezTo>
                      <a:pt x="7140" y="43478"/>
                      <a:pt x="13636" y="47583"/>
                      <a:pt x="20341" y="48602"/>
                    </a:cubicBezTo>
                    <a:cubicBezTo>
                      <a:pt x="27114" y="49793"/>
                      <a:pt x="34324" y="49383"/>
                      <a:pt x="40982" y="49279"/>
                    </a:cubicBezTo>
                    <a:cubicBezTo>
                      <a:pt x="54384" y="48850"/>
                      <a:pt x="66395" y="47364"/>
                      <a:pt x="76415" y="45688"/>
                    </a:cubicBezTo>
                    <a:cubicBezTo>
                      <a:pt x="96456" y="42259"/>
                      <a:pt x="108495" y="38230"/>
                      <a:pt x="108752" y="39011"/>
                    </a:cubicBezTo>
                    <a:cubicBezTo>
                      <a:pt x="108848" y="39306"/>
                      <a:pt x="105981" y="40697"/>
                      <a:pt x="100551" y="42611"/>
                    </a:cubicBezTo>
                    <a:cubicBezTo>
                      <a:pt x="95132" y="44526"/>
                      <a:pt x="87159" y="46974"/>
                      <a:pt x="77072" y="49126"/>
                    </a:cubicBezTo>
                    <a:cubicBezTo>
                      <a:pt x="66995" y="51279"/>
                      <a:pt x="54822" y="53146"/>
                      <a:pt x="41172" y="53841"/>
                    </a:cubicBezTo>
                    <a:cubicBezTo>
                      <a:pt x="34353" y="54051"/>
                      <a:pt x="27256" y="54632"/>
                      <a:pt x="19465" y="53374"/>
                    </a:cubicBezTo>
                    <a:cubicBezTo>
                      <a:pt x="11874" y="52269"/>
                      <a:pt x="3101" y="47412"/>
                      <a:pt x="482" y="38363"/>
                    </a:cubicBezTo>
                    <a:cubicBezTo>
                      <a:pt x="-1681" y="29038"/>
                      <a:pt x="3701" y="20237"/>
                      <a:pt x="11312" y="16675"/>
                    </a:cubicBezTo>
                    <a:cubicBezTo>
                      <a:pt x="15179" y="14808"/>
                      <a:pt x="19065" y="14627"/>
                      <a:pt x="22389" y="13817"/>
                    </a:cubicBezTo>
                    <a:cubicBezTo>
                      <a:pt x="25847" y="13131"/>
                      <a:pt x="29238" y="12464"/>
                      <a:pt x="32571" y="11807"/>
                    </a:cubicBezTo>
                    <a:cubicBezTo>
                      <a:pt x="45497" y="9350"/>
                      <a:pt x="57355" y="7092"/>
                      <a:pt x="67843" y="5092"/>
                    </a:cubicBezTo>
                    <a:cubicBezTo>
                      <a:pt x="87950" y="1406"/>
                      <a:pt x="100466" y="-537"/>
                      <a:pt x="100609" y="130"/>
                    </a:cubicBezTo>
                    <a:close/>
                  </a:path>
                </a:pathLst>
              </a:custGeom>
              <a:solidFill>
                <a:srgbClr val="00113E"/>
              </a:solidFill>
              <a:ln w="9525" cap="flat">
                <a:noFill/>
                <a:prstDash val="solid"/>
                <a:miter/>
              </a:ln>
            </p:spPr>
            <p:txBody>
              <a:bodyPr rtlCol="0" anchor="ctr"/>
              <a:lstStyle/>
              <a:p>
                <a:endParaRPr lang="en-US"/>
              </a:p>
            </p:txBody>
          </p:sp>
        </p:grpSp>
        <p:grpSp>
          <p:nvGrpSpPr>
            <p:cNvPr id="57" name="Graphic 293">
              <a:extLst>
                <a:ext uri="{FF2B5EF4-FFF2-40B4-BE49-F238E27FC236}">
                  <a16:creationId xmlns:a16="http://schemas.microsoft.com/office/drawing/2014/main" id="{76A9855C-5443-35AC-F9D7-E1E0C076CBA8}"/>
                </a:ext>
              </a:extLst>
            </p:cNvPr>
            <p:cNvGrpSpPr/>
            <p:nvPr/>
          </p:nvGrpSpPr>
          <p:grpSpPr>
            <a:xfrm>
              <a:off x="-6023865" y="-1309750"/>
              <a:ext cx="86624" cy="39703"/>
              <a:chOff x="-6023865" y="-1309750"/>
              <a:chExt cx="86624" cy="39703"/>
            </a:xfrm>
          </p:grpSpPr>
          <p:sp>
            <p:nvSpPr>
              <p:cNvPr id="1091" name="Freeform: Shape 797">
                <a:extLst>
                  <a:ext uri="{FF2B5EF4-FFF2-40B4-BE49-F238E27FC236}">
                    <a16:creationId xmlns:a16="http://schemas.microsoft.com/office/drawing/2014/main" id="{CD390768-AEBD-5B02-93E7-5C51E938A350}"/>
                  </a:ext>
                </a:extLst>
              </p:cNvPr>
              <p:cNvSpPr/>
              <p:nvPr/>
            </p:nvSpPr>
            <p:spPr>
              <a:xfrm>
                <a:off x="-6021474" y="-1309252"/>
                <a:ext cx="84232" cy="36790"/>
              </a:xfrm>
              <a:custGeom>
                <a:avLst/>
                <a:gdLst>
                  <a:gd name="connsiteX0" fmla="*/ 45809 w 84232"/>
                  <a:gd name="connsiteY0" fmla="*/ 0 h 36790"/>
                  <a:gd name="connsiteX1" fmla="*/ 7966 w 84232"/>
                  <a:gd name="connsiteY1" fmla="*/ 7172 h 36790"/>
                  <a:gd name="connsiteX2" fmla="*/ 2765 w 84232"/>
                  <a:gd name="connsiteY2" fmla="*/ 30537 h 36790"/>
                  <a:gd name="connsiteX3" fmla="*/ 21730 w 84232"/>
                  <a:gd name="connsiteY3" fmla="*/ 36747 h 36790"/>
                  <a:gd name="connsiteX4" fmla="*/ 84232 w 84232"/>
                  <a:gd name="connsiteY4" fmla="*/ 31070 h 36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32" h="36790">
                    <a:moveTo>
                      <a:pt x="45809" y="0"/>
                    </a:moveTo>
                    <a:cubicBezTo>
                      <a:pt x="36912" y="848"/>
                      <a:pt x="15157" y="1867"/>
                      <a:pt x="7966" y="7172"/>
                    </a:cubicBezTo>
                    <a:cubicBezTo>
                      <a:pt x="774" y="12468"/>
                      <a:pt x="-2893" y="23632"/>
                      <a:pt x="2765" y="30537"/>
                    </a:cubicBezTo>
                    <a:cubicBezTo>
                      <a:pt x="7118" y="35862"/>
                      <a:pt x="14852" y="36624"/>
                      <a:pt x="21730" y="36747"/>
                    </a:cubicBezTo>
                    <a:cubicBezTo>
                      <a:pt x="42684" y="37109"/>
                      <a:pt x="63678" y="35204"/>
                      <a:pt x="84232" y="31070"/>
                    </a:cubicBezTo>
                  </a:path>
                </a:pathLst>
              </a:custGeom>
              <a:solidFill>
                <a:srgbClr val="FFAC8D"/>
              </a:solidFill>
              <a:ln w="9525" cap="flat">
                <a:noFill/>
                <a:prstDash val="solid"/>
                <a:miter/>
              </a:ln>
            </p:spPr>
            <p:txBody>
              <a:bodyPr rtlCol="0" anchor="ctr"/>
              <a:lstStyle/>
              <a:p>
                <a:endParaRPr lang="en-US"/>
              </a:p>
            </p:txBody>
          </p:sp>
          <p:sp>
            <p:nvSpPr>
              <p:cNvPr id="1092" name="Freeform: Shape 798">
                <a:extLst>
                  <a:ext uri="{FF2B5EF4-FFF2-40B4-BE49-F238E27FC236}">
                    <a16:creationId xmlns:a16="http://schemas.microsoft.com/office/drawing/2014/main" id="{4DC3A1F4-FDF2-7F3C-9DAD-A66FE621C73D}"/>
                  </a:ext>
                </a:extLst>
              </p:cNvPr>
              <p:cNvSpPr/>
              <p:nvPr/>
            </p:nvSpPr>
            <p:spPr>
              <a:xfrm>
                <a:off x="-6023865" y="-1309750"/>
                <a:ext cx="86624" cy="39703"/>
              </a:xfrm>
              <a:custGeom>
                <a:avLst/>
                <a:gdLst>
                  <a:gd name="connsiteX0" fmla="*/ 86623 w 86624"/>
                  <a:gd name="connsiteY0" fmla="*/ 31559 h 39703"/>
                  <a:gd name="connsiteX1" fmla="*/ 65325 w 86624"/>
                  <a:gd name="connsiteY1" fmla="*/ 36789 h 39703"/>
                  <a:gd name="connsiteX2" fmla="*/ 41637 w 86624"/>
                  <a:gd name="connsiteY2" fmla="*/ 39294 h 39703"/>
                  <a:gd name="connsiteX3" fmla="*/ 27559 w 86624"/>
                  <a:gd name="connsiteY3" fmla="*/ 39703 h 39703"/>
                  <a:gd name="connsiteX4" fmla="*/ 11976 w 86624"/>
                  <a:gd name="connsiteY4" fmla="*/ 38170 h 39703"/>
                  <a:gd name="connsiteX5" fmla="*/ 298 w 86624"/>
                  <a:gd name="connsiteY5" fmla="*/ 26178 h 39703"/>
                  <a:gd name="connsiteX6" fmla="*/ 3927 w 86624"/>
                  <a:gd name="connsiteY6" fmla="*/ 11166 h 39703"/>
                  <a:gd name="connsiteX7" fmla="*/ 15138 w 86624"/>
                  <a:gd name="connsiteY7" fmla="*/ 3146 h 39703"/>
                  <a:gd name="connsiteX8" fmla="*/ 26254 w 86624"/>
                  <a:gd name="connsiteY8" fmla="*/ 984 h 39703"/>
                  <a:gd name="connsiteX9" fmla="*/ 48199 w 86624"/>
                  <a:gd name="connsiteY9" fmla="*/ 489 h 39703"/>
                  <a:gd name="connsiteX10" fmla="*/ 26787 w 86624"/>
                  <a:gd name="connsiteY10" fmla="*/ 4451 h 39703"/>
                  <a:gd name="connsiteX11" fmla="*/ 7699 w 86624"/>
                  <a:gd name="connsiteY11" fmla="*/ 13729 h 39703"/>
                  <a:gd name="connsiteX12" fmla="*/ 5061 w 86624"/>
                  <a:gd name="connsiteY12" fmla="*/ 25216 h 39703"/>
                  <a:gd name="connsiteX13" fmla="*/ 13433 w 86624"/>
                  <a:gd name="connsiteY13" fmla="*/ 33426 h 39703"/>
                  <a:gd name="connsiteX14" fmla="*/ 27587 w 86624"/>
                  <a:gd name="connsiteY14" fmla="*/ 34845 h 39703"/>
                  <a:gd name="connsiteX15" fmla="*/ 41446 w 86624"/>
                  <a:gd name="connsiteY15" fmla="*/ 34731 h 39703"/>
                  <a:gd name="connsiteX16" fmla="*/ 64896 w 86624"/>
                  <a:gd name="connsiteY16" fmla="*/ 33312 h 39703"/>
                  <a:gd name="connsiteX17" fmla="*/ 86623 w 86624"/>
                  <a:gd name="connsiteY17" fmla="*/ 31559 h 3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624" h="39703">
                    <a:moveTo>
                      <a:pt x="86623" y="31559"/>
                    </a:moveTo>
                    <a:cubicBezTo>
                      <a:pt x="86756" y="32178"/>
                      <a:pt x="78727" y="34645"/>
                      <a:pt x="65325" y="36789"/>
                    </a:cubicBezTo>
                    <a:cubicBezTo>
                      <a:pt x="58629" y="37846"/>
                      <a:pt x="50600" y="38789"/>
                      <a:pt x="41637" y="39294"/>
                    </a:cubicBezTo>
                    <a:cubicBezTo>
                      <a:pt x="37160" y="39551"/>
                      <a:pt x="32445" y="39694"/>
                      <a:pt x="27559" y="39703"/>
                    </a:cubicBezTo>
                    <a:cubicBezTo>
                      <a:pt x="22739" y="39675"/>
                      <a:pt x="17443" y="39808"/>
                      <a:pt x="11976" y="38170"/>
                    </a:cubicBezTo>
                    <a:cubicBezTo>
                      <a:pt x="6499" y="36741"/>
                      <a:pt x="1231" y="32026"/>
                      <a:pt x="298" y="26178"/>
                    </a:cubicBezTo>
                    <a:cubicBezTo>
                      <a:pt x="-769" y="20463"/>
                      <a:pt x="1165" y="15186"/>
                      <a:pt x="3927" y="11166"/>
                    </a:cubicBezTo>
                    <a:cubicBezTo>
                      <a:pt x="6556" y="7061"/>
                      <a:pt x="11099" y="4204"/>
                      <a:pt x="15138" y="3146"/>
                    </a:cubicBezTo>
                    <a:cubicBezTo>
                      <a:pt x="19138" y="1975"/>
                      <a:pt x="22863" y="1413"/>
                      <a:pt x="26254" y="984"/>
                    </a:cubicBezTo>
                    <a:cubicBezTo>
                      <a:pt x="39827" y="-435"/>
                      <a:pt x="48133" y="-54"/>
                      <a:pt x="48199" y="489"/>
                    </a:cubicBezTo>
                    <a:cubicBezTo>
                      <a:pt x="48295" y="1308"/>
                      <a:pt x="39903" y="2184"/>
                      <a:pt x="26787" y="4451"/>
                    </a:cubicBezTo>
                    <a:cubicBezTo>
                      <a:pt x="20415" y="5994"/>
                      <a:pt x="11899" y="6651"/>
                      <a:pt x="7699" y="13729"/>
                    </a:cubicBezTo>
                    <a:cubicBezTo>
                      <a:pt x="5546" y="17015"/>
                      <a:pt x="4222" y="21310"/>
                      <a:pt x="5061" y="25216"/>
                    </a:cubicBezTo>
                    <a:cubicBezTo>
                      <a:pt x="5804" y="29130"/>
                      <a:pt x="9013" y="32169"/>
                      <a:pt x="13433" y="33426"/>
                    </a:cubicBezTo>
                    <a:cubicBezTo>
                      <a:pt x="17852" y="34769"/>
                      <a:pt x="22758" y="34769"/>
                      <a:pt x="27587" y="34845"/>
                    </a:cubicBezTo>
                    <a:cubicBezTo>
                      <a:pt x="32388" y="34903"/>
                      <a:pt x="37026" y="34855"/>
                      <a:pt x="41446" y="34731"/>
                    </a:cubicBezTo>
                    <a:cubicBezTo>
                      <a:pt x="50276" y="34484"/>
                      <a:pt x="58229" y="33912"/>
                      <a:pt x="64896" y="33312"/>
                    </a:cubicBezTo>
                    <a:cubicBezTo>
                      <a:pt x="78232" y="32083"/>
                      <a:pt x="86480" y="30835"/>
                      <a:pt x="86623" y="31559"/>
                    </a:cubicBezTo>
                    <a:close/>
                  </a:path>
                </a:pathLst>
              </a:custGeom>
              <a:solidFill>
                <a:srgbClr val="00113E"/>
              </a:solidFill>
              <a:ln w="9525" cap="flat">
                <a:noFill/>
                <a:prstDash val="solid"/>
                <a:miter/>
              </a:ln>
            </p:spPr>
            <p:txBody>
              <a:bodyPr rtlCol="0" anchor="ctr"/>
              <a:lstStyle/>
              <a:p>
                <a:endParaRPr lang="en-US"/>
              </a:p>
            </p:txBody>
          </p:sp>
        </p:grpSp>
        <p:grpSp>
          <p:nvGrpSpPr>
            <p:cNvPr id="58" name="Graphic 293">
              <a:extLst>
                <a:ext uri="{FF2B5EF4-FFF2-40B4-BE49-F238E27FC236}">
                  <a16:creationId xmlns:a16="http://schemas.microsoft.com/office/drawing/2014/main" id="{FB7C3303-3990-DBB4-B684-B39DCAD3D824}"/>
                </a:ext>
              </a:extLst>
            </p:cNvPr>
            <p:cNvGrpSpPr/>
            <p:nvPr/>
          </p:nvGrpSpPr>
          <p:grpSpPr>
            <a:xfrm>
              <a:off x="-6020096" y="-1272369"/>
              <a:ext cx="79339" cy="41359"/>
              <a:chOff x="-6020096" y="-1272369"/>
              <a:chExt cx="79339" cy="41359"/>
            </a:xfrm>
          </p:grpSpPr>
          <p:sp>
            <p:nvSpPr>
              <p:cNvPr id="1089" name="Freeform: Shape 795">
                <a:extLst>
                  <a:ext uri="{FF2B5EF4-FFF2-40B4-BE49-F238E27FC236}">
                    <a16:creationId xmlns:a16="http://schemas.microsoft.com/office/drawing/2014/main" id="{AE171B55-C858-4F6A-A780-0E1407E4523C}"/>
                  </a:ext>
                </a:extLst>
              </p:cNvPr>
              <p:cNvSpPr/>
              <p:nvPr/>
            </p:nvSpPr>
            <p:spPr>
              <a:xfrm>
                <a:off x="-6017680" y="-1271178"/>
                <a:ext cx="76923" cy="39516"/>
              </a:xfrm>
              <a:custGeom>
                <a:avLst/>
                <a:gdLst>
                  <a:gd name="connsiteX0" fmla="*/ 76923 w 76923"/>
                  <a:gd name="connsiteY0" fmla="*/ 39516 h 39516"/>
                  <a:gd name="connsiteX1" fmla="*/ 15754 w 76923"/>
                  <a:gd name="connsiteY1" fmla="*/ 30144 h 39516"/>
                  <a:gd name="connsiteX2" fmla="*/ 4733 w 76923"/>
                  <a:gd name="connsiteY2" fmla="*/ 24372 h 39516"/>
                  <a:gd name="connsiteX3" fmla="*/ 104 w 76923"/>
                  <a:gd name="connsiteY3" fmla="*/ 13275 h 39516"/>
                  <a:gd name="connsiteX4" fmla="*/ 5924 w 76923"/>
                  <a:gd name="connsiteY4" fmla="*/ 4807 h 39516"/>
                  <a:gd name="connsiteX5" fmla="*/ 43929 w 76923"/>
                  <a:gd name="connsiteY5" fmla="*/ 616 h 3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3" h="39516">
                    <a:moveTo>
                      <a:pt x="76923" y="39516"/>
                    </a:moveTo>
                    <a:cubicBezTo>
                      <a:pt x="56273" y="38221"/>
                      <a:pt x="35328" y="36868"/>
                      <a:pt x="15754" y="30144"/>
                    </a:cubicBezTo>
                    <a:cubicBezTo>
                      <a:pt x="11801" y="28791"/>
                      <a:pt x="7839" y="27163"/>
                      <a:pt x="4733" y="24372"/>
                    </a:cubicBezTo>
                    <a:cubicBezTo>
                      <a:pt x="1628" y="21581"/>
                      <a:pt x="-505" y="17409"/>
                      <a:pt x="104" y="13275"/>
                    </a:cubicBezTo>
                    <a:cubicBezTo>
                      <a:pt x="628" y="9789"/>
                      <a:pt x="3019" y="6798"/>
                      <a:pt x="5924" y="4807"/>
                    </a:cubicBezTo>
                    <a:cubicBezTo>
                      <a:pt x="8829" y="2807"/>
                      <a:pt x="36709" y="-1622"/>
                      <a:pt x="43929" y="616"/>
                    </a:cubicBezTo>
                  </a:path>
                </a:pathLst>
              </a:custGeom>
              <a:solidFill>
                <a:srgbClr val="FFAC8D"/>
              </a:solidFill>
              <a:ln w="9525" cap="flat">
                <a:noFill/>
                <a:prstDash val="solid"/>
                <a:miter/>
              </a:ln>
            </p:spPr>
            <p:txBody>
              <a:bodyPr rtlCol="0" anchor="ctr"/>
              <a:lstStyle/>
              <a:p>
                <a:endParaRPr lang="en-US"/>
              </a:p>
            </p:txBody>
          </p:sp>
          <p:sp>
            <p:nvSpPr>
              <p:cNvPr id="1090" name="Freeform: Shape 796">
                <a:extLst>
                  <a:ext uri="{FF2B5EF4-FFF2-40B4-BE49-F238E27FC236}">
                    <a16:creationId xmlns:a16="http://schemas.microsoft.com/office/drawing/2014/main" id="{0A2AC564-D89C-9E4F-394A-18BD00A1739E}"/>
                  </a:ext>
                </a:extLst>
              </p:cNvPr>
              <p:cNvSpPr/>
              <p:nvPr/>
            </p:nvSpPr>
            <p:spPr>
              <a:xfrm>
                <a:off x="-6020096" y="-1272369"/>
                <a:ext cx="79320" cy="41359"/>
              </a:xfrm>
              <a:custGeom>
                <a:avLst/>
                <a:gdLst>
                  <a:gd name="connsiteX0" fmla="*/ 46355 w 79320"/>
                  <a:gd name="connsiteY0" fmla="*/ 1807 h 41359"/>
                  <a:gd name="connsiteX1" fmla="*/ 41030 w 79320"/>
                  <a:gd name="connsiteY1" fmla="*/ 2179 h 41359"/>
                  <a:gd name="connsiteX2" fmla="*/ 26723 w 79320"/>
                  <a:gd name="connsiteY2" fmla="*/ 3960 h 41359"/>
                  <a:gd name="connsiteX3" fmla="*/ 16932 w 79320"/>
                  <a:gd name="connsiteY3" fmla="*/ 5798 h 41359"/>
                  <a:gd name="connsiteX4" fmla="*/ 11646 w 79320"/>
                  <a:gd name="connsiteY4" fmla="*/ 7103 h 41359"/>
                  <a:gd name="connsiteX5" fmla="*/ 9588 w 79320"/>
                  <a:gd name="connsiteY5" fmla="*/ 7856 h 41359"/>
                  <a:gd name="connsiteX6" fmla="*/ 7626 w 79320"/>
                  <a:gd name="connsiteY6" fmla="*/ 9561 h 41359"/>
                  <a:gd name="connsiteX7" fmla="*/ 5378 w 79320"/>
                  <a:gd name="connsiteY7" fmla="*/ 18828 h 41359"/>
                  <a:gd name="connsiteX8" fmla="*/ 13636 w 79320"/>
                  <a:gd name="connsiteY8" fmla="*/ 26858 h 41359"/>
                  <a:gd name="connsiteX9" fmla="*/ 59585 w 79320"/>
                  <a:gd name="connsiteY9" fmla="*/ 37517 h 41359"/>
                  <a:gd name="connsiteX10" fmla="*/ 79321 w 79320"/>
                  <a:gd name="connsiteY10" fmla="*/ 40707 h 41359"/>
                  <a:gd name="connsiteX11" fmla="*/ 59271 w 79320"/>
                  <a:gd name="connsiteY11" fmla="*/ 41012 h 41359"/>
                  <a:gd name="connsiteX12" fmla="*/ 11474 w 79320"/>
                  <a:gd name="connsiteY12" fmla="*/ 31335 h 41359"/>
                  <a:gd name="connsiteX13" fmla="*/ 797 w 79320"/>
                  <a:gd name="connsiteY13" fmla="*/ 20486 h 41359"/>
                  <a:gd name="connsiteX14" fmla="*/ 4368 w 79320"/>
                  <a:gd name="connsiteY14" fmla="*/ 6360 h 41359"/>
                  <a:gd name="connsiteX15" fmla="*/ 7035 w 79320"/>
                  <a:gd name="connsiteY15" fmla="*/ 4198 h 41359"/>
                  <a:gd name="connsiteX16" fmla="*/ 10474 w 79320"/>
                  <a:gd name="connsiteY16" fmla="*/ 2922 h 41359"/>
                  <a:gd name="connsiteX17" fmla="*/ 16151 w 79320"/>
                  <a:gd name="connsiteY17" fmla="*/ 1779 h 41359"/>
                  <a:gd name="connsiteX18" fmla="*/ 26276 w 79320"/>
                  <a:gd name="connsiteY18" fmla="*/ 502 h 41359"/>
                  <a:gd name="connsiteX19" fmla="*/ 46355 w 79320"/>
                  <a:gd name="connsiteY19" fmla="*/ 1807 h 4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320" h="41359">
                    <a:moveTo>
                      <a:pt x="46355" y="1807"/>
                    </a:moveTo>
                    <a:cubicBezTo>
                      <a:pt x="46231" y="2150"/>
                      <a:pt x="44421" y="1893"/>
                      <a:pt x="41030" y="2179"/>
                    </a:cubicBezTo>
                    <a:cubicBezTo>
                      <a:pt x="37658" y="2398"/>
                      <a:pt x="32743" y="2979"/>
                      <a:pt x="26723" y="3960"/>
                    </a:cubicBezTo>
                    <a:cubicBezTo>
                      <a:pt x="23714" y="4455"/>
                      <a:pt x="20418" y="5046"/>
                      <a:pt x="16932" y="5798"/>
                    </a:cubicBezTo>
                    <a:cubicBezTo>
                      <a:pt x="15208" y="6189"/>
                      <a:pt x="13389" y="6589"/>
                      <a:pt x="11646" y="7103"/>
                    </a:cubicBezTo>
                    <a:cubicBezTo>
                      <a:pt x="10798" y="7332"/>
                      <a:pt x="9845" y="7713"/>
                      <a:pt x="9588" y="7856"/>
                    </a:cubicBezTo>
                    <a:cubicBezTo>
                      <a:pt x="8893" y="8361"/>
                      <a:pt x="8226" y="8932"/>
                      <a:pt x="7626" y="9561"/>
                    </a:cubicBezTo>
                    <a:cubicBezTo>
                      <a:pt x="5149" y="12094"/>
                      <a:pt x="4054" y="15457"/>
                      <a:pt x="5378" y="18828"/>
                    </a:cubicBezTo>
                    <a:cubicBezTo>
                      <a:pt x="6616" y="22267"/>
                      <a:pt x="9712" y="25010"/>
                      <a:pt x="13636" y="26858"/>
                    </a:cubicBezTo>
                    <a:cubicBezTo>
                      <a:pt x="30333" y="33859"/>
                      <a:pt x="47564" y="35850"/>
                      <a:pt x="59585" y="37517"/>
                    </a:cubicBezTo>
                    <a:cubicBezTo>
                      <a:pt x="71767" y="39021"/>
                      <a:pt x="79368" y="39984"/>
                      <a:pt x="79321" y="40707"/>
                    </a:cubicBezTo>
                    <a:cubicBezTo>
                      <a:pt x="79273" y="41355"/>
                      <a:pt x="71643" y="41631"/>
                      <a:pt x="59271" y="41012"/>
                    </a:cubicBezTo>
                    <a:cubicBezTo>
                      <a:pt x="46936" y="40165"/>
                      <a:pt x="29629" y="38917"/>
                      <a:pt x="11474" y="31335"/>
                    </a:cubicBezTo>
                    <a:cubicBezTo>
                      <a:pt x="6950" y="29230"/>
                      <a:pt x="2530" y="25544"/>
                      <a:pt x="797" y="20486"/>
                    </a:cubicBezTo>
                    <a:cubicBezTo>
                      <a:pt x="-1261" y="15390"/>
                      <a:pt x="930" y="9370"/>
                      <a:pt x="4368" y="6360"/>
                    </a:cubicBezTo>
                    <a:cubicBezTo>
                      <a:pt x="5206" y="5541"/>
                      <a:pt x="6102" y="4827"/>
                      <a:pt x="7035" y="4198"/>
                    </a:cubicBezTo>
                    <a:cubicBezTo>
                      <a:pt x="8512" y="3369"/>
                      <a:pt x="9464" y="3207"/>
                      <a:pt x="10474" y="2922"/>
                    </a:cubicBezTo>
                    <a:cubicBezTo>
                      <a:pt x="12455" y="2407"/>
                      <a:pt x="14322" y="2093"/>
                      <a:pt x="16151" y="1779"/>
                    </a:cubicBezTo>
                    <a:cubicBezTo>
                      <a:pt x="19789" y="1179"/>
                      <a:pt x="23171" y="788"/>
                      <a:pt x="26276" y="502"/>
                    </a:cubicBezTo>
                    <a:cubicBezTo>
                      <a:pt x="38658" y="-841"/>
                      <a:pt x="46659" y="826"/>
                      <a:pt x="46355" y="1807"/>
                    </a:cubicBezTo>
                    <a:close/>
                  </a:path>
                </a:pathLst>
              </a:custGeom>
              <a:solidFill>
                <a:srgbClr val="00113E"/>
              </a:solidFill>
              <a:ln w="9525" cap="flat">
                <a:noFill/>
                <a:prstDash val="solid"/>
                <a:miter/>
              </a:ln>
            </p:spPr>
            <p:txBody>
              <a:bodyPr rtlCol="0" anchor="ctr"/>
              <a:lstStyle/>
              <a:p>
                <a:endParaRPr lang="en-US"/>
              </a:p>
            </p:txBody>
          </p:sp>
        </p:grpSp>
        <p:grpSp>
          <p:nvGrpSpPr>
            <p:cNvPr id="60" name="Graphic 293">
              <a:extLst>
                <a:ext uri="{FF2B5EF4-FFF2-40B4-BE49-F238E27FC236}">
                  <a16:creationId xmlns:a16="http://schemas.microsoft.com/office/drawing/2014/main" id="{30CB13FD-15AD-F770-C886-CC4704D93B58}"/>
                </a:ext>
              </a:extLst>
            </p:cNvPr>
            <p:cNvGrpSpPr/>
            <p:nvPr/>
          </p:nvGrpSpPr>
          <p:grpSpPr>
            <a:xfrm>
              <a:off x="-6036045" y="-1244844"/>
              <a:ext cx="63524" cy="49970"/>
              <a:chOff x="-6036045" y="-1244844"/>
              <a:chExt cx="63524" cy="49970"/>
            </a:xfrm>
          </p:grpSpPr>
          <p:sp>
            <p:nvSpPr>
              <p:cNvPr id="62" name="Freeform: Shape 793">
                <a:extLst>
                  <a:ext uri="{FF2B5EF4-FFF2-40B4-BE49-F238E27FC236}">
                    <a16:creationId xmlns:a16="http://schemas.microsoft.com/office/drawing/2014/main" id="{C0850922-A530-1341-B8DF-5A4E3E8384AC}"/>
                  </a:ext>
                </a:extLst>
              </p:cNvPr>
              <p:cNvSpPr/>
              <p:nvPr/>
            </p:nvSpPr>
            <p:spPr>
              <a:xfrm>
                <a:off x="-6033571" y="-1242469"/>
                <a:ext cx="61048" cy="47335"/>
              </a:xfrm>
              <a:custGeom>
                <a:avLst/>
                <a:gdLst>
                  <a:gd name="connsiteX0" fmla="*/ 61049 w 61048"/>
                  <a:gd name="connsiteY0" fmla="*/ 10807 h 47335"/>
                  <a:gd name="connsiteX1" fmla="*/ 8747 w 61048"/>
                  <a:gd name="connsiteY1" fmla="*/ 311 h 47335"/>
                  <a:gd name="connsiteX2" fmla="*/ 50 w 61048"/>
                  <a:gd name="connsiteY2" fmla="*/ 13693 h 47335"/>
                  <a:gd name="connsiteX3" fmla="*/ 5365 w 61048"/>
                  <a:gd name="connsiteY3" fmla="*/ 23885 h 47335"/>
                  <a:gd name="connsiteX4" fmla="*/ 56210 w 61048"/>
                  <a:gd name="connsiteY4" fmla="*/ 47336 h 4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48" h="47335">
                    <a:moveTo>
                      <a:pt x="61049" y="10807"/>
                    </a:moveTo>
                    <a:cubicBezTo>
                      <a:pt x="55543" y="9417"/>
                      <a:pt x="13938" y="-2013"/>
                      <a:pt x="8747" y="311"/>
                    </a:cubicBezTo>
                    <a:cubicBezTo>
                      <a:pt x="3565" y="2625"/>
                      <a:pt x="-502" y="8035"/>
                      <a:pt x="50" y="13693"/>
                    </a:cubicBezTo>
                    <a:cubicBezTo>
                      <a:pt x="422" y="17570"/>
                      <a:pt x="2793" y="20961"/>
                      <a:pt x="5365" y="23885"/>
                    </a:cubicBezTo>
                    <a:cubicBezTo>
                      <a:pt x="11909" y="31343"/>
                      <a:pt x="42199" y="45459"/>
                      <a:pt x="56210" y="47336"/>
                    </a:cubicBezTo>
                  </a:path>
                </a:pathLst>
              </a:custGeom>
              <a:solidFill>
                <a:srgbClr val="FFAC8D"/>
              </a:solidFill>
              <a:ln w="9525" cap="flat">
                <a:noFill/>
                <a:prstDash val="solid"/>
                <a:miter/>
              </a:ln>
            </p:spPr>
            <p:txBody>
              <a:bodyPr rtlCol="0" anchor="ctr"/>
              <a:lstStyle/>
              <a:p>
                <a:endParaRPr lang="en-US"/>
              </a:p>
            </p:txBody>
          </p:sp>
          <p:sp>
            <p:nvSpPr>
              <p:cNvPr id="63" name="Freeform: Shape 794">
                <a:extLst>
                  <a:ext uri="{FF2B5EF4-FFF2-40B4-BE49-F238E27FC236}">
                    <a16:creationId xmlns:a16="http://schemas.microsoft.com/office/drawing/2014/main" id="{94F559C3-4A7C-1628-5D31-DEB832E6387B}"/>
                  </a:ext>
                </a:extLst>
              </p:cNvPr>
              <p:cNvSpPr/>
              <p:nvPr/>
            </p:nvSpPr>
            <p:spPr>
              <a:xfrm>
                <a:off x="-6036045" y="-1244844"/>
                <a:ext cx="63524" cy="49970"/>
              </a:xfrm>
              <a:custGeom>
                <a:avLst/>
                <a:gdLst>
                  <a:gd name="connsiteX0" fmla="*/ 58693 w 63524"/>
                  <a:gd name="connsiteY0" fmla="*/ 49701 h 49970"/>
                  <a:gd name="connsiteX1" fmla="*/ 38624 w 63524"/>
                  <a:gd name="connsiteY1" fmla="*/ 45482 h 49970"/>
                  <a:gd name="connsiteX2" fmla="*/ 18240 w 63524"/>
                  <a:gd name="connsiteY2" fmla="*/ 36395 h 49970"/>
                  <a:gd name="connsiteX3" fmla="*/ 0 w 63524"/>
                  <a:gd name="connsiteY3" fmla="*/ 14878 h 49970"/>
                  <a:gd name="connsiteX4" fmla="*/ 8334 w 63524"/>
                  <a:gd name="connsiteY4" fmla="*/ 1457 h 49970"/>
                  <a:gd name="connsiteX5" fmla="*/ 12544 w 63524"/>
                  <a:gd name="connsiteY5" fmla="*/ 0 h 49970"/>
                  <a:gd name="connsiteX6" fmla="*/ 16202 w 63524"/>
                  <a:gd name="connsiteY6" fmla="*/ 162 h 49970"/>
                  <a:gd name="connsiteX7" fmla="*/ 22698 w 63524"/>
                  <a:gd name="connsiteY7" fmla="*/ 1153 h 49970"/>
                  <a:gd name="connsiteX8" fmla="*/ 44263 w 63524"/>
                  <a:gd name="connsiteY8" fmla="*/ 6410 h 49970"/>
                  <a:gd name="connsiteX9" fmla="*/ 63522 w 63524"/>
                  <a:gd name="connsiteY9" fmla="*/ 13173 h 49970"/>
                  <a:gd name="connsiteX10" fmla="*/ 43424 w 63524"/>
                  <a:gd name="connsiteY10" fmla="*/ 9820 h 49970"/>
                  <a:gd name="connsiteX11" fmla="*/ 21907 w 63524"/>
                  <a:gd name="connsiteY11" fmla="*/ 5658 h 49970"/>
                  <a:gd name="connsiteX12" fmla="*/ 15783 w 63524"/>
                  <a:gd name="connsiteY12" fmla="*/ 4886 h 49970"/>
                  <a:gd name="connsiteX13" fmla="*/ 12859 w 63524"/>
                  <a:gd name="connsiteY13" fmla="*/ 4801 h 49970"/>
                  <a:gd name="connsiteX14" fmla="*/ 12078 w 63524"/>
                  <a:gd name="connsiteY14" fmla="*/ 4953 h 49970"/>
                  <a:gd name="connsiteX15" fmla="*/ 10830 w 63524"/>
                  <a:gd name="connsiteY15" fmla="*/ 5629 h 49970"/>
                  <a:gd name="connsiteX16" fmla="*/ 4953 w 63524"/>
                  <a:gd name="connsiteY16" fmla="*/ 14945 h 49970"/>
                  <a:gd name="connsiteX17" fmla="*/ 10363 w 63524"/>
                  <a:gd name="connsiteY17" fmla="*/ 25337 h 49970"/>
                  <a:gd name="connsiteX18" fmla="*/ 20479 w 63524"/>
                  <a:gd name="connsiteY18" fmla="*/ 32433 h 49970"/>
                  <a:gd name="connsiteX19" fmla="*/ 39919 w 63524"/>
                  <a:gd name="connsiteY19" fmla="*/ 42243 h 49970"/>
                  <a:gd name="connsiteX20" fmla="*/ 58693 w 63524"/>
                  <a:gd name="connsiteY20" fmla="*/ 49701 h 4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3524" h="49970">
                    <a:moveTo>
                      <a:pt x="58693" y="49701"/>
                    </a:moveTo>
                    <a:cubicBezTo>
                      <a:pt x="58655" y="50425"/>
                      <a:pt x="50559" y="49902"/>
                      <a:pt x="38624" y="45482"/>
                    </a:cubicBezTo>
                    <a:cubicBezTo>
                      <a:pt x="32642" y="43339"/>
                      <a:pt x="25689" y="40396"/>
                      <a:pt x="18240" y="36395"/>
                    </a:cubicBezTo>
                    <a:cubicBezTo>
                      <a:pt x="11344" y="32442"/>
                      <a:pt x="1038" y="27175"/>
                      <a:pt x="0" y="14878"/>
                    </a:cubicBezTo>
                    <a:cubicBezTo>
                      <a:pt x="162" y="8858"/>
                      <a:pt x="3924" y="4077"/>
                      <a:pt x="8334" y="1457"/>
                    </a:cubicBezTo>
                    <a:cubicBezTo>
                      <a:pt x="9325" y="800"/>
                      <a:pt x="10678" y="181"/>
                      <a:pt x="12544" y="0"/>
                    </a:cubicBezTo>
                    <a:cubicBezTo>
                      <a:pt x="13821" y="0"/>
                      <a:pt x="15097" y="10"/>
                      <a:pt x="16202" y="162"/>
                    </a:cubicBezTo>
                    <a:cubicBezTo>
                      <a:pt x="18497" y="381"/>
                      <a:pt x="20621" y="762"/>
                      <a:pt x="22698" y="1153"/>
                    </a:cubicBezTo>
                    <a:cubicBezTo>
                      <a:pt x="30975" y="2753"/>
                      <a:pt x="38195" y="4715"/>
                      <a:pt x="44263" y="6410"/>
                    </a:cubicBezTo>
                    <a:cubicBezTo>
                      <a:pt x="56379" y="9877"/>
                      <a:pt x="63684" y="12544"/>
                      <a:pt x="63522" y="13173"/>
                    </a:cubicBezTo>
                    <a:cubicBezTo>
                      <a:pt x="63341" y="13868"/>
                      <a:pt x="55683" y="12392"/>
                      <a:pt x="43424" y="9820"/>
                    </a:cubicBezTo>
                    <a:cubicBezTo>
                      <a:pt x="37290" y="8573"/>
                      <a:pt x="29985" y="6963"/>
                      <a:pt x="21907" y="5658"/>
                    </a:cubicBezTo>
                    <a:cubicBezTo>
                      <a:pt x="19898" y="5334"/>
                      <a:pt x="17812" y="5029"/>
                      <a:pt x="15783" y="4886"/>
                    </a:cubicBezTo>
                    <a:cubicBezTo>
                      <a:pt x="14726" y="4763"/>
                      <a:pt x="13802" y="4801"/>
                      <a:pt x="12859" y="4801"/>
                    </a:cubicBezTo>
                    <a:cubicBezTo>
                      <a:pt x="12525" y="4896"/>
                      <a:pt x="12459" y="4848"/>
                      <a:pt x="12078" y="4953"/>
                    </a:cubicBezTo>
                    <a:cubicBezTo>
                      <a:pt x="11659" y="5153"/>
                      <a:pt x="11239" y="5372"/>
                      <a:pt x="10830" y="5629"/>
                    </a:cubicBezTo>
                    <a:cubicBezTo>
                      <a:pt x="7572" y="7582"/>
                      <a:pt x="4991" y="11230"/>
                      <a:pt x="4953" y="14945"/>
                    </a:cubicBezTo>
                    <a:cubicBezTo>
                      <a:pt x="4877" y="18602"/>
                      <a:pt x="7534" y="22431"/>
                      <a:pt x="10363" y="25337"/>
                    </a:cubicBezTo>
                    <a:cubicBezTo>
                      <a:pt x="13211" y="28089"/>
                      <a:pt x="17031" y="30385"/>
                      <a:pt x="20479" y="32433"/>
                    </a:cubicBezTo>
                    <a:cubicBezTo>
                      <a:pt x="27546" y="36509"/>
                      <a:pt x="34233" y="39738"/>
                      <a:pt x="39919" y="42243"/>
                    </a:cubicBezTo>
                    <a:cubicBezTo>
                      <a:pt x="51283" y="47387"/>
                      <a:pt x="58760" y="49054"/>
                      <a:pt x="58693" y="49701"/>
                    </a:cubicBezTo>
                    <a:close/>
                  </a:path>
                </a:pathLst>
              </a:custGeom>
              <a:solidFill>
                <a:srgbClr val="00113E"/>
              </a:solidFill>
              <a:ln w="9525" cap="flat">
                <a:noFill/>
                <a:prstDash val="solid"/>
                <a:miter/>
              </a:ln>
            </p:spPr>
            <p:txBody>
              <a:bodyPr rtlCol="0" anchor="ctr"/>
              <a:lstStyle/>
              <a:p>
                <a:endParaRPr lang="en-US"/>
              </a:p>
            </p:txBody>
          </p:sp>
        </p:grpSp>
        <p:sp>
          <p:nvSpPr>
            <p:cNvPr id="61" name="Freeform: Shape 792">
              <a:extLst>
                <a:ext uri="{FF2B5EF4-FFF2-40B4-BE49-F238E27FC236}">
                  <a16:creationId xmlns:a16="http://schemas.microsoft.com/office/drawing/2014/main" id="{7F802F97-457B-B00B-B7CC-E3E35C9231CE}"/>
                </a:ext>
              </a:extLst>
            </p:cNvPr>
            <p:cNvSpPr/>
            <p:nvPr/>
          </p:nvSpPr>
          <p:spPr>
            <a:xfrm>
              <a:off x="-6061723" y="-1314549"/>
              <a:ext cx="36731" cy="50189"/>
            </a:xfrm>
            <a:custGeom>
              <a:avLst/>
              <a:gdLst>
                <a:gd name="connsiteX0" fmla="*/ 36451 w 36731"/>
                <a:gd name="connsiteY0" fmla="*/ 11 h 50189"/>
                <a:gd name="connsiteX1" fmla="*/ 24316 w 36731"/>
                <a:gd name="connsiteY1" fmla="*/ 29453 h 50189"/>
                <a:gd name="connsiteX2" fmla="*/ 46 w 36731"/>
                <a:gd name="connsiteY2" fmla="*/ 50074 h 50189"/>
                <a:gd name="connsiteX3" fmla="*/ 20306 w 36731"/>
                <a:gd name="connsiteY3" fmla="*/ 26538 h 50189"/>
                <a:gd name="connsiteX4" fmla="*/ 36451 w 36731"/>
                <a:gd name="connsiteY4" fmla="*/ 11 h 50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31" h="50189">
                  <a:moveTo>
                    <a:pt x="36451" y="11"/>
                  </a:moveTo>
                  <a:cubicBezTo>
                    <a:pt x="37699" y="230"/>
                    <a:pt x="34974" y="14908"/>
                    <a:pt x="24316" y="29453"/>
                  </a:cubicBezTo>
                  <a:cubicBezTo>
                    <a:pt x="13762" y="44083"/>
                    <a:pt x="637" y="51198"/>
                    <a:pt x="46" y="50074"/>
                  </a:cubicBezTo>
                  <a:cubicBezTo>
                    <a:pt x="-811" y="48874"/>
                    <a:pt x="10381" y="40349"/>
                    <a:pt x="20306" y="26538"/>
                  </a:cubicBezTo>
                  <a:cubicBezTo>
                    <a:pt x="30383" y="12832"/>
                    <a:pt x="35041" y="-437"/>
                    <a:pt x="36451" y="11"/>
                  </a:cubicBezTo>
                  <a:close/>
                </a:path>
              </a:pathLst>
            </a:custGeom>
            <a:solidFill>
              <a:srgbClr val="00113E"/>
            </a:solidFill>
            <a:ln w="9525" cap="flat">
              <a:noFill/>
              <a:prstDash val="solid"/>
              <a:miter/>
            </a:ln>
          </p:spPr>
          <p:txBody>
            <a:bodyPr rtlCol="0" anchor="ctr"/>
            <a:lstStyle/>
            <a:p>
              <a:endParaRPr lang="en-US"/>
            </a:p>
          </p:txBody>
        </p:sp>
      </p:grpSp>
      <p:grpSp>
        <p:nvGrpSpPr>
          <p:cNvPr id="1095" name="Group 841">
            <a:extLst>
              <a:ext uri="{FF2B5EF4-FFF2-40B4-BE49-F238E27FC236}">
                <a16:creationId xmlns:a16="http://schemas.microsoft.com/office/drawing/2014/main" id="{1152DFEA-B9CD-2270-A11A-0D936407B778}"/>
              </a:ext>
            </a:extLst>
          </p:cNvPr>
          <p:cNvGrpSpPr/>
          <p:nvPr/>
        </p:nvGrpSpPr>
        <p:grpSpPr>
          <a:xfrm>
            <a:off x="4533111" y="1441254"/>
            <a:ext cx="4011453" cy="3390484"/>
            <a:chOff x="4188380" y="1611372"/>
            <a:chExt cx="4011453" cy="3390484"/>
          </a:xfrm>
        </p:grpSpPr>
        <p:grpSp>
          <p:nvGrpSpPr>
            <p:cNvPr id="1096" name="Graphic 293">
              <a:extLst>
                <a:ext uri="{FF2B5EF4-FFF2-40B4-BE49-F238E27FC236}">
                  <a16:creationId xmlns:a16="http://schemas.microsoft.com/office/drawing/2014/main" id="{A61F82BB-213C-7F6B-6DC0-7CD5F16409BE}"/>
                </a:ext>
              </a:extLst>
            </p:cNvPr>
            <p:cNvGrpSpPr/>
            <p:nvPr/>
          </p:nvGrpSpPr>
          <p:grpSpPr>
            <a:xfrm>
              <a:off x="7021323" y="3864099"/>
              <a:ext cx="1148348" cy="1137757"/>
              <a:chOff x="-6762829" y="-736638"/>
              <a:chExt cx="1097775" cy="1087650"/>
            </a:xfrm>
          </p:grpSpPr>
          <p:grpSp>
            <p:nvGrpSpPr>
              <p:cNvPr id="1164" name="Graphic 293">
                <a:extLst>
                  <a:ext uri="{FF2B5EF4-FFF2-40B4-BE49-F238E27FC236}">
                    <a16:creationId xmlns:a16="http://schemas.microsoft.com/office/drawing/2014/main" id="{44A5B484-731E-D2DA-0C59-F745D81596B1}"/>
                  </a:ext>
                </a:extLst>
              </p:cNvPr>
              <p:cNvGrpSpPr/>
              <p:nvPr/>
            </p:nvGrpSpPr>
            <p:grpSpPr>
              <a:xfrm>
                <a:off x="-6057867" y="-109674"/>
                <a:ext cx="392813" cy="460686"/>
                <a:chOff x="-6057867" y="-109674"/>
                <a:chExt cx="392813" cy="460686"/>
              </a:xfrm>
            </p:grpSpPr>
            <p:sp>
              <p:nvSpPr>
                <p:cNvPr id="1166" name="Freeform: Shape 803">
                  <a:extLst>
                    <a:ext uri="{FF2B5EF4-FFF2-40B4-BE49-F238E27FC236}">
                      <a16:creationId xmlns:a16="http://schemas.microsoft.com/office/drawing/2014/main" id="{98D81B36-AB8B-A552-31A5-81B78FB95875}"/>
                    </a:ext>
                  </a:extLst>
                </p:cNvPr>
                <p:cNvSpPr/>
                <p:nvPr/>
              </p:nvSpPr>
              <p:spPr>
                <a:xfrm>
                  <a:off x="-6057867" y="-109674"/>
                  <a:ext cx="175812" cy="318915"/>
                </a:xfrm>
                <a:custGeom>
                  <a:avLst/>
                  <a:gdLst>
                    <a:gd name="connsiteX0" fmla="*/ 141456 w 175812"/>
                    <a:gd name="connsiteY0" fmla="*/ 0 h 318915"/>
                    <a:gd name="connsiteX1" fmla="*/ 0 w 175812"/>
                    <a:gd name="connsiteY1" fmla="*/ 58474 h 318915"/>
                    <a:gd name="connsiteX2" fmla="*/ 64361 w 175812"/>
                    <a:gd name="connsiteY2" fmla="*/ 318916 h 318915"/>
                    <a:gd name="connsiteX3" fmla="*/ 173631 w 175812"/>
                    <a:gd name="connsiteY3" fmla="*/ 274034 h 318915"/>
                    <a:gd name="connsiteX4" fmla="*/ 175813 w 175812"/>
                    <a:gd name="connsiteY4" fmla="*/ 197053 h 318915"/>
                    <a:gd name="connsiteX5" fmla="*/ 173603 w 175812"/>
                    <a:gd name="connsiteY5" fmla="*/ 172831 h 31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12" h="318915">
                      <a:moveTo>
                        <a:pt x="141456" y="0"/>
                      </a:moveTo>
                      <a:lnTo>
                        <a:pt x="0" y="58474"/>
                      </a:lnTo>
                      <a:lnTo>
                        <a:pt x="64361" y="318916"/>
                      </a:lnTo>
                      <a:lnTo>
                        <a:pt x="173631" y="274034"/>
                      </a:lnTo>
                      <a:lnTo>
                        <a:pt x="175813" y="197053"/>
                      </a:lnTo>
                      <a:lnTo>
                        <a:pt x="173603" y="172831"/>
                      </a:lnTo>
                      <a:close/>
                    </a:path>
                  </a:pathLst>
                </a:custGeom>
                <a:solidFill>
                  <a:srgbClr val="FFA633"/>
                </a:solidFill>
                <a:ln w="9525" cap="flat">
                  <a:noFill/>
                  <a:prstDash val="solid"/>
                  <a:miter/>
                </a:ln>
              </p:spPr>
              <p:txBody>
                <a:bodyPr rtlCol="0" anchor="ctr"/>
                <a:lstStyle/>
                <a:p>
                  <a:endParaRPr lang="en-US"/>
                </a:p>
              </p:txBody>
            </p:sp>
            <p:sp>
              <p:nvSpPr>
                <p:cNvPr id="1167" name="Freeform: Shape 804">
                  <a:extLst>
                    <a:ext uri="{FF2B5EF4-FFF2-40B4-BE49-F238E27FC236}">
                      <a16:creationId xmlns:a16="http://schemas.microsoft.com/office/drawing/2014/main" id="{BDB1FCB2-BF77-C8EA-30CC-5036822FDFA8}"/>
                    </a:ext>
                  </a:extLst>
                </p:cNvPr>
                <p:cNvSpPr/>
                <p:nvPr/>
              </p:nvSpPr>
              <p:spPr>
                <a:xfrm>
                  <a:off x="-5816770" y="-72884"/>
                  <a:ext cx="103898" cy="203535"/>
                </a:xfrm>
                <a:custGeom>
                  <a:avLst/>
                  <a:gdLst>
                    <a:gd name="connsiteX0" fmla="*/ 13545 w 103898"/>
                    <a:gd name="connsiteY0" fmla="*/ 94941 h 203535"/>
                    <a:gd name="connsiteX1" fmla="*/ 44434 w 103898"/>
                    <a:gd name="connsiteY1" fmla="*/ 18608 h 203535"/>
                    <a:gd name="connsiteX2" fmla="*/ 103899 w 103898"/>
                    <a:gd name="connsiteY2" fmla="*/ 967 h 203535"/>
                    <a:gd name="connsiteX3" fmla="*/ 99974 w 103898"/>
                    <a:gd name="connsiteY3" fmla="*/ 150605 h 203535"/>
                    <a:gd name="connsiteX4" fmla="*/ 0 w 103898"/>
                    <a:gd name="connsiteY4" fmla="*/ 203536 h 203535"/>
                    <a:gd name="connsiteX5" fmla="*/ 13545 w 103898"/>
                    <a:gd name="connsiteY5" fmla="*/ 94941 h 20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898" h="203535">
                      <a:moveTo>
                        <a:pt x="13545" y="94941"/>
                      </a:moveTo>
                      <a:cubicBezTo>
                        <a:pt x="15573" y="94131"/>
                        <a:pt x="5877" y="43440"/>
                        <a:pt x="44434" y="18608"/>
                      </a:cubicBezTo>
                      <a:cubicBezTo>
                        <a:pt x="82982" y="-6224"/>
                        <a:pt x="103899" y="967"/>
                        <a:pt x="103899" y="967"/>
                      </a:cubicBezTo>
                      <a:lnTo>
                        <a:pt x="99974" y="150605"/>
                      </a:lnTo>
                      <a:lnTo>
                        <a:pt x="0" y="203536"/>
                      </a:lnTo>
                      <a:lnTo>
                        <a:pt x="13545" y="94941"/>
                      </a:lnTo>
                      <a:close/>
                    </a:path>
                  </a:pathLst>
                </a:custGeom>
                <a:solidFill>
                  <a:srgbClr val="0289AE"/>
                </a:solidFill>
                <a:ln w="9525" cap="flat">
                  <a:noFill/>
                  <a:prstDash val="solid"/>
                  <a:miter/>
                </a:ln>
              </p:spPr>
              <p:txBody>
                <a:bodyPr rtlCol="0" anchor="ctr"/>
                <a:lstStyle/>
                <a:p>
                  <a:endParaRPr lang="en-US"/>
                </a:p>
              </p:txBody>
            </p:sp>
            <p:sp>
              <p:nvSpPr>
                <p:cNvPr id="1168" name="Freeform: Shape 805">
                  <a:extLst>
                    <a:ext uri="{FF2B5EF4-FFF2-40B4-BE49-F238E27FC236}">
                      <a16:creationId xmlns:a16="http://schemas.microsoft.com/office/drawing/2014/main" id="{5595F934-0EA7-D792-A643-087763C0ECA4}"/>
                    </a:ext>
                  </a:extLst>
                </p:cNvPr>
                <p:cNvSpPr/>
                <p:nvPr/>
              </p:nvSpPr>
              <p:spPr>
                <a:xfrm>
                  <a:off x="-6018614" y="-15414"/>
                  <a:ext cx="302504" cy="326393"/>
                </a:xfrm>
                <a:custGeom>
                  <a:avLst/>
                  <a:gdLst>
                    <a:gd name="connsiteX0" fmla="*/ 111986 w 302504"/>
                    <a:gd name="connsiteY0" fmla="*/ 82544 h 326393"/>
                    <a:gd name="connsiteX1" fmla="*/ 106699 w 302504"/>
                    <a:gd name="connsiteY1" fmla="*/ 122654 h 326393"/>
                    <a:gd name="connsiteX2" fmla="*/ 105318 w 302504"/>
                    <a:gd name="connsiteY2" fmla="*/ 144599 h 326393"/>
                    <a:gd name="connsiteX3" fmla="*/ 61427 w 302504"/>
                    <a:gd name="connsiteY3" fmla="*/ 182889 h 326393"/>
                    <a:gd name="connsiteX4" fmla="*/ 0 w 302504"/>
                    <a:gd name="connsiteY4" fmla="*/ 223885 h 326393"/>
                    <a:gd name="connsiteX5" fmla="*/ 102556 w 302504"/>
                    <a:gd name="connsiteY5" fmla="*/ 326393 h 326393"/>
                    <a:gd name="connsiteX6" fmla="*/ 301914 w 302504"/>
                    <a:gd name="connsiteY6" fmla="*/ 99098 h 326393"/>
                    <a:gd name="connsiteX7" fmla="*/ 302505 w 302504"/>
                    <a:gd name="connsiteY7" fmla="*/ 0 h 326393"/>
                    <a:gd name="connsiteX8" fmla="*/ 111986 w 302504"/>
                    <a:gd name="connsiteY8" fmla="*/ 82544 h 32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504" h="326393">
                      <a:moveTo>
                        <a:pt x="111986" y="82544"/>
                      </a:moveTo>
                      <a:cubicBezTo>
                        <a:pt x="103946" y="93050"/>
                        <a:pt x="106966" y="106594"/>
                        <a:pt x="106699" y="122654"/>
                      </a:cubicBezTo>
                      <a:cubicBezTo>
                        <a:pt x="106604" y="128168"/>
                        <a:pt x="106442" y="136131"/>
                        <a:pt x="105318" y="144599"/>
                      </a:cubicBezTo>
                      <a:cubicBezTo>
                        <a:pt x="102394" y="166564"/>
                        <a:pt x="83582" y="182366"/>
                        <a:pt x="61427" y="182889"/>
                      </a:cubicBezTo>
                      <a:cubicBezTo>
                        <a:pt x="43415" y="183309"/>
                        <a:pt x="14792" y="193234"/>
                        <a:pt x="0" y="223885"/>
                      </a:cubicBezTo>
                      <a:lnTo>
                        <a:pt x="102556" y="326393"/>
                      </a:lnTo>
                      <a:lnTo>
                        <a:pt x="301914" y="99098"/>
                      </a:lnTo>
                      <a:lnTo>
                        <a:pt x="302505" y="0"/>
                      </a:lnTo>
                      <a:cubicBezTo>
                        <a:pt x="242049" y="29966"/>
                        <a:pt x="120025" y="72037"/>
                        <a:pt x="111986" y="82544"/>
                      </a:cubicBezTo>
                      <a:close/>
                    </a:path>
                  </a:pathLst>
                </a:custGeom>
                <a:solidFill>
                  <a:srgbClr val="0289AE"/>
                </a:solidFill>
                <a:ln w="9525" cap="flat">
                  <a:noFill/>
                  <a:prstDash val="solid"/>
                  <a:miter/>
                </a:ln>
              </p:spPr>
              <p:txBody>
                <a:bodyPr rtlCol="0" anchor="ctr"/>
                <a:lstStyle/>
                <a:p>
                  <a:endParaRPr lang="en-US"/>
                </a:p>
              </p:txBody>
            </p:sp>
            <p:sp>
              <p:nvSpPr>
                <p:cNvPr id="1169" name="Freeform: Shape 806">
                  <a:extLst>
                    <a:ext uri="{FF2B5EF4-FFF2-40B4-BE49-F238E27FC236}">
                      <a16:creationId xmlns:a16="http://schemas.microsoft.com/office/drawing/2014/main" id="{4DCF3B69-4DA9-A2B4-5F3C-09D5D17C9C3E}"/>
                    </a:ext>
                  </a:extLst>
                </p:cNvPr>
                <p:cNvSpPr/>
                <p:nvPr/>
              </p:nvSpPr>
              <p:spPr>
                <a:xfrm>
                  <a:off x="-5916077" y="-71926"/>
                  <a:ext cx="251023" cy="422938"/>
                </a:xfrm>
                <a:custGeom>
                  <a:avLst/>
                  <a:gdLst>
                    <a:gd name="connsiteX0" fmla="*/ 248803 w 251023"/>
                    <a:gd name="connsiteY0" fmla="*/ 9 h 422938"/>
                    <a:gd name="connsiteX1" fmla="*/ 246040 w 251023"/>
                    <a:gd name="connsiteY1" fmla="*/ 83734 h 422938"/>
                    <a:gd name="connsiteX2" fmla="*/ 247736 w 251023"/>
                    <a:gd name="connsiteY2" fmla="*/ 152085 h 422938"/>
                    <a:gd name="connsiteX3" fmla="*/ 213608 w 251023"/>
                    <a:gd name="connsiteY3" fmla="*/ 210360 h 422938"/>
                    <a:gd name="connsiteX4" fmla="*/ 175088 w 251023"/>
                    <a:gd name="connsiteY4" fmla="*/ 273263 h 422938"/>
                    <a:gd name="connsiteX5" fmla="*/ 130559 w 251023"/>
                    <a:gd name="connsiteY5" fmla="*/ 304447 h 422938"/>
                    <a:gd name="connsiteX6" fmla="*/ 105146 w 251023"/>
                    <a:gd name="connsiteY6" fmla="*/ 354025 h 422938"/>
                    <a:gd name="connsiteX7" fmla="*/ 68618 w 251023"/>
                    <a:gd name="connsiteY7" fmla="*/ 377714 h 422938"/>
                    <a:gd name="connsiteX8" fmla="*/ 45758 w 251023"/>
                    <a:gd name="connsiteY8" fmla="*/ 422938 h 422938"/>
                    <a:gd name="connsiteX9" fmla="*/ 0 w 251023"/>
                    <a:gd name="connsiteY9" fmla="*/ 382895 h 422938"/>
                    <a:gd name="connsiteX10" fmla="*/ 199358 w 251023"/>
                    <a:gd name="connsiteY10" fmla="*/ 155600 h 422938"/>
                    <a:gd name="connsiteX11" fmla="*/ 203187 w 251023"/>
                    <a:gd name="connsiteY11" fmla="*/ 0 h 422938"/>
                    <a:gd name="connsiteX12" fmla="*/ 248803 w 251023"/>
                    <a:gd name="connsiteY12" fmla="*/ 0 h 42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023" h="422938">
                      <a:moveTo>
                        <a:pt x="248803" y="9"/>
                      </a:moveTo>
                      <a:cubicBezTo>
                        <a:pt x="246345" y="25222"/>
                        <a:pt x="256842" y="56512"/>
                        <a:pt x="246040" y="83734"/>
                      </a:cubicBezTo>
                      <a:cubicBezTo>
                        <a:pt x="232991" y="116624"/>
                        <a:pt x="251984" y="125025"/>
                        <a:pt x="247736" y="152085"/>
                      </a:cubicBezTo>
                      <a:cubicBezTo>
                        <a:pt x="243602" y="178460"/>
                        <a:pt x="227171" y="195529"/>
                        <a:pt x="213608" y="210360"/>
                      </a:cubicBezTo>
                      <a:cubicBezTo>
                        <a:pt x="193672" y="232143"/>
                        <a:pt x="197139" y="251774"/>
                        <a:pt x="175088" y="273263"/>
                      </a:cubicBezTo>
                      <a:cubicBezTo>
                        <a:pt x="158705" y="289236"/>
                        <a:pt x="145780" y="287350"/>
                        <a:pt x="130559" y="304447"/>
                      </a:cubicBezTo>
                      <a:cubicBezTo>
                        <a:pt x="119624" y="316735"/>
                        <a:pt x="117881" y="339738"/>
                        <a:pt x="105146" y="354025"/>
                      </a:cubicBezTo>
                      <a:cubicBezTo>
                        <a:pt x="85458" y="376104"/>
                        <a:pt x="80181" y="366284"/>
                        <a:pt x="68618" y="377714"/>
                      </a:cubicBezTo>
                      <a:cubicBezTo>
                        <a:pt x="55073" y="391115"/>
                        <a:pt x="65703" y="405117"/>
                        <a:pt x="45758" y="422938"/>
                      </a:cubicBezTo>
                      <a:lnTo>
                        <a:pt x="0" y="382895"/>
                      </a:lnTo>
                      <a:lnTo>
                        <a:pt x="199358" y="155600"/>
                      </a:lnTo>
                      <a:lnTo>
                        <a:pt x="203187" y="0"/>
                      </a:lnTo>
                      <a:lnTo>
                        <a:pt x="248803" y="0"/>
                      </a:lnTo>
                      <a:close/>
                    </a:path>
                  </a:pathLst>
                </a:custGeom>
                <a:solidFill>
                  <a:srgbClr val="00113E"/>
                </a:solidFill>
                <a:ln w="9525" cap="flat">
                  <a:noFill/>
                  <a:prstDash val="solid"/>
                  <a:miter/>
                </a:ln>
              </p:spPr>
              <p:txBody>
                <a:bodyPr rtlCol="0" anchor="ctr"/>
                <a:lstStyle/>
                <a:p>
                  <a:endParaRPr lang="en-US"/>
                </a:p>
              </p:txBody>
            </p:sp>
            <p:sp>
              <p:nvSpPr>
                <p:cNvPr id="1170" name="Freeform: Shape 807">
                  <a:extLst>
                    <a:ext uri="{FF2B5EF4-FFF2-40B4-BE49-F238E27FC236}">
                      <a16:creationId xmlns:a16="http://schemas.microsoft.com/office/drawing/2014/main" id="{624482CD-DC6D-642E-1CE3-237DABA4DE38}"/>
                    </a:ext>
                  </a:extLst>
                </p:cNvPr>
                <p:cNvSpPr/>
                <p:nvPr/>
              </p:nvSpPr>
              <p:spPr>
                <a:xfrm>
                  <a:off x="-5916061" y="-71917"/>
                  <a:ext cx="203685" cy="382902"/>
                </a:xfrm>
                <a:custGeom>
                  <a:avLst/>
                  <a:gdLst>
                    <a:gd name="connsiteX0" fmla="*/ 203190 w 203685"/>
                    <a:gd name="connsiteY0" fmla="*/ 0 h 382902"/>
                    <a:gd name="connsiteX1" fmla="*/ 203686 w 203685"/>
                    <a:gd name="connsiteY1" fmla="*/ 11582 h 382902"/>
                    <a:gd name="connsiteX2" fmla="*/ 203571 w 203685"/>
                    <a:gd name="connsiteY2" fmla="*/ 43834 h 382902"/>
                    <a:gd name="connsiteX3" fmla="*/ 201714 w 203685"/>
                    <a:gd name="connsiteY3" fmla="*/ 155658 h 382902"/>
                    <a:gd name="connsiteX4" fmla="*/ 201704 w 203685"/>
                    <a:gd name="connsiteY4" fmla="*/ 156496 h 382902"/>
                    <a:gd name="connsiteX5" fmla="*/ 201142 w 203685"/>
                    <a:gd name="connsiteY5" fmla="*/ 157144 h 382902"/>
                    <a:gd name="connsiteX6" fmla="*/ 152889 w 203685"/>
                    <a:gd name="connsiteY6" fmla="*/ 212360 h 382902"/>
                    <a:gd name="connsiteX7" fmla="*/ 45561 w 203685"/>
                    <a:gd name="connsiteY7" fmla="*/ 333623 h 382902"/>
                    <a:gd name="connsiteX8" fmla="*/ 12605 w 203685"/>
                    <a:gd name="connsiteY8" fmla="*/ 369999 h 382902"/>
                    <a:gd name="connsiteX9" fmla="*/ 3461 w 203685"/>
                    <a:gd name="connsiteY9" fmla="*/ 379724 h 382902"/>
                    <a:gd name="connsiteX10" fmla="*/ 13 w 203685"/>
                    <a:gd name="connsiteY10" fmla="*/ 382896 h 382902"/>
                    <a:gd name="connsiteX11" fmla="*/ 2708 w 203685"/>
                    <a:gd name="connsiteY11" fmla="*/ 379066 h 382902"/>
                    <a:gd name="connsiteX12" fmla="*/ 11157 w 203685"/>
                    <a:gd name="connsiteY12" fmla="*/ 368732 h 382902"/>
                    <a:gd name="connsiteX13" fmla="*/ 42923 w 203685"/>
                    <a:gd name="connsiteY13" fmla="*/ 331318 h 382902"/>
                    <a:gd name="connsiteX14" fmla="*/ 149155 w 203685"/>
                    <a:gd name="connsiteY14" fmla="*/ 209093 h 382902"/>
                    <a:gd name="connsiteX15" fmla="*/ 197609 w 203685"/>
                    <a:gd name="connsiteY15" fmla="*/ 154048 h 382902"/>
                    <a:gd name="connsiteX16" fmla="*/ 197028 w 203685"/>
                    <a:gd name="connsiteY16" fmla="*/ 155534 h 382902"/>
                    <a:gd name="connsiteX17" fmla="*/ 200666 w 203685"/>
                    <a:gd name="connsiteY17" fmla="*/ 43758 h 382902"/>
                    <a:gd name="connsiteX18" fmla="*/ 202143 w 203685"/>
                    <a:gd name="connsiteY18" fmla="*/ 11535 h 382902"/>
                    <a:gd name="connsiteX19" fmla="*/ 203190 w 203685"/>
                    <a:gd name="connsiteY19" fmla="*/ 0 h 38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3685" h="382902">
                      <a:moveTo>
                        <a:pt x="203190" y="0"/>
                      </a:moveTo>
                      <a:cubicBezTo>
                        <a:pt x="203467" y="10"/>
                        <a:pt x="203629" y="4067"/>
                        <a:pt x="203686" y="11582"/>
                      </a:cubicBezTo>
                      <a:cubicBezTo>
                        <a:pt x="203657" y="19822"/>
                        <a:pt x="203619" y="30623"/>
                        <a:pt x="203571" y="43834"/>
                      </a:cubicBezTo>
                      <a:cubicBezTo>
                        <a:pt x="203105" y="72190"/>
                        <a:pt x="202457" y="110833"/>
                        <a:pt x="201714" y="155658"/>
                      </a:cubicBezTo>
                      <a:lnTo>
                        <a:pt x="201704" y="156496"/>
                      </a:lnTo>
                      <a:lnTo>
                        <a:pt x="201142" y="157144"/>
                      </a:lnTo>
                      <a:cubicBezTo>
                        <a:pt x="186160" y="174288"/>
                        <a:pt x="169853" y="192939"/>
                        <a:pt x="152889" y="212360"/>
                      </a:cubicBezTo>
                      <a:cubicBezTo>
                        <a:pt x="111188" y="259909"/>
                        <a:pt x="73222" y="302762"/>
                        <a:pt x="45561" y="333623"/>
                      </a:cubicBezTo>
                      <a:cubicBezTo>
                        <a:pt x="32045" y="348549"/>
                        <a:pt x="20910" y="360836"/>
                        <a:pt x="12605" y="369999"/>
                      </a:cubicBezTo>
                      <a:cubicBezTo>
                        <a:pt x="8956" y="373866"/>
                        <a:pt x="5946" y="377076"/>
                        <a:pt x="3461" y="379724"/>
                      </a:cubicBezTo>
                      <a:cubicBezTo>
                        <a:pt x="1327" y="381914"/>
                        <a:pt x="146" y="383000"/>
                        <a:pt x="13" y="382896"/>
                      </a:cubicBezTo>
                      <a:cubicBezTo>
                        <a:pt x="-121" y="382781"/>
                        <a:pt x="813" y="381467"/>
                        <a:pt x="2708" y="379066"/>
                      </a:cubicBezTo>
                      <a:cubicBezTo>
                        <a:pt x="5004" y="376257"/>
                        <a:pt x="7794" y="372847"/>
                        <a:pt x="11157" y="368732"/>
                      </a:cubicBezTo>
                      <a:cubicBezTo>
                        <a:pt x="19158" y="359302"/>
                        <a:pt x="29892" y="346672"/>
                        <a:pt x="42923" y="331318"/>
                      </a:cubicBezTo>
                      <a:cubicBezTo>
                        <a:pt x="69907" y="299866"/>
                        <a:pt x="107455" y="256642"/>
                        <a:pt x="149155" y="209093"/>
                      </a:cubicBezTo>
                      <a:cubicBezTo>
                        <a:pt x="166195" y="189738"/>
                        <a:pt x="182569" y="171136"/>
                        <a:pt x="197609" y="154048"/>
                      </a:cubicBezTo>
                      <a:lnTo>
                        <a:pt x="197028" y="155534"/>
                      </a:lnTo>
                      <a:cubicBezTo>
                        <a:pt x="198485" y="110728"/>
                        <a:pt x="199742" y="72104"/>
                        <a:pt x="200666" y="43758"/>
                      </a:cubicBezTo>
                      <a:cubicBezTo>
                        <a:pt x="201266" y="30556"/>
                        <a:pt x="201762" y="19774"/>
                        <a:pt x="202143" y="11535"/>
                      </a:cubicBezTo>
                      <a:cubicBezTo>
                        <a:pt x="202552" y="4048"/>
                        <a:pt x="202914" y="0"/>
                        <a:pt x="203190" y="0"/>
                      </a:cubicBezTo>
                      <a:close/>
                    </a:path>
                  </a:pathLst>
                </a:custGeom>
                <a:solidFill>
                  <a:srgbClr val="00113E"/>
                </a:solidFill>
                <a:ln w="9525" cap="flat">
                  <a:noFill/>
                  <a:prstDash val="solid"/>
                  <a:miter/>
                </a:ln>
              </p:spPr>
              <p:txBody>
                <a:bodyPr rtlCol="0" anchor="ctr"/>
                <a:lstStyle/>
                <a:p>
                  <a:endParaRPr lang="en-US"/>
                </a:p>
              </p:txBody>
            </p:sp>
            <p:sp>
              <p:nvSpPr>
                <p:cNvPr id="1171" name="Freeform: Shape 808">
                  <a:extLst>
                    <a:ext uri="{FF2B5EF4-FFF2-40B4-BE49-F238E27FC236}">
                      <a16:creationId xmlns:a16="http://schemas.microsoft.com/office/drawing/2014/main" id="{DE34E7CE-CD38-12B7-F3FF-DE3899C6EC26}"/>
                    </a:ext>
                  </a:extLst>
                </p:cNvPr>
                <p:cNvSpPr/>
                <p:nvPr/>
              </p:nvSpPr>
              <p:spPr>
                <a:xfrm>
                  <a:off x="-5959743" y="227136"/>
                  <a:ext cx="107831" cy="35869"/>
                </a:xfrm>
                <a:custGeom>
                  <a:avLst/>
                  <a:gdLst>
                    <a:gd name="connsiteX0" fmla="*/ 32 w 107831"/>
                    <a:gd name="connsiteY0" fmla="*/ 35826 h 35869"/>
                    <a:gd name="connsiteX1" fmla="*/ 11567 w 107831"/>
                    <a:gd name="connsiteY1" fmla="*/ 22701 h 35869"/>
                    <a:gd name="connsiteX2" fmla="*/ 49095 w 107831"/>
                    <a:gd name="connsiteY2" fmla="*/ 3317 h 35869"/>
                    <a:gd name="connsiteX3" fmla="*/ 91300 w 107831"/>
                    <a:gd name="connsiteY3" fmla="*/ 1517 h 35869"/>
                    <a:gd name="connsiteX4" fmla="*/ 107826 w 107831"/>
                    <a:gd name="connsiteY4" fmla="*/ 7185 h 35869"/>
                    <a:gd name="connsiteX5" fmla="*/ 90796 w 107831"/>
                    <a:gd name="connsiteY5" fmla="*/ 4984 h 35869"/>
                    <a:gd name="connsiteX6" fmla="*/ 50362 w 107831"/>
                    <a:gd name="connsiteY6" fmla="*/ 8109 h 35869"/>
                    <a:gd name="connsiteX7" fmla="*/ 13710 w 107831"/>
                    <a:gd name="connsiteY7" fmla="*/ 25454 h 35869"/>
                    <a:gd name="connsiteX8" fmla="*/ 32 w 107831"/>
                    <a:gd name="connsiteY8" fmla="*/ 35826 h 35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831" h="35869">
                      <a:moveTo>
                        <a:pt x="32" y="35826"/>
                      </a:moveTo>
                      <a:cubicBezTo>
                        <a:pt x="-387" y="35493"/>
                        <a:pt x="3309" y="29797"/>
                        <a:pt x="11567" y="22701"/>
                      </a:cubicBezTo>
                      <a:cubicBezTo>
                        <a:pt x="19758" y="15605"/>
                        <a:pt x="32960" y="7642"/>
                        <a:pt x="49095" y="3317"/>
                      </a:cubicBezTo>
                      <a:cubicBezTo>
                        <a:pt x="65259" y="-940"/>
                        <a:pt x="80670" y="-588"/>
                        <a:pt x="91300" y="1517"/>
                      </a:cubicBezTo>
                      <a:cubicBezTo>
                        <a:pt x="101997" y="3584"/>
                        <a:pt x="108026" y="6689"/>
                        <a:pt x="107826" y="7185"/>
                      </a:cubicBezTo>
                      <a:cubicBezTo>
                        <a:pt x="107569" y="7975"/>
                        <a:pt x="101216" y="6089"/>
                        <a:pt x="90796" y="4984"/>
                      </a:cubicBezTo>
                      <a:cubicBezTo>
                        <a:pt x="80394" y="3832"/>
                        <a:pt x="65783" y="4051"/>
                        <a:pt x="50362" y="8109"/>
                      </a:cubicBezTo>
                      <a:cubicBezTo>
                        <a:pt x="34960" y="12242"/>
                        <a:pt x="22168" y="19300"/>
                        <a:pt x="13710" y="25454"/>
                      </a:cubicBezTo>
                      <a:cubicBezTo>
                        <a:pt x="5233" y="31597"/>
                        <a:pt x="651" y="36379"/>
                        <a:pt x="32" y="35826"/>
                      </a:cubicBezTo>
                      <a:close/>
                    </a:path>
                  </a:pathLst>
                </a:custGeom>
                <a:solidFill>
                  <a:srgbClr val="00113E"/>
                </a:solidFill>
                <a:ln w="9525" cap="flat">
                  <a:noFill/>
                  <a:prstDash val="solid"/>
                  <a:miter/>
                </a:ln>
              </p:spPr>
              <p:txBody>
                <a:bodyPr rtlCol="0" anchor="ctr"/>
                <a:lstStyle/>
                <a:p>
                  <a:endParaRPr lang="en-US"/>
                </a:p>
              </p:txBody>
            </p:sp>
            <p:sp>
              <p:nvSpPr>
                <p:cNvPr id="1172" name="Freeform: Shape 809">
                  <a:extLst>
                    <a:ext uri="{FF2B5EF4-FFF2-40B4-BE49-F238E27FC236}">
                      <a16:creationId xmlns:a16="http://schemas.microsoft.com/office/drawing/2014/main" id="{DADA9D73-D6F9-B377-000A-0460C19A08BD}"/>
                    </a:ext>
                  </a:extLst>
                </p:cNvPr>
                <p:cNvSpPr/>
                <p:nvPr/>
              </p:nvSpPr>
              <p:spPr>
                <a:xfrm>
                  <a:off x="-5839717" y="39830"/>
                  <a:ext cx="18382" cy="53807"/>
                </a:xfrm>
                <a:custGeom>
                  <a:avLst/>
                  <a:gdLst>
                    <a:gd name="connsiteX0" fmla="*/ 17146 w 18382"/>
                    <a:gd name="connsiteY0" fmla="*/ 53807 h 53807"/>
                    <a:gd name="connsiteX1" fmla="*/ 10174 w 18382"/>
                    <a:gd name="connsiteY1" fmla="*/ 26441 h 53807"/>
                    <a:gd name="connsiteX2" fmla="*/ 144 w 18382"/>
                    <a:gd name="connsiteY2" fmla="*/ 47 h 53807"/>
                    <a:gd name="connsiteX3" fmla="*/ 14908 w 18382"/>
                    <a:gd name="connsiteY3" fmla="*/ 24946 h 53807"/>
                    <a:gd name="connsiteX4" fmla="*/ 17146 w 18382"/>
                    <a:gd name="connsiteY4" fmla="*/ 53807 h 53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2" h="53807">
                      <a:moveTo>
                        <a:pt x="17146" y="53807"/>
                      </a:moveTo>
                      <a:cubicBezTo>
                        <a:pt x="15689" y="53816"/>
                        <a:pt x="14899" y="41119"/>
                        <a:pt x="10174" y="26441"/>
                      </a:cubicBezTo>
                      <a:cubicBezTo>
                        <a:pt x="5602" y="11715"/>
                        <a:pt x="-1065" y="876"/>
                        <a:pt x="144" y="47"/>
                      </a:cubicBezTo>
                      <a:cubicBezTo>
                        <a:pt x="1125" y="-781"/>
                        <a:pt x="10031" y="9344"/>
                        <a:pt x="14908" y="24946"/>
                      </a:cubicBezTo>
                      <a:cubicBezTo>
                        <a:pt x="19889" y="40510"/>
                        <a:pt x="18423" y="53921"/>
                        <a:pt x="17146" y="53807"/>
                      </a:cubicBezTo>
                      <a:close/>
                    </a:path>
                  </a:pathLst>
                </a:custGeom>
                <a:solidFill>
                  <a:srgbClr val="FFFFFF"/>
                </a:solidFill>
                <a:ln w="9525" cap="flat">
                  <a:noFill/>
                  <a:prstDash val="solid"/>
                  <a:miter/>
                </a:ln>
              </p:spPr>
              <p:txBody>
                <a:bodyPr rtlCol="0" anchor="ctr"/>
                <a:lstStyle/>
                <a:p>
                  <a:endParaRPr lang="en-US"/>
                </a:p>
              </p:txBody>
            </p:sp>
            <p:sp>
              <p:nvSpPr>
                <p:cNvPr id="1173" name="Freeform: Shape 810">
                  <a:extLst>
                    <a:ext uri="{FF2B5EF4-FFF2-40B4-BE49-F238E27FC236}">
                      <a16:creationId xmlns:a16="http://schemas.microsoft.com/office/drawing/2014/main" id="{961F3817-1CCD-00A1-1EE0-C78095ADD0F3}"/>
                    </a:ext>
                  </a:extLst>
                </p:cNvPr>
                <p:cNvSpPr/>
                <p:nvPr/>
              </p:nvSpPr>
              <p:spPr>
                <a:xfrm>
                  <a:off x="-5816513" y="26765"/>
                  <a:ext cx="19093" cy="64463"/>
                </a:xfrm>
                <a:custGeom>
                  <a:avLst/>
                  <a:gdLst>
                    <a:gd name="connsiteX0" fmla="*/ 17592 w 19093"/>
                    <a:gd name="connsiteY0" fmla="*/ 64462 h 64463"/>
                    <a:gd name="connsiteX1" fmla="*/ 11049 w 19093"/>
                    <a:gd name="connsiteY1" fmla="*/ 31658 h 64463"/>
                    <a:gd name="connsiteX2" fmla="*/ 143 w 19093"/>
                    <a:gd name="connsiteY2" fmla="*/ 35 h 64463"/>
                    <a:gd name="connsiteX3" fmla="*/ 15840 w 19093"/>
                    <a:gd name="connsiteY3" fmla="*/ 30362 h 64463"/>
                    <a:gd name="connsiteX4" fmla="*/ 17592 w 19093"/>
                    <a:gd name="connsiteY4" fmla="*/ 6446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93" h="64463">
                      <a:moveTo>
                        <a:pt x="17592" y="64462"/>
                      </a:moveTo>
                      <a:cubicBezTo>
                        <a:pt x="16116" y="64433"/>
                        <a:pt x="15926" y="49326"/>
                        <a:pt x="11049" y="31658"/>
                      </a:cubicBezTo>
                      <a:cubicBezTo>
                        <a:pt x="6334" y="13941"/>
                        <a:pt x="-1124" y="806"/>
                        <a:pt x="143" y="35"/>
                      </a:cubicBezTo>
                      <a:cubicBezTo>
                        <a:pt x="1143" y="-746"/>
                        <a:pt x="10877" y="11769"/>
                        <a:pt x="15840" y="30362"/>
                      </a:cubicBezTo>
                      <a:cubicBezTo>
                        <a:pt x="20926" y="48917"/>
                        <a:pt x="18840" y="64633"/>
                        <a:pt x="17592" y="64462"/>
                      </a:cubicBezTo>
                      <a:close/>
                    </a:path>
                  </a:pathLst>
                </a:custGeom>
                <a:solidFill>
                  <a:srgbClr val="FFFFFF"/>
                </a:solidFill>
                <a:ln w="9525" cap="flat">
                  <a:noFill/>
                  <a:prstDash val="solid"/>
                  <a:miter/>
                </a:ln>
              </p:spPr>
              <p:txBody>
                <a:bodyPr rtlCol="0" anchor="ctr"/>
                <a:lstStyle/>
                <a:p>
                  <a:endParaRPr lang="en-US"/>
                </a:p>
              </p:txBody>
            </p:sp>
          </p:grpSp>
          <p:sp>
            <p:nvSpPr>
              <p:cNvPr id="1165" name="Freeform: Shape 802">
                <a:extLst>
                  <a:ext uri="{FF2B5EF4-FFF2-40B4-BE49-F238E27FC236}">
                    <a16:creationId xmlns:a16="http://schemas.microsoft.com/office/drawing/2014/main" id="{3F1B8E66-E0A0-EC39-41D0-7B2129AA75C3}"/>
                  </a:ext>
                </a:extLst>
              </p:cNvPr>
              <p:cNvSpPr/>
              <p:nvPr/>
            </p:nvSpPr>
            <p:spPr>
              <a:xfrm>
                <a:off x="-6762829" y="-736638"/>
                <a:ext cx="901367" cy="802423"/>
              </a:xfrm>
              <a:custGeom>
                <a:avLst/>
                <a:gdLst>
                  <a:gd name="connsiteX0" fmla="*/ 226388 w 901367"/>
                  <a:gd name="connsiteY0" fmla="*/ 23632 h 802423"/>
                  <a:gd name="connsiteX1" fmla="*/ 699552 w 901367"/>
                  <a:gd name="connsiteY1" fmla="*/ 7782 h 802423"/>
                  <a:gd name="connsiteX2" fmla="*/ 792869 w 901367"/>
                  <a:gd name="connsiteY2" fmla="*/ 145637 h 802423"/>
                  <a:gd name="connsiteX3" fmla="*/ 901368 w 901367"/>
                  <a:gd name="connsiteY3" fmla="*/ 731415 h 802423"/>
                  <a:gd name="connsiteX4" fmla="*/ 661995 w 901367"/>
                  <a:gd name="connsiteY4" fmla="*/ 802424 h 802423"/>
                  <a:gd name="connsiteX5" fmla="*/ 564812 w 901367"/>
                  <a:gd name="connsiteY5" fmla="*/ 268948 h 802423"/>
                  <a:gd name="connsiteX6" fmla="*/ 201490 w 901367"/>
                  <a:gd name="connsiteY6" fmla="*/ 337785 h 802423"/>
                  <a:gd name="connsiteX7" fmla="*/ 34831 w 901367"/>
                  <a:gd name="connsiteY7" fmla="*/ 384581 h 802423"/>
                  <a:gd name="connsiteX8" fmla="*/ 20372 w 901367"/>
                  <a:gd name="connsiteY8" fmla="*/ 0 h 802423"/>
                  <a:gd name="connsiteX9" fmla="*/ 233180 w 901367"/>
                  <a:gd name="connsiteY9" fmla="*/ 25898 h 80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367" h="802423">
                    <a:moveTo>
                      <a:pt x="226388" y="23632"/>
                    </a:moveTo>
                    <a:cubicBezTo>
                      <a:pt x="233180" y="25898"/>
                      <a:pt x="652003" y="-17116"/>
                      <a:pt x="699552" y="7782"/>
                    </a:cubicBezTo>
                    <a:cubicBezTo>
                      <a:pt x="747092" y="32690"/>
                      <a:pt x="792869" y="118472"/>
                      <a:pt x="792869" y="145637"/>
                    </a:cubicBezTo>
                    <a:cubicBezTo>
                      <a:pt x="792869" y="172803"/>
                      <a:pt x="901368" y="731415"/>
                      <a:pt x="901368" y="731415"/>
                    </a:cubicBezTo>
                    <a:lnTo>
                      <a:pt x="661995" y="802424"/>
                    </a:lnTo>
                    <a:lnTo>
                      <a:pt x="564812" y="268948"/>
                    </a:lnTo>
                    <a:lnTo>
                      <a:pt x="201490" y="337785"/>
                    </a:lnTo>
                    <a:cubicBezTo>
                      <a:pt x="201490" y="337785"/>
                      <a:pt x="103630" y="421786"/>
                      <a:pt x="34831" y="384581"/>
                    </a:cubicBezTo>
                    <a:cubicBezTo>
                      <a:pt x="-33958" y="347377"/>
                      <a:pt x="20372" y="0"/>
                      <a:pt x="20372" y="0"/>
                    </a:cubicBezTo>
                    <a:lnTo>
                      <a:pt x="233180" y="25898"/>
                    </a:lnTo>
                  </a:path>
                </a:pathLst>
              </a:custGeom>
              <a:solidFill>
                <a:srgbClr val="06677F"/>
              </a:solidFill>
              <a:ln w="9525" cap="flat">
                <a:noFill/>
                <a:prstDash val="solid"/>
                <a:miter/>
              </a:ln>
            </p:spPr>
            <p:txBody>
              <a:bodyPr rtlCol="0" anchor="ctr"/>
              <a:lstStyle/>
              <a:p>
                <a:endParaRPr lang="en-US"/>
              </a:p>
            </p:txBody>
          </p:sp>
        </p:grpSp>
        <p:grpSp>
          <p:nvGrpSpPr>
            <p:cNvPr id="1097" name="Graphic 293">
              <a:extLst>
                <a:ext uri="{FF2B5EF4-FFF2-40B4-BE49-F238E27FC236}">
                  <a16:creationId xmlns:a16="http://schemas.microsoft.com/office/drawing/2014/main" id="{C4DCE754-C641-E164-C24D-93805FC58AB5}"/>
                </a:ext>
              </a:extLst>
            </p:cNvPr>
            <p:cNvGrpSpPr/>
            <p:nvPr/>
          </p:nvGrpSpPr>
          <p:grpSpPr>
            <a:xfrm>
              <a:off x="4188380" y="1611372"/>
              <a:ext cx="4011453" cy="2658965"/>
              <a:chOff x="-9471008" y="-2890155"/>
              <a:chExt cx="3834787" cy="2541863"/>
            </a:xfrm>
          </p:grpSpPr>
          <p:grpSp>
            <p:nvGrpSpPr>
              <p:cNvPr id="1098" name="Graphic 293">
                <a:extLst>
                  <a:ext uri="{FF2B5EF4-FFF2-40B4-BE49-F238E27FC236}">
                    <a16:creationId xmlns:a16="http://schemas.microsoft.com/office/drawing/2014/main" id="{FADC9EDB-5D76-6480-288D-BED92AE5732C}"/>
                  </a:ext>
                </a:extLst>
              </p:cNvPr>
              <p:cNvGrpSpPr/>
              <p:nvPr/>
            </p:nvGrpSpPr>
            <p:grpSpPr>
              <a:xfrm>
                <a:off x="-6798674" y="-1602832"/>
                <a:ext cx="862762" cy="503367"/>
                <a:chOff x="-6798674" y="-1602832"/>
                <a:chExt cx="862762" cy="503367"/>
              </a:xfrm>
            </p:grpSpPr>
            <p:sp>
              <p:nvSpPr>
                <p:cNvPr id="1155" name="Freeform: Shape 775">
                  <a:extLst>
                    <a:ext uri="{FF2B5EF4-FFF2-40B4-BE49-F238E27FC236}">
                      <a16:creationId xmlns:a16="http://schemas.microsoft.com/office/drawing/2014/main" id="{C6647F15-073E-9176-9D61-843C4FA7BF9C}"/>
                    </a:ext>
                  </a:extLst>
                </p:cNvPr>
                <p:cNvSpPr/>
                <p:nvPr/>
              </p:nvSpPr>
              <p:spPr>
                <a:xfrm>
                  <a:off x="-6798674" y="-1541481"/>
                  <a:ext cx="725843" cy="442017"/>
                </a:xfrm>
                <a:custGeom>
                  <a:avLst/>
                  <a:gdLst>
                    <a:gd name="connsiteX0" fmla="*/ 672074 w 725843"/>
                    <a:gd name="connsiteY0" fmla="*/ 0 h 442017"/>
                    <a:gd name="connsiteX1" fmla="*/ 302105 w 725843"/>
                    <a:gd name="connsiteY1" fmla="*/ 226247 h 442017"/>
                    <a:gd name="connsiteX2" fmla="*/ 0 w 725843"/>
                    <a:gd name="connsiteY2" fmla="*/ 251279 h 442017"/>
                    <a:gd name="connsiteX3" fmla="*/ 16783 w 725843"/>
                    <a:gd name="connsiteY3" fmla="*/ 442017 h 442017"/>
                    <a:gd name="connsiteX4" fmla="*/ 386277 w 725843"/>
                    <a:gd name="connsiteY4" fmla="*/ 394383 h 442017"/>
                    <a:gd name="connsiteX5" fmla="*/ 725843 w 725843"/>
                    <a:gd name="connsiteY5" fmla="*/ 87763 h 442017"/>
                    <a:gd name="connsiteX6" fmla="*/ 672074 w 725843"/>
                    <a:gd name="connsiteY6" fmla="*/ 0 h 44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5843" h="442017">
                      <a:moveTo>
                        <a:pt x="672074" y="0"/>
                      </a:moveTo>
                      <a:lnTo>
                        <a:pt x="302105" y="226247"/>
                      </a:lnTo>
                      <a:lnTo>
                        <a:pt x="0" y="251279"/>
                      </a:lnTo>
                      <a:lnTo>
                        <a:pt x="16783" y="442017"/>
                      </a:lnTo>
                      <a:cubicBezTo>
                        <a:pt x="16783" y="442017"/>
                        <a:pt x="346329" y="410909"/>
                        <a:pt x="386277" y="394383"/>
                      </a:cubicBezTo>
                      <a:cubicBezTo>
                        <a:pt x="426225" y="377857"/>
                        <a:pt x="725843" y="87763"/>
                        <a:pt x="725843" y="87763"/>
                      </a:cubicBezTo>
                      <a:lnTo>
                        <a:pt x="672074" y="0"/>
                      </a:lnTo>
                      <a:close/>
                    </a:path>
                  </a:pathLst>
                </a:custGeom>
                <a:solidFill>
                  <a:srgbClr val="FFAC8D"/>
                </a:solidFill>
                <a:ln w="9525" cap="flat">
                  <a:noFill/>
                  <a:prstDash val="solid"/>
                  <a:miter/>
                </a:ln>
              </p:spPr>
              <p:txBody>
                <a:bodyPr rtlCol="0" anchor="ctr"/>
                <a:lstStyle/>
                <a:p>
                  <a:endParaRPr lang="en-US"/>
                </a:p>
              </p:txBody>
            </p:sp>
            <p:sp>
              <p:nvSpPr>
                <p:cNvPr id="1156" name="Freeform: Shape 776">
                  <a:extLst>
                    <a:ext uri="{FF2B5EF4-FFF2-40B4-BE49-F238E27FC236}">
                      <a16:creationId xmlns:a16="http://schemas.microsoft.com/office/drawing/2014/main" id="{71987252-C2D2-4FB0-61D7-FADAF75CEAB2}"/>
                    </a:ext>
                  </a:extLst>
                </p:cNvPr>
                <p:cNvSpPr/>
                <p:nvPr/>
              </p:nvSpPr>
              <p:spPr>
                <a:xfrm>
                  <a:off x="-6131885" y="-1602832"/>
                  <a:ext cx="195974" cy="163278"/>
                </a:xfrm>
                <a:custGeom>
                  <a:avLst/>
                  <a:gdLst>
                    <a:gd name="connsiteX0" fmla="*/ 0 w 195974"/>
                    <a:gd name="connsiteY0" fmla="*/ 64837 h 163278"/>
                    <a:gd name="connsiteX1" fmla="*/ 72085 w 195974"/>
                    <a:gd name="connsiteY1" fmla="*/ 10687 h 163278"/>
                    <a:gd name="connsiteX2" fmla="*/ 154848 w 195974"/>
                    <a:gd name="connsiteY2" fmla="*/ 0 h 163278"/>
                    <a:gd name="connsiteX3" fmla="*/ 171574 w 195974"/>
                    <a:gd name="connsiteY3" fmla="*/ 34052 h 163278"/>
                    <a:gd name="connsiteX4" fmla="*/ 178337 w 195974"/>
                    <a:gd name="connsiteY4" fmla="*/ 74895 h 163278"/>
                    <a:gd name="connsiteX5" fmla="*/ 187947 w 195974"/>
                    <a:gd name="connsiteY5" fmla="*/ 112643 h 163278"/>
                    <a:gd name="connsiteX6" fmla="*/ 181089 w 195974"/>
                    <a:gd name="connsiteY6" fmla="*/ 144837 h 163278"/>
                    <a:gd name="connsiteX7" fmla="*/ 28908 w 195974"/>
                    <a:gd name="connsiteY7" fmla="*/ 154562 h 163278"/>
                    <a:gd name="connsiteX8" fmla="*/ 0 w 195974"/>
                    <a:gd name="connsiteY8" fmla="*/ 64837 h 16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74" h="163278">
                      <a:moveTo>
                        <a:pt x="0" y="64837"/>
                      </a:moveTo>
                      <a:cubicBezTo>
                        <a:pt x="0" y="64837"/>
                        <a:pt x="37986" y="21527"/>
                        <a:pt x="72085" y="10687"/>
                      </a:cubicBezTo>
                      <a:cubicBezTo>
                        <a:pt x="106185" y="-152"/>
                        <a:pt x="154848" y="0"/>
                        <a:pt x="154848" y="0"/>
                      </a:cubicBezTo>
                      <a:cubicBezTo>
                        <a:pt x="154848" y="0"/>
                        <a:pt x="195148" y="17640"/>
                        <a:pt x="171574" y="34052"/>
                      </a:cubicBezTo>
                      <a:cubicBezTo>
                        <a:pt x="171574" y="34052"/>
                        <a:pt x="199082" y="55502"/>
                        <a:pt x="178337" y="74895"/>
                      </a:cubicBezTo>
                      <a:cubicBezTo>
                        <a:pt x="178337" y="74895"/>
                        <a:pt x="210512" y="93860"/>
                        <a:pt x="187947" y="112643"/>
                      </a:cubicBezTo>
                      <a:cubicBezTo>
                        <a:pt x="187947" y="112643"/>
                        <a:pt x="203930" y="123130"/>
                        <a:pt x="181089" y="144837"/>
                      </a:cubicBezTo>
                      <a:cubicBezTo>
                        <a:pt x="144523" y="179585"/>
                        <a:pt x="28908" y="154562"/>
                        <a:pt x="28908" y="154562"/>
                      </a:cubicBezTo>
                      <a:lnTo>
                        <a:pt x="0" y="64837"/>
                      </a:lnTo>
                      <a:close/>
                    </a:path>
                  </a:pathLst>
                </a:custGeom>
                <a:solidFill>
                  <a:srgbClr val="FFAC8D"/>
                </a:solidFill>
                <a:ln w="9525" cap="flat">
                  <a:noFill/>
                  <a:prstDash val="solid"/>
                  <a:miter/>
                </a:ln>
              </p:spPr>
              <p:txBody>
                <a:bodyPr rtlCol="0" anchor="ctr"/>
                <a:lstStyle/>
                <a:p>
                  <a:endParaRPr lang="en-US"/>
                </a:p>
              </p:txBody>
            </p:sp>
            <p:grpSp>
              <p:nvGrpSpPr>
                <p:cNvPr id="1157" name="Graphic 293">
                  <a:extLst>
                    <a:ext uri="{FF2B5EF4-FFF2-40B4-BE49-F238E27FC236}">
                      <a16:creationId xmlns:a16="http://schemas.microsoft.com/office/drawing/2014/main" id="{8F4BFB9E-3514-4ADC-C103-27A736413368}"/>
                    </a:ext>
                  </a:extLst>
                </p:cNvPr>
                <p:cNvGrpSpPr/>
                <p:nvPr/>
              </p:nvGrpSpPr>
              <p:grpSpPr>
                <a:xfrm>
                  <a:off x="-6180481" y="-1535997"/>
                  <a:ext cx="105311" cy="116907"/>
                  <a:chOff x="-6180481" y="-1535997"/>
                  <a:chExt cx="105311" cy="116907"/>
                </a:xfrm>
              </p:grpSpPr>
              <p:sp>
                <p:nvSpPr>
                  <p:cNvPr id="1161" name="Freeform: Shape 781">
                    <a:extLst>
                      <a:ext uri="{FF2B5EF4-FFF2-40B4-BE49-F238E27FC236}">
                        <a16:creationId xmlns:a16="http://schemas.microsoft.com/office/drawing/2014/main" id="{2AA9790D-CD75-5ED3-8832-1D065397B8E6}"/>
                      </a:ext>
                    </a:extLst>
                  </p:cNvPr>
                  <p:cNvSpPr/>
                  <p:nvPr/>
                </p:nvSpPr>
                <p:spPr>
                  <a:xfrm rot="-2386970">
                    <a:off x="-6144727" y="-1539534"/>
                    <a:ext cx="33805" cy="123981"/>
                  </a:xfrm>
                  <a:custGeom>
                    <a:avLst/>
                    <a:gdLst>
                      <a:gd name="connsiteX0" fmla="*/ 0 w 33805"/>
                      <a:gd name="connsiteY0" fmla="*/ 0 h 123981"/>
                      <a:gd name="connsiteX1" fmla="*/ 33805 w 33805"/>
                      <a:gd name="connsiteY1" fmla="*/ 0 h 123981"/>
                      <a:gd name="connsiteX2" fmla="*/ 33805 w 33805"/>
                      <a:gd name="connsiteY2" fmla="*/ 123981 h 123981"/>
                      <a:gd name="connsiteX3" fmla="*/ 0 w 33805"/>
                      <a:gd name="connsiteY3" fmla="*/ 123981 h 123981"/>
                    </a:gdLst>
                    <a:ahLst/>
                    <a:cxnLst>
                      <a:cxn ang="0">
                        <a:pos x="connsiteX0" y="connsiteY0"/>
                      </a:cxn>
                      <a:cxn ang="0">
                        <a:pos x="connsiteX1" y="connsiteY1"/>
                      </a:cxn>
                      <a:cxn ang="0">
                        <a:pos x="connsiteX2" y="connsiteY2"/>
                      </a:cxn>
                      <a:cxn ang="0">
                        <a:pos x="connsiteX3" y="connsiteY3"/>
                      </a:cxn>
                    </a:cxnLst>
                    <a:rect l="l" t="t" r="r" b="b"/>
                    <a:pathLst>
                      <a:path w="33805" h="123981">
                        <a:moveTo>
                          <a:pt x="0" y="0"/>
                        </a:moveTo>
                        <a:lnTo>
                          <a:pt x="33805" y="0"/>
                        </a:lnTo>
                        <a:lnTo>
                          <a:pt x="33805" y="123981"/>
                        </a:lnTo>
                        <a:lnTo>
                          <a:pt x="0" y="123981"/>
                        </a:lnTo>
                        <a:close/>
                      </a:path>
                    </a:pathLst>
                  </a:custGeom>
                  <a:solidFill>
                    <a:srgbClr val="1028A7"/>
                  </a:solidFill>
                  <a:ln w="9525" cap="flat">
                    <a:noFill/>
                    <a:prstDash val="solid"/>
                    <a:miter/>
                  </a:ln>
                </p:spPr>
                <p:txBody>
                  <a:bodyPr rtlCol="0" anchor="ctr"/>
                  <a:lstStyle/>
                  <a:p>
                    <a:endParaRPr lang="en-US"/>
                  </a:p>
                </p:txBody>
              </p:sp>
              <p:sp>
                <p:nvSpPr>
                  <p:cNvPr id="1162" name="Freeform: Shape 782">
                    <a:extLst>
                      <a:ext uri="{FF2B5EF4-FFF2-40B4-BE49-F238E27FC236}">
                        <a16:creationId xmlns:a16="http://schemas.microsoft.com/office/drawing/2014/main" id="{0F688E9D-0628-56A5-4B4E-84D5A3005471}"/>
                      </a:ext>
                    </a:extLst>
                  </p:cNvPr>
                  <p:cNvSpPr/>
                  <p:nvPr/>
                </p:nvSpPr>
                <p:spPr>
                  <a:xfrm>
                    <a:off x="-6156489" y="-1505610"/>
                    <a:ext cx="61131" cy="61131"/>
                  </a:xfrm>
                  <a:custGeom>
                    <a:avLst/>
                    <a:gdLst>
                      <a:gd name="connsiteX0" fmla="*/ 61131 w 61131"/>
                      <a:gd name="connsiteY0" fmla="*/ 30566 h 61131"/>
                      <a:gd name="connsiteX1" fmla="*/ 30566 w 61131"/>
                      <a:gd name="connsiteY1" fmla="*/ 61131 h 61131"/>
                      <a:gd name="connsiteX2" fmla="*/ 0 w 61131"/>
                      <a:gd name="connsiteY2" fmla="*/ 30566 h 61131"/>
                      <a:gd name="connsiteX3" fmla="*/ 30566 w 61131"/>
                      <a:gd name="connsiteY3" fmla="*/ 0 h 61131"/>
                      <a:gd name="connsiteX4" fmla="*/ 61131 w 61131"/>
                      <a:gd name="connsiteY4" fmla="*/ 30566 h 61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31" h="61131">
                        <a:moveTo>
                          <a:pt x="61131" y="30566"/>
                        </a:moveTo>
                        <a:cubicBezTo>
                          <a:pt x="61131" y="47444"/>
                          <a:pt x="47444" y="61131"/>
                          <a:pt x="30566" y="61131"/>
                        </a:cubicBezTo>
                        <a:cubicBezTo>
                          <a:pt x="13688" y="61131"/>
                          <a:pt x="0" y="47444"/>
                          <a:pt x="0" y="30566"/>
                        </a:cubicBezTo>
                        <a:cubicBezTo>
                          <a:pt x="0" y="13688"/>
                          <a:pt x="13688" y="0"/>
                          <a:pt x="30566" y="0"/>
                        </a:cubicBezTo>
                        <a:cubicBezTo>
                          <a:pt x="47454" y="0"/>
                          <a:pt x="61131" y="13688"/>
                          <a:pt x="61131" y="30566"/>
                        </a:cubicBezTo>
                        <a:close/>
                      </a:path>
                    </a:pathLst>
                  </a:custGeom>
                  <a:solidFill>
                    <a:srgbClr val="FFFFFF"/>
                  </a:solidFill>
                  <a:ln w="9525" cap="flat">
                    <a:noFill/>
                    <a:prstDash val="solid"/>
                    <a:miter/>
                  </a:ln>
                </p:spPr>
                <p:txBody>
                  <a:bodyPr rtlCol="0" anchor="ctr"/>
                  <a:lstStyle/>
                  <a:p>
                    <a:endParaRPr lang="en-US"/>
                  </a:p>
                </p:txBody>
              </p:sp>
              <p:sp>
                <p:nvSpPr>
                  <p:cNvPr id="1163" name="Freeform: Shape 783">
                    <a:extLst>
                      <a:ext uri="{FF2B5EF4-FFF2-40B4-BE49-F238E27FC236}">
                        <a16:creationId xmlns:a16="http://schemas.microsoft.com/office/drawing/2014/main" id="{FF09B012-B727-7759-30B7-D58AD36B647C}"/>
                      </a:ext>
                    </a:extLst>
                  </p:cNvPr>
                  <p:cNvSpPr/>
                  <p:nvPr/>
                </p:nvSpPr>
                <p:spPr>
                  <a:xfrm>
                    <a:off x="-6139269" y="-1492619"/>
                    <a:ext cx="29427" cy="21070"/>
                  </a:xfrm>
                  <a:custGeom>
                    <a:avLst/>
                    <a:gdLst>
                      <a:gd name="connsiteX0" fmla="*/ 29357 w 29427"/>
                      <a:gd name="connsiteY0" fmla="*/ 5230 h 21070"/>
                      <a:gd name="connsiteX1" fmla="*/ 14870 w 29427"/>
                      <a:gd name="connsiteY1" fmla="*/ 19537 h 21070"/>
                      <a:gd name="connsiteX2" fmla="*/ 12898 w 29427"/>
                      <a:gd name="connsiteY2" fmla="*/ 21070 h 21070"/>
                      <a:gd name="connsiteX3" fmla="*/ 11374 w 29427"/>
                      <a:gd name="connsiteY3" fmla="*/ 19061 h 21070"/>
                      <a:gd name="connsiteX4" fmla="*/ 10860 w 29427"/>
                      <a:gd name="connsiteY4" fmla="*/ 18384 h 21070"/>
                      <a:gd name="connsiteX5" fmla="*/ 154 w 29427"/>
                      <a:gd name="connsiteY5" fmla="*/ 68 h 21070"/>
                      <a:gd name="connsiteX6" fmla="*/ 14813 w 29427"/>
                      <a:gd name="connsiteY6" fmla="*/ 15394 h 21070"/>
                      <a:gd name="connsiteX7" fmla="*/ 15318 w 29427"/>
                      <a:gd name="connsiteY7" fmla="*/ 16070 h 21070"/>
                      <a:gd name="connsiteX8" fmla="*/ 11822 w 29427"/>
                      <a:gd name="connsiteY8" fmla="*/ 15603 h 21070"/>
                      <a:gd name="connsiteX9" fmla="*/ 29357 w 29427"/>
                      <a:gd name="connsiteY9" fmla="*/ 5230 h 2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27" h="21070">
                        <a:moveTo>
                          <a:pt x="29357" y="5230"/>
                        </a:moveTo>
                        <a:cubicBezTo>
                          <a:pt x="30177" y="6288"/>
                          <a:pt x="23738" y="12631"/>
                          <a:pt x="14870" y="19537"/>
                        </a:cubicBezTo>
                        <a:lnTo>
                          <a:pt x="12898" y="21070"/>
                        </a:lnTo>
                        <a:lnTo>
                          <a:pt x="11374" y="19061"/>
                        </a:lnTo>
                        <a:lnTo>
                          <a:pt x="10860" y="18384"/>
                        </a:lnTo>
                        <a:cubicBezTo>
                          <a:pt x="3849" y="9097"/>
                          <a:pt x="-932" y="896"/>
                          <a:pt x="154" y="68"/>
                        </a:cubicBezTo>
                        <a:cubicBezTo>
                          <a:pt x="1249" y="-761"/>
                          <a:pt x="7812" y="6107"/>
                          <a:pt x="14813" y="15394"/>
                        </a:cubicBezTo>
                        <a:lnTo>
                          <a:pt x="15318" y="16070"/>
                        </a:lnTo>
                        <a:lnTo>
                          <a:pt x="11822" y="15603"/>
                        </a:lnTo>
                        <a:cubicBezTo>
                          <a:pt x="20775" y="8783"/>
                          <a:pt x="28538" y="4173"/>
                          <a:pt x="29357" y="5230"/>
                        </a:cubicBezTo>
                        <a:close/>
                      </a:path>
                    </a:pathLst>
                  </a:custGeom>
                  <a:solidFill>
                    <a:srgbClr val="00113E"/>
                  </a:solidFill>
                  <a:ln w="9525" cap="flat">
                    <a:noFill/>
                    <a:prstDash val="solid"/>
                    <a:miter/>
                  </a:ln>
                </p:spPr>
                <p:txBody>
                  <a:bodyPr rtlCol="0" anchor="ctr"/>
                  <a:lstStyle/>
                  <a:p>
                    <a:endParaRPr lang="en-US"/>
                  </a:p>
                </p:txBody>
              </p:sp>
            </p:grpSp>
            <p:sp>
              <p:nvSpPr>
                <p:cNvPr id="1158" name="Freeform: Shape 778">
                  <a:extLst>
                    <a:ext uri="{FF2B5EF4-FFF2-40B4-BE49-F238E27FC236}">
                      <a16:creationId xmlns:a16="http://schemas.microsoft.com/office/drawing/2014/main" id="{BA1BBF97-239C-6BCB-4D10-981675F28369}"/>
                    </a:ext>
                  </a:extLst>
                </p:cNvPr>
                <p:cNvSpPr/>
                <p:nvPr/>
              </p:nvSpPr>
              <p:spPr>
                <a:xfrm>
                  <a:off x="-5986882" y="-1568611"/>
                  <a:ext cx="24841" cy="7791"/>
                </a:xfrm>
                <a:custGeom>
                  <a:avLst/>
                  <a:gdLst>
                    <a:gd name="connsiteX0" fmla="*/ 24828 w 24841"/>
                    <a:gd name="connsiteY0" fmla="*/ 831 h 7791"/>
                    <a:gd name="connsiteX1" fmla="*/ 13016 w 24841"/>
                    <a:gd name="connsiteY1" fmla="*/ 6299 h 7791"/>
                    <a:gd name="connsiteX2" fmla="*/ 15 w 24841"/>
                    <a:gd name="connsiteY2" fmla="*/ 6956 h 7791"/>
                    <a:gd name="connsiteX3" fmla="*/ 11826 w 24841"/>
                    <a:gd name="connsiteY3" fmla="*/ 1488 h 7791"/>
                    <a:gd name="connsiteX4" fmla="*/ 24828 w 24841"/>
                    <a:gd name="connsiteY4" fmla="*/ 831 h 7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41" h="7791">
                      <a:moveTo>
                        <a:pt x="24828" y="831"/>
                      </a:moveTo>
                      <a:cubicBezTo>
                        <a:pt x="25151" y="2165"/>
                        <a:pt x="19865" y="4613"/>
                        <a:pt x="13016" y="6299"/>
                      </a:cubicBezTo>
                      <a:cubicBezTo>
                        <a:pt x="6168" y="7994"/>
                        <a:pt x="339" y="8289"/>
                        <a:pt x="15" y="6956"/>
                      </a:cubicBezTo>
                      <a:cubicBezTo>
                        <a:pt x="-318" y="5632"/>
                        <a:pt x="4977" y="3174"/>
                        <a:pt x="11826" y="1488"/>
                      </a:cubicBezTo>
                      <a:cubicBezTo>
                        <a:pt x="18684" y="-207"/>
                        <a:pt x="24504" y="-493"/>
                        <a:pt x="24828" y="831"/>
                      </a:cubicBezTo>
                      <a:close/>
                    </a:path>
                  </a:pathLst>
                </a:custGeom>
                <a:solidFill>
                  <a:srgbClr val="00113E"/>
                </a:solidFill>
                <a:ln w="9525" cap="flat">
                  <a:noFill/>
                  <a:prstDash val="solid"/>
                  <a:miter/>
                </a:ln>
              </p:spPr>
              <p:txBody>
                <a:bodyPr rtlCol="0" anchor="ctr"/>
                <a:lstStyle/>
                <a:p>
                  <a:endParaRPr lang="en-US"/>
                </a:p>
              </p:txBody>
            </p:sp>
            <p:sp>
              <p:nvSpPr>
                <p:cNvPr id="1159" name="Freeform: Shape 779">
                  <a:extLst>
                    <a:ext uri="{FF2B5EF4-FFF2-40B4-BE49-F238E27FC236}">
                      <a16:creationId xmlns:a16="http://schemas.microsoft.com/office/drawing/2014/main" id="{79982FC7-0F6D-BBCE-2636-EBF9864CBEDF}"/>
                    </a:ext>
                  </a:extLst>
                </p:cNvPr>
                <p:cNvSpPr/>
                <p:nvPr/>
              </p:nvSpPr>
              <p:spPr>
                <a:xfrm>
                  <a:off x="-5978658" y="-1529882"/>
                  <a:ext cx="22604" cy="6592"/>
                </a:xfrm>
                <a:custGeom>
                  <a:avLst/>
                  <a:gdLst>
                    <a:gd name="connsiteX0" fmla="*/ 22594 w 22604"/>
                    <a:gd name="connsiteY0" fmla="*/ 1069 h 6592"/>
                    <a:gd name="connsiteX1" fmla="*/ 11783 w 22604"/>
                    <a:gd name="connsiteY1" fmla="*/ 5727 h 6592"/>
                    <a:gd name="connsiteX2" fmla="*/ 11 w 22604"/>
                    <a:gd name="connsiteY2" fmla="*/ 5517 h 6592"/>
                    <a:gd name="connsiteX3" fmla="*/ 10821 w 22604"/>
                    <a:gd name="connsiteY3" fmla="*/ 859 h 6592"/>
                    <a:gd name="connsiteX4" fmla="*/ 22594 w 22604"/>
                    <a:gd name="connsiteY4" fmla="*/ 1069 h 6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4" h="6592">
                      <a:moveTo>
                        <a:pt x="22594" y="1069"/>
                      </a:moveTo>
                      <a:cubicBezTo>
                        <a:pt x="22861" y="2412"/>
                        <a:pt x="18022" y="4498"/>
                        <a:pt x="11783" y="5727"/>
                      </a:cubicBezTo>
                      <a:cubicBezTo>
                        <a:pt x="5544" y="6955"/>
                        <a:pt x="277" y="6870"/>
                        <a:pt x="11" y="5517"/>
                      </a:cubicBezTo>
                      <a:cubicBezTo>
                        <a:pt x="-256" y="4174"/>
                        <a:pt x="4582" y="2088"/>
                        <a:pt x="10821" y="859"/>
                      </a:cubicBezTo>
                      <a:cubicBezTo>
                        <a:pt x="17060" y="-360"/>
                        <a:pt x="22327" y="-274"/>
                        <a:pt x="22594" y="1069"/>
                      </a:cubicBezTo>
                      <a:close/>
                    </a:path>
                  </a:pathLst>
                </a:custGeom>
                <a:solidFill>
                  <a:srgbClr val="00113E"/>
                </a:solidFill>
                <a:ln w="9525" cap="flat">
                  <a:noFill/>
                  <a:prstDash val="solid"/>
                  <a:miter/>
                </a:ln>
              </p:spPr>
              <p:txBody>
                <a:bodyPr rtlCol="0" anchor="ctr"/>
                <a:lstStyle/>
                <a:p>
                  <a:endParaRPr lang="en-US"/>
                </a:p>
              </p:txBody>
            </p:sp>
            <p:sp>
              <p:nvSpPr>
                <p:cNvPr id="1160" name="Freeform: Shape 780">
                  <a:extLst>
                    <a:ext uri="{FF2B5EF4-FFF2-40B4-BE49-F238E27FC236}">
                      <a16:creationId xmlns:a16="http://schemas.microsoft.com/office/drawing/2014/main" id="{95F2771B-893E-FCD2-8F40-C8D7FE7E7D85}"/>
                    </a:ext>
                  </a:extLst>
                </p:cNvPr>
                <p:cNvSpPr/>
                <p:nvPr/>
              </p:nvSpPr>
              <p:spPr>
                <a:xfrm>
                  <a:off x="-5970824" y="-1495845"/>
                  <a:ext cx="23606" cy="8923"/>
                </a:xfrm>
                <a:custGeom>
                  <a:avLst/>
                  <a:gdLst>
                    <a:gd name="connsiteX0" fmla="*/ 23390 w 23606"/>
                    <a:gd name="connsiteY0" fmla="*/ 112 h 8923"/>
                    <a:gd name="connsiteX1" fmla="*/ 21790 w 23606"/>
                    <a:gd name="connsiteY1" fmla="*/ 4141 h 8923"/>
                    <a:gd name="connsiteX2" fmla="*/ 12780 w 23606"/>
                    <a:gd name="connsiteY2" fmla="*/ 8742 h 8923"/>
                    <a:gd name="connsiteX3" fmla="*/ 2807 w 23606"/>
                    <a:gd name="connsiteY3" fmla="*/ 7008 h 8923"/>
                    <a:gd name="connsiteX4" fmla="*/ 92 w 23606"/>
                    <a:gd name="connsiteY4" fmla="*/ 3627 h 8923"/>
                    <a:gd name="connsiteX5" fmla="*/ 12037 w 23606"/>
                    <a:gd name="connsiteY5" fmla="*/ 3827 h 8923"/>
                    <a:gd name="connsiteX6" fmla="*/ 23390 w 23606"/>
                    <a:gd name="connsiteY6" fmla="*/ 112 h 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06" h="8923">
                      <a:moveTo>
                        <a:pt x="23390" y="112"/>
                      </a:moveTo>
                      <a:cubicBezTo>
                        <a:pt x="23905" y="484"/>
                        <a:pt x="23553" y="2160"/>
                        <a:pt x="21790" y="4141"/>
                      </a:cubicBezTo>
                      <a:cubicBezTo>
                        <a:pt x="20066" y="6113"/>
                        <a:pt x="16790" y="8132"/>
                        <a:pt x="12780" y="8742"/>
                      </a:cubicBezTo>
                      <a:cubicBezTo>
                        <a:pt x="8770" y="9342"/>
                        <a:pt x="5045" y="8380"/>
                        <a:pt x="2807" y="7008"/>
                      </a:cubicBezTo>
                      <a:cubicBezTo>
                        <a:pt x="540" y="5637"/>
                        <a:pt x="-298" y="4141"/>
                        <a:pt x="92" y="3627"/>
                      </a:cubicBezTo>
                      <a:cubicBezTo>
                        <a:pt x="950" y="2522"/>
                        <a:pt x="5845" y="4894"/>
                        <a:pt x="12037" y="3827"/>
                      </a:cubicBezTo>
                      <a:cubicBezTo>
                        <a:pt x="18266" y="3027"/>
                        <a:pt x="22247" y="-688"/>
                        <a:pt x="23390" y="112"/>
                      </a:cubicBezTo>
                      <a:close/>
                    </a:path>
                  </a:pathLst>
                </a:custGeom>
                <a:solidFill>
                  <a:srgbClr val="00113E"/>
                </a:solidFill>
                <a:ln w="9525" cap="flat">
                  <a:noFill/>
                  <a:prstDash val="solid"/>
                  <a:miter/>
                </a:ln>
              </p:spPr>
              <p:txBody>
                <a:bodyPr rtlCol="0" anchor="ctr"/>
                <a:lstStyle/>
                <a:p>
                  <a:endParaRPr lang="en-US"/>
                </a:p>
              </p:txBody>
            </p:sp>
          </p:grpSp>
          <p:sp>
            <p:nvSpPr>
              <p:cNvPr id="1099" name="Freeform: Shape 720">
                <a:extLst>
                  <a:ext uri="{FF2B5EF4-FFF2-40B4-BE49-F238E27FC236}">
                    <a16:creationId xmlns:a16="http://schemas.microsoft.com/office/drawing/2014/main" id="{1A256CD6-5052-D06B-999D-7AA6F391D1E2}"/>
                  </a:ext>
                </a:extLst>
              </p:cNvPr>
              <p:cNvSpPr/>
              <p:nvPr/>
            </p:nvSpPr>
            <p:spPr>
              <a:xfrm>
                <a:off x="-6931719" y="-1532956"/>
                <a:ext cx="182727" cy="259794"/>
              </a:xfrm>
              <a:custGeom>
                <a:avLst/>
                <a:gdLst>
                  <a:gd name="connsiteX0" fmla="*/ 182728 w 182727"/>
                  <a:gd name="connsiteY0" fmla="*/ 121882 h 259794"/>
                  <a:gd name="connsiteX1" fmla="*/ 158601 w 182727"/>
                  <a:gd name="connsiteY1" fmla="*/ 259794 h 259794"/>
                  <a:gd name="connsiteX2" fmla="*/ 0 w 182727"/>
                  <a:gd name="connsiteY2" fmla="*/ 232048 h 259794"/>
                  <a:gd name="connsiteX3" fmla="*/ 34957 w 182727"/>
                  <a:gd name="connsiteY3" fmla="*/ 0 h 259794"/>
                </a:gdLst>
                <a:ahLst/>
                <a:cxnLst>
                  <a:cxn ang="0">
                    <a:pos x="connsiteX0" y="connsiteY0"/>
                  </a:cxn>
                  <a:cxn ang="0">
                    <a:pos x="connsiteX1" y="connsiteY1"/>
                  </a:cxn>
                  <a:cxn ang="0">
                    <a:pos x="connsiteX2" y="connsiteY2"/>
                  </a:cxn>
                  <a:cxn ang="0">
                    <a:pos x="connsiteX3" y="connsiteY3"/>
                  </a:cxn>
                </a:cxnLst>
                <a:rect l="l" t="t" r="r" b="b"/>
                <a:pathLst>
                  <a:path w="182727" h="259794">
                    <a:moveTo>
                      <a:pt x="182728" y="121882"/>
                    </a:moveTo>
                    <a:lnTo>
                      <a:pt x="158601" y="259794"/>
                    </a:lnTo>
                    <a:lnTo>
                      <a:pt x="0" y="232048"/>
                    </a:lnTo>
                    <a:lnTo>
                      <a:pt x="34957" y="0"/>
                    </a:lnTo>
                    <a:close/>
                  </a:path>
                </a:pathLst>
              </a:custGeom>
              <a:solidFill>
                <a:srgbClr val="FFAC8D"/>
              </a:solidFill>
              <a:ln w="9525" cap="flat">
                <a:noFill/>
                <a:prstDash val="solid"/>
                <a:miter/>
              </a:ln>
            </p:spPr>
            <p:txBody>
              <a:bodyPr rtlCol="0" anchor="ctr"/>
              <a:lstStyle/>
              <a:p>
                <a:endParaRPr lang="en-US"/>
              </a:p>
            </p:txBody>
          </p:sp>
          <p:sp>
            <p:nvSpPr>
              <p:cNvPr id="1100" name="Freeform: Shape 721">
                <a:extLst>
                  <a:ext uri="{FF2B5EF4-FFF2-40B4-BE49-F238E27FC236}">
                    <a16:creationId xmlns:a16="http://schemas.microsoft.com/office/drawing/2014/main" id="{EE00A584-CF53-B1C7-4784-C589C464AE02}"/>
                  </a:ext>
                </a:extLst>
              </p:cNvPr>
              <p:cNvSpPr/>
              <p:nvPr/>
            </p:nvSpPr>
            <p:spPr>
              <a:xfrm>
                <a:off x="-6902448" y="-1792365"/>
                <a:ext cx="284323" cy="381342"/>
              </a:xfrm>
              <a:custGeom>
                <a:avLst/>
                <a:gdLst>
                  <a:gd name="connsiteX0" fmla="*/ 284321 w 284323"/>
                  <a:gd name="connsiteY0" fmla="*/ 136460 h 381342"/>
                  <a:gd name="connsiteX1" fmla="*/ 260023 w 284323"/>
                  <a:gd name="connsiteY1" fmla="*/ 306824 h 381342"/>
                  <a:gd name="connsiteX2" fmla="*/ 150352 w 284323"/>
                  <a:gd name="connsiteY2" fmla="*/ 380748 h 381342"/>
                  <a:gd name="connsiteX3" fmla="*/ 0 w 284323"/>
                  <a:gd name="connsiteY3" fmla="*/ 264486 h 381342"/>
                  <a:gd name="connsiteX4" fmla="*/ 36719 w 284323"/>
                  <a:gd name="connsiteY4" fmla="*/ 54612 h 381342"/>
                  <a:gd name="connsiteX5" fmla="*/ 179784 w 284323"/>
                  <a:gd name="connsiteY5" fmla="*/ 2558 h 381342"/>
                  <a:gd name="connsiteX6" fmla="*/ 284321 w 284323"/>
                  <a:gd name="connsiteY6" fmla="*/ 136460 h 38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323" h="381342">
                    <a:moveTo>
                      <a:pt x="284321" y="136460"/>
                    </a:moveTo>
                    <a:cubicBezTo>
                      <a:pt x="284550" y="139642"/>
                      <a:pt x="269443" y="275440"/>
                      <a:pt x="260023" y="306824"/>
                    </a:cubicBezTo>
                    <a:cubicBezTo>
                      <a:pt x="250603" y="338209"/>
                      <a:pt x="213427" y="387301"/>
                      <a:pt x="150352" y="380748"/>
                    </a:cubicBezTo>
                    <a:cubicBezTo>
                      <a:pt x="74323" y="372852"/>
                      <a:pt x="0" y="264486"/>
                      <a:pt x="0" y="264486"/>
                    </a:cubicBezTo>
                    <a:lnTo>
                      <a:pt x="36719" y="54612"/>
                    </a:lnTo>
                    <a:cubicBezTo>
                      <a:pt x="36719" y="54612"/>
                      <a:pt x="90106" y="-13920"/>
                      <a:pt x="179784" y="2558"/>
                    </a:cubicBezTo>
                    <a:cubicBezTo>
                      <a:pt x="269472" y="19036"/>
                      <a:pt x="284321" y="136460"/>
                      <a:pt x="284321" y="136460"/>
                    </a:cubicBezTo>
                    <a:close/>
                  </a:path>
                </a:pathLst>
              </a:custGeom>
              <a:solidFill>
                <a:srgbClr val="FFAC8D"/>
              </a:solidFill>
              <a:ln w="9525" cap="flat">
                <a:noFill/>
                <a:prstDash val="solid"/>
                <a:miter/>
              </a:ln>
            </p:spPr>
            <p:txBody>
              <a:bodyPr rtlCol="0" anchor="ctr"/>
              <a:lstStyle/>
              <a:p>
                <a:endParaRPr lang="en-US"/>
              </a:p>
            </p:txBody>
          </p:sp>
          <p:sp>
            <p:nvSpPr>
              <p:cNvPr id="1101" name="Freeform: Shape 722">
                <a:extLst>
                  <a:ext uri="{FF2B5EF4-FFF2-40B4-BE49-F238E27FC236}">
                    <a16:creationId xmlns:a16="http://schemas.microsoft.com/office/drawing/2014/main" id="{6340F112-9E2D-5709-9987-93C5F18A1F2B}"/>
                  </a:ext>
                </a:extLst>
              </p:cNvPr>
              <p:cNvSpPr/>
              <p:nvPr/>
            </p:nvSpPr>
            <p:spPr>
              <a:xfrm>
                <a:off x="-6876026" y="-1638246"/>
                <a:ext cx="150971" cy="153028"/>
              </a:xfrm>
              <a:custGeom>
                <a:avLst/>
                <a:gdLst>
                  <a:gd name="connsiteX0" fmla="*/ 64570 w 150971"/>
                  <a:gd name="connsiteY0" fmla="*/ 1467 h 153028"/>
                  <a:gd name="connsiteX1" fmla="*/ 64875 w 150971"/>
                  <a:gd name="connsiteY1" fmla="*/ 2648 h 153028"/>
                  <a:gd name="connsiteX2" fmla="*/ 64227 w 150971"/>
                  <a:gd name="connsiteY2" fmla="*/ 2305 h 153028"/>
                  <a:gd name="connsiteX3" fmla="*/ 64570 w 150971"/>
                  <a:gd name="connsiteY3" fmla="*/ 1467 h 153028"/>
                  <a:gd name="connsiteX4" fmla="*/ 55207 w 150971"/>
                  <a:gd name="connsiteY4" fmla="*/ 5458 h 153028"/>
                  <a:gd name="connsiteX5" fmla="*/ 56274 w 150971"/>
                  <a:gd name="connsiteY5" fmla="*/ 5820 h 153028"/>
                  <a:gd name="connsiteX6" fmla="*/ 56340 w 150971"/>
                  <a:gd name="connsiteY6" fmla="*/ 6296 h 153028"/>
                  <a:gd name="connsiteX7" fmla="*/ 54750 w 150971"/>
                  <a:gd name="connsiteY7" fmla="*/ 6629 h 153028"/>
                  <a:gd name="connsiteX8" fmla="*/ 55207 w 150971"/>
                  <a:gd name="connsiteY8" fmla="*/ 5458 h 153028"/>
                  <a:gd name="connsiteX9" fmla="*/ 80553 w 150971"/>
                  <a:gd name="connsiteY9" fmla="*/ 19 h 153028"/>
                  <a:gd name="connsiteX10" fmla="*/ 80810 w 150971"/>
                  <a:gd name="connsiteY10" fmla="*/ 0 h 153028"/>
                  <a:gd name="connsiteX11" fmla="*/ 81220 w 150971"/>
                  <a:gd name="connsiteY11" fmla="*/ 286 h 153028"/>
                  <a:gd name="connsiteX12" fmla="*/ 81248 w 150971"/>
                  <a:gd name="connsiteY12" fmla="*/ 391 h 153028"/>
                  <a:gd name="connsiteX13" fmla="*/ 81001 w 150971"/>
                  <a:gd name="connsiteY13" fmla="*/ 791 h 153028"/>
                  <a:gd name="connsiteX14" fmla="*/ 80715 w 150971"/>
                  <a:gd name="connsiteY14" fmla="*/ 857 h 153028"/>
                  <a:gd name="connsiteX15" fmla="*/ 80343 w 150971"/>
                  <a:gd name="connsiteY15" fmla="*/ 410 h 153028"/>
                  <a:gd name="connsiteX16" fmla="*/ 80553 w 150971"/>
                  <a:gd name="connsiteY16" fmla="*/ 19 h 153028"/>
                  <a:gd name="connsiteX17" fmla="*/ 45949 w 150971"/>
                  <a:gd name="connsiteY17" fmla="*/ 9563 h 153028"/>
                  <a:gd name="connsiteX18" fmla="*/ 47120 w 150971"/>
                  <a:gd name="connsiteY18" fmla="*/ 10697 h 153028"/>
                  <a:gd name="connsiteX19" fmla="*/ 45387 w 150971"/>
                  <a:gd name="connsiteY19" fmla="*/ 10563 h 153028"/>
                  <a:gd name="connsiteX20" fmla="*/ 45949 w 150971"/>
                  <a:gd name="connsiteY20" fmla="*/ 9563 h 153028"/>
                  <a:gd name="connsiteX21" fmla="*/ 71095 w 150971"/>
                  <a:gd name="connsiteY21" fmla="*/ 3762 h 153028"/>
                  <a:gd name="connsiteX22" fmla="*/ 71581 w 150971"/>
                  <a:gd name="connsiteY22" fmla="*/ 5544 h 153028"/>
                  <a:gd name="connsiteX23" fmla="*/ 70571 w 150971"/>
                  <a:gd name="connsiteY23" fmla="*/ 4639 h 153028"/>
                  <a:gd name="connsiteX24" fmla="*/ 71095 w 150971"/>
                  <a:gd name="connsiteY24" fmla="*/ 3762 h 153028"/>
                  <a:gd name="connsiteX25" fmla="*/ 61798 w 150971"/>
                  <a:gd name="connsiteY25" fmla="*/ 7725 h 153028"/>
                  <a:gd name="connsiteX26" fmla="*/ 62684 w 150971"/>
                  <a:gd name="connsiteY26" fmla="*/ 9906 h 153028"/>
                  <a:gd name="connsiteX27" fmla="*/ 61103 w 150971"/>
                  <a:gd name="connsiteY27" fmla="*/ 8639 h 153028"/>
                  <a:gd name="connsiteX28" fmla="*/ 61798 w 150971"/>
                  <a:gd name="connsiteY28" fmla="*/ 7725 h 153028"/>
                  <a:gd name="connsiteX29" fmla="*/ 36671 w 150971"/>
                  <a:gd name="connsiteY29" fmla="*/ 13792 h 153028"/>
                  <a:gd name="connsiteX30" fmla="*/ 37833 w 150971"/>
                  <a:gd name="connsiteY30" fmla="*/ 14364 h 153028"/>
                  <a:gd name="connsiteX31" fmla="*/ 37386 w 150971"/>
                  <a:gd name="connsiteY31" fmla="*/ 15373 h 153028"/>
                  <a:gd name="connsiteX32" fmla="*/ 36119 w 150971"/>
                  <a:gd name="connsiteY32" fmla="*/ 14640 h 153028"/>
                  <a:gd name="connsiteX33" fmla="*/ 36671 w 150971"/>
                  <a:gd name="connsiteY33" fmla="*/ 13792 h 153028"/>
                  <a:gd name="connsiteX34" fmla="*/ 87306 w 150971"/>
                  <a:gd name="connsiteY34" fmla="*/ 2295 h 153028"/>
                  <a:gd name="connsiteX35" fmla="*/ 88173 w 150971"/>
                  <a:gd name="connsiteY35" fmla="*/ 2743 h 153028"/>
                  <a:gd name="connsiteX36" fmla="*/ 86868 w 150971"/>
                  <a:gd name="connsiteY36" fmla="*/ 3000 h 153028"/>
                  <a:gd name="connsiteX37" fmla="*/ 87306 w 150971"/>
                  <a:gd name="connsiteY37" fmla="*/ 2295 h 153028"/>
                  <a:gd name="connsiteX38" fmla="*/ 52521 w 150971"/>
                  <a:gd name="connsiteY38" fmla="*/ 11763 h 153028"/>
                  <a:gd name="connsiteX39" fmla="*/ 53569 w 150971"/>
                  <a:gd name="connsiteY39" fmla="*/ 14173 h 153028"/>
                  <a:gd name="connsiteX40" fmla="*/ 51759 w 150971"/>
                  <a:gd name="connsiteY40" fmla="*/ 12583 h 153028"/>
                  <a:gd name="connsiteX41" fmla="*/ 52521 w 150971"/>
                  <a:gd name="connsiteY41" fmla="*/ 11763 h 153028"/>
                  <a:gd name="connsiteX42" fmla="*/ 77753 w 150971"/>
                  <a:gd name="connsiteY42" fmla="*/ 6124 h 153028"/>
                  <a:gd name="connsiteX43" fmla="*/ 78724 w 150971"/>
                  <a:gd name="connsiteY43" fmla="*/ 8182 h 153028"/>
                  <a:gd name="connsiteX44" fmla="*/ 77133 w 150971"/>
                  <a:gd name="connsiteY44" fmla="*/ 7029 h 153028"/>
                  <a:gd name="connsiteX45" fmla="*/ 77753 w 150971"/>
                  <a:gd name="connsiteY45" fmla="*/ 6124 h 153028"/>
                  <a:gd name="connsiteX46" fmla="*/ 27470 w 150971"/>
                  <a:gd name="connsiteY46" fmla="*/ 18155 h 153028"/>
                  <a:gd name="connsiteX47" fmla="*/ 27851 w 150971"/>
                  <a:gd name="connsiteY47" fmla="*/ 18145 h 153028"/>
                  <a:gd name="connsiteX48" fmla="*/ 28308 w 150971"/>
                  <a:gd name="connsiteY48" fmla="*/ 18498 h 153028"/>
                  <a:gd name="connsiteX49" fmla="*/ 27061 w 150971"/>
                  <a:gd name="connsiteY49" fmla="*/ 18821 h 153028"/>
                  <a:gd name="connsiteX50" fmla="*/ 27470 w 150971"/>
                  <a:gd name="connsiteY50" fmla="*/ 18155 h 153028"/>
                  <a:gd name="connsiteX51" fmla="*/ 68371 w 150971"/>
                  <a:gd name="connsiteY51" fmla="*/ 10039 h 153028"/>
                  <a:gd name="connsiteX52" fmla="*/ 69685 w 150971"/>
                  <a:gd name="connsiteY52" fmla="*/ 12621 h 153028"/>
                  <a:gd name="connsiteX53" fmla="*/ 67551 w 150971"/>
                  <a:gd name="connsiteY53" fmla="*/ 11411 h 153028"/>
                  <a:gd name="connsiteX54" fmla="*/ 68371 w 150971"/>
                  <a:gd name="connsiteY54" fmla="*/ 10039 h 153028"/>
                  <a:gd name="connsiteX55" fmla="*/ 43244 w 150971"/>
                  <a:gd name="connsiteY55" fmla="*/ 15954 h 153028"/>
                  <a:gd name="connsiteX56" fmla="*/ 44291 w 150971"/>
                  <a:gd name="connsiteY56" fmla="*/ 18364 h 153028"/>
                  <a:gd name="connsiteX57" fmla="*/ 43244 w 150971"/>
                  <a:gd name="connsiteY57" fmla="*/ 15954 h 153028"/>
                  <a:gd name="connsiteX58" fmla="*/ 94012 w 150971"/>
                  <a:gd name="connsiteY58" fmla="*/ 4724 h 153028"/>
                  <a:gd name="connsiteX59" fmla="*/ 95031 w 150971"/>
                  <a:gd name="connsiteY59" fmla="*/ 5362 h 153028"/>
                  <a:gd name="connsiteX60" fmla="*/ 93478 w 150971"/>
                  <a:gd name="connsiteY60" fmla="*/ 5534 h 153028"/>
                  <a:gd name="connsiteX61" fmla="*/ 94012 w 150971"/>
                  <a:gd name="connsiteY61" fmla="*/ 4724 h 153028"/>
                  <a:gd name="connsiteX62" fmla="*/ 59198 w 150971"/>
                  <a:gd name="connsiteY62" fmla="*/ 14021 h 153028"/>
                  <a:gd name="connsiteX63" fmla="*/ 60379 w 150971"/>
                  <a:gd name="connsiteY63" fmla="*/ 17012 h 153028"/>
                  <a:gd name="connsiteX64" fmla="*/ 58131 w 150971"/>
                  <a:gd name="connsiteY64" fmla="*/ 15478 h 153028"/>
                  <a:gd name="connsiteX65" fmla="*/ 59198 w 150971"/>
                  <a:gd name="connsiteY65" fmla="*/ 14021 h 153028"/>
                  <a:gd name="connsiteX66" fmla="*/ 84525 w 150971"/>
                  <a:gd name="connsiteY66" fmla="*/ 8515 h 153028"/>
                  <a:gd name="connsiteX67" fmla="*/ 85554 w 150971"/>
                  <a:gd name="connsiteY67" fmla="*/ 10858 h 153028"/>
                  <a:gd name="connsiteX68" fmla="*/ 84525 w 150971"/>
                  <a:gd name="connsiteY68" fmla="*/ 8515 h 153028"/>
                  <a:gd name="connsiteX69" fmla="*/ 33985 w 150971"/>
                  <a:gd name="connsiteY69" fmla="*/ 20222 h 153028"/>
                  <a:gd name="connsiteX70" fmla="*/ 34957 w 150971"/>
                  <a:gd name="connsiteY70" fmla="*/ 22469 h 153028"/>
                  <a:gd name="connsiteX71" fmla="*/ 33271 w 150971"/>
                  <a:gd name="connsiteY71" fmla="*/ 21222 h 153028"/>
                  <a:gd name="connsiteX72" fmla="*/ 33985 w 150971"/>
                  <a:gd name="connsiteY72" fmla="*/ 20222 h 153028"/>
                  <a:gd name="connsiteX73" fmla="*/ 49759 w 150971"/>
                  <a:gd name="connsiteY73" fmla="*/ 18212 h 153028"/>
                  <a:gd name="connsiteX74" fmla="*/ 51187 w 150971"/>
                  <a:gd name="connsiteY74" fmla="*/ 21260 h 153028"/>
                  <a:gd name="connsiteX75" fmla="*/ 48787 w 150971"/>
                  <a:gd name="connsiteY75" fmla="*/ 19726 h 153028"/>
                  <a:gd name="connsiteX76" fmla="*/ 49759 w 150971"/>
                  <a:gd name="connsiteY76" fmla="*/ 18212 h 153028"/>
                  <a:gd name="connsiteX77" fmla="*/ 75209 w 150971"/>
                  <a:gd name="connsiteY77" fmla="*/ 12373 h 153028"/>
                  <a:gd name="connsiteX78" fmla="*/ 76152 w 150971"/>
                  <a:gd name="connsiteY78" fmla="*/ 15459 h 153028"/>
                  <a:gd name="connsiteX79" fmla="*/ 74086 w 150971"/>
                  <a:gd name="connsiteY79" fmla="*/ 13735 h 153028"/>
                  <a:gd name="connsiteX80" fmla="*/ 75209 w 150971"/>
                  <a:gd name="connsiteY80" fmla="*/ 12373 h 153028"/>
                  <a:gd name="connsiteX81" fmla="*/ 24860 w 150971"/>
                  <a:gd name="connsiteY81" fmla="*/ 24603 h 153028"/>
                  <a:gd name="connsiteX82" fmla="*/ 25556 w 150971"/>
                  <a:gd name="connsiteY82" fmla="*/ 26451 h 153028"/>
                  <a:gd name="connsiteX83" fmla="*/ 24203 w 150971"/>
                  <a:gd name="connsiteY83" fmla="*/ 25508 h 153028"/>
                  <a:gd name="connsiteX84" fmla="*/ 24860 w 150971"/>
                  <a:gd name="connsiteY84" fmla="*/ 24603 h 153028"/>
                  <a:gd name="connsiteX85" fmla="*/ 100603 w 150971"/>
                  <a:gd name="connsiteY85" fmla="*/ 7306 h 153028"/>
                  <a:gd name="connsiteX86" fmla="*/ 101737 w 150971"/>
                  <a:gd name="connsiteY86" fmla="*/ 7763 h 153028"/>
                  <a:gd name="connsiteX87" fmla="*/ 100955 w 150971"/>
                  <a:gd name="connsiteY87" fmla="*/ 8820 h 153028"/>
                  <a:gd name="connsiteX88" fmla="*/ 100184 w 150971"/>
                  <a:gd name="connsiteY88" fmla="*/ 8277 h 153028"/>
                  <a:gd name="connsiteX89" fmla="*/ 100603 w 150971"/>
                  <a:gd name="connsiteY89" fmla="*/ 7306 h 153028"/>
                  <a:gd name="connsiteX90" fmla="*/ 65808 w 150971"/>
                  <a:gd name="connsiteY90" fmla="*/ 16364 h 153028"/>
                  <a:gd name="connsiteX91" fmla="*/ 67066 w 150971"/>
                  <a:gd name="connsiteY91" fmla="*/ 19831 h 153028"/>
                  <a:gd name="connsiteX92" fmla="*/ 64608 w 150971"/>
                  <a:gd name="connsiteY92" fmla="*/ 18050 h 153028"/>
                  <a:gd name="connsiteX93" fmla="*/ 65808 w 150971"/>
                  <a:gd name="connsiteY93" fmla="*/ 16364 h 153028"/>
                  <a:gd name="connsiteX94" fmla="*/ 40595 w 150971"/>
                  <a:gd name="connsiteY94" fmla="*/ 22412 h 153028"/>
                  <a:gd name="connsiteX95" fmla="*/ 41681 w 150971"/>
                  <a:gd name="connsiteY95" fmla="*/ 25460 h 153028"/>
                  <a:gd name="connsiteX96" fmla="*/ 39576 w 150971"/>
                  <a:gd name="connsiteY96" fmla="*/ 23898 h 153028"/>
                  <a:gd name="connsiteX97" fmla="*/ 40595 w 150971"/>
                  <a:gd name="connsiteY97" fmla="*/ 22412 h 153028"/>
                  <a:gd name="connsiteX98" fmla="*/ 91107 w 150971"/>
                  <a:gd name="connsiteY98" fmla="*/ 11020 h 153028"/>
                  <a:gd name="connsiteX99" fmla="*/ 92355 w 150971"/>
                  <a:gd name="connsiteY99" fmla="*/ 13468 h 153028"/>
                  <a:gd name="connsiteX100" fmla="*/ 90373 w 150971"/>
                  <a:gd name="connsiteY100" fmla="*/ 11954 h 153028"/>
                  <a:gd name="connsiteX101" fmla="*/ 91107 w 150971"/>
                  <a:gd name="connsiteY101" fmla="*/ 11020 h 153028"/>
                  <a:gd name="connsiteX102" fmla="*/ 15640 w 150971"/>
                  <a:gd name="connsiteY102" fmla="*/ 29194 h 153028"/>
                  <a:gd name="connsiteX103" fmla="*/ 15897 w 150971"/>
                  <a:gd name="connsiteY103" fmla="*/ 29175 h 153028"/>
                  <a:gd name="connsiteX104" fmla="*/ 16440 w 150971"/>
                  <a:gd name="connsiteY104" fmla="*/ 29737 h 153028"/>
                  <a:gd name="connsiteX105" fmla="*/ 15307 w 150971"/>
                  <a:gd name="connsiteY105" fmla="*/ 29775 h 153028"/>
                  <a:gd name="connsiteX106" fmla="*/ 15640 w 150971"/>
                  <a:gd name="connsiteY106" fmla="*/ 29194 h 153028"/>
                  <a:gd name="connsiteX107" fmla="*/ 56579 w 150971"/>
                  <a:gd name="connsiteY107" fmla="*/ 20431 h 153028"/>
                  <a:gd name="connsiteX108" fmla="*/ 57750 w 150971"/>
                  <a:gd name="connsiteY108" fmla="*/ 24184 h 153028"/>
                  <a:gd name="connsiteX109" fmla="*/ 55264 w 150971"/>
                  <a:gd name="connsiteY109" fmla="*/ 21955 h 153028"/>
                  <a:gd name="connsiteX110" fmla="*/ 56579 w 150971"/>
                  <a:gd name="connsiteY110" fmla="*/ 20431 h 153028"/>
                  <a:gd name="connsiteX111" fmla="*/ 81763 w 150971"/>
                  <a:gd name="connsiteY111" fmla="*/ 14802 h 153028"/>
                  <a:gd name="connsiteX112" fmla="*/ 83325 w 150971"/>
                  <a:gd name="connsiteY112" fmla="*/ 17974 h 153028"/>
                  <a:gd name="connsiteX113" fmla="*/ 80658 w 150971"/>
                  <a:gd name="connsiteY113" fmla="*/ 16459 h 153028"/>
                  <a:gd name="connsiteX114" fmla="*/ 81763 w 150971"/>
                  <a:gd name="connsiteY114" fmla="*/ 14802 h 153028"/>
                  <a:gd name="connsiteX115" fmla="*/ 31490 w 150971"/>
                  <a:gd name="connsiteY115" fmla="*/ 26679 h 153028"/>
                  <a:gd name="connsiteX116" fmla="*/ 32509 w 150971"/>
                  <a:gd name="connsiteY116" fmla="*/ 29442 h 153028"/>
                  <a:gd name="connsiteX117" fmla="*/ 30442 w 150971"/>
                  <a:gd name="connsiteY117" fmla="*/ 28061 h 153028"/>
                  <a:gd name="connsiteX118" fmla="*/ 31490 w 150971"/>
                  <a:gd name="connsiteY118" fmla="*/ 26679 h 153028"/>
                  <a:gd name="connsiteX119" fmla="*/ 107414 w 150971"/>
                  <a:gd name="connsiteY119" fmla="*/ 9830 h 153028"/>
                  <a:gd name="connsiteX120" fmla="*/ 107766 w 150971"/>
                  <a:gd name="connsiteY120" fmla="*/ 11344 h 153028"/>
                  <a:gd name="connsiteX121" fmla="*/ 106947 w 150971"/>
                  <a:gd name="connsiteY121" fmla="*/ 10582 h 153028"/>
                  <a:gd name="connsiteX122" fmla="*/ 107414 w 150971"/>
                  <a:gd name="connsiteY122" fmla="*/ 9830 h 153028"/>
                  <a:gd name="connsiteX123" fmla="*/ 72428 w 150971"/>
                  <a:gd name="connsiteY123" fmla="*/ 18745 h 153028"/>
                  <a:gd name="connsiteX124" fmla="*/ 73809 w 150971"/>
                  <a:gd name="connsiteY124" fmla="*/ 22603 h 153028"/>
                  <a:gd name="connsiteX125" fmla="*/ 71152 w 150971"/>
                  <a:gd name="connsiteY125" fmla="*/ 20441 h 153028"/>
                  <a:gd name="connsiteX126" fmla="*/ 72428 w 150971"/>
                  <a:gd name="connsiteY126" fmla="*/ 18745 h 153028"/>
                  <a:gd name="connsiteX127" fmla="*/ 47187 w 150971"/>
                  <a:gd name="connsiteY127" fmla="*/ 24641 h 153028"/>
                  <a:gd name="connsiteX128" fmla="*/ 48749 w 150971"/>
                  <a:gd name="connsiteY128" fmla="*/ 28270 h 153028"/>
                  <a:gd name="connsiteX129" fmla="*/ 45968 w 150971"/>
                  <a:gd name="connsiteY129" fmla="*/ 26403 h 153028"/>
                  <a:gd name="connsiteX130" fmla="*/ 47187 w 150971"/>
                  <a:gd name="connsiteY130" fmla="*/ 24641 h 153028"/>
                  <a:gd name="connsiteX131" fmla="*/ 97793 w 150971"/>
                  <a:gd name="connsiteY131" fmla="*/ 13535 h 153028"/>
                  <a:gd name="connsiteX132" fmla="*/ 98984 w 150971"/>
                  <a:gd name="connsiteY132" fmla="*/ 16069 h 153028"/>
                  <a:gd name="connsiteX133" fmla="*/ 97050 w 150971"/>
                  <a:gd name="connsiteY133" fmla="*/ 14583 h 153028"/>
                  <a:gd name="connsiteX134" fmla="*/ 97793 w 150971"/>
                  <a:gd name="connsiteY134" fmla="*/ 13535 h 153028"/>
                  <a:gd name="connsiteX135" fmla="*/ 22270 w 150971"/>
                  <a:gd name="connsiteY135" fmla="*/ 31118 h 153028"/>
                  <a:gd name="connsiteX136" fmla="*/ 23060 w 150971"/>
                  <a:gd name="connsiteY136" fmla="*/ 33404 h 153028"/>
                  <a:gd name="connsiteX137" fmla="*/ 21489 w 150971"/>
                  <a:gd name="connsiteY137" fmla="*/ 32023 h 153028"/>
                  <a:gd name="connsiteX138" fmla="*/ 22270 w 150971"/>
                  <a:gd name="connsiteY138" fmla="*/ 31118 h 153028"/>
                  <a:gd name="connsiteX139" fmla="*/ 63151 w 150971"/>
                  <a:gd name="connsiteY139" fmla="*/ 22784 h 153028"/>
                  <a:gd name="connsiteX140" fmla="*/ 64779 w 150971"/>
                  <a:gd name="connsiteY140" fmla="*/ 26889 h 153028"/>
                  <a:gd name="connsiteX141" fmla="*/ 61684 w 150971"/>
                  <a:gd name="connsiteY141" fmla="*/ 24832 h 153028"/>
                  <a:gd name="connsiteX142" fmla="*/ 63151 w 150971"/>
                  <a:gd name="connsiteY142" fmla="*/ 22784 h 153028"/>
                  <a:gd name="connsiteX143" fmla="*/ 37995 w 150971"/>
                  <a:gd name="connsiteY143" fmla="*/ 28899 h 153028"/>
                  <a:gd name="connsiteX144" fmla="*/ 39300 w 150971"/>
                  <a:gd name="connsiteY144" fmla="*/ 32433 h 153028"/>
                  <a:gd name="connsiteX145" fmla="*/ 36786 w 150971"/>
                  <a:gd name="connsiteY145" fmla="*/ 30585 h 153028"/>
                  <a:gd name="connsiteX146" fmla="*/ 37995 w 150971"/>
                  <a:gd name="connsiteY146" fmla="*/ 28899 h 153028"/>
                  <a:gd name="connsiteX147" fmla="*/ 88630 w 150971"/>
                  <a:gd name="connsiteY147" fmla="*/ 17240 h 153028"/>
                  <a:gd name="connsiteX148" fmla="*/ 89668 w 150971"/>
                  <a:gd name="connsiteY148" fmla="*/ 20755 h 153028"/>
                  <a:gd name="connsiteX149" fmla="*/ 87335 w 150971"/>
                  <a:gd name="connsiteY149" fmla="*/ 18707 h 153028"/>
                  <a:gd name="connsiteX150" fmla="*/ 88630 w 150971"/>
                  <a:gd name="connsiteY150" fmla="*/ 17240 h 153028"/>
                  <a:gd name="connsiteX151" fmla="*/ 13078 w 150971"/>
                  <a:gd name="connsiteY151" fmla="*/ 35709 h 153028"/>
                  <a:gd name="connsiteX152" fmla="*/ 14116 w 150971"/>
                  <a:gd name="connsiteY152" fmla="*/ 36424 h 153028"/>
                  <a:gd name="connsiteX153" fmla="*/ 13468 w 150971"/>
                  <a:gd name="connsiteY153" fmla="*/ 37214 h 153028"/>
                  <a:gd name="connsiteX154" fmla="*/ 12592 w 150971"/>
                  <a:gd name="connsiteY154" fmla="*/ 36547 h 153028"/>
                  <a:gd name="connsiteX155" fmla="*/ 13078 w 150971"/>
                  <a:gd name="connsiteY155" fmla="*/ 35709 h 153028"/>
                  <a:gd name="connsiteX156" fmla="*/ 114176 w 150971"/>
                  <a:gd name="connsiteY156" fmla="*/ 12487 h 153028"/>
                  <a:gd name="connsiteX157" fmla="*/ 115100 w 150971"/>
                  <a:gd name="connsiteY157" fmla="*/ 13030 h 153028"/>
                  <a:gd name="connsiteX158" fmla="*/ 114386 w 150971"/>
                  <a:gd name="connsiteY158" fmla="*/ 13725 h 153028"/>
                  <a:gd name="connsiteX159" fmla="*/ 113767 w 150971"/>
                  <a:gd name="connsiteY159" fmla="*/ 13182 h 153028"/>
                  <a:gd name="connsiteX160" fmla="*/ 114176 w 150971"/>
                  <a:gd name="connsiteY160" fmla="*/ 12487 h 153028"/>
                  <a:gd name="connsiteX161" fmla="*/ 54064 w 150971"/>
                  <a:gd name="connsiteY161" fmla="*/ 26813 h 153028"/>
                  <a:gd name="connsiteX162" fmla="*/ 55416 w 150971"/>
                  <a:gd name="connsiteY162" fmla="*/ 31166 h 153028"/>
                  <a:gd name="connsiteX163" fmla="*/ 52416 w 150971"/>
                  <a:gd name="connsiteY163" fmla="*/ 28670 h 153028"/>
                  <a:gd name="connsiteX164" fmla="*/ 54064 w 150971"/>
                  <a:gd name="connsiteY164" fmla="*/ 26813 h 153028"/>
                  <a:gd name="connsiteX165" fmla="*/ 79277 w 150971"/>
                  <a:gd name="connsiteY165" fmla="*/ 21107 h 153028"/>
                  <a:gd name="connsiteX166" fmla="*/ 80572 w 150971"/>
                  <a:gd name="connsiteY166" fmla="*/ 25251 h 153028"/>
                  <a:gd name="connsiteX167" fmla="*/ 77724 w 150971"/>
                  <a:gd name="connsiteY167" fmla="*/ 23098 h 153028"/>
                  <a:gd name="connsiteX168" fmla="*/ 79277 w 150971"/>
                  <a:gd name="connsiteY168" fmla="*/ 21107 h 153028"/>
                  <a:gd name="connsiteX169" fmla="*/ 28794 w 150971"/>
                  <a:gd name="connsiteY169" fmla="*/ 33261 h 153028"/>
                  <a:gd name="connsiteX170" fmla="*/ 30013 w 150971"/>
                  <a:gd name="connsiteY170" fmla="*/ 36395 h 153028"/>
                  <a:gd name="connsiteX171" fmla="*/ 27737 w 150971"/>
                  <a:gd name="connsiteY171" fmla="*/ 34757 h 153028"/>
                  <a:gd name="connsiteX172" fmla="*/ 28794 w 150971"/>
                  <a:gd name="connsiteY172" fmla="*/ 33261 h 153028"/>
                  <a:gd name="connsiteX173" fmla="*/ 104537 w 150971"/>
                  <a:gd name="connsiteY173" fmla="*/ 16116 h 153028"/>
                  <a:gd name="connsiteX174" fmla="*/ 105851 w 150971"/>
                  <a:gd name="connsiteY174" fmla="*/ 18507 h 153028"/>
                  <a:gd name="connsiteX175" fmla="*/ 103794 w 150971"/>
                  <a:gd name="connsiteY175" fmla="*/ 17307 h 153028"/>
                  <a:gd name="connsiteX176" fmla="*/ 104537 w 150971"/>
                  <a:gd name="connsiteY176" fmla="*/ 16116 h 153028"/>
                  <a:gd name="connsiteX177" fmla="*/ 69942 w 150971"/>
                  <a:gd name="connsiteY177" fmla="*/ 25089 h 153028"/>
                  <a:gd name="connsiteX178" fmla="*/ 71552 w 150971"/>
                  <a:gd name="connsiteY178" fmla="*/ 29613 h 153028"/>
                  <a:gd name="connsiteX179" fmla="*/ 68256 w 150971"/>
                  <a:gd name="connsiteY179" fmla="*/ 27146 h 153028"/>
                  <a:gd name="connsiteX180" fmla="*/ 69942 w 150971"/>
                  <a:gd name="connsiteY180" fmla="*/ 25089 h 153028"/>
                  <a:gd name="connsiteX181" fmla="*/ 44548 w 150971"/>
                  <a:gd name="connsiteY181" fmla="*/ 31137 h 153028"/>
                  <a:gd name="connsiteX182" fmla="*/ 46158 w 150971"/>
                  <a:gd name="connsiteY182" fmla="*/ 35319 h 153028"/>
                  <a:gd name="connsiteX183" fmla="*/ 43167 w 150971"/>
                  <a:gd name="connsiteY183" fmla="*/ 33052 h 153028"/>
                  <a:gd name="connsiteX184" fmla="*/ 44548 w 150971"/>
                  <a:gd name="connsiteY184" fmla="*/ 31137 h 153028"/>
                  <a:gd name="connsiteX185" fmla="*/ 95212 w 150971"/>
                  <a:gd name="connsiteY185" fmla="*/ 19783 h 153028"/>
                  <a:gd name="connsiteX186" fmla="*/ 96755 w 150971"/>
                  <a:gd name="connsiteY186" fmla="*/ 23184 h 153028"/>
                  <a:gd name="connsiteX187" fmla="*/ 94012 w 150971"/>
                  <a:gd name="connsiteY187" fmla="*/ 21507 h 153028"/>
                  <a:gd name="connsiteX188" fmla="*/ 95212 w 150971"/>
                  <a:gd name="connsiteY188" fmla="*/ 19783 h 153028"/>
                  <a:gd name="connsiteX189" fmla="*/ 19660 w 150971"/>
                  <a:gd name="connsiteY189" fmla="*/ 37719 h 153028"/>
                  <a:gd name="connsiteX190" fmla="*/ 20555 w 150971"/>
                  <a:gd name="connsiteY190" fmla="*/ 40281 h 153028"/>
                  <a:gd name="connsiteX191" fmla="*/ 18822 w 150971"/>
                  <a:gd name="connsiteY191" fmla="*/ 38671 h 153028"/>
                  <a:gd name="connsiteX192" fmla="*/ 19660 w 150971"/>
                  <a:gd name="connsiteY192" fmla="*/ 37719 h 153028"/>
                  <a:gd name="connsiteX193" fmla="*/ 60646 w 150971"/>
                  <a:gd name="connsiteY193" fmla="*/ 29175 h 153028"/>
                  <a:gd name="connsiteX194" fmla="*/ 61408 w 150971"/>
                  <a:gd name="connsiteY194" fmla="*/ 34119 h 153028"/>
                  <a:gd name="connsiteX195" fmla="*/ 58998 w 150971"/>
                  <a:gd name="connsiteY195" fmla="*/ 30766 h 153028"/>
                  <a:gd name="connsiteX196" fmla="*/ 60646 w 150971"/>
                  <a:gd name="connsiteY196" fmla="*/ 29175 h 153028"/>
                  <a:gd name="connsiteX197" fmla="*/ 120939 w 150971"/>
                  <a:gd name="connsiteY197" fmla="*/ 15326 h 153028"/>
                  <a:gd name="connsiteX198" fmla="*/ 121196 w 150971"/>
                  <a:gd name="connsiteY198" fmla="*/ 15307 h 153028"/>
                  <a:gd name="connsiteX199" fmla="*/ 121501 w 150971"/>
                  <a:gd name="connsiteY199" fmla="*/ 15469 h 153028"/>
                  <a:gd name="connsiteX200" fmla="*/ 121530 w 150971"/>
                  <a:gd name="connsiteY200" fmla="*/ 15764 h 153028"/>
                  <a:gd name="connsiteX201" fmla="*/ 121358 w 150971"/>
                  <a:gd name="connsiteY201" fmla="*/ 15992 h 153028"/>
                  <a:gd name="connsiteX202" fmla="*/ 121063 w 150971"/>
                  <a:gd name="connsiteY202" fmla="*/ 16021 h 153028"/>
                  <a:gd name="connsiteX203" fmla="*/ 120834 w 150971"/>
                  <a:gd name="connsiteY203" fmla="*/ 15850 h 153028"/>
                  <a:gd name="connsiteX204" fmla="*/ 120777 w 150971"/>
                  <a:gd name="connsiteY204" fmla="*/ 15592 h 153028"/>
                  <a:gd name="connsiteX205" fmla="*/ 120939 w 150971"/>
                  <a:gd name="connsiteY205" fmla="*/ 15326 h 153028"/>
                  <a:gd name="connsiteX206" fmla="*/ 85773 w 150971"/>
                  <a:gd name="connsiteY206" fmla="*/ 23631 h 153028"/>
                  <a:gd name="connsiteX207" fmla="*/ 87468 w 150971"/>
                  <a:gd name="connsiteY207" fmla="*/ 27832 h 153028"/>
                  <a:gd name="connsiteX208" fmla="*/ 84363 w 150971"/>
                  <a:gd name="connsiteY208" fmla="*/ 25737 h 153028"/>
                  <a:gd name="connsiteX209" fmla="*/ 85773 w 150971"/>
                  <a:gd name="connsiteY209" fmla="*/ 23631 h 153028"/>
                  <a:gd name="connsiteX210" fmla="*/ 35414 w 150971"/>
                  <a:gd name="connsiteY210" fmla="*/ 35452 h 153028"/>
                  <a:gd name="connsiteX211" fmla="*/ 36805 w 150971"/>
                  <a:gd name="connsiteY211" fmla="*/ 39348 h 153028"/>
                  <a:gd name="connsiteX212" fmla="*/ 34052 w 150971"/>
                  <a:gd name="connsiteY212" fmla="*/ 37443 h 153028"/>
                  <a:gd name="connsiteX213" fmla="*/ 35414 w 150971"/>
                  <a:gd name="connsiteY213" fmla="*/ 35452 h 153028"/>
                  <a:gd name="connsiteX214" fmla="*/ 111328 w 150971"/>
                  <a:gd name="connsiteY214" fmla="*/ 18726 h 153028"/>
                  <a:gd name="connsiteX215" fmla="*/ 112462 w 150971"/>
                  <a:gd name="connsiteY215" fmla="*/ 21012 h 153028"/>
                  <a:gd name="connsiteX216" fmla="*/ 110623 w 150971"/>
                  <a:gd name="connsiteY216" fmla="*/ 19764 h 153028"/>
                  <a:gd name="connsiteX217" fmla="*/ 111328 w 150971"/>
                  <a:gd name="connsiteY217" fmla="*/ 18726 h 153028"/>
                  <a:gd name="connsiteX218" fmla="*/ 10478 w 150971"/>
                  <a:gd name="connsiteY218" fmla="*/ 42348 h 153028"/>
                  <a:gd name="connsiteX219" fmla="*/ 11725 w 150971"/>
                  <a:gd name="connsiteY219" fmla="*/ 43158 h 153028"/>
                  <a:gd name="connsiteX220" fmla="*/ 11268 w 150971"/>
                  <a:gd name="connsiteY220" fmla="*/ 43986 h 153028"/>
                  <a:gd name="connsiteX221" fmla="*/ 9935 w 150971"/>
                  <a:gd name="connsiteY221" fmla="*/ 43310 h 153028"/>
                  <a:gd name="connsiteX222" fmla="*/ 10478 w 150971"/>
                  <a:gd name="connsiteY222" fmla="*/ 42348 h 153028"/>
                  <a:gd name="connsiteX223" fmla="*/ 51359 w 150971"/>
                  <a:gd name="connsiteY223" fmla="*/ 33357 h 153028"/>
                  <a:gd name="connsiteX224" fmla="*/ 52159 w 150971"/>
                  <a:gd name="connsiteY224" fmla="*/ 38300 h 153028"/>
                  <a:gd name="connsiteX225" fmla="*/ 49606 w 150971"/>
                  <a:gd name="connsiteY225" fmla="*/ 35471 h 153028"/>
                  <a:gd name="connsiteX226" fmla="*/ 51359 w 150971"/>
                  <a:gd name="connsiteY226" fmla="*/ 33357 h 153028"/>
                  <a:gd name="connsiteX227" fmla="*/ 76476 w 150971"/>
                  <a:gd name="connsiteY227" fmla="*/ 27565 h 153028"/>
                  <a:gd name="connsiteX228" fmla="*/ 77353 w 150971"/>
                  <a:gd name="connsiteY228" fmla="*/ 32528 h 153028"/>
                  <a:gd name="connsiteX229" fmla="*/ 74829 w 150971"/>
                  <a:gd name="connsiteY229" fmla="*/ 29661 h 153028"/>
                  <a:gd name="connsiteX230" fmla="*/ 76476 w 150971"/>
                  <a:gd name="connsiteY230" fmla="*/ 27565 h 153028"/>
                  <a:gd name="connsiteX231" fmla="*/ 26327 w 150971"/>
                  <a:gd name="connsiteY231" fmla="*/ 39824 h 153028"/>
                  <a:gd name="connsiteX232" fmla="*/ 27470 w 150971"/>
                  <a:gd name="connsiteY232" fmla="*/ 43282 h 153028"/>
                  <a:gd name="connsiteX233" fmla="*/ 25079 w 150971"/>
                  <a:gd name="connsiteY233" fmla="*/ 41291 h 153028"/>
                  <a:gd name="connsiteX234" fmla="*/ 26327 w 150971"/>
                  <a:gd name="connsiteY234" fmla="*/ 39824 h 153028"/>
                  <a:gd name="connsiteX235" fmla="*/ 102032 w 150971"/>
                  <a:gd name="connsiteY235" fmla="*/ 22346 h 153028"/>
                  <a:gd name="connsiteX236" fmla="*/ 103242 w 150971"/>
                  <a:gd name="connsiteY236" fmla="*/ 25784 h 153028"/>
                  <a:gd name="connsiteX237" fmla="*/ 100784 w 150971"/>
                  <a:gd name="connsiteY237" fmla="*/ 24003 h 153028"/>
                  <a:gd name="connsiteX238" fmla="*/ 102032 w 150971"/>
                  <a:gd name="connsiteY238" fmla="*/ 22346 h 153028"/>
                  <a:gd name="connsiteX239" fmla="*/ 67408 w 150971"/>
                  <a:gd name="connsiteY239" fmla="*/ 31518 h 153028"/>
                  <a:gd name="connsiteX240" fmla="*/ 70656 w 150971"/>
                  <a:gd name="connsiteY240" fmla="*/ 33576 h 153028"/>
                  <a:gd name="connsiteX241" fmla="*/ 70933 w 150971"/>
                  <a:gd name="connsiteY241" fmla="*/ 34919 h 153028"/>
                  <a:gd name="connsiteX242" fmla="*/ 70275 w 150971"/>
                  <a:gd name="connsiteY242" fmla="*/ 35833 h 153028"/>
                  <a:gd name="connsiteX243" fmla="*/ 66885 w 150971"/>
                  <a:gd name="connsiteY243" fmla="*/ 37262 h 153028"/>
                  <a:gd name="connsiteX244" fmla="*/ 65989 w 150971"/>
                  <a:gd name="connsiteY244" fmla="*/ 32385 h 153028"/>
                  <a:gd name="connsiteX245" fmla="*/ 67408 w 150971"/>
                  <a:gd name="connsiteY245" fmla="*/ 31518 h 153028"/>
                  <a:gd name="connsiteX246" fmla="*/ 41891 w 150971"/>
                  <a:gd name="connsiteY246" fmla="*/ 37709 h 153028"/>
                  <a:gd name="connsiteX247" fmla="*/ 43863 w 150971"/>
                  <a:gd name="connsiteY247" fmla="*/ 42148 h 153028"/>
                  <a:gd name="connsiteX248" fmla="*/ 40434 w 150971"/>
                  <a:gd name="connsiteY248" fmla="*/ 39938 h 153028"/>
                  <a:gd name="connsiteX249" fmla="*/ 41891 w 150971"/>
                  <a:gd name="connsiteY249" fmla="*/ 37709 h 153028"/>
                  <a:gd name="connsiteX250" fmla="*/ 92612 w 150971"/>
                  <a:gd name="connsiteY250" fmla="*/ 26117 h 153028"/>
                  <a:gd name="connsiteX251" fmla="*/ 93955 w 150971"/>
                  <a:gd name="connsiteY251" fmla="*/ 30470 h 153028"/>
                  <a:gd name="connsiteX252" fmla="*/ 91040 w 150971"/>
                  <a:gd name="connsiteY252" fmla="*/ 28184 h 153028"/>
                  <a:gd name="connsiteX253" fmla="*/ 92612 w 150971"/>
                  <a:gd name="connsiteY253" fmla="*/ 26117 h 153028"/>
                  <a:gd name="connsiteX254" fmla="*/ 16983 w 150971"/>
                  <a:gd name="connsiteY254" fmla="*/ 44405 h 153028"/>
                  <a:gd name="connsiteX255" fmla="*/ 18059 w 150971"/>
                  <a:gd name="connsiteY255" fmla="*/ 47082 h 153028"/>
                  <a:gd name="connsiteX256" fmla="*/ 16135 w 150971"/>
                  <a:gd name="connsiteY256" fmla="*/ 45663 h 153028"/>
                  <a:gd name="connsiteX257" fmla="*/ 16983 w 150971"/>
                  <a:gd name="connsiteY257" fmla="*/ 44405 h 153028"/>
                  <a:gd name="connsiteX258" fmla="*/ 118129 w 150971"/>
                  <a:gd name="connsiteY258" fmla="*/ 21403 h 153028"/>
                  <a:gd name="connsiteX259" fmla="*/ 119082 w 150971"/>
                  <a:gd name="connsiteY259" fmla="*/ 23422 h 153028"/>
                  <a:gd name="connsiteX260" fmla="*/ 117491 w 150971"/>
                  <a:gd name="connsiteY260" fmla="*/ 22269 h 153028"/>
                  <a:gd name="connsiteX261" fmla="*/ 118129 w 150971"/>
                  <a:gd name="connsiteY261" fmla="*/ 21403 h 153028"/>
                  <a:gd name="connsiteX262" fmla="*/ 58303 w 150971"/>
                  <a:gd name="connsiteY262" fmla="*/ 35633 h 153028"/>
                  <a:gd name="connsiteX263" fmla="*/ 62570 w 150971"/>
                  <a:gd name="connsiteY263" fmla="*/ 39167 h 153028"/>
                  <a:gd name="connsiteX264" fmla="*/ 66818 w 150971"/>
                  <a:gd name="connsiteY264" fmla="*/ 37509 h 153028"/>
                  <a:gd name="connsiteX265" fmla="*/ 67513 w 150971"/>
                  <a:gd name="connsiteY265" fmla="*/ 38900 h 153028"/>
                  <a:gd name="connsiteX266" fmla="*/ 71523 w 150971"/>
                  <a:gd name="connsiteY266" fmla="*/ 40824 h 153028"/>
                  <a:gd name="connsiteX267" fmla="*/ 72504 w 150971"/>
                  <a:gd name="connsiteY267" fmla="*/ 40138 h 153028"/>
                  <a:gd name="connsiteX268" fmla="*/ 71866 w 150971"/>
                  <a:gd name="connsiteY268" fmla="*/ 35728 h 153028"/>
                  <a:gd name="connsiteX269" fmla="*/ 74447 w 150971"/>
                  <a:gd name="connsiteY269" fmla="*/ 33918 h 153028"/>
                  <a:gd name="connsiteX270" fmla="*/ 78572 w 150971"/>
                  <a:gd name="connsiteY270" fmla="*/ 37481 h 153028"/>
                  <a:gd name="connsiteX271" fmla="*/ 82610 w 150971"/>
                  <a:gd name="connsiteY271" fmla="*/ 36204 h 153028"/>
                  <a:gd name="connsiteX272" fmla="*/ 85268 w 150971"/>
                  <a:gd name="connsiteY272" fmla="*/ 39843 h 153028"/>
                  <a:gd name="connsiteX273" fmla="*/ 89621 w 150971"/>
                  <a:gd name="connsiteY273" fmla="*/ 38795 h 153028"/>
                  <a:gd name="connsiteX274" fmla="*/ 91878 w 150971"/>
                  <a:gd name="connsiteY274" fmla="*/ 42339 h 153028"/>
                  <a:gd name="connsiteX275" fmla="*/ 96079 w 150971"/>
                  <a:gd name="connsiteY275" fmla="*/ 41291 h 153028"/>
                  <a:gd name="connsiteX276" fmla="*/ 98498 w 150971"/>
                  <a:gd name="connsiteY276" fmla="*/ 45025 h 153028"/>
                  <a:gd name="connsiteX277" fmla="*/ 103632 w 150971"/>
                  <a:gd name="connsiteY277" fmla="*/ 44748 h 153028"/>
                  <a:gd name="connsiteX278" fmla="*/ 104347 w 150971"/>
                  <a:gd name="connsiteY278" fmla="*/ 48187 h 153028"/>
                  <a:gd name="connsiteX279" fmla="*/ 101460 w 150971"/>
                  <a:gd name="connsiteY279" fmla="*/ 52273 h 153028"/>
                  <a:gd name="connsiteX280" fmla="*/ 101994 w 150971"/>
                  <a:gd name="connsiteY280" fmla="*/ 53283 h 153028"/>
                  <a:gd name="connsiteX281" fmla="*/ 105585 w 150971"/>
                  <a:gd name="connsiteY281" fmla="*/ 53407 h 153028"/>
                  <a:gd name="connsiteX282" fmla="*/ 107032 w 150971"/>
                  <a:gd name="connsiteY282" fmla="*/ 52921 h 153028"/>
                  <a:gd name="connsiteX283" fmla="*/ 109395 w 150971"/>
                  <a:gd name="connsiteY283" fmla="*/ 56931 h 153028"/>
                  <a:gd name="connsiteX284" fmla="*/ 113490 w 150971"/>
                  <a:gd name="connsiteY284" fmla="*/ 55950 h 153028"/>
                  <a:gd name="connsiteX285" fmla="*/ 114472 w 150971"/>
                  <a:gd name="connsiteY285" fmla="*/ 60541 h 153028"/>
                  <a:gd name="connsiteX286" fmla="*/ 111690 w 150971"/>
                  <a:gd name="connsiteY286" fmla="*/ 62284 h 153028"/>
                  <a:gd name="connsiteX287" fmla="*/ 113252 w 150971"/>
                  <a:gd name="connsiteY287" fmla="*/ 66399 h 153028"/>
                  <a:gd name="connsiteX288" fmla="*/ 110195 w 150971"/>
                  <a:gd name="connsiteY288" fmla="*/ 68132 h 153028"/>
                  <a:gd name="connsiteX289" fmla="*/ 111214 w 150971"/>
                  <a:gd name="connsiteY289" fmla="*/ 72561 h 153028"/>
                  <a:gd name="connsiteX290" fmla="*/ 115053 w 150971"/>
                  <a:gd name="connsiteY290" fmla="*/ 71599 h 153028"/>
                  <a:gd name="connsiteX291" fmla="*/ 116729 w 150971"/>
                  <a:gd name="connsiteY291" fmla="*/ 73752 h 153028"/>
                  <a:gd name="connsiteX292" fmla="*/ 117110 w 150971"/>
                  <a:gd name="connsiteY292" fmla="*/ 75257 h 153028"/>
                  <a:gd name="connsiteX293" fmla="*/ 113490 w 150971"/>
                  <a:gd name="connsiteY293" fmla="*/ 78143 h 153028"/>
                  <a:gd name="connsiteX294" fmla="*/ 114767 w 150971"/>
                  <a:gd name="connsiteY294" fmla="*/ 82172 h 153028"/>
                  <a:gd name="connsiteX295" fmla="*/ 111119 w 150971"/>
                  <a:gd name="connsiteY295" fmla="*/ 84953 h 153028"/>
                  <a:gd name="connsiteX296" fmla="*/ 112328 w 150971"/>
                  <a:gd name="connsiteY296" fmla="*/ 89040 h 153028"/>
                  <a:gd name="connsiteX297" fmla="*/ 108585 w 150971"/>
                  <a:gd name="connsiteY297" fmla="*/ 91726 h 153028"/>
                  <a:gd name="connsiteX298" fmla="*/ 109709 w 150971"/>
                  <a:gd name="connsiteY298" fmla="*/ 95793 h 153028"/>
                  <a:gd name="connsiteX299" fmla="*/ 105870 w 150971"/>
                  <a:gd name="connsiteY299" fmla="*/ 98536 h 153028"/>
                  <a:gd name="connsiteX300" fmla="*/ 106632 w 150971"/>
                  <a:gd name="connsiteY300" fmla="*/ 102994 h 153028"/>
                  <a:gd name="connsiteX301" fmla="*/ 102527 w 150971"/>
                  <a:gd name="connsiteY301" fmla="*/ 104127 h 153028"/>
                  <a:gd name="connsiteX302" fmla="*/ 101137 w 150971"/>
                  <a:gd name="connsiteY302" fmla="*/ 101374 h 153028"/>
                  <a:gd name="connsiteX303" fmla="*/ 97079 w 150971"/>
                  <a:gd name="connsiteY303" fmla="*/ 102537 h 153028"/>
                  <a:gd name="connsiteX304" fmla="*/ 99070 w 150971"/>
                  <a:gd name="connsiteY304" fmla="*/ 106556 h 153028"/>
                  <a:gd name="connsiteX305" fmla="*/ 102518 w 150971"/>
                  <a:gd name="connsiteY305" fmla="*/ 105194 h 153028"/>
                  <a:gd name="connsiteX306" fmla="*/ 104308 w 150971"/>
                  <a:gd name="connsiteY306" fmla="*/ 108347 h 153028"/>
                  <a:gd name="connsiteX307" fmla="*/ 103851 w 150971"/>
                  <a:gd name="connsiteY307" fmla="*/ 109671 h 153028"/>
                  <a:gd name="connsiteX308" fmla="*/ 102965 w 150971"/>
                  <a:gd name="connsiteY308" fmla="*/ 110442 h 153028"/>
                  <a:gd name="connsiteX309" fmla="*/ 99603 w 150971"/>
                  <a:gd name="connsiteY309" fmla="*/ 110042 h 153028"/>
                  <a:gd name="connsiteX310" fmla="*/ 97765 w 150971"/>
                  <a:gd name="connsiteY310" fmla="*/ 107318 h 153028"/>
                  <a:gd name="connsiteX311" fmla="*/ 96231 w 150971"/>
                  <a:gd name="connsiteY311" fmla="*/ 107899 h 153028"/>
                  <a:gd name="connsiteX312" fmla="*/ 94050 w 150971"/>
                  <a:gd name="connsiteY312" fmla="*/ 109461 h 153028"/>
                  <a:gd name="connsiteX313" fmla="*/ 94297 w 150971"/>
                  <a:gd name="connsiteY313" fmla="*/ 114300 h 153028"/>
                  <a:gd name="connsiteX314" fmla="*/ 90469 w 150971"/>
                  <a:gd name="connsiteY314" fmla="*/ 114462 h 153028"/>
                  <a:gd name="connsiteX315" fmla="*/ 87640 w 150971"/>
                  <a:gd name="connsiteY315" fmla="*/ 111738 h 153028"/>
                  <a:gd name="connsiteX316" fmla="*/ 84715 w 150971"/>
                  <a:gd name="connsiteY316" fmla="*/ 114043 h 153028"/>
                  <a:gd name="connsiteX317" fmla="*/ 85706 w 150971"/>
                  <a:gd name="connsiteY317" fmla="*/ 117529 h 153028"/>
                  <a:gd name="connsiteX318" fmla="*/ 81258 w 150971"/>
                  <a:gd name="connsiteY318" fmla="*/ 118634 h 153028"/>
                  <a:gd name="connsiteX319" fmla="*/ 79591 w 150971"/>
                  <a:gd name="connsiteY319" fmla="*/ 115529 h 153028"/>
                  <a:gd name="connsiteX320" fmla="*/ 75381 w 150971"/>
                  <a:gd name="connsiteY320" fmla="*/ 116995 h 153028"/>
                  <a:gd name="connsiteX321" fmla="*/ 73466 w 150971"/>
                  <a:gd name="connsiteY321" fmla="*/ 113986 h 153028"/>
                  <a:gd name="connsiteX322" fmla="*/ 68561 w 150971"/>
                  <a:gd name="connsiteY322" fmla="*/ 115081 h 153028"/>
                  <a:gd name="connsiteX323" fmla="*/ 69780 w 150971"/>
                  <a:gd name="connsiteY323" fmla="*/ 118405 h 153028"/>
                  <a:gd name="connsiteX324" fmla="*/ 66132 w 150971"/>
                  <a:gd name="connsiteY324" fmla="*/ 120691 h 153028"/>
                  <a:gd name="connsiteX325" fmla="*/ 65018 w 150971"/>
                  <a:gd name="connsiteY325" fmla="*/ 119815 h 153028"/>
                  <a:gd name="connsiteX326" fmla="*/ 64503 w 150971"/>
                  <a:gd name="connsiteY326" fmla="*/ 118910 h 153028"/>
                  <a:gd name="connsiteX327" fmla="*/ 68037 w 150971"/>
                  <a:gd name="connsiteY327" fmla="*/ 114643 h 153028"/>
                  <a:gd name="connsiteX328" fmla="*/ 67513 w 150971"/>
                  <a:gd name="connsiteY328" fmla="*/ 113205 h 153028"/>
                  <a:gd name="connsiteX329" fmla="*/ 63513 w 150971"/>
                  <a:gd name="connsiteY329" fmla="*/ 111509 h 153028"/>
                  <a:gd name="connsiteX330" fmla="*/ 62265 w 150971"/>
                  <a:gd name="connsiteY330" fmla="*/ 112176 h 153028"/>
                  <a:gd name="connsiteX331" fmla="*/ 63141 w 150971"/>
                  <a:gd name="connsiteY331" fmla="*/ 116148 h 153028"/>
                  <a:gd name="connsiteX332" fmla="*/ 58931 w 150971"/>
                  <a:gd name="connsiteY332" fmla="*/ 117957 h 153028"/>
                  <a:gd name="connsiteX333" fmla="*/ 58112 w 150971"/>
                  <a:gd name="connsiteY333" fmla="*/ 117043 h 153028"/>
                  <a:gd name="connsiteX334" fmla="*/ 57683 w 150971"/>
                  <a:gd name="connsiteY334" fmla="*/ 116157 h 153028"/>
                  <a:gd name="connsiteX335" fmla="*/ 61103 w 150971"/>
                  <a:gd name="connsiteY335" fmla="*/ 112224 h 153028"/>
                  <a:gd name="connsiteX336" fmla="*/ 59931 w 150971"/>
                  <a:gd name="connsiteY336" fmla="*/ 108966 h 153028"/>
                  <a:gd name="connsiteX337" fmla="*/ 58655 w 150971"/>
                  <a:gd name="connsiteY337" fmla="*/ 108347 h 153028"/>
                  <a:gd name="connsiteX338" fmla="*/ 55131 w 150971"/>
                  <a:gd name="connsiteY338" fmla="*/ 110185 h 153028"/>
                  <a:gd name="connsiteX339" fmla="*/ 56417 w 150971"/>
                  <a:gd name="connsiteY339" fmla="*/ 113605 h 153028"/>
                  <a:gd name="connsiteX340" fmla="*/ 52407 w 150971"/>
                  <a:gd name="connsiteY340" fmla="*/ 115481 h 153028"/>
                  <a:gd name="connsiteX341" fmla="*/ 51349 w 150971"/>
                  <a:gd name="connsiteY341" fmla="*/ 111547 h 153028"/>
                  <a:gd name="connsiteX342" fmla="*/ 54169 w 150971"/>
                  <a:gd name="connsiteY342" fmla="*/ 110099 h 153028"/>
                  <a:gd name="connsiteX343" fmla="*/ 54559 w 150971"/>
                  <a:gd name="connsiteY343" fmla="*/ 109328 h 153028"/>
                  <a:gd name="connsiteX344" fmla="*/ 53121 w 150971"/>
                  <a:gd name="connsiteY344" fmla="*/ 106204 h 153028"/>
                  <a:gd name="connsiteX345" fmla="*/ 48492 w 150971"/>
                  <a:gd name="connsiteY345" fmla="*/ 106851 h 153028"/>
                  <a:gd name="connsiteX346" fmla="*/ 45758 w 150971"/>
                  <a:gd name="connsiteY346" fmla="*/ 102889 h 153028"/>
                  <a:gd name="connsiteX347" fmla="*/ 44358 w 150971"/>
                  <a:gd name="connsiteY347" fmla="*/ 103403 h 153028"/>
                  <a:gd name="connsiteX348" fmla="*/ 40948 w 150971"/>
                  <a:gd name="connsiteY348" fmla="*/ 103432 h 153028"/>
                  <a:gd name="connsiteX349" fmla="*/ 40367 w 150971"/>
                  <a:gd name="connsiteY349" fmla="*/ 102546 h 153028"/>
                  <a:gd name="connsiteX350" fmla="*/ 41910 w 150971"/>
                  <a:gd name="connsiteY350" fmla="*/ 98888 h 153028"/>
                  <a:gd name="connsiteX351" fmla="*/ 43186 w 150971"/>
                  <a:gd name="connsiteY351" fmla="*/ 98174 h 153028"/>
                  <a:gd name="connsiteX352" fmla="*/ 42396 w 150971"/>
                  <a:gd name="connsiteY352" fmla="*/ 94602 h 153028"/>
                  <a:gd name="connsiteX353" fmla="*/ 36586 w 150971"/>
                  <a:gd name="connsiteY353" fmla="*/ 94078 h 153028"/>
                  <a:gd name="connsiteX354" fmla="*/ 36309 w 150971"/>
                  <a:gd name="connsiteY354" fmla="*/ 90268 h 153028"/>
                  <a:gd name="connsiteX355" fmla="*/ 39129 w 150971"/>
                  <a:gd name="connsiteY355" fmla="*/ 87344 h 153028"/>
                  <a:gd name="connsiteX356" fmla="*/ 37167 w 150971"/>
                  <a:gd name="connsiteY356" fmla="*/ 84458 h 153028"/>
                  <a:gd name="connsiteX357" fmla="*/ 32814 w 150971"/>
                  <a:gd name="connsiteY357" fmla="*/ 85163 h 153028"/>
                  <a:gd name="connsiteX358" fmla="*/ 32109 w 150971"/>
                  <a:gd name="connsiteY358" fmla="*/ 84258 h 153028"/>
                  <a:gd name="connsiteX359" fmla="*/ 35433 w 150971"/>
                  <a:gd name="connsiteY359" fmla="*/ 79429 h 153028"/>
                  <a:gd name="connsiteX360" fmla="*/ 33890 w 150971"/>
                  <a:gd name="connsiteY360" fmla="*/ 75190 h 153028"/>
                  <a:gd name="connsiteX361" fmla="*/ 37233 w 150971"/>
                  <a:gd name="connsiteY361" fmla="*/ 72904 h 153028"/>
                  <a:gd name="connsiteX362" fmla="*/ 36538 w 150971"/>
                  <a:gd name="connsiteY362" fmla="*/ 69237 h 153028"/>
                  <a:gd name="connsiteX363" fmla="*/ 36243 w 150971"/>
                  <a:gd name="connsiteY363" fmla="*/ 68428 h 153028"/>
                  <a:gd name="connsiteX364" fmla="*/ 39100 w 150971"/>
                  <a:gd name="connsiteY364" fmla="*/ 66665 h 153028"/>
                  <a:gd name="connsiteX365" fmla="*/ 39214 w 150971"/>
                  <a:gd name="connsiteY365" fmla="*/ 62884 h 153028"/>
                  <a:gd name="connsiteX366" fmla="*/ 38110 w 150971"/>
                  <a:gd name="connsiteY366" fmla="*/ 61541 h 153028"/>
                  <a:gd name="connsiteX367" fmla="*/ 34957 w 150971"/>
                  <a:gd name="connsiteY367" fmla="*/ 62846 h 153028"/>
                  <a:gd name="connsiteX368" fmla="*/ 32890 w 150971"/>
                  <a:gd name="connsiteY368" fmla="*/ 58845 h 153028"/>
                  <a:gd name="connsiteX369" fmla="*/ 33747 w 150971"/>
                  <a:gd name="connsiteY369" fmla="*/ 57960 h 153028"/>
                  <a:gd name="connsiteX370" fmla="*/ 34490 w 150971"/>
                  <a:gd name="connsiteY370" fmla="*/ 57560 h 153028"/>
                  <a:gd name="connsiteX371" fmla="*/ 38786 w 150971"/>
                  <a:gd name="connsiteY371" fmla="*/ 61046 h 153028"/>
                  <a:gd name="connsiteX372" fmla="*/ 40119 w 150971"/>
                  <a:gd name="connsiteY372" fmla="*/ 60588 h 153028"/>
                  <a:gd name="connsiteX373" fmla="*/ 42605 w 150971"/>
                  <a:gd name="connsiteY373" fmla="*/ 58198 h 153028"/>
                  <a:gd name="connsiteX374" fmla="*/ 41634 w 150971"/>
                  <a:gd name="connsiteY374" fmla="*/ 54473 h 153028"/>
                  <a:gd name="connsiteX375" fmla="*/ 45272 w 150971"/>
                  <a:gd name="connsiteY375" fmla="*/ 52006 h 153028"/>
                  <a:gd name="connsiteX376" fmla="*/ 44434 w 150971"/>
                  <a:gd name="connsiteY376" fmla="*/ 47720 h 153028"/>
                  <a:gd name="connsiteX377" fmla="*/ 45596 w 150971"/>
                  <a:gd name="connsiteY377" fmla="*/ 46996 h 153028"/>
                  <a:gd name="connsiteX378" fmla="*/ 48368 w 150971"/>
                  <a:gd name="connsiteY378" fmla="*/ 46358 h 153028"/>
                  <a:gd name="connsiteX379" fmla="*/ 51654 w 150971"/>
                  <a:gd name="connsiteY379" fmla="*/ 49740 h 153028"/>
                  <a:gd name="connsiteX380" fmla="*/ 54331 w 150971"/>
                  <a:gd name="connsiteY380" fmla="*/ 47187 h 153028"/>
                  <a:gd name="connsiteX381" fmla="*/ 53807 w 150971"/>
                  <a:gd name="connsiteY381" fmla="*/ 45749 h 153028"/>
                  <a:gd name="connsiteX382" fmla="*/ 52569 w 150971"/>
                  <a:gd name="connsiteY382" fmla="*/ 43986 h 153028"/>
                  <a:gd name="connsiteX383" fmla="*/ 48835 w 150971"/>
                  <a:gd name="connsiteY383" fmla="*/ 45377 h 153028"/>
                  <a:gd name="connsiteX384" fmla="*/ 46863 w 150971"/>
                  <a:gd name="connsiteY384" fmla="*/ 42110 h 153028"/>
                  <a:gd name="connsiteX385" fmla="*/ 47615 w 150971"/>
                  <a:gd name="connsiteY385" fmla="*/ 40605 h 153028"/>
                  <a:gd name="connsiteX386" fmla="*/ 48435 w 150971"/>
                  <a:gd name="connsiteY386" fmla="*/ 40072 h 153028"/>
                  <a:gd name="connsiteX387" fmla="*/ 50444 w 150971"/>
                  <a:gd name="connsiteY387" fmla="*/ 39872 h 153028"/>
                  <a:gd name="connsiteX388" fmla="*/ 52854 w 150971"/>
                  <a:gd name="connsiteY388" fmla="*/ 43262 h 153028"/>
                  <a:gd name="connsiteX389" fmla="*/ 56722 w 150971"/>
                  <a:gd name="connsiteY389" fmla="*/ 41910 h 153028"/>
                  <a:gd name="connsiteX390" fmla="*/ 56045 w 150971"/>
                  <a:gd name="connsiteY390" fmla="*/ 37814 h 153028"/>
                  <a:gd name="connsiteX391" fmla="*/ 58303 w 150971"/>
                  <a:gd name="connsiteY391" fmla="*/ 35633 h 153028"/>
                  <a:gd name="connsiteX392" fmla="*/ 83258 w 150971"/>
                  <a:gd name="connsiteY392" fmla="*/ 29985 h 153028"/>
                  <a:gd name="connsiteX393" fmla="*/ 85068 w 150971"/>
                  <a:gd name="connsiteY393" fmla="*/ 34690 h 153028"/>
                  <a:gd name="connsiteX394" fmla="*/ 83744 w 150971"/>
                  <a:gd name="connsiteY394" fmla="*/ 35223 h 153028"/>
                  <a:gd name="connsiteX395" fmla="*/ 81448 w 150971"/>
                  <a:gd name="connsiteY395" fmla="*/ 32032 h 153028"/>
                  <a:gd name="connsiteX396" fmla="*/ 83258 w 150971"/>
                  <a:gd name="connsiteY396" fmla="*/ 29985 h 153028"/>
                  <a:gd name="connsiteX397" fmla="*/ 32690 w 150971"/>
                  <a:gd name="connsiteY397" fmla="*/ 42072 h 153028"/>
                  <a:gd name="connsiteX398" fmla="*/ 34500 w 150971"/>
                  <a:gd name="connsiteY398" fmla="*/ 46129 h 153028"/>
                  <a:gd name="connsiteX399" fmla="*/ 31385 w 150971"/>
                  <a:gd name="connsiteY399" fmla="*/ 44005 h 153028"/>
                  <a:gd name="connsiteX400" fmla="*/ 32690 w 150971"/>
                  <a:gd name="connsiteY400" fmla="*/ 42072 h 153028"/>
                  <a:gd name="connsiteX401" fmla="*/ 108842 w 150971"/>
                  <a:gd name="connsiteY401" fmla="*/ 24908 h 153028"/>
                  <a:gd name="connsiteX402" fmla="*/ 109985 w 150971"/>
                  <a:gd name="connsiteY402" fmla="*/ 28213 h 153028"/>
                  <a:gd name="connsiteX403" fmla="*/ 107585 w 150971"/>
                  <a:gd name="connsiteY403" fmla="*/ 26375 h 153028"/>
                  <a:gd name="connsiteX404" fmla="*/ 108842 w 150971"/>
                  <a:gd name="connsiteY404" fmla="*/ 24908 h 153028"/>
                  <a:gd name="connsiteX405" fmla="*/ 7925 w 150971"/>
                  <a:gd name="connsiteY405" fmla="*/ 49044 h 153028"/>
                  <a:gd name="connsiteX406" fmla="*/ 8344 w 150971"/>
                  <a:gd name="connsiteY406" fmla="*/ 50844 h 153028"/>
                  <a:gd name="connsiteX407" fmla="*/ 7925 w 150971"/>
                  <a:gd name="connsiteY407" fmla="*/ 49044 h 153028"/>
                  <a:gd name="connsiteX408" fmla="*/ 99213 w 150971"/>
                  <a:gd name="connsiteY408" fmla="*/ 28727 h 153028"/>
                  <a:gd name="connsiteX409" fmla="*/ 100965 w 150971"/>
                  <a:gd name="connsiteY409" fmla="*/ 32880 h 153028"/>
                  <a:gd name="connsiteX410" fmla="*/ 97784 w 150971"/>
                  <a:gd name="connsiteY410" fmla="*/ 30918 h 153028"/>
                  <a:gd name="connsiteX411" fmla="*/ 99213 w 150971"/>
                  <a:gd name="connsiteY411" fmla="*/ 28727 h 153028"/>
                  <a:gd name="connsiteX412" fmla="*/ 23622 w 150971"/>
                  <a:gd name="connsiteY412" fmla="*/ 46520 h 153028"/>
                  <a:gd name="connsiteX413" fmla="*/ 25146 w 150971"/>
                  <a:gd name="connsiteY413" fmla="*/ 49997 h 153028"/>
                  <a:gd name="connsiteX414" fmla="*/ 22422 w 150971"/>
                  <a:gd name="connsiteY414" fmla="*/ 48235 h 153028"/>
                  <a:gd name="connsiteX415" fmla="*/ 23622 w 150971"/>
                  <a:gd name="connsiteY415" fmla="*/ 46520 h 153028"/>
                  <a:gd name="connsiteX416" fmla="*/ 125044 w 150971"/>
                  <a:gd name="connsiteY416" fmla="*/ 24060 h 153028"/>
                  <a:gd name="connsiteX417" fmla="*/ 125378 w 150971"/>
                  <a:gd name="connsiteY417" fmla="*/ 25841 h 153028"/>
                  <a:gd name="connsiteX418" fmla="*/ 124454 w 150971"/>
                  <a:gd name="connsiteY418" fmla="*/ 24955 h 153028"/>
                  <a:gd name="connsiteX419" fmla="*/ 125044 w 150971"/>
                  <a:gd name="connsiteY419" fmla="*/ 24060 h 153028"/>
                  <a:gd name="connsiteX420" fmla="*/ 89811 w 150971"/>
                  <a:gd name="connsiteY420" fmla="*/ 32566 h 153028"/>
                  <a:gd name="connsiteX421" fmla="*/ 92878 w 150971"/>
                  <a:gd name="connsiteY421" fmla="*/ 36643 h 153028"/>
                  <a:gd name="connsiteX422" fmla="*/ 91802 w 150971"/>
                  <a:gd name="connsiteY422" fmla="*/ 37233 h 153028"/>
                  <a:gd name="connsiteX423" fmla="*/ 90488 w 150971"/>
                  <a:gd name="connsiteY423" fmla="*/ 37805 h 153028"/>
                  <a:gd name="connsiteX424" fmla="*/ 88487 w 150971"/>
                  <a:gd name="connsiteY424" fmla="*/ 35881 h 153028"/>
                  <a:gd name="connsiteX425" fmla="*/ 88125 w 150971"/>
                  <a:gd name="connsiteY425" fmla="*/ 34480 h 153028"/>
                  <a:gd name="connsiteX426" fmla="*/ 89811 w 150971"/>
                  <a:gd name="connsiteY426" fmla="*/ 32566 h 153028"/>
                  <a:gd name="connsiteX427" fmla="*/ 39414 w 150971"/>
                  <a:gd name="connsiteY427" fmla="*/ 44244 h 153028"/>
                  <a:gd name="connsiteX428" fmla="*/ 42872 w 150971"/>
                  <a:gd name="connsiteY428" fmla="*/ 47539 h 153028"/>
                  <a:gd name="connsiteX429" fmla="*/ 40919 w 150971"/>
                  <a:gd name="connsiteY429" fmla="*/ 49092 h 153028"/>
                  <a:gd name="connsiteX430" fmla="*/ 37776 w 150971"/>
                  <a:gd name="connsiteY430" fmla="*/ 46482 h 153028"/>
                  <a:gd name="connsiteX431" fmla="*/ 39414 w 150971"/>
                  <a:gd name="connsiteY431" fmla="*/ 44244 h 153028"/>
                  <a:gd name="connsiteX432" fmla="*/ 61217 w 150971"/>
                  <a:gd name="connsiteY432" fmla="*/ 39891 h 153028"/>
                  <a:gd name="connsiteX433" fmla="*/ 58226 w 150971"/>
                  <a:gd name="connsiteY433" fmla="*/ 41415 h 153028"/>
                  <a:gd name="connsiteX434" fmla="*/ 59179 w 150971"/>
                  <a:gd name="connsiteY434" fmla="*/ 44872 h 153028"/>
                  <a:gd name="connsiteX435" fmla="*/ 60474 w 150971"/>
                  <a:gd name="connsiteY435" fmla="*/ 45406 h 153028"/>
                  <a:gd name="connsiteX436" fmla="*/ 63560 w 150971"/>
                  <a:gd name="connsiteY436" fmla="*/ 42834 h 153028"/>
                  <a:gd name="connsiteX437" fmla="*/ 63151 w 150971"/>
                  <a:gd name="connsiteY437" fmla="*/ 41710 h 153028"/>
                  <a:gd name="connsiteX438" fmla="*/ 61217 w 150971"/>
                  <a:gd name="connsiteY438" fmla="*/ 39891 h 153028"/>
                  <a:gd name="connsiteX439" fmla="*/ 115500 w 150971"/>
                  <a:gd name="connsiteY439" fmla="*/ 27622 h 153028"/>
                  <a:gd name="connsiteX440" fmla="*/ 116548 w 150971"/>
                  <a:gd name="connsiteY440" fmla="*/ 30680 h 153028"/>
                  <a:gd name="connsiteX441" fmla="*/ 114452 w 150971"/>
                  <a:gd name="connsiteY441" fmla="*/ 29156 h 153028"/>
                  <a:gd name="connsiteX442" fmla="*/ 115500 w 150971"/>
                  <a:gd name="connsiteY442" fmla="*/ 27622 h 153028"/>
                  <a:gd name="connsiteX443" fmla="*/ 14431 w 150971"/>
                  <a:gd name="connsiteY443" fmla="*/ 51111 h 153028"/>
                  <a:gd name="connsiteX444" fmla="*/ 15688 w 150971"/>
                  <a:gd name="connsiteY444" fmla="*/ 53778 h 153028"/>
                  <a:gd name="connsiteX445" fmla="*/ 13564 w 150971"/>
                  <a:gd name="connsiteY445" fmla="*/ 52292 h 153028"/>
                  <a:gd name="connsiteX446" fmla="*/ 14431 w 150971"/>
                  <a:gd name="connsiteY446" fmla="*/ 51111 h 153028"/>
                  <a:gd name="connsiteX447" fmla="*/ 30194 w 150971"/>
                  <a:gd name="connsiteY447" fmla="*/ 48682 h 153028"/>
                  <a:gd name="connsiteX448" fmla="*/ 32185 w 150971"/>
                  <a:gd name="connsiteY448" fmla="*/ 52854 h 153028"/>
                  <a:gd name="connsiteX449" fmla="*/ 28747 w 150971"/>
                  <a:gd name="connsiteY449" fmla="*/ 50806 h 153028"/>
                  <a:gd name="connsiteX450" fmla="*/ 30194 w 150971"/>
                  <a:gd name="connsiteY450" fmla="*/ 48682 h 153028"/>
                  <a:gd name="connsiteX451" fmla="*/ 106109 w 150971"/>
                  <a:gd name="connsiteY451" fmla="*/ 31309 h 153028"/>
                  <a:gd name="connsiteX452" fmla="*/ 107537 w 150971"/>
                  <a:gd name="connsiteY452" fmla="*/ 35385 h 153028"/>
                  <a:gd name="connsiteX453" fmla="*/ 104604 w 150971"/>
                  <a:gd name="connsiteY453" fmla="*/ 33214 h 153028"/>
                  <a:gd name="connsiteX454" fmla="*/ 106109 w 150971"/>
                  <a:gd name="connsiteY454" fmla="*/ 31309 h 153028"/>
                  <a:gd name="connsiteX455" fmla="*/ 76819 w 150971"/>
                  <a:gd name="connsiteY455" fmla="*/ 38414 h 153028"/>
                  <a:gd name="connsiteX456" fmla="*/ 74409 w 150971"/>
                  <a:gd name="connsiteY456" fmla="*/ 39957 h 153028"/>
                  <a:gd name="connsiteX457" fmla="*/ 77095 w 150971"/>
                  <a:gd name="connsiteY457" fmla="*/ 43701 h 153028"/>
                  <a:gd name="connsiteX458" fmla="*/ 79600 w 150971"/>
                  <a:gd name="connsiteY458" fmla="*/ 41224 h 153028"/>
                  <a:gd name="connsiteX459" fmla="*/ 79029 w 150971"/>
                  <a:gd name="connsiteY459" fmla="*/ 39729 h 153028"/>
                  <a:gd name="connsiteX460" fmla="*/ 76819 w 150971"/>
                  <a:gd name="connsiteY460" fmla="*/ 38414 h 153028"/>
                  <a:gd name="connsiteX461" fmla="*/ 5353 w 150971"/>
                  <a:gd name="connsiteY461" fmla="*/ 55826 h 153028"/>
                  <a:gd name="connsiteX462" fmla="*/ 6153 w 150971"/>
                  <a:gd name="connsiteY462" fmla="*/ 57464 h 153028"/>
                  <a:gd name="connsiteX463" fmla="*/ 4839 w 150971"/>
                  <a:gd name="connsiteY463" fmla="*/ 56702 h 153028"/>
                  <a:gd name="connsiteX464" fmla="*/ 5353 w 150971"/>
                  <a:gd name="connsiteY464" fmla="*/ 55826 h 153028"/>
                  <a:gd name="connsiteX465" fmla="*/ 131883 w 150971"/>
                  <a:gd name="connsiteY465" fmla="*/ 26918 h 153028"/>
                  <a:gd name="connsiteX466" fmla="*/ 132645 w 150971"/>
                  <a:gd name="connsiteY466" fmla="*/ 27422 h 153028"/>
                  <a:gd name="connsiteX467" fmla="*/ 132140 w 150971"/>
                  <a:gd name="connsiteY467" fmla="*/ 28032 h 153028"/>
                  <a:gd name="connsiteX468" fmla="*/ 131521 w 150971"/>
                  <a:gd name="connsiteY468" fmla="*/ 27641 h 153028"/>
                  <a:gd name="connsiteX469" fmla="*/ 131883 w 150971"/>
                  <a:gd name="connsiteY469" fmla="*/ 26918 h 153028"/>
                  <a:gd name="connsiteX470" fmla="*/ 96726 w 150971"/>
                  <a:gd name="connsiteY470" fmla="*/ 35071 h 153028"/>
                  <a:gd name="connsiteX471" fmla="*/ 98536 w 150971"/>
                  <a:gd name="connsiteY471" fmla="*/ 39776 h 153028"/>
                  <a:gd name="connsiteX472" fmla="*/ 97136 w 150971"/>
                  <a:gd name="connsiteY472" fmla="*/ 40291 h 153028"/>
                  <a:gd name="connsiteX473" fmla="*/ 94879 w 150971"/>
                  <a:gd name="connsiteY473" fmla="*/ 37090 h 153028"/>
                  <a:gd name="connsiteX474" fmla="*/ 96726 w 150971"/>
                  <a:gd name="connsiteY474" fmla="*/ 35071 h 153028"/>
                  <a:gd name="connsiteX475" fmla="*/ 21003 w 150971"/>
                  <a:gd name="connsiteY475" fmla="*/ 53235 h 153028"/>
                  <a:gd name="connsiteX476" fmla="*/ 22717 w 150971"/>
                  <a:gd name="connsiteY476" fmla="*/ 56712 h 153028"/>
                  <a:gd name="connsiteX477" fmla="*/ 19869 w 150971"/>
                  <a:gd name="connsiteY477" fmla="*/ 54902 h 153028"/>
                  <a:gd name="connsiteX478" fmla="*/ 21003 w 150971"/>
                  <a:gd name="connsiteY478" fmla="*/ 53235 h 153028"/>
                  <a:gd name="connsiteX479" fmla="*/ 66923 w 150971"/>
                  <a:gd name="connsiteY479" fmla="*/ 42901 h 153028"/>
                  <a:gd name="connsiteX480" fmla="*/ 65132 w 150971"/>
                  <a:gd name="connsiteY480" fmla="*/ 44872 h 153028"/>
                  <a:gd name="connsiteX481" fmla="*/ 68494 w 150971"/>
                  <a:gd name="connsiteY481" fmla="*/ 47587 h 153028"/>
                  <a:gd name="connsiteX482" fmla="*/ 66923 w 150971"/>
                  <a:gd name="connsiteY482" fmla="*/ 42901 h 153028"/>
                  <a:gd name="connsiteX483" fmla="*/ 122387 w 150971"/>
                  <a:gd name="connsiteY483" fmla="*/ 30318 h 153028"/>
                  <a:gd name="connsiteX484" fmla="*/ 123273 w 150971"/>
                  <a:gd name="connsiteY484" fmla="*/ 32994 h 153028"/>
                  <a:gd name="connsiteX485" fmla="*/ 121377 w 150971"/>
                  <a:gd name="connsiteY485" fmla="*/ 31690 h 153028"/>
                  <a:gd name="connsiteX486" fmla="*/ 122387 w 150971"/>
                  <a:gd name="connsiteY486" fmla="*/ 30318 h 153028"/>
                  <a:gd name="connsiteX487" fmla="*/ 37024 w 150971"/>
                  <a:gd name="connsiteY487" fmla="*/ 50825 h 153028"/>
                  <a:gd name="connsiteX488" fmla="*/ 40272 w 150971"/>
                  <a:gd name="connsiteY488" fmla="*/ 52883 h 153028"/>
                  <a:gd name="connsiteX489" fmla="*/ 40681 w 150971"/>
                  <a:gd name="connsiteY489" fmla="*/ 54150 h 153028"/>
                  <a:gd name="connsiteX490" fmla="*/ 39053 w 150971"/>
                  <a:gd name="connsiteY490" fmla="*/ 55474 h 153028"/>
                  <a:gd name="connsiteX491" fmla="*/ 37595 w 150971"/>
                  <a:gd name="connsiteY491" fmla="*/ 56074 h 153028"/>
                  <a:gd name="connsiteX492" fmla="*/ 35147 w 150971"/>
                  <a:gd name="connsiteY492" fmla="*/ 53035 h 153028"/>
                  <a:gd name="connsiteX493" fmla="*/ 37024 w 150971"/>
                  <a:gd name="connsiteY493" fmla="*/ 50825 h 153028"/>
                  <a:gd name="connsiteX494" fmla="*/ 112871 w 150971"/>
                  <a:gd name="connsiteY494" fmla="*/ 33957 h 153028"/>
                  <a:gd name="connsiteX495" fmla="*/ 114310 w 150971"/>
                  <a:gd name="connsiteY495" fmla="*/ 37729 h 153028"/>
                  <a:gd name="connsiteX496" fmla="*/ 111471 w 150971"/>
                  <a:gd name="connsiteY496" fmla="*/ 35766 h 153028"/>
                  <a:gd name="connsiteX497" fmla="*/ 112871 w 150971"/>
                  <a:gd name="connsiteY497" fmla="*/ 33957 h 153028"/>
                  <a:gd name="connsiteX498" fmla="*/ 83248 w 150971"/>
                  <a:gd name="connsiteY498" fmla="*/ 41100 h 153028"/>
                  <a:gd name="connsiteX499" fmla="*/ 81210 w 150971"/>
                  <a:gd name="connsiteY499" fmla="*/ 42786 h 153028"/>
                  <a:gd name="connsiteX500" fmla="*/ 83896 w 150971"/>
                  <a:gd name="connsiteY500" fmla="*/ 46187 h 153028"/>
                  <a:gd name="connsiteX501" fmla="*/ 83248 w 150971"/>
                  <a:gd name="connsiteY501" fmla="*/ 41100 h 153028"/>
                  <a:gd name="connsiteX502" fmla="*/ 57436 w 150971"/>
                  <a:gd name="connsiteY502" fmla="*/ 47177 h 153028"/>
                  <a:gd name="connsiteX503" fmla="*/ 55817 w 150971"/>
                  <a:gd name="connsiteY503" fmla="*/ 49368 h 153028"/>
                  <a:gd name="connsiteX504" fmla="*/ 58998 w 150971"/>
                  <a:gd name="connsiteY504" fmla="*/ 51816 h 153028"/>
                  <a:gd name="connsiteX505" fmla="*/ 57436 w 150971"/>
                  <a:gd name="connsiteY505" fmla="*/ 47177 h 153028"/>
                  <a:gd name="connsiteX506" fmla="*/ 12030 w 150971"/>
                  <a:gd name="connsiteY506" fmla="*/ 57807 h 153028"/>
                  <a:gd name="connsiteX507" fmla="*/ 12935 w 150971"/>
                  <a:gd name="connsiteY507" fmla="*/ 60560 h 153028"/>
                  <a:gd name="connsiteX508" fmla="*/ 11039 w 150971"/>
                  <a:gd name="connsiteY508" fmla="*/ 59103 h 153028"/>
                  <a:gd name="connsiteX509" fmla="*/ 12030 w 150971"/>
                  <a:gd name="connsiteY509" fmla="*/ 57807 h 153028"/>
                  <a:gd name="connsiteX510" fmla="*/ 103232 w 150971"/>
                  <a:gd name="connsiteY510" fmla="*/ 37748 h 153028"/>
                  <a:gd name="connsiteX511" fmla="*/ 105290 w 150971"/>
                  <a:gd name="connsiteY511" fmla="*/ 42358 h 153028"/>
                  <a:gd name="connsiteX512" fmla="*/ 101698 w 150971"/>
                  <a:gd name="connsiteY512" fmla="*/ 39957 h 153028"/>
                  <a:gd name="connsiteX513" fmla="*/ 103232 w 150971"/>
                  <a:gd name="connsiteY513" fmla="*/ 37748 h 153028"/>
                  <a:gd name="connsiteX514" fmla="*/ 27851 w 150971"/>
                  <a:gd name="connsiteY514" fmla="*/ 55302 h 153028"/>
                  <a:gd name="connsiteX515" fmla="*/ 29299 w 150971"/>
                  <a:gd name="connsiteY515" fmla="*/ 59750 h 153028"/>
                  <a:gd name="connsiteX516" fmla="*/ 26203 w 150971"/>
                  <a:gd name="connsiteY516" fmla="*/ 57502 h 153028"/>
                  <a:gd name="connsiteX517" fmla="*/ 27851 w 150971"/>
                  <a:gd name="connsiteY517" fmla="*/ 55302 h 153028"/>
                  <a:gd name="connsiteX518" fmla="*/ 48673 w 150971"/>
                  <a:gd name="connsiteY518" fmla="*/ 51140 h 153028"/>
                  <a:gd name="connsiteX519" fmla="*/ 46406 w 150971"/>
                  <a:gd name="connsiteY519" fmla="*/ 52654 h 153028"/>
                  <a:gd name="connsiteX520" fmla="*/ 46654 w 150971"/>
                  <a:gd name="connsiteY520" fmla="*/ 54531 h 153028"/>
                  <a:gd name="connsiteX521" fmla="*/ 49330 w 150971"/>
                  <a:gd name="connsiteY521" fmla="*/ 56264 h 153028"/>
                  <a:gd name="connsiteX522" fmla="*/ 48673 w 150971"/>
                  <a:gd name="connsiteY522" fmla="*/ 51140 h 153028"/>
                  <a:gd name="connsiteX523" fmla="*/ 73523 w 150971"/>
                  <a:gd name="connsiteY523" fmla="*/ 45663 h 153028"/>
                  <a:gd name="connsiteX524" fmla="*/ 72057 w 150971"/>
                  <a:gd name="connsiteY524" fmla="*/ 47673 h 153028"/>
                  <a:gd name="connsiteX525" fmla="*/ 75162 w 150971"/>
                  <a:gd name="connsiteY525" fmla="*/ 49949 h 153028"/>
                  <a:gd name="connsiteX526" fmla="*/ 73523 w 150971"/>
                  <a:gd name="connsiteY526" fmla="*/ 45663 h 153028"/>
                  <a:gd name="connsiteX527" fmla="*/ 129035 w 150971"/>
                  <a:gd name="connsiteY527" fmla="*/ 33147 h 153028"/>
                  <a:gd name="connsiteX528" fmla="*/ 129912 w 150971"/>
                  <a:gd name="connsiteY528" fmla="*/ 35300 h 153028"/>
                  <a:gd name="connsiteX529" fmla="*/ 128378 w 150971"/>
                  <a:gd name="connsiteY529" fmla="*/ 34100 h 153028"/>
                  <a:gd name="connsiteX530" fmla="*/ 129035 w 150971"/>
                  <a:gd name="connsiteY530" fmla="*/ 33147 h 153028"/>
                  <a:gd name="connsiteX531" fmla="*/ 2934 w 150971"/>
                  <a:gd name="connsiteY531" fmla="*/ 62608 h 153028"/>
                  <a:gd name="connsiteX532" fmla="*/ 3991 w 150971"/>
                  <a:gd name="connsiteY532" fmla="*/ 63084 h 153028"/>
                  <a:gd name="connsiteX533" fmla="*/ 3296 w 150971"/>
                  <a:gd name="connsiteY533" fmla="*/ 64198 h 153028"/>
                  <a:gd name="connsiteX534" fmla="*/ 2391 w 150971"/>
                  <a:gd name="connsiteY534" fmla="*/ 63417 h 153028"/>
                  <a:gd name="connsiteX535" fmla="*/ 2934 w 150971"/>
                  <a:gd name="connsiteY535" fmla="*/ 62608 h 153028"/>
                  <a:gd name="connsiteX536" fmla="*/ 18526 w 150971"/>
                  <a:gd name="connsiteY536" fmla="*/ 59960 h 153028"/>
                  <a:gd name="connsiteX537" fmla="*/ 20126 w 150971"/>
                  <a:gd name="connsiteY537" fmla="*/ 63427 h 153028"/>
                  <a:gd name="connsiteX538" fmla="*/ 17336 w 150971"/>
                  <a:gd name="connsiteY538" fmla="*/ 61684 h 153028"/>
                  <a:gd name="connsiteX539" fmla="*/ 18526 w 150971"/>
                  <a:gd name="connsiteY539" fmla="*/ 59960 h 153028"/>
                  <a:gd name="connsiteX540" fmla="*/ 119501 w 150971"/>
                  <a:gd name="connsiteY540" fmla="*/ 36719 h 153028"/>
                  <a:gd name="connsiteX541" fmla="*/ 120930 w 150971"/>
                  <a:gd name="connsiteY541" fmla="*/ 40110 h 153028"/>
                  <a:gd name="connsiteX542" fmla="*/ 118405 w 150971"/>
                  <a:gd name="connsiteY542" fmla="*/ 38376 h 153028"/>
                  <a:gd name="connsiteX543" fmla="*/ 119501 w 150971"/>
                  <a:gd name="connsiteY543" fmla="*/ 36719 h 153028"/>
                  <a:gd name="connsiteX544" fmla="*/ 89983 w 150971"/>
                  <a:gd name="connsiteY544" fmla="*/ 43644 h 153028"/>
                  <a:gd name="connsiteX545" fmla="*/ 87964 w 150971"/>
                  <a:gd name="connsiteY545" fmla="*/ 45396 h 153028"/>
                  <a:gd name="connsiteX546" fmla="*/ 90849 w 150971"/>
                  <a:gd name="connsiteY546" fmla="*/ 48711 h 153028"/>
                  <a:gd name="connsiteX547" fmla="*/ 89983 w 150971"/>
                  <a:gd name="connsiteY547" fmla="*/ 43644 h 153028"/>
                  <a:gd name="connsiteX548" fmla="*/ 64380 w 150971"/>
                  <a:gd name="connsiteY548" fmla="*/ 49940 h 153028"/>
                  <a:gd name="connsiteX549" fmla="*/ 62875 w 150971"/>
                  <a:gd name="connsiteY549" fmla="*/ 51959 h 153028"/>
                  <a:gd name="connsiteX550" fmla="*/ 65646 w 150971"/>
                  <a:gd name="connsiteY550" fmla="*/ 54092 h 153028"/>
                  <a:gd name="connsiteX551" fmla="*/ 64380 w 150971"/>
                  <a:gd name="connsiteY551" fmla="*/ 49940 h 153028"/>
                  <a:gd name="connsiteX552" fmla="*/ 110280 w 150971"/>
                  <a:gd name="connsiteY552" fmla="*/ 40329 h 153028"/>
                  <a:gd name="connsiteX553" fmla="*/ 111747 w 150971"/>
                  <a:gd name="connsiteY553" fmla="*/ 44882 h 153028"/>
                  <a:gd name="connsiteX554" fmla="*/ 108566 w 150971"/>
                  <a:gd name="connsiteY554" fmla="*/ 42434 h 153028"/>
                  <a:gd name="connsiteX555" fmla="*/ 110280 w 150971"/>
                  <a:gd name="connsiteY555" fmla="*/ 40329 h 153028"/>
                  <a:gd name="connsiteX556" fmla="*/ 9611 w 150971"/>
                  <a:gd name="connsiteY556" fmla="*/ 64560 h 153028"/>
                  <a:gd name="connsiteX557" fmla="*/ 10449 w 150971"/>
                  <a:gd name="connsiteY557" fmla="*/ 67218 h 153028"/>
                  <a:gd name="connsiteX558" fmla="*/ 8592 w 150971"/>
                  <a:gd name="connsiteY558" fmla="*/ 65751 h 153028"/>
                  <a:gd name="connsiteX559" fmla="*/ 9611 w 150971"/>
                  <a:gd name="connsiteY559" fmla="*/ 64560 h 153028"/>
                  <a:gd name="connsiteX560" fmla="*/ 54864 w 150971"/>
                  <a:gd name="connsiteY560" fmla="*/ 54112 h 153028"/>
                  <a:gd name="connsiteX561" fmla="*/ 53445 w 150971"/>
                  <a:gd name="connsiteY561" fmla="*/ 56188 h 153028"/>
                  <a:gd name="connsiteX562" fmla="*/ 56626 w 150971"/>
                  <a:gd name="connsiteY562" fmla="*/ 58302 h 153028"/>
                  <a:gd name="connsiteX563" fmla="*/ 54864 w 150971"/>
                  <a:gd name="connsiteY563" fmla="*/ 54112 h 153028"/>
                  <a:gd name="connsiteX564" fmla="*/ 80391 w 150971"/>
                  <a:gd name="connsiteY564" fmla="*/ 48292 h 153028"/>
                  <a:gd name="connsiteX565" fmla="*/ 78924 w 150971"/>
                  <a:gd name="connsiteY565" fmla="*/ 50301 h 153028"/>
                  <a:gd name="connsiteX566" fmla="*/ 82058 w 150971"/>
                  <a:gd name="connsiteY566" fmla="*/ 52349 h 153028"/>
                  <a:gd name="connsiteX567" fmla="*/ 80391 w 150971"/>
                  <a:gd name="connsiteY567" fmla="*/ 48292 h 153028"/>
                  <a:gd name="connsiteX568" fmla="*/ 135960 w 150971"/>
                  <a:gd name="connsiteY568" fmla="*/ 35995 h 153028"/>
                  <a:gd name="connsiteX569" fmla="*/ 136960 w 150971"/>
                  <a:gd name="connsiteY569" fmla="*/ 36376 h 153028"/>
                  <a:gd name="connsiteX570" fmla="*/ 136284 w 150971"/>
                  <a:gd name="connsiteY570" fmla="*/ 37557 h 153028"/>
                  <a:gd name="connsiteX571" fmla="*/ 135465 w 150971"/>
                  <a:gd name="connsiteY571" fmla="*/ 36795 h 153028"/>
                  <a:gd name="connsiteX572" fmla="*/ 135960 w 150971"/>
                  <a:gd name="connsiteY572" fmla="*/ 35995 h 153028"/>
                  <a:gd name="connsiteX573" fmla="*/ 25413 w 150971"/>
                  <a:gd name="connsiteY573" fmla="*/ 62008 h 153028"/>
                  <a:gd name="connsiteX574" fmla="*/ 26679 w 150971"/>
                  <a:gd name="connsiteY574" fmla="*/ 66494 h 153028"/>
                  <a:gd name="connsiteX575" fmla="*/ 23698 w 150971"/>
                  <a:gd name="connsiteY575" fmla="*/ 63913 h 153028"/>
                  <a:gd name="connsiteX576" fmla="*/ 25413 w 150971"/>
                  <a:gd name="connsiteY576" fmla="*/ 62008 h 153028"/>
                  <a:gd name="connsiteX577" fmla="*/ 97060 w 150971"/>
                  <a:gd name="connsiteY577" fmla="*/ 46034 h 153028"/>
                  <a:gd name="connsiteX578" fmla="*/ 94840 w 150971"/>
                  <a:gd name="connsiteY578" fmla="*/ 47415 h 153028"/>
                  <a:gd name="connsiteX579" fmla="*/ 97355 w 150971"/>
                  <a:gd name="connsiteY579" fmla="*/ 51387 h 153028"/>
                  <a:gd name="connsiteX580" fmla="*/ 99917 w 150971"/>
                  <a:gd name="connsiteY580" fmla="*/ 49168 h 153028"/>
                  <a:gd name="connsiteX581" fmla="*/ 99470 w 150971"/>
                  <a:gd name="connsiteY581" fmla="*/ 47901 h 153028"/>
                  <a:gd name="connsiteX582" fmla="*/ 97060 w 150971"/>
                  <a:gd name="connsiteY582" fmla="*/ 46034 h 153028"/>
                  <a:gd name="connsiteX583" fmla="*/ 45825 w 150971"/>
                  <a:gd name="connsiteY583" fmla="*/ 58017 h 153028"/>
                  <a:gd name="connsiteX584" fmla="*/ 43891 w 150971"/>
                  <a:gd name="connsiteY584" fmla="*/ 59979 h 153028"/>
                  <a:gd name="connsiteX585" fmla="*/ 47415 w 150971"/>
                  <a:gd name="connsiteY585" fmla="*/ 62770 h 153028"/>
                  <a:gd name="connsiteX586" fmla="*/ 45825 w 150971"/>
                  <a:gd name="connsiteY586" fmla="*/ 58017 h 153028"/>
                  <a:gd name="connsiteX587" fmla="*/ 126397 w 150971"/>
                  <a:gd name="connsiteY587" fmla="*/ 39453 h 153028"/>
                  <a:gd name="connsiteX588" fmla="*/ 127540 w 150971"/>
                  <a:gd name="connsiteY588" fmla="*/ 42415 h 153028"/>
                  <a:gd name="connsiteX589" fmla="*/ 125387 w 150971"/>
                  <a:gd name="connsiteY589" fmla="*/ 40976 h 153028"/>
                  <a:gd name="connsiteX590" fmla="*/ 126397 w 150971"/>
                  <a:gd name="connsiteY590" fmla="*/ 39453 h 153028"/>
                  <a:gd name="connsiteX591" fmla="*/ 71028 w 150971"/>
                  <a:gd name="connsiteY591" fmla="*/ 52768 h 153028"/>
                  <a:gd name="connsiteX592" fmla="*/ 69866 w 150971"/>
                  <a:gd name="connsiteY592" fmla="*/ 54483 h 153028"/>
                  <a:gd name="connsiteX593" fmla="*/ 72742 w 150971"/>
                  <a:gd name="connsiteY593" fmla="*/ 56245 h 153028"/>
                  <a:gd name="connsiteX594" fmla="*/ 71028 w 150971"/>
                  <a:gd name="connsiteY594" fmla="*/ 52768 h 153028"/>
                  <a:gd name="connsiteX595" fmla="*/ 419 w 150971"/>
                  <a:gd name="connsiteY595" fmla="*/ 69485 h 153028"/>
                  <a:gd name="connsiteX596" fmla="*/ 1210 w 150971"/>
                  <a:gd name="connsiteY596" fmla="*/ 69799 h 153028"/>
                  <a:gd name="connsiteX597" fmla="*/ 1248 w 150971"/>
                  <a:gd name="connsiteY597" fmla="*/ 70132 h 153028"/>
                  <a:gd name="connsiteX598" fmla="*/ 848 w 150971"/>
                  <a:gd name="connsiteY598" fmla="*/ 70714 h 153028"/>
                  <a:gd name="connsiteX599" fmla="*/ 0 w 150971"/>
                  <a:gd name="connsiteY599" fmla="*/ 70152 h 153028"/>
                  <a:gd name="connsiteX600" fmla="*/ 419 w 150971"/>
                  <a:gd name="connsiteY600" fmla="*/ 69485 h 153028"/>
                  <a:gd name="connsiteX601" fmla="*/ 116881 w 150971"/>
                  <a:gd name="connsiteY601" fmla="*/ 43091 h 153028"/>
                  <a:gd name="connsiteX602" fmla="*/ 118472 w 150971"/>
                  <a:gd name="connsiteY602" fmla="*/ 47196 h 153028"/>
                  <a:gd name="connsiteX603" fmla="*/ 115472 w 150971"/>
                  <a:gd name="connsiteY603" fmla="*/ 45044 h 153028"/>
                  <a:gd name="connsiteX604" fmla="*/ 116881 w 150971"/>
                  <a:gd name="connsiteY604" fmla="*/ 43091 h 153028"/>
                  <a:gd name="connsiteX605" fmla="*/ 16021 w 150971"/>
                  <a:gd name="connsiteY605" fmla="*/ 66723 h 153028"/>
                  <a:gd name="connsiteX606" fmla="*/ 17383 w 150971"/>
                  <a:gd name="connsiteY606" fmla="*/ 70161 h 153028"/>
                  <a:gd name="connsiteX607" fmla="*/ 14859 w 150971"/>
                  <a:gd name="connsiteY607" fmla="*/ 68275 h 153028"/>
                  <a:gd name="connsiteX608" fmla="*/ 16021 w 150971"/>
                  <a:gd name="connsiteY608" fmla="*/ 66723 h 153028"/>
                  <a:gd name="connsiteX609" fmla="*/ 87230 w 150971"/>
                  <a:gd name="connsiteY609" fmla="*/ 50806 h 153028"/>
                  <a:gd name="connsiteX610" fmla="*/ 85687 w 150971"/>
                  <a:gd name="connsiteY610" fmla="*/ 52835 h 153028"/>
                  <a:gd name="connsiteX611" fmla="*/ 88544 w 150971"/>
                  <a:gd name="connsiteY611" fmla="*/ 55016 h 153028"/>
                  <a:gd name="connsiteX612" fmla="*/ 87230 w 150971"/>
                  <a:gd name="connsiteY612" fmla="*/ 50806 h 153028"/>
                  <a:gd name="connsiteX613" fmla="*/ 61960 w 150971"/>
                  <a:gd name="connsiteY613" fmla="*/ 56912 h 153028"/>
                  <a:gd name="connsiteX614" fmla="*/ 60570 w 150971"/>
                  <a:gd name="connsiteY614" fmla="*/ 58636 h 153028"/>
                  <a:gd name="connsiteX615" fmla="*/ 63170 w 150971"/>
                  <a:gd name="connsiteY615" fmla="*/ 60541 h 153028"/>
                  <a:gd name="connsiteX616" fmla="*/ 61960 w 150971"/>
                  <a:gd name="connsiteY616" fmla="*/ 56912 h 153028"/>
                  <a:gd name="connsiteX617" fmla="*/ 32223 w 150971"/>
                  <a:gd name="connsiteY617" fmla="*/ 64198 h 153028"/>
                  <a:gd name="connsiteX618" fmla="*/ 35185 w 150971"/>
                  <a:gd name="connsiteY618" fmla="*/ 66361 h 153028"/>
                  <a:gd name="connsiteX619" fmla="*/ 35690 w 150971"/>
                  <a:gd name="connsiteY619" fmla="*/ 67723 h 153028"/>
                  <a:gd name="connsiteX620" fmla="*/ 32347 w 150971"/>
                  <a:gd name="connsiteY620" fmla="*/ 69523 h 153028"/>
                  <a:gd name="connsiteX621" fmla="*/ 30175 w 150971"/>
                  <a:gd name="connsiteY621" fmla="*/ 66037 h 153028"/>
                  <a:gd name="connsiteX622" fmla="*/ 32223 w 150971"/>
                  <a:gd name="connsiteY622" fmla="*/ 64198 h 153028"/>
                  <a:gd name="connsiteX623" fmla="*/ 107823 w 150971"/>
                  <a:gd name="connsiteY623" fmla="*/ 46777 h 153028"/>
                  <a:gd name="connsiteX624" fmla="*/ 111081 w 150971"/>
                  <a:gd name="connsiteY624" fmla="*/ 49863 h 153028"/>
                  <a:gd name="connsiteX625" fmla="*/ 108956 w 150971"/>
                  <a:gd name="connsiteY625" fmla="*/ 51835 h 153028"/>
                  <a:gd name="connsiteX626" fmla="*/ 107309 w 150971"/>
                  <a:gd name="connsiteY626" fmla="*/ 52254 h 153028"/>
                  <a:gd name="connsiteX627" fmla="*/ 105861 w 150971"/>
                  <a:gd name="connsiteY627" fmla="*/ 47958 h 153028"/>
                  <a:gd name="connsiteX628" fmla="*/ 107823 w 150971"/>
                  <a:gd name="connsiteY628" fmla="*/ 46777 h 153028"/>
                  <a:gd name="connsiteX629" fmla="*/ 133236 w 150971"/>
                  <a:gd name="connsiteY629" fmla="*/ 42281 h 153028"/>
                  <a:gd name="connsiteX630" fmla="*/ 134303 w 150971"/>
                  <a:gd name="connsiteY630" fmla="*/ 44615 h 153028"/>
                  <a:gd name="connsiteX631" fmla="*/ 132483 w 150971"/>
                  <a:gd name="connsiteY631" fmla="*/ 43139 h 153028"/>
                  <a:gd name="connsiteX632" fmla="*/ 133236 w 150971"/>
                  <a:gd name="connsiteY632" fmla="*/ 42281 h 153028"/>
                  <a:gd name="connsiteX633" fmla="*/ 6877 w 150971"/>
                  <a:gd name="connsiteY633" fmla="*/ 71485 h 153028"/>
                  <a:gd name="connsiteX634" fmla="*/ 7868 w 150971"/>
                  <a:gd name="connsiteY634" fmla="*/ 73800 h 153028"/>
                  <a:gd name="connsiteX635" fmla="*/ 6163 w 150971"/>
                  <a:gd name="connsiteY635" fmla="*/ 72485 h 153028"/>
                  <a:gd name="connsiteX636" fmla="*/ 6877 w 150971"/>
                  <a:gd name="connsiteY636" fmla="*/ 71485 h 153028"/>
                  <a:gd name="connsiteX637" fmla="*/ 52283 w 150971"/>
                  <a:gd name="connsiteY637" fmla="*/ 61008 h 153028"/>
                  <a:gd name="connsiteX638" fmla="*/ 51016 w 150971"/>
                  <a:gd name="connsiteY638" fmla="*/ 63084 h 153028"/>
                  <a:gd name="connsiteX639" fmla="*/ 54235 w 150971"/>
                  <a:gd name="connsiteY639" fmla="*/ 64846 h 153028"/>
                  <a:gd name="connsiteX640" fmla="*/ 52283 w 150971"/>
                  <a:gd name="connsiteY640" fmla="*/ 61008 h 153028"/>
                  <a:gd name="connsiteX641" fmla="*/ 78010 w 150971"/>
                  <a:gd name="connsiteY641" fmla="*/ 55407 h 153028"/>
                  <a:gd name="connsiteX642" fmla="*/ 76810 w 150971"/>
                  <a:gd name="connsiteY642" fmla="*/ 56940 h 153028"/>
                  <a:gd name="connsiteX643" fmla="*/ 79067 w 150971"/>
                  <a:gd name="connsiteY643" fmla="*/ 58807 h 153028"/>
                  <a:gd name="connsiteX644" fmla="*/ 78010 w 150971"/>
                  <a:gd name="connsiteY644" fmla="*/ 55407 h 153028"/>
                  <a:gd name="connsiteX645" fmla="*/ 22574 w 150971"/>
                  <a:gd name="connsiteY645" fmla="*/ 68923 h 153028"/>
                  <a:gd name="connsiteX646" fmla="*/ 24527 w 150971"/>
                  <a:gd name="connsiteY646" fmla="*/ 72952 h 153028"/>
                  <a:gd name="connsiteX647" fmla="*/ 21203 w 150971"/>
                  <a:gd name="connsiteY647" fmla="*/ 71028 h 153028"/>
                  <a:gd name="connsiteX648" fmla="*/ 22574 w 150971"/>
                  <a:gd name="connsiteY648" fmla="*/ 68923 h 153028"/>
                  <a:gd name="connsiteX649" fmla="*/ 123663 w 150971"/>
                  <a:gd name="connsiteY649" fmla="*/ 45853 h 153028"/>
                  <a:gd name="connsiteX650" fmla="*/ 125321 w 150971"/>
                  <a:gd name="connsiteY650" fmla="*/ 49416 h 153028"/>
                  <a:gd name="connsiteX651" fmla="*/ 122472 w 150971"/>
                  <a:gd name="connsiteY651" fmla="*/ 47606 h 153028"/>
                  <a:gd name="connsiteX652" fmla="*/ 123663 w 150971"/>
                  <a:gd name="connsiteY652" fmla="*/ 45853 h 153028"/>
                  <a:gd name="connsiteX653" fmla="*/ 43072 w 150971"/>
                  <a:gd name="connsiteY653" fmla="*/ 64837 h 153028"/>
                  <a:gd name="connsiteX654" fmla="*/ 41320 w 150971"/>
                  <a:gd name="connsiteY654" fmla="*/ 66951 h 153028"/>
                  <a:gd name="connsiteX655" fmla="*/ 44730 w 150971"/>
                  <a:gd name="connsiteY655" fmla="*/ 69580 h 153028"/>
                  <a:gd name="connsiteX656" fmla="*/ 43072 w 150971"/>
                  <a:gd name="connsiteY656" fmla="*/ 64837 h 153028"/>
                  <a:gd name="connsiteX657" fmla="*/ 93812 w 150971"/>
                  <a:gd name="connsiteY657" fmla="*/ 53311 h 153028"/>
                  <a:gd name="connsiteX658" fmla="*/ 92355 w 150971"/>
                  <a:gd name="connsiteY658" fmla="*/ 55397 h 153028"/>
                  <a:gd name="connsiteX659" fmla="*/ 95488 w 150971"/>
                  <a:gd name="connsiteY659" fmla="*/ 57636 h 153028"/>
                  <a:gd name="connsiteX660" fmla="*/ 93812 w 150971"/>
                  <a:gd name="connsiteY660" fmla="*/ 53311 h 153028"/>
                  <a:gd name="connsiteX661" fmla="*/ 68666 w 150971"/>
                  <a:gd name="connsiteY661" fmla="*/ 59845 h 153028"/>
                  <a:gd name="connsiteX662" fmla="*/ 67666 w 150971"/>
                  <a:gd name="connsiteY662" fmla="*/ 61255 h 153028"/>
                  <a:gd name="connsiteX663" fmla="*/ 69733 w 150971"/>
                  <a:gd name="connsiteY663" fmla="*/ 62789 h 153028"/>
                  <a:gd name="connsiteX664" fmla="*/ 68666 w 150971"/>
                  <a:gd name="connsiteY664" fmla="*/ 59845 h 153028"/>
                  <a:gd name="connsiteX665" fmla="*/ 114290 w 150971"/>
                  <a:gd name="connsiteY665" fmla="*/ 49492 h 153028"/>
                  <a:gd name="connsiteX666" fmla="*/ 115919 w 150971"/>
                  <a:gd name="connsiteY666" fmla="*/ 54235 h 153028"/>
                  <a:gd name="connsiteX667" fmla="*/ 112624 w 150971"/>
                  <a:gd name="connsiteY667" fmla="*/ 51625 h 153028"/>
                  <a:gd name="connsiteX668" fmla="*/ 114290 w 150971"/>
                  <a:gd name="connsiteY668" fmla="*/ 49492 h 153028"/>
                  <a:gd name="connsiteX669" fmla="*/ 13611 w 150971"/>
                  <a:gd name="connsiteY669" fmla="*/ 73533 h 153028"/>
                  <a:gd name="connsiteX670" fmla="*/ 14735 w 150971"/>
                  <a:gd name="connsiteY670" fmla="*/ 76762 h 153028"/>
                  <a:gd name="connsiteX671" fmla="*/ 12440 w 150971"/>
                  <a:gd name="connsiteY671" fmla="*/ 75200 h 153028"/>
                  <a:gd name="connsiteX672" fmla="*/ 13611 w 150971"/>
                  <a:gd name="connsiteY672" fmla="*/ 73533 h 153028"/>
                  <a:gd name="connsiteX673" fmla="*/ 84677 w 150971"/>
                  <a:gd name="connsiteY673" fmla="*/ 58007 h 153028"/>
                  <a:gd name="connsiteX674" fmla="*/ 83563 w 150971"/>
                  <a:gd name="connsiteY674" fmla="*/ 59588 h 153028"/>
                  <a:gd name="connsiteX675" fmla="*/ 86078 w 150971"/>
                  <a:gd name="connsiteY675" fmla="*/ 61284 h 153028"/>
                  <a:gd name="connsiteX676" fmla="*/ 84677 w 150971"/>
                  <a:gd name="connsiteY676" fmla="*/ 58007 h 153028"/>
                  <a:gd name="connsiteX677" fmla="*/ 140027 w 150971"/>
                  <a:gd name="connsiteY677" fmla="*/ 45225 h 153028"/>
                  <a:gd name="connsiteX678" fmla="*/ 140561 w 150971"/>
                  <a:gd name="connsiteY678" fmla="*/ 46882 h 153028"/>
                  <a:gd name="connsiteX679" fmla="*/ 140027 w 150971"/>
                  <a:gd name="connsiteY679" fmla="*/ 45225 h 153028"/>
                  <a:gd name="connsiteX680" fmla="*/ 59360 w 150971"/>
                  <a:gd name="connsiteY680" fmla="*/ 63884 h 153028"/>
                  <a:gd name="connsiteX681" fmla="*/ 58179 w 150971"/>
                  <a:gd name="connsiteY681" fmla="*/ 65522 h 153028"/>
                  <a:gd name="connsiteX682" fmla="*/ 60627 w 150971"/>
                  <a:gd name="connsiteY682" fmla="*/ 67085 h 153028"/>
                  <a:gd name="connsiteX683" fmla="*/ 59360 w 150971"/>
                  <a:gd name="connsiteY683" fmla="*/ 63884 h 153028"/>
                  <a:gd name="connsiteX684" fmla="*/ 29394 w 150971"/>
                  <a:gd name="connsiteY684" fmla="*/ 71028 h 153028"/>
                  <a:gd name="connsiteX685" fmla="*/ 32480 w 150971"/>
                  <a:gd name="connsiteY685" fmla="*/ 72704 h 153028"/>
                  <a:gd name="connsiteX686" fmla="*/ 31423 w 150971"/>
                  <a:gd name="connsiteY686" fmla="*/ 75686 h 153028"/>
                  <a:gd name="connsiteX687" fmla="*/ 30156 w 150971"/>
                  <a:gd name="connsiteY687" fmla="*/ 76124 h 153028"/>
                  <a:gd name="connsiteX688" fmla="*/ 27584 w 150971"/>
                  <a:gd name="connsiteY688" fmla="*/ 73228 h 153028"/>
                  <a:gd name="connsiteX689" fmla="*/ 29394 w 150971"/>
                  <a:gd name="connsiteY689" fmla="*/ 71028 h 153028"/>
                  <a:gd name="connsiteX690" fmla="*/ 130712 w 150971"/>
                  <a:gd name="connsiteY690" fmla="*/ 48625 h 153028"/>
                  <a:gd name="connsiteX691" fmla="*/ 131845 w 150971"/>
                  <a:gd name="connsiteY691" fmla="*/ 51702 h 153028"/>
                  <a:gd name="connsiteX692" fmla="*/ 129502 w 150971"/>
                  <a:gd name="connsiteY692" fmla="*/ 50111 h 153028"/>
                  <a:gd name="connsiteX693" fmla="*/ 130712 w 150971"/>
                  <a:gd name="connsiteY693" fmla="*/ 48625 h 153028"/>
                  <a:gd name="connsiteX694" fmla="*/ 100613 w 150971"/>
                  <a:gd name="connsiteY694" fmla="*/ 55654 h 153028"/>
                  <a:gd name="connsiteX695" fmla="*/ 98898 w 150971"/>
                  <a:gd name="connsiteY695" fmla="*/ 57950 h 153028"/>
                  <a:gd name="connsiteX696" fmla="*/ 102270 w 150971"/>
                  <a:gd name="connsiteY696" fmla="*/ 60398 h 153028"/>
                  <a:gd name="connsiteX697" fmla="*/ 100613 w 150971"/>
                  <a:gd name="connsiteY697" fmla="*/ 55654 h 153028"/>
                  <a:gd name="connsiteX698" fmla="*/ 49921 w 150971"/>
                  <a:gd name="connsiteY698" fmla="*/ 67732 h 153028"/>
                  <a:gd name="connsiteX699" fmla="*/ 48463 w 150971"/>
                  <a:gd name="connsiteY699" fmla="*/ 69809 h 153028"/>
                  <a:gd name="connsiteX700" fmla="*/ 51264 w 150971"/>
                  <a:gd name="connsiteY700" fmla="*/ 71742 h 153028"/>
                  <a:gd name="connsiteX701" fmla="*/ 49921 w 150971"/>
                  <a:gd name="connsiteY701" fmla="*/ 67732 h 153028"/>
                  <a:gd name="connsiteX702" fmla="*/ 4591 w 150971"/>
                  <a:gd name="connsiteY702" fmla="*/ 78353 h 153028"/>
                  <a:gd name="connsiteX703" fmla="*/ 5305 w 150971"/>
                  <a:gd name="connsiteY703" fmla="*/ 80315 h 153028"/>
                  <a:gd name="connsiteX704" fmla="*/ 4591 w 150971"/>
                  <a:gd name="connsiteY704" fmla="*/ 78353 h 153028"/>
                  <a:gd name="connsiteX705" fmla="*/ 75533 w 150971"/>
                  <a:gd name="connsiteY705" fmla="*/ 62617 h 153028"/>
                  <a:gd name="connsiteX706" fmla="*/ 74733 w 150971"/>
                  <a:gd name="connsiteY706" fmla="*/ 63598 h 153028"/>
                  <a:gd name="connsiteX707" fmla="*/ 76581 w 150971"/>
                  <a:gd name="connsiteY707" fmla="*/ 65027 h 153028"/>
                  <a:gd name="connsiteX708" fmla="*/ 75533 w 150971"/>
                  <a:gd name="connsiteY708" fmla="*/ 62617 h 153028"/>
                  <a:gd name="connsiteX709" fmla="*/ 120977 w 150971"/>
                  <a:gd name="connsiteY709" fmla="*/ 52321 h 153028"/>
                  <a:gd name="connsiteX710" fmla="*/ 122730 w 150971"/>
                  <a:gd name="connsiteY710" fmla="*/ 56474 h 153028"/>
                  <a:gd name="connsiteX711" fmla="*/ 119596 w 150971"/>
                  <a:gd name="connsiteY711" fmla="*/ 54235 h 153028"/>
                  <a:gd name="connsiteX712" fmla="*/ 120977 w 150971"/>
                  <a:gd name="connsiteY712" fmla="*/ 52321 h 153028"/>
                  <a:gd name="connsiteX713" fmla="*/ 20126 w 150971"/>
                  <a:gd name="connsiteY713" fmla="*/ 75752 h 153028"/>
                  <a:gd name="connsiteX714" fmla="*/ 21679 w 150971"/>
                  <a:gd name="connsiteY714" fmla="*/ 79677 h 153028"/>
                  <a:gd name="connsiteX715" fmla="*/ 18783 w 150971"/>
                  <a:gd name="connsiteY715" fmla="*/ 77648 h 153028"/>
                  <a:gd name="connsiteX716" fmla="*/ 20126 w 150971"/>
                  <a:gd name="connsiteY716" fmla="*/ 75752 h 153028"/>
                  <a:gd name="connsiteX717" fmla="*/ 40729 w 150971"/>
                  <a:gd name="connsiteY717" fmla="*/ 71485 h 153028"/>
                  <a:gd name="connsiteX718" fmla="*/ 38653 w 150971"/>
                  <a:gd name="connsiteY718" fmla="*/ 73523 h 153028"/>
                  <a:gd name="connsiteX719" fmla="*/ 39081 w 150971"/>
                  <a:gd name="connsiteY719" fmla="*/ 74867 h 153028"/>
                  <a:gd name="connsiteX720" fmla="*/ 42139 w 150971"/>
                  <a:gd name="connsiteY720" fmla="*/ 76438 h 153028"/>
                  <a:gd name="connsiteX721" fmla="*/ 40729 w 150971"/>
                  <a:gd name="connsiteY721" fmla="*/ 71485 h 153028"/>
                  <a:gd name="connsiteX722" fmla="*/ 91383 w 150971"/>
                  <a:gd name="connsiteY722" fmla="*/ 60398 h 153028"/>
                  <a:gd name="connsiteX723" fmla="*/ 90173 w 150971"/>
                  <a:gd name="connsiteY723" fmla="*/ 62046 h 153028"/>
                  <a:gd name="connsiteX724" fmla="*/ 92802 w 150971"/>
                  <a:gd name="connsiteY724" fmla="*/ 64056 h 153028"/>
                  <a:gd name="connsiteX725" fmla="*/ 91383 w 150971"/>
                  <a:gd name="connsiteY725" fmla="*/ 60398 h 153028"/>
                  <a:gd name="connsiteX726" fmla="*/ 66170 w 150971"/>
                  <a:gd name="connsiteY726" fmla="*/ 66903 h 153028"/>
                  <a:gd name="connsiteX727" fmla="*/ 65427 w 150971"/>
                  <a:gd name="connsiteY727" fmla="*/ 67951 h 153028"/>
                  <a:gd name="connsiteX728" fmla="*/ 67199 w 150971"/>
                  <a:gd name="connsiteY728" fmla="*/ 69209 h 153028"/>
                  <a:gd name="connsiteX729" fmla="*/ 66170 w 150971"/>
                  <a:gd name="connsiteY729" fmla="*/ 66903 h 153028"/>
                  <a:gd name="connsiteX730" fmla="*/ 108366 w 150971"/>
                  <a:gd name="connsiteY730" fmla="*/ 57693 h 153028"/>
                  <a:gd name="connsiteX731" fmla="*/ 105404 w 150971"/>
                  <a:gd name="connsiteY731" fmla="*/ 60655 h 153028"/>
                  <a:gd name="connsiteX732" fmla="*/ 105832 w 150971"/>
                  <a:gd name="connsiteY732" fmla="*/ 61846 h 153028"/>
                  <a:gd name="connsiteX733" fmla="*/ 109395 w 150971"/>
                  <a:gd name="connsiteY733" fmla="*/ 62808 h 153028"/>
                  <a:gd name="connsiteX734" fmla="*/ 111081 w 150971"/>
                  <a:gd name="connsiteY734" fmla="*/ 61541 h 153028"/>
                  <a:gd name="connsiteX735" fmla="*/ 109071 w 150971"/>
                  <a:gd name="connsiteY735" fmla="*/ 57607 h 153028"/>
                  <a:gd name="connsiteX736" fmla="*/ 108366 w 150971"/>
                  <a:gd name="connsiteY736" fmla="*/ 57693 h 153028"/>
                  <a:gd name="connsiteX737" fmla="*/ 11116 w 150971"/>
                  <a:gd name="connsiteY737" fmla="*/ 80448 h 153028"/>
                  <a:gd name="connsiteX738" fmla="*/ 12268 w 150971"/>
                  <a:gd name="connsiteY738" fmla="*/ 83296 h 153028"/>
                  <a:gd name="connsiteX739" fmla="*/ 10087 w 150971"/>
                  <a:gd name="connsiteY739" fmla="*/ 81905 h 153028"/>
                  <a:gd name="connsiteX740" fmla="*/ 11116 w 150971"/>
                  <a:gd name="connsiteY740" fmla="*/ 80448 h 153028"/>
                  <a:gd name="connsiteX741" fmla="*/ 137427 w 150971"/>
                  <a:gd name="connsiteY741" fmla="*/ 51559 h 153028"/>
                  <a:gd name="connsiteX742" fmla="*/ 138427 w 150971"/>
                  <a:gd name="connsiteY742" fmla="*/ 53911 h 153028"/>
                  <a:gd name="connsiteX743" fmla="*/ 136646 w 150971"/>
                  <a:gd name="connsiteY743" fmla="*/ 52464 h 153028"/>
                  <a:gd name="connsiteX744" fmla="*/ 137427 w 150971"/>
                  <a:gd name="connsiteY744" fmla="*/ 51559 h 153028"/>
                  <a:gd name="connsiteX745" fmla="*/ 56864 w 150971"/>
                  <a:gd name="connsiteY745" fmla="*/ 70685 h 153028"/>
                  <a:gd name="connsiteX746" fmla="*/ 55645 w 150971"/>
                  <a:gd name="connsiteY746" fmla="*/ 72295 h 153028"/>
                  <a:gd name="connsiteX747" fmla="*/ 58017 w 150971"/>
                  <a:gd name="connsiteY747" fmla="*/ 73866 h 153028"/>
                  <a:gd name="connsiteX748" fmla="*/ 56864 w 150971"/>
                  <a:gd name="connsiteY748" fmla="*/ 70685 h 153028"/>
                  <a:gd name="connsiteX749" fmla="*/ 26670 w 150971"/>
                  <a:gd name="connsiteY749" fmla="*/ 77962 h 153028"/>
                  <a:gd name="connsiteX750" fmla="*/ 28594 w 150971"/>
                  <a:gd name="connsiteY750" fmla="*/ 82525 h 153028"/>
                  <a:gd name="connsiteX751" fmla="*/ 25165 w 150971"/>
                  <a:gd name="connsiteY751" fmla="*/ 80162 h 153028"/>
                  <a:gd name="connsiteX752" fmla="*/ 26670 w 150971"/>
                  <a:gd name="connsiteY752" fmla="*/ 77962 h 153028"/>
                  <a:gd name="connsiteX753" fmla="*/ 82248 w 150971"/>
                  <a:gd name="connsiteY753" fmla="*/ 65208 h 153028"/>
                  <a:gd name="connsiteX754" fmla="*/ 81496 w 150971"/>
                  <a:gd name="connsiteY754" fmla="*/ 66218 h 153028"/>
                  <a:gd name="connsiteX755" fmla="*/ 83372 w 150971"/>
                  <a:gd name="connsiteY755" fmla="*/ 67608 h 153028"/>
                  <a:gd name="connsiteX756" fmla="*/ 82248 w 150971"/>
                  <a:gd name="connsiteY756" fmla="*/ 65208 h 153028"/>
                  <a:gd name="connsiteX757" fmla="*/ 127854 w 150971"/>
                  <a:gd name="connsiteY757" fmla="*/ 55131 h 153028"/>
                  <a:gd name="connsiteX758" fmla="*/ 129330 w 150971"/>
                  <a:gd name="connsiteY758" fmla="*/ 58731 h 153028"/>
                  <a:gd name="connsiteX759" fmla="*/ 126635 w 150971"/>
                  <a:gd name="connsiteY759" fmla="*/ 56921 h 153028"/>
                  <a:gd name="connsiteX760" fmla="*/ 127854 w 150971"/>
                  <a:gd name="connsiteY760" fmla="*/ 55131 h 153028"/>
                  <a:gd name="connsiteX761" fmla="*/ 47254 w 150971"/>
                  <a:gd name="connsiteY761" fmla="*/ 74419 h 153028"/>
                  <a:gd name="connsiteX762" fmla="*/ 45825 w 150971"/>
                  <a:gd name="connsiteY762" fmla="*/ 76305 h 153028"/>
                  <a:gd name="connsiteX763" fmla="*/ 48921 w 150971"/>
                  <a:gd name="connsiteY763" fmla="*/ 78553 h 153028"/>
                  <a:gd name="connsiteX764" fmla="*/ 47254 w 150971"/>
                  <a:gd name="connsiteY764" fmla="*/ 74419 h 153028"/>
                  <a:gd name="connsiteX765" fmla="*/ 98031 w 150971"/>
                  <a:gd name="connsiteY765" fmla="*/ 62741 h 153028"/>
                  <a:gd name="connsiteX766" fmla="*/ 96679 w 150971"/>
                  <a:gd name="connsiteY766" fmla="*/ 64760 h 153028"/>
                  <a:gd name="connsiteX767" fmla="*/ 99974 w 150971"/>
                  <a:gd name="connsiteY767" fmla="*/ 66694 h 153028"/>
                  <a:gd name="connsiteX768" fmla="*/ 98031 w 150971"/>
                  <a:gd name="connsiteY768" fmla="*/ 62741 h 153028"/>
                  <a:gd name="connsiteX769" fmla="*/ 2000 w 150971"/>
                  <a:gd name="connsiteY769" fmla="*/ 85363 h 153028"/>
                  <a:gd name="connsiteX770" fmla="*/ 3058 w 150971"/>
                  <a:gd name="connsiteY770" fmla="*/ 85992 h 153028"/>
                  <a:gd name="connsiteX771" fmla="*/ 2343 w 150971"/>
                  <a:gd name="connsiteY771" fmla="*/ 86839 h 153028"/>
                  <a:gd name="connsiteX772" fmla="*/ 1543 w 150971"/>
                  <a:gd name="connsiteY772" fmla="*/ 86154 h 153028"/>
                  <a:gd name="connsiteX773" fmla="*/ 2000 w 150971"/>
                  <a:gd name="connsiteY773" fmla="*/ 85363 h 153028"/>
                  <a:gd name="connsiteX774" fmla="*/ 118586 w 150971"/>
                  <a:gd name="connsiteY774" fmla="*/ 58712 h 153028"/>
                  <a:gd name="connsiteX775" fmla="*/ 120139 w 150971"/>
                  <a:gd name="connsiteY775" fmla="*/ 63475 h 153028"/>
                  <a:gd name="connsiteX776" fmla="*/ 116786 w 150971"/>
                  <a:gd name="connsiteY776" fmla="*/ 60646 h 153028"/>
                  <a:gd name="connsiteX777" fmla="*/ 118586 w 150971"/>
                  <a:gd name="connsiteY777" fmla="*/ 58712 h 153028"/>
                  <a:gd name="connsiteX778" fmla="*/ 17612 w 150971"/>
                  <a:gd name="connsiteY778" fmla="*/ 82629 h 153028"/>
                  <a:gd name="connsiteX779" fmla="*/ 18945 w 150971"/>
                  <a:gd name="connsiteY779" fmla="*/ 86268 h 153028"/>
                  <a:gd name="connsiteX780" fmla="*/ 16411 w 150971"/>
                  <a:gd name="connsiteY780" fmla="*/ 84344 h 153028"/>
                  <a:gd name="connsiteX781" fmla="*/ 17612 w 150971"/>
                  <a:gd name="connsiteY781" fmla="*/ 82629 h 153028"/>
                  <a:gd name="connsiteX782" fmla="*/ 73190 w 150971"/>
                  <a:gd name="connsiteY782" fmla="*/ 69875 h 153028"/>
                  <a:gd name="connsiteX783" fmla="*/ 72742 w 150971"/>
                  <a:gd name="connsiteY783" fmla="*/ 70923 h 153028"/>
                  <a:gd name="connsiteX784" fmla="*/ 73419 w 150971"/>
                  <a:gd name="connsiteY784" fmla="*/ 71380 h 153028"/>
                  <a:gd name="connsiteX785" fmla="*/ 73771 w 150971"/>
                  <a:gd name="connsiteY785" fmla="*/ 71256 h 153028"/>
                  <a:gd name="connsiteX786" fmla="*/ 74171 w 150971"/>
                  <a:gd name="connsiteY786" fmla="*/ 70371 h 153028"/>
                  <a:gd name="connsiteX787" fmla="*/ 73190 w 150971"/>
                  <a:gd name="connsiteY787" fmla="*/ 69875 h 153028"/>
                  <a:gd name="connsiteX788" fmla="*/ 38500 w 150971"/>
                  <a:gd name="connsiteY788" fmla="*/ 78076 h 153028"/>
                  <a:gd name="connsiteX789" fmla="*/ 35643 w 150971"/>
                  <a:gd name="connsiteY789" fmla="*/ 79496 h 153028"/>
                  <a:gd name="connsiteX790" fmla="*/ 36547 w 150971"/>
                  <a:gd name="connsiteY790" fmla="*/ 81601 h 153028"/>
                  <a:gd name="connsiteX791" fmla="*/ 37129 w 150971"/>
                  <a:gd name="connsiteY791" fmla="*/ 82944 h 153028"/>
                  <a:gd name="connsiteX792" fmla="*/ 40500 w 150971"/>
                  <a:gd name="connsiteY792" fmla="*/ 82772 h 153028"/>
                  <a:gd name="connsiteX793" fmla="*/ 38500 w 150971"/>
                  <a:gd name="connsiteY793" fmla="*/ 78076 h 153028"/>
                  <a:gd name="connsiteX794" fmla="*/ 144389 w 150971"/>
                  <a:gd name="connsiteY794" fmla="*/ 54464 h 153028"/>
                  <a:gd name="connsiteX795" fmla="*/ 145370 w 150971"/>
                  <a:gd name="connsiteY795" fmla="*/ 54921 h 153028"/>
                  <a:gd name="connsiteX796" fmla="*/ 143808 w 150971"/>
                  <a:gd name="connsiteY796" fmla="*/ 55397 h 153028"/>
                  <a:gd name="connsiteX797" fmla="*/ 144389 w 150971"/>
                  <a:gd name="connsiteY797" fmla="*/ 54464 h 153028"/>
                  <a:gd name="connsiteX798" fmla="*/ 88925 w 150971"/>
                  <a:gd name="connsiteY798" fmla="*/ 67532 h 153028"/>
                  <a:gd name="connsiteX799" fmla="*/ 87982 w 150971"/>
                  <a:gd name="connsiteY799" fmla="*/ 69037 h 153028"/>
                  <a:gd name="connsiteX800" fmla="*/ 90240 w 150971"/>
                  <a:gd name="connsiteY800" fmla="*/ 70418 h 153028"/>
                  <a:gd name="connsiteX801" fmla="*/ 88925 w 150971"/>
                  <a:gd name="connsiteY801" fmla="*/ 67532 h 153028"/>
                  <a:gd name="connsiteX802" fmla="*/ 63713 w 150971"/>
                  <a:gd name="connsiteY802" fmla="*/ 73695 h 153028"/>
                  <a:gd name="connsiteX803" fmla="*/ 62903 w 150971"/>
                  <a:gd name="connsiteY803" fmla="*/ 74790 h 153028"/>
                  <a:gd name="connsiteX804" fmla="*/ 64513 w 150971"/>
                  <a:gd name="connsiteY804" fmla="*/ 76009 h 153028"/>
                  <a:gd name="connsiteX805" fmla="*/ 63713 w 150971"/>
                  <a:gd name="connsiteY805" fmla="*/ 73695 h 153028"/>
                  <a:gd name="connsiteX806" fmla="*/ 134703 w 150971"/>
                  <a:gd name="connsiteY806" fmla="*/ 57998 h 153028"/>
                  <a:gd name="connsiteX807" fmla="*/ 135989 w 150971"/>
                  <a:gd name="connsiteY807" fmla="*/ 60922 h 153028"/>
                  <a:gd name="connsiteX808" fmla="*/ 133741 w 150971"/>
                  <a:gd name="connsiteY808" fmla="*/ 59388 h 153028"/>
                  <a:gd name="connsiteX809" fmla="*/ 134703 w 150971"/>
                  <a:gd name="connsiteY809" fmla="*/ 57998 h 153028"/>
                  <a:gd name="connsiteX810" fmla="*/ 104956 w 150971"/>
                  <a:gd name="connsiteY810" fmla="*/ 64932 h 153028"/>
                  <a:gd name="connsiteX811" fmla="*/ 103165 w 150971"/>
                  <a:gd name="connsiteY811" fmla="*/ 67018 h 153028"/>
                  <a:gd name="connsiteX812" fmla="*/ 106375 w 150971"/>
                  <a:gd name="connsiteY812" fmla="*/ 69733 h 153028"/>
                  <a:gd name="connsiteX813" fmla="*/ 104956 w 150971"/>
                  <a:gd name="connsiteY813" fmla="*/ 64932 h 153028"/>
                  <a:gd name="connsiteX814" fmla="*/ 8620 w 150971"/>
                  <a:gd name="connsiteY814" fmla="*/ 87401 h 153028"/>
                  <a:gd name="connsiteX815" fmla="*/ 9515 w 150971"/>
                  <a:gd name="connsiteY815" fmla="*/ 89811 h 153028"/>
                  <a:gd name="connsiteX816" fmla="*/ 7753 w 150971"/>
                  <a:gd name="connsiteY816" fmla="*/ 88582 h 153028"/>
                  <a:gd name="connsiteX817" fmla="*/ 8620 w 150971"/>
                  <a:gd name="connsiteY817" fmla="*/ 87401 h 153028"/>
                  <a:gd name="connsiteX818" fmla="*/ 54055 w 150971"/>
                  <a:gd name="connsiteY818" fmla="*/ 77410 h 153028"/>
                  <a:gd name="connsiteX819" fmla="*/ 52959 w 150971"/>
                  <a:gd name="connsiteY819" fmla="*/ 79067 h 153028"/>
                  <a:gd name="connsiteX820" fmla="*/ 55483 w 150971"/>
                  <a:gd name="connsiteY820" fmla="*/ 80801 h 153028"/>
                  <a:gd name="connsiteX821" fmla="*/ 54055 w 150971"/>
                  <a:gd name="connsiteY821" fmla="*/ 77410 h 153028"/>
                  <a:gd name="connsiteX822" fmla="*/ 24413 w 150971"/>
                  <a:gd name="connsiteY822" fmla="*/ 84782 h 153028"/>
                  <a:gd name="connsiteX823" fmla="*/ 25765 w 150971"/>
                  <a:gd name="connsiteY823" fmla="*/ 89135 h 153028"/>
                  <a:gd name="connsiteX824" fmla="*/ 22813 w 150971"/>
                  <a:gd name="connsiteY824" fmla="*/ 86858 h 153028"/>
                  <a:gd name="connsiteX825" fmla="*/ 24413 w 150971"/>
                  <a:gd name="connsiteY825" fmla="*/ 84782 h 153028"/>
                  <a:gd name="connsiteX826" fmla="*/ 125282 w 150971"/>
                  <a:gd name="connsiteY826" fmla="*/ 61608 h 153028"/>
                  <a:gd name="connsiteX827" fmla="*/ 126807 w 150971"/>
                  <a:gd name="connsiteY827" fmla="*/ 65732 h 153028"/>
                  <a:gd name="connsiteX828" fmla="*/ 123815 w 150971"/>
                  <a:gd name="connsiteY828" fmla="*/ 63617 h 153028"/>
                  <a:gd name="connsiteX829" fmla="*/ 125282 w 150971"/>
                  <a:gd name="connsiteY829" fmla="*/ 61608 h 153028"/>
                  <a:gd name="connsiteX830" fmla="*/ 80067 w 150971"/>
                  <a:gd name="connsiteY830" fmla="*/ 72390 h 153028"/>
                  <a:gd name="connsiteX831" fmla="*/ 79905 w 150971"/>
                  <a:gd name="connsiteY831" fmla="*/ 72504 h 153028"/>
                  <a:gd name="connsiteX832" fmla="*/ 79515 w 150971"/>
                  <a:gd name="connsiteY832" fmla="*/ 73466 h 153028"/>
                  <a:gd name="connsiteX833" fmla="*/ 80534 w 150971"/>
                  <a:gd name="connsiteY833" fmla="*/ 73914 h 153028"/>
                  <a:gd name="connsiteX834" fmla="*/ 81020 w 150971"/>
                  <a:gd name="connsiteY834" fmla="*/ 72895 h 153028"/>
                  <a:gd name="connsiteX835" fmla="*/ 80067 w 150971"/>
                  <a:gd name="connsiteY835" fmla="*/ 72390 h 153028"/>
                  <a:gd name="connsiteX836" fmla="*/ 44682 w 150971"/>
                  <a:gd name="connsiteY836" fmla="*/ 81020 h 153028"/>
                  <a:gd name="connsiteX837" fmla="*/ 43110 w 150971"/>
                  <a:gd name="connsiteY837" fmla="*/ 83239 h 153028"/>
                  <a:gd name="connsiteX838" fmla="*/ 46263 w 150971"/>
                  <a:gd name="connsiteY838" fmla="*/ 85544 h 153028"/>
                  <a:gd name="connsiteX839" fmla="*/ 44682 w 150971"/>
                  <a:gd name="connsiteY839" fmla="*/ 81020 h 153028"/>
                  <a:gd name="connsiteX840" fmla="*/ 95593 w 150971"/>
                  <a:gd name="connsiteY840" fmla="*/ 69752 h 153028"/>
                  <a:gd name="connsiteX841" fmla="*/ 94402 w 150971"/>
                  <a:gd name="connsiteY841" fmla="*/ 71504 h 153028"/>
                  <a:gd name="connsiteX842" fmla="*/ 96850 w 150971"/>
                  <a:gd name="connsiteY842" fmla="*/ 73409 h 153028"/>
                  <a:gd name="connsiteX843" fmla="*/ 95593 w 150971"/>
                  <a:gd name="connsiteY843" fmla="*/ 69752 h 153028"/>
                  <a:gd name="connsiteX844" fmla="*/ 116300 w 150971"/>
                  <a:gd name="connsiteY844" fmla="*/ 65275 h 153028"/>
                  <a:gd name="connsiteX845" fmla="*/ 118596 w 150971"/>
                  <a:gd name="connsiteY845" fmla="*/ 69790 h 153028"/>
                  <a:gd name="connsiteX846" fmla="*/ 115091 w 150971"/>
                  <a:gd name="connsiteY846" fmla="*/ 70066 h 153028"/>
                  <a:gd name="connsiteX847" fmla="*/ 114376 w 150971"/>
                  <a:gd name="connsiteY847" fmla="*/ 68447 h 153028"/>
                  <a:gd name="connsiteX848" fmla="*/ 113805 w 150971"/>
                  <a:gd name="connsiteY848" fmla="*/ 66608 h 153028"/>
                  <a:gd name="connsiteX849" fmla="*/ 114586 w 150971"/>
                  <a:gd name="connsiteY849" fmla="*/ 66046 h 153028"/>
                  <a:gd name="connsiteX850" fmla="*/ 116300 w 150971"/>
                  <a:gd name="connsiteY850" fmla="*/ 65275 h 153028"/>
                  <a:gd name="connsiteX851" fmla="*/ 15230 w 150971"/>
                  <a:gd name="connsiteY851" fmla="*/ 89564 h 153028"/>
                  <a:gd name="connsiteX852" fmla="*/ 16488 w 150971"/>
                  <a:gd name="connsiteY852" fmla="*/ 92726 h 153028"/>
                  <a:gd name="connsiteX853" fmla="*/ 14107 w 150971"/>
                  <a:gd name="connsiteY853" fmla="*/ 91116 h 153028"/>
                  <a:gd name="connsiteX854" fmla="*/ 15230 w 150971"/>
                  <a:gd name="connsiteY854" fmla="*/ 89564 h 153028"/>
                  <a:gd name="connsiteX855" fmla="*/ 70628 w 150971"/>
                  <a:gd name="connsiteY855" fmla="*/ 76848 h 153028"/>
                  <a:gd name="connsiteX856" fmla="*/ 70237 w 150971"/>
                  <a:gd name="connsiteY856" fmla="*/ 77467 h 153028"/>
                  <a:gd name="connsiteX857" fmla="*/ 71085 w 150971"/>
                  <a:gd name="connsiteY857" fmla="*/ 77991 h 153028"/>
                  <a:gd name="connsiteX858" fmla="*/ 71428 w 150971"/>
                  <a:gd name="connsiteY858" fmla="*/ 77190 h 153028"/>
                  <a:gd name="connsiteX859" fmla="*/ 70856 w 150971"/>
                  <a:gd name="connsiteY859" fmla="*/ 76829 h 153028"/>
                  <a:gd name="connsiteX860" fmla="*/ 70628 w 150971"/>
                  <a:gd name="connsiteY860" fmla="*/ 76848 h 153028"/>
                  <a:gd name="connsiteX861" fmla="*/ 141532 w 150971"/>
                  <a:gd name="connsiteY861" fmla="*/ 60970 h 153028"/>
                  <a:gd name="connsiteX862" fmla="*/ 142589 w 150971"/>
                  <a:gd name="connsiteY862" fmla="*/ 63074 h 153028"/>
                  <a:gd name="connsiteX863" fmla="*/ 140903 w 150971"/>
                  <a:gd name="connsiteY863" fmla="*/ 61874 h 153028"/>
                  <a:gd name="connsiteX864" fmla="*/ 141532 w 150971"/>
                  <a:gd name="connsiteY864" fmla="*/ 60970 h 153028"/>
                  <a:gd name="connsiteX865" fmla="*/ 31042 w 150971"/>
                  <a:gd name="connsiteY865" fmla="*/ 87049 h 153028"/>
                  <a:gd name="connsiteX866" fmla="*/ 34042 w 150971"/>
                  <a:gd name="connsiteY866" fmla="*/ 88554 h 153028"/>
                  <a:gd name="connsiteX867" fmla="*/ 32690 w 150971"/>
                  <a:gd name="connsiteY867" fmla="*/ 91907 h 153028"/>
                  <a:gd name="connsiteX868" fmla="*/ 29261 w 150971"/>
                  <a:gd name="connsiteY868" fmla="*/ 89211 h 153028"/>
                  <a:gd name="connsiteX869" fmla="*/ 31042 w 150971"/>
                  <a:gd name="connsiteY869" fmla="*/ 87049 h 153028"/>
                  <a:gd name="connsiteX870" fmla="*/ 60941 w 150971"/>
                  <a:gd name="connsiteY870" fmla="*/ 80296 h 153028"/>
                  <a:gd name="connsiteX871" fmla="*/ 60084 w 150971"/>
                  <a:gd name="connsiteY871" fmla="*/ 81515 h 153028"/>
                  <a:gd name="connsiteX872" fmla="*/ 62170 w 150971"/>
                  <a:gd name="connsiteY872" fmla="*/ 82972 h 153028"/>
                  <a:gd name="connsiteX873" fmla="*/ 60941 w 150971"/>
                  <a:gd name="connsiteY873" fmla="*/ 80296 h 153028"/>
                  <a:gd name="connsiteX874" fmla="*/ 86496 w 150971"/>
                  <a:gd name="connsiteY874" fmla="*/ 74581 h 153028"/>
                  <a:gd name="connsiteX875" fmla="*/ 85735 w 150971"/>
                  <a:gd name="connsiteY875" fmla="*/ 75552 h 153028"/>
                  <a:gd name="connsiteX876" fmla="*/ 87430 w 150971"/>
                  <a:gd name="connsiteY876" fmla="*/ 76981 h 153028"/>
                  <a:gd name="connsiteX877" fmla="*/ 86496 w 150971"/>
                  <a:gd name="connsiteY877" fmla="*/ 74581 h 153028"/>
                  <a:gd name="connsiteX878" fmla="*/ 132207 w 150971"/>
                  <a:gd name="connsiteY878" fmla="*/ 64456 h 153028"/>
                  <a:gd name="connsiteX879" fmla="*/ 133388 w 150971"/>
                  <a:gd name="connsiteY879" fmla="*/ 67942 h 153028"/>
                  <a:gd name="connsiteX880" fmla="*/ 130950 w 150971"/>
                  <a:gd name="connsiteY880" fmla="*/ 66075 h 153028"/>
                  <a:gd name="connsiteX881" fmla="*/ 132207 w 150971"/>
                  <a:gd name="connsiteY881" fmla="*/ 64456 h 153028"/>
                  <a:gd name="connsiteX882" fmla="*/ 102461 w 150971"/>
                  <a:gd name="connsiteY882" fmla="*/ 71885 h 153028"/>
                  <a:gd name="connsiteX883" fmla="*/ 100803 w 150971"/>
                  <a:gd name="connsiteY883" fmla="*/ 73752 h 153028"/>
                  <a:gd name="connsiteX884" fmla="*/ 103708 w 150971"/>
                  <a:gd name="connsiteY884" fmla="*/ 76305 h 153028"/>
                  <a:gd name="connsiteX885" fmla="*/ 102461 w 150971"/>
                  <a:gd name="connsiteY885" fmla="*/ 71885 h 153028"/>
                  <a:gd name="connsiteX886" fmla="*/ 51597 w 150971"/>
                  <a:gd name="connsiteY886" fmla="*/ 83858 h 153028"/>
                  <a:gd name="connsiteX887" fmla="*/ 50159 w 150971"/>
                  <a:gd name="connsiteY887" fmla="*/ 85668 h 153028"/>
                  <a:gd name="connsiteX888" fmla="*/ 52969 w 150971"/>
                  <a:gd name="connsiteY888" fmla="*/ 87830 h 153028"/>
                  <a:gd name="connsiteX889" fmla="*/ 51597 w 150971"/>
                  <a:gd name="connsiteY889" fmla="*/ 83858 h 153028"/>
                  <a:gd name="connsiteX890" fmla="*/ 6039 w 150971"/>
                  <a:gd name="connsiteY890" fmla="*/ 94488 h 153028"/>
                  <a:gd name="connsiteX891" fmla="*/ 6791 w 150971"/>
                  <a:gd name="connsiteY891" fmla="*/ 96288 h 153028"/>
                  <a:gd name="connsiteX892" fmla="*/ 5496 w 150971"/>
                  <a:gd name="connsiteY892" fmla="*/ 95450 h 153028"/>
                  <a:gd name="connsiteX893" fmla="*/ 6039 w 150971"/>
                  <a:gd name="connsiteY893" fmla="*/ 94488 h 153028"/>
                  <a:gd name="connsiteX894" fmla="*/ 122692 w 150971"/>
                  <a:gd name="connsiteY894" fmla="*/ 68132 h 153028"/>
                  <a:gd name="connsiteX895" fmla="*/ 124196 w 150971"/>
                  <a:gd name="connsiteY895" fmla="*/ 72685 h 153028"/>
                  <a:gd name="connsiteX896" fmla="*/ 121091 w 150971"/>
                  <a:gd name="connsiteY896" fmla="*/ 70399 h 153028"/>
                  <a:gd name="connsiteX897" fmla="*/ 122692 w 150971"/>
                  <a:gd name="connsiteY897" fmla="*/ 68132 h 153028"/>
                  <a:gd name="connsiteX898" fmla="*/ 22022 w 150971"/>
                  <a:gd name="connsiteY898" fmla="*/ 91707 h 153028"/>
                  <a:gd name="connsiteX899" fmla="*/ 23298 w 150971"/>
                  <a:gd name="connsiteY899" fmla="*/ 95593 h 153028"/>
                  <a:gd name="connsiteX900" fmla="*/ 20507 w 150971"/>
                  <a:gd name="connsiteY900" fmla="*/ 93393 h 153028"/>
                  <a:gd name="connsiteX901" fmla="*/ 22022 w 150971"/>
                  <a:gd name="connsiteY901" fmla="*/ 91707 h 153028"/>
                  <a:gd name="connsiteX902" fmla="*/ 77505 w 150971"/>
                  <a:gd name="connsiteY902" fmla="*/ 79353 h 153028"/>
                  <a:gd name="connsiteX903" fmla="*/ 77114 w 150971"/>
                  <a:gd name="connsiteY903" fmla="*/ 80277 h 153028"/>
                  <a:gd name="connsiteX904" fmla="*/ 77705 w 150971"/>
                  <a:gd name="connsiteY904" fmla="*/ 80677 h 153028"/>
                  <a:gd name="connsiteX905" fmla="*/ 78019 w 150971"/>
                  <a:gd name="connsiteY905" fmla="*/ 80562 h 153028"/>
                  <a:gd name="connsiteX906" fmla="*/ 78419 w 150971"/>
                  <a:gd name="connsiteY906" fmla="*/ 79981 h 153028"/>
                  <a:gd name="connsiteX907" fmla="*/ 77505 w 150971"/>
                  <a:gd name="connsiteY907" fmla="*/ 79353 h 153028"/>
                  <a:gd name="connsiteX908" fmla="*/ 42386 w 150971"/>
                  <a:gd name="connsiteY908" fmla="*/ 87506 h 153028"/>
                  <a:gd name="connsiteX909" fmla="*/ 40357 w 150971"/>
                  <a:gd name="connsiteY909" fmla="*/ 89078 h 153028"/>
                  <a:gd name="connsiteX910" fmla="*/ 41291 w 150971"/>
                  <a:gd name="connsiteY910" fmla="*/ 92126 h 153028"/>
                  <a:gd name="connsiteX911" fmla="*/ 42729 w 150971"/>
                  <a:gd name="connsiteY911" fmla="*/ 92783 h 153028"/>
                  <a:gd name="connsiteX912" fmla="*/ 43929 w 150971"/>
                  <a:gd name="connsiteY912" fmla="*/ 92392 h 153028"/>
                  <a:gd name="connsiteX913" fmla="*/ 42386 w 150971"/>
                  <a:gd name="connsiteY913" fmla="*/ 87506 h 153028"/>
                  <a:gd name="connsiteX914" fmla="*/ 93202 w 150971"/>
                  <a:gd name="connsiteY914" fmla="*/ 76648 h 153028"/>
                  <a:gd name="connsiteX915" fmla="*/ 92021 w 150971"/>
                  <a:gd name="connsiteY915" fmla="*/ 78286 h 153028"/>
                  <a:gd name="connsiteX916" fmla="*/ 94497 w 150971"/>
                  <a:gd name="connsiteY916" fmla="*/ 79953 h 153028"/>
                  <a:gd name="connsiteX917" fmla="*/ 93202 w 150971"/>
                  <a:gd name="connsiteY917" fmla="*/ 76648 h 153028"/>
                  <a:gd name="connsiteX918" fmla="*/ 148562 w 150971"/>
                  <a:gd name="connsiteY918" fmla="*/ 63970 h 153028"/>
                  <a:gd name="connsiteX919" fmla="*/ 148895 w 150971"/>
                  <a:gd name="connsiteY919" fmla="*/ 63932 h 153028"/>
                  <a:gd name="connsiteX920" fmla="*/ 149428 w 150971"/>
                  <a:gd name="connsiteY920" fmla="*/ 64456 h 153028"/>
                  <a:gd name="connsiteX921" fmla="*/ 148971 w 150971"/>
                  <a:gd name="connsiteY921" fmla="*/ 65132 h 153028"/>
                  <a:gd name="connsiteX922" fmla="*/ 148247 w 150971"/>
                  <a:gd name="connsiteY922" fmla="*/ 64618 h 153028"/>
                  <a:gd name="connsiteX923" fmla="*/ 148562 w 150971"/>
                  <a:gd name="connsiteY923" fmla="*/ 63970 h 153028"/>
                  <a:gd name="connsiteX924" fmla="*/ 67789 w 150971"/>
                  <a:gd name="connsiteY924" fmla="*/ 83153 h 153028"/>
                  <a:gd name="connsiteX925" fmla="*/ 67161 w 150971"/>
                  <a:gd name="connsiteY925" fmla="*/ 84058 h 153028"/>
                  <a:gd name="connsiteX926" fmla="*/ 68875 w 150971"/>
                  <a:gd name="connsiteY926" fmla="*/ 85258 h 153028"/>
                  <a:gd name="connsiteX927" fmla="*/ 67789 w 150971"/>
                  <a:gd name="connsiteY927" fmla="*/ 83153 h 153028"/>
                  <a:gd name="connsiteX928" fmla="*/ 109338 w 150971"/>
                  <a:gd name="connsiteY928" fmla="*/ 74057 h 153028"/>
                  <a:gd name="connsiteX929" fmla="*/ 107356 w 150971"/>
                  <a:gd name="connsiteY929" fmla="*/ 75686 h 153028"/>
                  <a:gd name="connsiteX930" fmla="*/ 109747 w 150971"/>
                  <a:gd name="connsiteY930" fmla="*/ 79305 h 153028"/>
                  <a:gd name="connsiteX931" fmla="*/ 111033 w 150971"/>
                  <a:gd name="connsiteY931" fmla="*/ 78819 h 153028"/>
                  <a:gd name="connsiteX932" fmla="*/ 112547 w 150971"/>
                  <a:gd name="connsiteY932" fmla="*/ 77333 h 153028"/>
                  <a:gd name="connsiteX933" fmla="*/ 112100 w 150971"/>
                  <a:gd name="connsiteY933" fmla="*/ 75876 h 153028"/>
                  <a:gd name="connsiteX934" fmla="*/ 109338 w 150971"/>
                  <a:gd name="connsiteY934" fmla="*/ 74057 h 153028"/>
                  <a:gd name="connsiteX935" fmla="*/ 12745 w 150971"/>
                  <a:gd name="connsiteY935" fmla="*/ 96545 h 153028"/>
                  <a:gd name="connsiteX936" fmla="*/ 13735 w 150971"/>
                  <a:gd name="connsiteY936" fmla="*/ 99203 h 153028"/>
                  <a:gd name="connsiteX937" fmla="*/ 11849 w 150971"/>
                  <a:gd name="connsiteY937" fmla="*/ 97774 h 153028"/>
                  <a:gd name="connsiteX938" fmla="*/ 12745 w 150971"/>
                  <a:gd name="connsiteY938" fmla="*/ 96545 h 153028"/>
                  <a:gd name="connsiteX939" fmla="*/ 138922 w 150971"/>
                  <a:gd name="connsiteY939" fmla="*/ 67418 h 153028"/>
                  <a:gd name="connsiteX940" fmla="*/ 140103 w 150971"/>
                  <a:gd name="connsiteY940" fmla="*/ 70066 h 153028"/>
                  <a:gd name="connsiteX941" fmla="*/ 138094 w 150971"/>
                  <a:gd name="connsiteY941" fmla="*/ 68599 h 153028"/>
                  <a:gd name="connsiteX942" fmla="*/ 138922 w 150971"/>
                  <a:gd name="connsiteY942" fmla="*/ 67418 h 153028"/>
                  <a:gd name="connsiteX943" fmla="*/ 58569 w 150971"/>
                  <a:gd name="connsiteY943" fmla="*/ 86611 h 153028"/>
                  <a:gd name="connsiteX944" fmla="*/ 57178 w 150971"/>
                  <a:gd name="connsiteY944" fmla="*/ 88335 h 153028"/>
                  <a:gd name="connsiteX945" fmla="*/ 59636 w 150971"/>
                  <a:gd name="connsiteY945" fmla="*/ 90125 h 153028"/>
                  <a:gd name="connsiteX946" fmla="*/ 58569 w 150971"/>
                  <a:gd name="connsiteY946" fmla="*/ 86611 h 153028"/>
                  <a:gd name="connsiteX947" fmla="*/ 28480 w 150971"/>
                  <a:gd name="connsiteY947" fmla="*/ 94021 h 153028"/>
                  <a:gd name="connsiteX948" fmla="*/ 30071 w 150971"/>
                  <a:gd name="connsiteY948" fmla="*/ 98431 h 153028"/>
                  <a:gd name="connsiteX949" fmla="*/ 26937 w 150971"/>
                  <a:gd name="connsiteY949" fmla="*/ 96193 h 153028"/>
                  <a:gd name="connsiteX950" fmla="*/ 28480 w 150971"/>
                  <a:gd name="connsiteY950" fmla="*/ 94021 h 153028"/>
                  <a:gd name="connsiteX951" fmla="*/ 83972 w 150971"/>
                  <a:gd name="connsiteY951" fmla="*/ 81391 h 153028"/>
                  <a:gd name="connsiteX952" fmla="*/ 83239 w 150971"/>
                  <a:gd name="connsiteY952" fmla="*/ 82324 h 153028"/>
                  <a:gd name="connsiteX953" fmla="*/ 84896 w 150971"/>
                  <a:gd name="connsiteY953" fmla="*/ 83725 h 153028"/>
                  <a:gd name="connsiteX954" fmla="*/ 83972 w 150971"/>
                  <a:gd name="connsiteY954" fmla="*/ 81391 h 153028"/>
                  <a:gd name="connsiteX955" fmla="*/ 129607 w 150971"/>
                  <a:gd name="connsiteY955" fmla="*/ 70971 h 153028"/>
                  <a:gd name="connsiteX956" fmla="*/ 130950 w 150971"/>
                  <a:gd name="connsiteY956" fmla="*/ 74838 h 153028"/>
                  <a:gd name="connsiteX957" fmla="*/ 128178 w 150971"/>
                  <a:gd name="connsiteY957" fmla="*/ 72857 h 153028"/>
                  <a:gd name="connsiteX958" fmla="*/ 129607 w 150971"/>
                  <a:gd name="connsiteY958" fmla="*/ 70971 h 153028"/>
                  <a:gd name="connsiteX959" fmla="*/ 48949 w 150971"/>
                  <a:gd name="connsiteY959" fmla="*/ 90316 h 153028"/>
                  <a:gd name="connsiteX960" fmla="*/ 47311 w 150971"/>
                  <a:gd name="connsiteY960" fmla="*/ 92440 h 153028"/>
                  <a:gd name="connsiteX961" fmla="*/ 50702 w 150971"/>
                  <a:gd name="connsiteY961" fmla="*/ 94812 h 153028"/>
                  <a:gd name="connsiteX962" fmla="*/ 48949 w 150971"/>
                  <a:gd name="connsiteY962" fmla="*/ 90316 h 153028"/>
                  <a:gd name="connsiteX963" fmla="*/ 99736 w 150971"/>
                  <a:gd name="connsiteY963" fmla="*/ 78819 h 153028"/>
                  <a:gd name="connsiteX964" fmla="*/ 98365 w 150971"/>
                  <a:gd name="connsiteY964" fmla="*/ 80772 h 153028"/>
                  <a:gd name="connsiteX965" fmla="*/ 101394 w 150971"/>
                  <a:gd name="connsiteY965" fmla="*/ 82877 h 153028"/>
                  <a:gd name="connsiteX966" fmla="*/ 99736 w 150971"/>
                  <a:gd name="connsiteY966" fmla="*/ 78819 h 153028"/>
                  <a:gd name="connsiteX967" fmla="*/ 120187 w 150971"/>
                  <a:gd name="connsiteY967" fmla="*/ 74704 h 153028"/>
                  <a:gd name="connsiteX968" fmla="*/ 121787 w 150971"/>
                  <a:gd name="connsiteY968" fmla="*/ 79496 h 153028"/>
                  <a:gd name="connsiteX969" fmla="*/ 118339 w 150971"/>
                  <a:gd name="connsiteY969" fmla="*/ 76724 h 153028"/>
                  <a:gd name="connsiteX970" fmla="*/ 120187 w 150971"/>
                  <a:gd name="connsiteY970" fmla="*/ 74704 h 153028"/>
                  <a:gd name="connsiteX971" fmla="*/ 3810 w 150971"/>
                  <a:gd name="connsiteY971" fmla="*/ 101603 h 153028"/>
                  <a:gd name="connsiteX972" fmla="*/ 4363 w 150971"/>
                  <a:gd name="connsiteY972" fmla="*/ 101860 h 153028"/>
                  <a:gd name="connsiteX973" fmla="*/ 4381 w 150971"/>
                  <a:gd name="connsiteY973" fmla="*/ 102117 h 153028"/>
                  <a:gd name="connsiteX974" fmla="*/ 3953 w 150971"/>
                  <a:gd name="connsiteY974" fmla="*/ 102556 h 153028"/>
                  <a:gd name="connsiteX975" fmla="*/ 3458 w 150971"/>
                  <a:gd name="connsiteY975" fmla="*/ 102213 h 153028"/>
                  <a:gd name="connsiteX976" fmla="*/ 3458 w 150971"/>
                  <a:gd name="connsiteY976" fmla="*/ 102060 h 153028"/>
                  <a:gd name="connsiteX977" fmla="*/ 3810 w 150971"/>
                  <a:gd name="connsiteY977" fmla="*/ 101603 h 153028"/>
                  <a:gd name="connsiteX978" fmla="*/ 74600 w 150971"/>
                  <a:gd name="connsiteY978" fmla="*/ 85687 h 153028"/>
                  <a:gd name="connsiteX979" fmla="*/ 73914 w 150971"/>
                  <a:gd name="connsiteY979" fmla="*/ 86677 h 153028"/>
                  <a:gd name="connsiteX980" fmla="*/ 75600 w 150971"/>
                  <a:gd name="connsiteY980" fmla="*/ 87887 h 153028"/>
                  <a:gd name="connsiteX981" fmla="*/ 74600 w 150971"/>
                  <a:gd name="connsiteY981" fmla="*/ 85687 h 153028"/>
                  <a:gd name="connsiteX982" fmla="*/ 19298 w 150971"/>
                  <a:gd name="connsiteY982" fmla="*/ 98793 h 153028"/>
                  <a:gd name="connsiteX983" fmla="*/ 20755 w 150971"/>
                  <a:gd name="connsiteY983" fmla="*/ 101984 h 153028"/>
                  <a:gd name="connsiteX984" fmla="*/ 18221 w 150971"/>
                  <a:gd name="connsiteY984" fmla="*/ 100365 h 153028"/>
                  <a:gd name="connsiteX985" fmla="*/ 19298 w 150971"/>
                  <a:gd name="connsiteY985" fmla="*/ 98793 h 153028"/>
                  <a:gd name="connsiteX986" fmla="*/ 145875 w 150971"/>
                  <a:gd name="connsiteY986" fmla="*/ 70409 h 153028"/>
                  <a:gd name="connsiteX987" fmla="*/ 147085 w 150971"/>
                  <a:gd name="connsiteY987" fmla="*/ 71685 h 153028"/>
                  <a:gd name="connsiteX988" fmla="*/ 145332 w 150971"/>
                  <a:gd name="connsiteY988" fmla="*/ 71333 h 153028"/>
                  <a:gd name="connsiteX989" fmla="*/ 145875 w 150971"/>
                  <a:gd name="connsiteY989" fmla="*/ 70409 h 153028"/>
                  <a:gd name="connsiteX990" fmla="*/ 90526 w 150971"/>
                  <a:gd name="connsiteY990" fmla="*/ 83487 h 153028"/>
                  <a:gd name="connsiteX991" fmla="*/ 89497 w 150971"/>
                  <a:gd name="connsiteY991" fmla="*/ 84972 h 153028"/>
                  <a:gd name="connsiteX992" fmla="*/ 91869 w 150971"/>
                  <a:gd name="connsiteY992" fmla="*/ 86706 h 153028"/>
                  <a:gd name="connsiteX993" fmla="*/ 90526 w 150971"/>
                  <a:gd name="connsiteY993" fmla="*/ 83487 h 153028"/>
                  <a:gd name="connsiteX994" fmla="*/ 35405 w 150971"/>
                  <a:gd name="connsiteY994" fmla="*/ 96250 h 153028"/>
                  <a:gd name="connsiteX995" fmla="*/ 36204 w 150971"/>
                  <a:gd name="connsiteY995" fmla="*/ 101346 h 153028"/>
                  <a:gd name="connsiteX996" fmla="*/ 33557 w 150971"/>
                  <a:gd name="connsiteY996" fmla="*/ 97936 h 153028"/>
                  <a:gd name="connsiteX997" fmla="*/ 35405 w 150971"/>
                  <a:gd name="connsiteY997" fmla="*/ 96250 h 153028"/>
                  <a:gd name="connsiteX998" fmla="*/ 65103 w 150971"/>
                  <a:gd name="connsiteY998" fmla="*/ 89430 h 153028"/>
                  <a:gd name="connsiteX999" fmla="*/ 64122 w 150971"/>
                  <a:gd name="connsiteY999" fmla="*/ 90945 h 153028"/>
                  <a:gd name="connsiteX1000" fmla="*/ 66513 w 150971"/>
                  <a:gd name="connsiteY1000" fmla="*/ 92440 h 153028"/>
                  <a:gd name="connsiteX1001" fmla="*/ 65103 w 150971"/>
                  <a:gd name="connsiteY1001" fmla="*/ 89430 h 153028"/>
                  <a:gd name="connsiteX1002" fmla="*/ 136303 w 150971"/>
                  <a:gd name="connsiteY1002" fmla="*/ 73981 h 153028"/>
                  <a:gd name="connsiteX1003" fmla="*/ 137627 w 150971"/>
                  <a:gd name="connsiteY1003" fmla="*/ 76933 h 153028"/>
                  <a:gd name="connsiteX1004" fmla="*/ 135398 w 150971"/>
                  <a:gd name="connsiteY1004" fmla="*/ 75019 h 153028"/>
                  <a:gd name="connsiteX1005" fmla="*/ 136303 w 150971"/>
                  <a:gd name="connsiteY1005" fmla="*/ 73981 h 153028"/>
                  <a:gd name="connsiteX1006" fmla="*/ 106604 w 150971"/>
                  <a:gd name="connsiteY1006" fmla="*/ 80953 h 153028"/>
                  <a:gd name="connsiteX1007" fmla="*/ 104851 w 150971"/>
                  <a:gd name="connsiteY1007" fmla="*/ 82572 h 153028"/>
                  <a:gd name="connsiteX1008" fmla="*/ 107385 w 150971"/>
                  <a:gd name="connsiteY1008" fmla="*/ 85973 h 153028"/>
                  <a:gd name="connsiteX1009" fmla="*/ 106604 w 150971"/>
                  <a:gd name="connsiteY1009" fmla="*/ 80953 h 153028"/>
                  <a:gd name="connsiteX1010" fmla="*/ 55664 w 150971"/>
                  <a:gd name="connsiteY1010" fmla="*/ 93088 h 153028"/>
                  <a:gd name="connsiteX1011" fmla="*/ 54283 w 150971"/>
                  <a:gd name="connsiteY1011" fmla="*/ 95002 h 153028"/>
                  <a:gd name="connsiteX1012" fmla="*/ 57503 w 150971"/>
                  <a:gd name="connsiteY1012" fmla="*/ 97107 h 153028"/>
                  <a:gd name="connsiteX1013" fmla="*/ 55664 w 150971"/>
                  <a:gd name="connsiteY1013" fmla="*/ 93088 h 153028"/>
                  <a:gd name="connsiteX1014" fmla="*/ 10220 w 150971"/>
                  <a:gd name="connsiteY1014" fmla="*/ 103699 h 153028"/>
                  <a:gd name="connsiteX1015" fmla="*/ 11173 w 150971"/>
                  <a:gd name="connsiteY1015" fmla="*/ 105527 h 153028"/>
                  <a:gd name="connsiteX1016" fmla="*/ 9649 w 150971"/>
                  <a:gd name="connsiteY1016" fmla="*/ 104670 h 153028"/>
                  <a:gd name="connsiteX1017" fmla="*/ 10220 w 150971"/>
                  <a:gd name="connsiteY1017" fmla="*/ 103699 h 153028"/>
                  <a:gd name="connsiteX1018" fmla="*/ 81448 w 150971"/>
                  <a:gd name="connsiteY1018" fmla="*/ 87897 h 153028"/>
                  <a:gd name="connsiteX1019" fmla="*/ 80391 w 150971"/>
                  <a:gd name="connsiteY1019" fmla="*/ 89240 h 153028"/>
                  <a:gd name="connsiteX1020" fmla="*/ 82544 w 150971"/>
                  <a:gd name="connsiteY1020" fmla="*/ 90678 h 153028"/>
                  <a:gd name="connsiteX1021" fmla="*/ 81448 w 150971"/>
                  <a:gd name="connsiteY1021" fmla="*/ 87897 h 153028"/>
                  <a:gd name="connsiteX1022" fmla="*/ 126816 w 150971"/>
                  <a:gd name="connsiteY1022" fmla="*/ 77610 h 153028"/>
                  <a:gd name="connsiteX1023" fmla="*/ 128226 w 150971"/>
                  <a:gd name="connsiteY1023" fmla="*/ 81763 h 153028"/>
                  <a:gd name="connsiteX1024" fmla="*/ 125501 w 150971"/>
                  <a:gd name="connsiteY1024" fmla="*/ 79505 h 153028"/>
                  <a:gd name="connsiteX1025" fmla="*/ 126816 w 150971"/>
                  <a:gd name="connsiteY1025" fmla="*/ 77610 h 153028"/>
                  <a:gd name="connsiteX1026" fmla="*/ 25889 w 150971"/>
                  <a:gd name="connsiteY1026" fmla="*/ 101060 h 153028"/>
                  <a:gd name="connsiteX1027" fmla="*/ 27584 w 150971"/>
                  <a:gd name="connsiteY1027" fmla="*/ 104803 h 153028"/>
                  <a:gd name="connsiteX1028" fmla="*/ 24660 w 150971"/>
                  <a:gd name="connsiteY1028" fmla="*/ 102822 h 153028"/>
                  <a:gd name="connsiteX1029" fmla="*/ 25889 w 150971"/>
                  <a:gd name="connsiteY1029" fmla="*/ 101060 h 153028"/>
                  <a:gd name="connsiteX1030" fmla="*/ 46577 w 150971"/>
                  <a:gd name="connsiteY1030" fmla="*/ 96783 h 153028"/>
                  <a:gd name="connsiteX1031" fmla="*/ 44510 w 150971"/>
                  <a:gd name="connsiteY1031" fmla="*/ 98174 h 153028"/>
                  <a:gd name="connsiteX1032" fmla="*/ 46301 w 150971"/>
                  <a:gd name="connsiteY1032" fmla="*/ 102317 h 153028"/>
                  <a:gd name="connsiteX1033" fmla="*/ 48120 w 150971"/>
                  <a:gd name="connsiteY1033" fmla="*/ 101670 h 153028"/>
                  <a:gd name="connsiteX1034" fmla="*/ 49892 w 150971"/>
                  <a:gd name="connsiteY1034" fmla="*/ 99822 h 153028"/>
                  <a:gd name="connsiteX1035" fmla="*/ 46577 w 150971"/>
                  <a:gd name="connsiteY1035" fmla="*/ 96783 h 153028"/>
                  <a:gd name="connsiteX1036" fmla="*/ 97317 w 150971"/>
                  <a:gd name="connsiteY1036" fmla="*/ 85601 h 153028"/>
                  <a:gd name="connsiteX1037" fmla="*/ 95821 w 150971"/>
                  <a:gd name="connsiteY1037" fmla="*/ 87506 h 153028"/>
                  <a:gd name="connsiteX1038" fmla="*/ 98612 w 150971"/>
                  <a:gd name="connsiteY1038" fmla="*/ 89706 h 153028"/>
                  <a:gd name="connsiteX1039" fmla="*/ 97317 w 150971"/>
                  <a:gd name="connsiteY1039" fmla="*/ 85601 h 153028"/>
                  <a:gd name="connsiteX1040" fmla="*/ 118024 w 150971"/>
                  <a:gd name="connsiteY1040" fmla="*/ 81277 h 153028"/>
                  <a:gd name="connsiteX1041" fmla="*/ 118729 w 150971"/>
                  <a:gd name="connsiteY1041" fmla="*/ 86468 h 153028"/>
                  <a:gd name="connsiteX1042" fmla="*/ 115938 w 150971"/>
                  <a:gd name="connsiteY1042" fmla="*/ 84268 h 153028"/>
                  <a:gd name="connsiteX1043" fmla="*/ 115643 w 150971"/>
                  <a:gd name="connsiteY1043" fmla="*/ 82972 h 153028"/>
                  <a:gd name="connsiteX1044" fmla="*/ 118024 w 150971"/>
                  <a:gd name="connsiteY1044" fmla="*/ 81277 h 153028"/>
                  <a:gd name="connsiteX1045" fmla="*/ 72095 w 150971"/>
                  <a:gd name="connsiteY1045" fmla="*/ 91916 h 153028"/>
                  <a:gd name="connsiteX1046" fmla="*/ 70895 w 150971"/>
                  <a:gd name="connsiteY1046" fmla="*/ 93478 h 153028"/>
                  <a:gd name="connsiteX1047" fmla="*/ 73238 w 150971"/>
                  <a:gd name="connsiteY1047" fmla="*/ 95059 h 153028"/>
                  <a:gd name="connsiteX1048" fmla="*/ 72095 w 150971"/>
                  <a:gd name="connsiteY1048" fmla="*/ 91916 h 153028"/>
                  <a:gd name="connsiteX1049" fmla="*/ 16936 w 150971"/>
                  <a:gd name="connsiteY1049" fmla="*/ 105823 h 153028"/>
                  <a:gd name="connsiteX1050" fmla="*/ 18031 w 150971"/>
                  <a:gd name="connsiteY1050" fmla="*/ 108423 h 153028"/>
                  <a:gd name="connsiteX1051" fmla="*/ 16059 w 150971"/>
                  <a:gd name="connsiteY1051" fmla="*/ 106947 h 153028"/>
                  <a:gd name="connsiteX1052" fmla="*/ 16936 w 150971"/>
                  <a:gd name="connsiteY1052" fmla="*/ 105823 h 153028"/>
                  <a:gd name="connsiteX1053" fmla="*/ 143218 w 150971"/>
                  <a:gd name="connsiteY1053" fmla="*/ 76971 h 153028"/>
                  <a:gd name="connsiteX1054" fmla="*/ 144189 w 150971"/>
                  <a:gd name="connsiteY1054" fmla="*/ 79057 h 153028"/>
                  <a:gd name="connsiteX1055" fmla="*/ 142580 w 150971"/>
                  <a:gd name="connsiteY1055" fmla="*/ 77838 h 153028"/>
                  <a:gd name="connsiteX1056" fmla="*/ 143218 w 150971"/>
                  <a:gd name="connsiteY1056" fmla="*/ 76971 h 153028"/>
                  <a:gd name="connsiteX1057" fmla="*/ 62503 w 150971"/>
                  <a:gd name="connsiteY1057" fmla="*/ 95764 h 153028"/>
                  <a:gd name="connsiteX1058" fmla="*/ 61151 w 150971"/>
                  <a:gd name="connsiteY1058" fmla="*/ 97631 h 153028"/>
                  <a:gd name="connsiteX1059" fmla="*/ 63980 w 150971"/>
                  <a:gd name="connsiteY1059" fmla="*/ 99670 h 153028"/>
                  <a:gd name="connsiteX1060" fmla="*/ 62503 w 150971"/>
                  <a:gd name="connsiteY1060" fmla="*/ 95764 h 153028"/>
                  <a:gd name="connsiteX1061" fmla="*/ 88164 w 150971"/>
                  <a:gd name="connsiteY1061" fmla="*/ 90030 h 153028"/>
                  <a:gd name="connsiteX1062" fmla="*/ 86782 w 150971"/>
                  <a:gd name="connsiteY1062" fmla="*/ 91754 h 153028"/>
                  <a:gd name="connsiteX1063" fmla="*/ 89402 w 150971"/>
                  <a:gd name="connsiteY1063" fmla="*/ 93574 h 153028"/>
                  <a:gd name="connsiteX1064" fmla="*/ 88164 w 150971"/>
                  <a:gd name="connsiteY1064" fmla="*/ 90030 h 153028"/>
                  <a:gd name="connsiteX1065" fmla="*/ 32499 w 150971"/>
                  <a:gd name="connsiteY1065" fmla="*/ 103375 h 153028"/>
                  <a:gd name="connsiteX1066" fmla="*/ 34280 w 150971"/>
                  <a:gd name="connsiteY1066" fmla="*/ 107632 h 153028"/>
                  <a:gd name="connsiteX1067" fmla="*/ 31185 w 150971"/>
                  <a:gd name="connsiteY1067" fmla="*/ 105385 h 153028"/>
                  <a:gd name="connsiteX1068" fmla="*/ 32499 w 150971"/>
                  <a:gd name="connsiteY1068" fmla="*/ 103375 h 153028"/>
                  <a:gd name="connsiteX1069" fmla="*/ 133750 w 150971"/>
                  <a:gd name="connsiteY1069" fmla="*/ 80524 h 153028"/>
                  <a:gd name="connsiteX1070" fmla="*/ 135217 w 150971"/>
                  <a:gd name="connsiteY1070" fmla="*/ 83753 h 153028"/>
                  <a:gd name="connsiteX1071" fmla="*/ 132645 w 150971"/>
                  <a:gd name="connsiteY1071" fmla="*/ 82144 h 153028"/>
                  <a:gd name="connsiteX1072" fmla="*/ 133750 w 150971"/>
                  <a:gd name="connsiteY1072" fmla="*/ 80524 h 153028"/>
                  <a:gd name="connsiteX1073" fmla="*/ 52940 w 150971"/>
                  <a:gd name="connsiteY1073" fmla="*/ 99527 h 153028"/>
                  <a:gd name="connsiteX1074" fmla="*/ 51349 w 150971"/>
                  <a:gd name="connsiteY1074" fmla="*/ 101679 h 153028"/>
                  <a:gd name="connsiteX1075" fmla="*/ 54521 w 150971"/>
                  <a:gd name="connsiteY1075" fmla="*/ 104404 h 153028"/>
                  <a:gd name="connsiteX1076" fmla="*/ 52940 w 150971"/>
                  <a:gd name="connsiteY1076" fmla="*/ 99527 h 153028"/>
                  <a:gd name="connsiteX1077" fmla="*/ 103851 w 150971"/>
                  <a:gd name="connsiteY1077" fmla="*/ 87773 h 153028"/>
                  <a:gd name="connsiteX1078" fmla="*/ 102165 w 150971"/>
                  <a:gd name="connsiteY1078" fmla="*/ 90173 h 153028"/>
                  <a:gd name="connsiteX1079" fmla="*/ 105413 w 150971"/>
                  <a:gd name="connsiteY1079" fmla="*/ 92573 h 153028"/>
                  <a:gd name="connsiteX1080" fmla="*/ 103851 w 150971"/>
                  <a:gd name="connsiteY1080" fmla="*/ 87773 h 153028"/>
                  <a:gd name="connsiteX1081" fmla="*/ 78724 w 150971"/>
                  <a:gd name="connsiteY1081" fmla="*/ 94336 h 153028"/>
                  <a:gd name="connsiteX1082" fmla="*/ 77496 w 150971"/>
                  <a:gd name="connsiteY1082" fmla="*/ 96060 h 153028"/>
                  <a:gd name="connsiteX1083" fmla="*/ 79953 w 150971"/>
                  <a:gd name="connsiteY1083" fmla="*/ 97812 h 153028"/>
                  <a:gd name="connsiteX1084" fmla="*/ 78724 w 150971"/>
                  <a:gd name="connsiteY1084" fmla="*/ 94336 h 153028"/>
                  <a:gd name="connsiteX1085" fmla="*/ 7972 w 150971"/>
                  <a:gd name="connsiteY1085" fmla="*/ 110899 h 153028"/>
                  <a:gd name="connsiteX1086" fmla="*/ 8601 w 150971"/>
                  <a:gd name="connsiteY1086" fmla="*/ 111166 h 153028"/>
                  <a:gd name="connsiteX1087" fmla="*/ 8239 w 150971"/>
                  <a:gd name="connsiteY1087" fmla="*/ 111890 h 153028"/>
                  <a:gd name="connsiteX1088" fmla="*/ 7639 w 150971"/>
                  <a:gd name="connsiteY1088" fmla="*/ 111423 h 153028"/>
                  <a:gd name="connsiteX1089" fmla="*/ 7972 w 150971"/>
                  <a:gd name="connsiteY1089" fmla="*/ 110899 h 153028"/>
                  <a:gd name="connsiteX1090" fmla="*/ 124358 w 150971"/>
                  <a:gd name="connsiteY1090" fmla="*/ 84210 h 153028"/>
                  <a:gd name="connsiteX1091" fmla="*/ 126054 w 150971"/>
                  <a:gd name="connsiteY1091" fmla="*/ 88449 h 153028"/>
                  <a:gd name="connsiteX1092" fmla="*/ 122854 w 150971"/>
                  <a:gd name="connsiteY1092" fmla="*/ 86268 h 153028"/>
                  <a:gd name="connsiteX1093" fmla="*/ 124358 w 150971"/>
                  <a:gd name="connsiteY1093" fmla="*/ 84210 h 153028"/>
                  <a:gd name="connsiteX1094" fmla="*/ 23603 w 150971"/>
                  <a:gd name="connsiteY1094" fmla="*/ 108080 h 153028"/>
                  <a:gd name="connsiteX1095" fmla="*/ 24727 w 150971"/>
                  <a:gd name="connsiteY1095" fmla="*/ 111309 h 153028"/>
                  <a:gd name="connsiteX1096" fmla="*/ 22460 w 150971"/>
                  <a:gd name="connsiteY1096" fmla="*/ 109557 h 153028"/>
                  <a:gd name="connsiteX1097" fmla="*/ 23603 w 150971"/>
                  <a:gd name="connsiteY1097" fmla="*/ 108080 h 153028"/>
                  <a:gd name="connsiteX1098" fmla="*/ 94640 w 150971"/>
                  <a:gd name="connsiteY1098" fmla="*/ 92288 h 153028"/>
                  <a:gd name="connsiteX1099" fmla="*/ 93164 w 150971"/>
                  <a:gd name="connsiteY1099" fmla="*/ 94259 h 153028"/>
                  <a:gd name="connsiteX1100" fmla="*/ 96193 w 150971"/>
                  <a:gd name="connsiteY1100" fmla="*/ 96517 h 153028"/>
                  <a:gd name="connsiteX1101" fmla="*/ 94640 w 150971"/>
                  <a:gd name="connsiteY1101" fmla="*/ 92288 h 153028"/>
                  <a:gd name="connsiteX1102" fmla="*/ 69209 w 150971"/>
                  <a:gd name="connsiteY1102" fmla="*/ 98346 h 153028"/>
                  <a:gd name="connsiteX1103" fmla="*/ 67904 w 150971"/>
                  <a:gd name="connsiteY1103" fmla="*/ 100241 h 153028"/>
                  <a:gd name="connsiteX1104" fmla="*/ 70961 w 150971"/>
                  <a:gd name="connsiteY1104" fmla="*/ 102156 h 153028"/>
                  <a:gd name="connsiteX1105" fmla="*/ 69209 w 150971"/>
                  <a:gd name="connsiteY1105" fmla="*/ 98346 h 153028"/>
                  <a:gd name="connsiteX1106" fmla="*/ 115614 w 150971"/>
                  <a:gd name="connsiteY1106" fmla="*/ 87944 h 153028"/>
                  <a:gd name="connsiteX1107" fmla="*/ 115662 w 150971"/>
                  <a:gd name="connsiteY1107" fmla="*/ 93250 h 153028"/>
                  <a:gd name="connsiteX1108" fmla="*/ 113395 w 150971"/>
                  <a:gd name="connsiteY1108" fmla="*/ 91002 h 153028"/>
                  <a:gd name="connsiteX1109" fmla="*/ 112938 w 150971"/>
                  <a:gd name="connsiteY1109" fmla="*/ 89516 h 153028"/>
                  <a:gd name="connsiteX1110" fmla="*/ 115614 w 150971"/>
                  <a:gd name="connsiteY1110" fmla="*/ 87944 h 153028"/>
                  <a:gd name="connsiteX1111" fmla="*/ 39367 w 150971"/>
                  <a:gd name="connsiteY1111" fmla="*/ 105661 h 153028"/>
                  <a:gd name="connsiteX1112" fmla="*/ 41091 w 150971"/>
                  <a:gd name="connsiteY1112" fmla="*/ 110309 h 153028"/>
                  <a:gd name="connsiteX1113" fmla="*/ 37729 w 150971"/>
                  <a:gd name="connsiteY1113" fmla="*/ 107594 h 153028"/>
                  <a:gd name="connsiteX1114" fmla="*/ 39367 w 150971"/>
                  <a:gd name="connsiteY1114" fmla="*/ 105661 h 153028"/>
                  <a:gd name="connsiteX1115" fmla="*/ 150304 w 150971"/>
                  <a:gd name="connsiteY1115" fmla="*/ 80086 h 153028"/>
                  <a:gd name="connsiteX1116" fmla="*/ 150971 w 150971"/>
                  <a:gd name="connsiteY1116" fmla="*/ 80505 h 153028"/>
                  <a:gd name="connsiteX1117" fmla="*/ 150638 w 150971"/>
                  <a:gd name="connsiteY1117" fmla="*/ 81039 h 153028"/>
                  <a:gd name="connsiteX1118" fmla="*/ 150524 w 150971"/>
                  <a:gd name="connsiteY1118" fmla="*/ 81067 h 153028"/>
                  <a:gd name="connsiteX1119" fmla="*/ 150047 w 150971"/>
                  <a:gd name="connsiteY1119" fmla="*/ 80801 h 153028"/>
                  <a:gd name="connsiteX1120" fmla="*/ 150028 w 150971"/>
                  <a:gd name="connsiteY1120" fmla="*/ 80543 h 153028"/>
                  <a:gd name="connsiteX1121" fmla="*/ 150304 w 150971"/>
                  <a:gd name="connsiteY1121" fmla="*/ 80086 h 153028"/>
                  <a:gd name="connsiteX1122" fmla="*/ 60017 w 150971"/>
                  <a:gd name="connsiteY1122" fmla="*/ 102070 h 153028"/>
                  <a:gd name="connsiteX1123" fmla="*/ 58217 w 150971"/>
                  <a:gd name="connsiteY1123" fmla="*/ 104308 h 153028"/>
                  <a:gd name="connsiteX1124" fmla="*/ 61560 w 150971"/>
                  <a:gd name="connsiteY1124" fmla="*/ 106804 h 153028"/>
                  <a:gd name="connsiteX1125" fmla="*/ 60017 w 150971"/>
                  <a:gd name="connsiteY1125" fmla="*/ 102070 h 153028"/>
                  <a:gd name="connsiteX1126" fmla="*/ 140799 w 150971"/>
                  <a:gd name="connsiteY1126" fmla="*/ 83449 h 153028"/>
                  <a:gd name="connsiteX1127" fmla="*/ 141646 w 150971"/>
                  <a:gd name="connsiteY1127" fmla="*/ 85944 h 153028"/>
                  <a:gd name="connsiteX1128" fmla="*/ 139922 w 150971"/>
                  <a:gd name="connsiteY1128" fmla="*/ 84372 h 153028"/>
                  <a:gd name="connsiteX1129" fmla="*/ 140799 w 150971"/>
                  <a:gd name="connsiteY1129" fmla="*/ 83449 h 153028"/>
                  <a:gd name="connsiteX1130" fmla="*/ 14449 w 150971"/>
                  <a:gd name="connsiteY1130" fmla="*/ 113005 h 153028"/>
                  <a:gd name="connsiteX1131" fmla="*/ 15792 w 150971"/>
                  <a:gd name="connsiteY1131" fmla="*/ 113566 h 153028"/>
                  <a:gd name="connsiteX1132" fmla="*/ 14649 w 150971"/>
                  <a:gd name="connsiteY1132" fmla="*/ 114852 h 153028"/>
                  <a:gd name="connsiteX1133" fmla="*/ 14449 w 150971"/>
                  <a:gd name="connsiteY1133" fmla="*/ 113005 h 153028"/>
                  <a:gd name="connsiteX1134" fmla="*/ 85220 w 150971"/>
                  <a:gd name="connsiteY1134" fmla="*/ 96669 h 153028"/>
                  <a:gd name="connsiteX1135" fmla="*/ 83972 w 150971"/>
                  <a:gd name="connsiteY1135" fmla="*/ 98508 h 153028"/>
                  <a:gd name="connsiteX1136" fmla="*/ 86849 w 150971"/>
                  <a:gd name="connsiteY1136" fmla="*/ 100612 h 153028"/>
                  <a:gd name="connsiteX1137" fmla="*/ 85220 w 150971"/>
                  <a:gd name="connsiteY1137" fmla="*/ 96669 h 153028"/>
                  <a:gd name="connsiteX1138" fmla="*/ 30099 w 150971"/>
                  <a:gd name="connsiteY1138" fmla="*/ 110414 h 153028"/>
                  <a:gd name="connsiteX1139" fmla="*/ 31623 w 150971"/>
                  <a:gd name="connsiteY1139" fmla="*/ 114043 h 153028"/>
                  <a:gd name="connsiteX1140" fmla="*/ 28975 w 150971"/>
                  <a:gd name="connsiteY1140" fmla="*/ 112109 h 153028"/>
                  <a:gd name="connsiteX1141" fmla="*/ 30099 w 150971"/>
                  <a:gd name="connsiteY1141" fmla="*/ 110414 h 153028"/>
                  <a:gd name="connsiteX1142" fmla="*/ 131150 w 150971"/>
                  <a:gd name="connsiteY1142" fmla="*/ 87163 h 153028"/>
                  <a:gd name="connsiteX1143" fmla="*/ 132597 w 150971"/>
                  <a:gd name="connsiteY1143" fmla="*/ 90621 h 153028"/>
                  <a:gd name="connsiteX1144" fmla="*/ 130016 w 150971"/>
                  <a:gd name="connsiteY1144" fmla="*/ 88821 h 153028"/>
                  <a:gd name="connsiteX1145" fmla="*/ 131150 w 150971"/>
                  <a:gd name="connsiteY1145" fmla="*/ 87163 h 153028"/>
                  <a:gd name="connsiteX1146" fmla="*/ 101403 w 150971"/>
                  <a:gd name="connsiteY1146" fmla="*/ 94450 h 153028"/>
                  <a:gd name="connsiteX1147" fmla="*/ 99593 w 150971"/>
                  <a:gd name="connsiteY1147" fmla="*/ 96460 h 153028"/>
                  <a:gd name="connsiteX1148" fmla="*/ 102022 w 150971"/>
                  <a:gd name="connsiteY1148" fmla="*/ 99584 h 153028"/>
                  <a:gd name="connsiteX1149" fmla="*/ 103413 w 150971"/>
                  <a:gd name="connsiteY1149" fmla="*/ 99031 h 153028"/>
                  <a:gd name="connsiteX1150" fmla="*/ 104499 w 150971"/>
                  <a:gd name="connsiteY1150" fmla="*/ 98327 h 153028"/>
                  <a:gd name="connsiteX1151" fmla="*/ 103689 w 150971"/>
                  <a:gd name="connsiteY1151" fmla="*/ 94831 h 153028"/>
                  <a:gd name="connsiteX1152" fmla="*/ 101403 w 150971"/>
                  <a:gd name="connsiteY1152" fmla="*/ 94450 h 153028"/>
                  <a:gd name="connsiteX1153" fmla="*/ 76172 w 150971"/>
                  <a:gd name="connsiteY1153" fmla="*/ 100689 h 153028"/>
                  <a:gd name="connsiteX1154" fmla="*/ 74543 w 150971"/>
                  <a:gd name="connsiteY1154" fmla="*/ 102851 h 153028"/>
                  <a:gd name="connsiteX1155" fmla="*/ 77419 w 150971"/>
                  <a:gd name="connsiteY1155" fmla="*/ 104956 h 153028"/>
                  <a:gd name="connsiteX1156" fmla="*/ 76172 w 150971"/>
                  <a:gd name="connsiteY1156" fmla="*/ 100689 h 153028"/>
                  <a:gd name="connsiteX1157" fmla="*/ 46682 w 150971"/>
                  <a:gd name="connsiteY1157" fmla="*/ 107918 h 153028"/>
                  <a:gd name="connsiteX1158" fmla="*/ 49168 w 150971"/>
                  <a:gd name="connsiteY1158" fmla="*/ 109661 h 153028"/>
                  <a:gd name="connsiteX1159" fmla="*/ 49578 w 150971"/>
                  <a:gd name="connsiteY1159" fmla="*/ 110928 h 153028"/>
                  <a:gd name="connsiteX1160" fmla="*/ 47139 w 150971"/>
                  <a:gd name="connsiteY1160" fmla="*/ 113166 h 153028"/>
                  <a:gd name="connsiteX1161" fmla="*/ 44482 w 150971"/>
                  <a:gd name="connsiteY1161" fmla="*/ 109566 h 153028"/>
                  <a:gd name="connsiteX1162" fmla="*/ 46682 w 150971"/>
                  <a:gd name="connsiteY1162" fmla="*/ 107918 h 153028"/>
                  <a:gd name="connsiteX1163" fmla="*/ 121901 w 150971"/>
                  <a:gd name="connsiteY1163" fmla="*/ 90849 h 153028"/>
                  <a:gd name="connsiteX1164" fmla="*/ 123406 w 150971"/>
                  <a:gd name="connsiteY1164" fmla="*/ 95240 h 153028"/>
                  <a:gd name="connsiteX1165" fmla="*/ 120282 w 150971"/>
                  <a:gd name="connsiteY1165" fmla="*/ 93040 h 153028"/>
                  <a:gd name="connsiteX1166" fmla="*/ 121901 w 150971"/>
                  <a:gd name="connsiteY1166" fmla="*/ 90849 h 153028"/>
                  <a:gd name="connsiteX1167" fmla="*/ 21289 w 150971"/>
                  <a:gd name="connsiteY1167" fmla="*/ 115148 h 153028"/>
                  <a:gd name="connsiteX1168" fmla="*/ 22155 w 150971"/>
                  <a:gd name="connsiteY1168" fmla="*/ 117605 h 153028"/>
                  <a:gd name="connsiteX1169" fmla="*/ 20288 w 150971"/>
                  <a:gd name="connsiteY1169" fmla="*/ 116405 h 153028"/>
                  <a:gd name="connsiteX1170" fmla="*/ 21289 w 150971"/>
                  <a:gd name="connsiteY1170" fmla="*/ 115148 h 153028"/>
                  <a:gd name="connsiteX1171" fmla="*/ 66542 w 150971"/>
                  <a:gd name="connsiteY1171" fmla="*/ 104699 h 153028"/>
                  <a:gd name="connsiteX1172" fmla="*/ 64970 w 150971"/>
                  <a:gd name="connsiteY1172" fmla="*/ 106918 h 153028"/>
                  <a:gd name="connsiteX1173" fmla="*/ 68294 w 150971"/>
                  <a:gd name="connsiteY1173" fmla="*/ 109337 h 153028"/>
                  <a:gd name="connsiteX1174" fmla="*/ 66542 w 150971"/>
                  <a:gd name="connsiteY1174" fmla="*/ 104699 h 153028"/>
                  <a:gd name="connsiteX1175" fmla="*/ 91888 w 150971"/>
                  <a:gd name="connsiteY1175" fmla="*/ 98917 h 153028"/>
                  <a:gd name="connsiteX1176" fmla="*/ 90411 w 150971"/>
                  <a:gd name="connsiteY1176" fmla="*/ 101079 h 153028"/>
                  <a:gd name="connsiteX1177" fmla="*/ 93793 w 150971"/>
                  <a:gd name="connsiteY1177" fmla="*/ 103413 h 153028"/>
                  <a:gd name="connsiteX1178" fmla="*/ 91888 w 150971"/>
                  <a:gd name="connsiteY1178" fmla="*/ 98917 h 153028"/>
                  <a:gd name="connsiteX1179" fmla="*/ 147647 w 150971"/>
                  <a:gd name="connsiteY1179" fmla="*/ 86620 h 153028"/>
                  <a:gd name="connsiteX1180" fmla="*/ 147942 w 150971"/>
                  <a:gd name="connsiteY1180" fmla="*/ 86592 h 153028"/>
                  <a:gd name="connsiteX1181" fmla="*/ 148638 w 150971"/>
                  <a:gd name="connsiteY1181" fmla="*/ 87306 h 153028"/>
                  <a:gd name="connsiteX1182" fmla="*/ 147999 w 150971"/>
                  <a:gd name="connsiteY1182" fmla="*/ 87982 h 153028"/>
                  <a:gd name="connsiteX1183" fmla="*/ 147238 w 150971"/>
                  <a:gd name="connsiteY1183" fmla="*/ 87478 h 153028"/>
                  <a:gd name="connsiteX1184" fmla="*/ 147647 w 150971"/>
                  <a:gd name="connsiteY1184" fmla="*/ 86620 h 153028"/>
                  <a:gd name="connsiteX1185" fmla="*/ 113071 w 150971"/>
                  <a:gd name="connsiteY1185" fmla="*/ 94678 h 153028"/>
                  <a:gd name="connsiteX1186" fmla="*/ 113529 w 150971"/>
                  <a:gd name="connsiteY1186" fmla="*/ 99927 h 153028"/>
                  <a:gd name="connsiteX1187" fmla="*/ 110862 w 150971"/>
                  <a:gd name="connsiteY1187" fmla="*/ 97736 h 153028"/>
                  <a:gd name="connsiteX1188" fmla="*/ 110509 w 150971"/>
                  <a:gd name="connsiteY1188" fmla="*/ 96374 h 153028"/>
                  <a:gd name="connsiteX1189" fmla="*/ 113071 w 150971"/>
                  <a:gd name="connsiteY1189" fmla="*/ 94678 h 153028"/>
                  <a:gd name="connsiteX1190" fmla="*/ 36862 w 150971"/>
                  <a:gd name="connsiteY1190" fmla="*/ 112766 h 153028"/>
                  <a:gd name="connsiteX1191" fmla="*/ 38348 w 150971"/>
                  <a:gd name="connsiteY1191" fmla="*/ 116748 h 153028"/>
                  <a:gd name="connsiteX1192" fmla="*/ 35490 w 150971"/>
                  <a:gd name="connsiteY1192" fmla="*/ 114710 h 153028"/>
                  <a:gd name="connsiteX1193" fmla="*/ 36862 w 150971"/>
                  <a:gd name="connsiteY1193" fmla="*/ 112766 h 153028"/>
                  <a:gd name="connsiteX1194" fmla="*/ 138027 w 150971"/>
                  <a:gd name="connsiteY1194" fmla="*/ 90164 h 153028"/>
                  <a:gd name="connsiteX1195" fmla="*/ 139189 w 150971"/>
                  <a:gd name="connsiteY1195" fmla="*/ 92745 h 153028"/>
                  <a:gd name="connsiteX1196" fmla="*/ 137255 w 150971"/>
                  <a:gd name="connsiteY1196" fmla="*/ 91259 h 153028"/>
                  <a:gd name="connsiteX1197" fmla="*/ 138027 w 150971"/>
                  <a:gd name="connsiteY1197" fmla="*/ 90164 h 153028"/>
                  <a:gd name="connsiteX1198" fmla="*/ 82791 w 150971"/>
                  <a:gd name="connsiteY1198" fmla="*/ 103070 h 153028"/>
                  <a:gd name="connsiteX1199" fmla="*/ 81124 w 150971"/>
                  <a:gd name="connsiteY1199" fmla="*/ 105242 h 153028"/>
                  <a:gd name="connsiteX1200" fmla="*/ 84306 w 150971"/>
                  <a:gd name="connsiteY1200" fmla="*/ 107661 h 153028"/>
                  <a:gd name="connsiteX1201" fmla="*/ 82791 w 150971"/>
                  <a:gd name="connsiteY1201" fmla="*/ 103070 h 153028"/>
                  <a:gd name="connsiteX1202" fmla="*/ 128740 w 150971"/>
                  <a:gd name="connsiteY1202" fmla="*/ 93831 h 153028"/>
                  <a:gd name="connsiteX1203" fmla="*/ 129912 w 150971"/>
                  <a:gd name="connsiteY1203" fmla="*/ 97431 h 153028"/>
                  <a:gd name="connsiteX1204" fmla="*/ 127454 w 150971"/>
                  <a:gd name="connsiteY1204" fmla="*/ 95498 h 153028"/>
                  <a:gd name="connsiteX1205" fmla="*/ 128740 w 150971"/>
                  <a:gd name="connsiteY1205" fmla="*/ 93831 h 153028"/>
                  <a:gd name="connsiteX1206" fmla="*/ 27756 w 150971"/>
                  <a:gd name="connsiteY1206" fmla="*/ 117519 h 153028"/>
                  <a:gd name="connsiteX1207" fmla="*/ 29013 w 150971"/>
                  <a:gd name="connsiteY1207" fmla="*/ 120339 h 153028"/>
                  <a:gd name="connsiteX1208" fmla="*/ 26794 w 150971"/>
                  <a:gd name="connsiteY1208" fmla="*/ 118948 h 153028"/>
                  <a:gd name="connsiteX1209" fmla="*/ 27756 w 150971"/>
                  <a:gd name="connsiteY1209" fmla="*/ 117519 h 153028"/>
                  <a:gd name="connsiteX1210" fmla="*/ 73438 w 150971"/>
                  <a:gd name="connsiteY1210" fmla="*/ 107128 h 153028"/>
                  <a:gd name="connsiteX1211" fmla="*/ 71647 w 150971"/>
                  <a:gd name="connsiteY1211" fmla="*/ 109252 h 153028"/>
                  <a:gd name="connsiteX1212" fmla="*/ 74257 w 150971"/>
                  <a:gd name="connsiteY1212" fmla="*/ 112176 h 153028"/>
                  <a:gd name="connsiteX1213" fmla="*/ 75219 w 150971"/>
                  <a:gd name="connsiteY1213" fmla="*/ 111766 h 153028"/>
                  <a:gd name="connsiteX1214" fmla="*/ 73438 w 150971"/>
                  <a:gd name="connsiteY1214" fmla="*/ 107128 h 153028"/>
                  <a:gd name="connsiteX1215" fmla="*/ 43596 w 150971"/>
                  <a:gd name="connsiteY1215" fmla="*/ 115119 h 153028"/>
                  <a:gd name="connsiteX1216" fmla="*/ 45187 w 150971"/>
                  <a:gd name="connsiteY1216" fmla="*/ 119386 h 153028"/>
                  <a:gd name="connsiteX1217" fmla="*/ 42129 w 150971"/>
                  <a:gd name="connsiteY1217" fmla="*/ 116824 h 153028"/>
                  <a:gd name="connsiteX1218" fmla="*/ 43596 w 150971"/>
                  <a:gd name="connsiteY1218" fmla="*/ 115119 h 153028"/>
                  <a:gd name="connsiteX1219" fmla="*/ 119148 w 150971"/>
                  <a:gd name="connsiteY1219" fmla="*/ 97679 h 153028"/>
                  <a:gd name="connsiteX1220" fmla="*/ 120968 w 150971"/>
                  <a:gd name="connsiteY1220" fmla="*/ 101927 h 153028"/>
                  <a:gd name="connsiteX1221" fmla="*/ 117758 w 150971"/>
                  <a:gd name="connsiteY1221" fmla="*/ 99708 h 153028"/>
                  <a:gd name="connsiteX1222" fmla="*/ 119148 w 150971"/>
                  <a:gd name="connsiteY1222" fmla="*/ 97679 h 153028"/>
                  <a:gd name="connsiteX1223" fmla="*/ 89364 w 150971"/>
                  <a:gd name="connsiteY1223" fmla="*/ 105423 h 153028"/>
                  <a:gd name="connsiteX1224" fmla="*/ 87630 w 150971"/>
                  <a:gd name="connsiteY1224" fmla="*/ 107604 h 153028"/>
                  <a:gd name="connsiteX1225" fmla="*/ 89811 w 150971"/>
                  <a:gd name="connsiteY1225" fmla="*/ 110671 h 153028"/>
                  <a:gd name="connsiteX1226" fmla="*/ 91240 w 150971"/>
                  <a:gd name="connsiteY1226" fmla="*/ 110109 h 153028"/>
                  <a:gd name="connsiteX1227" fmla="*/ 92983 w 150971"/>
                  <a:gd name="connsiteY1227" fmla="*/ 108795 h 153028"/>
                  <a:gd name="connsiteX1228" fmla="*/ 92716 w 150971"/>
                  <a:gd name="connsiteY1228" fmla="*/ 107147 h 153028"/>
                  <a:gd name="connsiteX1229" fmla="*/ 89364 w 150971"/>
                  <a:gd name="connsiteY1229" fmla="*/ 105423 h 153028"/>
                  <a:gd name="connsiteX1230" fmla="*/ 145066 w 150971"/>
                  <a:gd name="connsiteY1230" fmla="*/ 93212 h 153028"/>
                  <a:gd name="connsiteX1231" fmla="*/ 146104 w 150971"/>
                  <a:gd name="connsiteY1231" fmla="*/ 93621 h 153028"/>
                  <a:gd name="connsiteX1232" fmla="*/ 145685 w 150971"/>
                  <a:gd name="connsiteY1232" fmla="*/ 94783 h 153028"/>
                  <a:gd name="connsiteX1233" fmla="*/ 144542 w 150971"/>
                  <a:gd name="connsiteY1233" fmla="*/ 94097 h 153028"/>
                  <a:gd name="connsiteX1234" fmla="*/ 145066 w 150971"/>
                  <a:gd name="connsiteY1234" fmla="*/ 93212 h 153028"/>
                  <a:gd name="connsiteX1235" fmla="*/ 18822 w 150971"/>
                  <a:gd name="connsiteY1235" fmla="*/ 122396 h 153028"/>
                  <a:gd name="connsiteX1236" fmla="*/ 19850 w 150971"/>
                  <a:gd name="connsiteY1236" fmla="*/ 123072 h 153028"/>
                  <a:gd name="connsiteX1237" fmla="*/ 19107 w 150971"/>
                  <a:gd name="connsiteY1237" fmla="*/ 123968 h 153028"/>
                  <a:gd name="connsiteX1238" fmla="*/ 18269 w 150971"/>
                  <a:gd name="connsiteY1238" fmla="*/ 123292 h 153028"/>
                  <a:gd name="connsiteX1239" fmla="*/ 18822 w 150971"/>
                  <a:gd name="connsiteY1239" fmla="*/ 122396 h 153028"/>
                  <a:gd name="connsiteX1240" fmla="*/ 110395 w 150971"/>
                  <a:gd name="connsiteY1240" fmla="*/ 101479 h 153028"/>
                  <a:gd name="connsiteX1241" fmla="*/ 111290 w 150971"/>
                  <a:gd name="connsiteY1241" fmla="*/ 106508 h 153028"/>
                  <a:gd name="connsiteX1242" fmla="*/ 108395 w 150971"/>
                  <a:gd name="connsiteY1242" fmla="*/ 104670 h 153028"/>
                  <a:gd name="connsiteX1243" fmla="*/ 108204 w 150971"/>
                  <a:gd name="connsiteY1243" fmla="*/ 103194 h 153028"/>
                  <a:gd name="connsiteX1244" fmla="*/ 110395 w 150971"/>
                  <a:gd name="connsiteY1244" fmla="*/ 101479 h 153028"/>
                  <a:gd name="connsiteX1245" fmla="*/ 34442 w 150971"/>
                  <a:gd name="connsiteY1245" fmla="*/ 119853 h 153028"/>
                  <a:gd name="connsiteX1246" fmla="*/ 35652 w 150971"/>
                  <a:gd name="connsiteY1246" fmla="*/ 123139 h 153028"/>
                  <a:gd name="connsiteX1247" fmla="*/ 33338 w 150971"/>
                  <a:gd name="connsiteY1247" fmla="*/ 121320 h 153028"/>
                  <a:gd name="connsiteX1248" fmla="*/ 34442 w 150971"/>
                  <a:gd name="connsiteY1248" fmla="*/ 119853 h 153028"/>
                  <a:gd name="connsiteX1249" fmla="*/ 80248 w 150971"/>
                  <a:gd name="connsiteY1249" fmla="*/ 109499 h 153028"/>
                  <a:gd name="connsiteX1250" fmla="*/ 78800 w 150971"/>
                  <a:gd name="connsiteY1250" fmla="*/ 110442 h 153028"/>
                  <a:gd name="connsiteX1251" fmla="*/ 79734 w 150971"/>
                  <a:gd name="connsiteY1251" fmla="*/ 115157 h 153028"/>
                  <a:gd name="connsiteX1252" fmla="*/ 83182 w 150971"/>
                  <a:gd name="connsiteY1252" fmla="*/ 113795 h 153028"/>
                  <a:gd name="connsiteX1253" fmla="*/ 83839 w 150971"/>
                  <a:gd name="connsiteY1253" fmla="*/ 112843 h 153028"/>
                  <a:gd name="connsiteX1254" fmla="*/ 83382 w 150971"/>
                  <a:gd name="connsiteY1254" fmla="*/ 111204 h 153028"/>
                  <a:gd name="connsiteX1255" fmla="*/ 80248 w 150971"/>
                  <a:gd name="connsiteY1255" fmla="*/ 109499 h 153028"/>
                  <a:gd name="connsiteX1256" fmla="*/ 135684 w 150971"/>
                  <a:gd name="connsiteY1256" fmla="*/ 96783 h 153028"/>
                  <a:gd name="connsiteX1257" fmla="*/ 136550 w 150971"/>
                  <a:gd name="connsiteY1257" fmla="*/ 99546 h 153028"/>
                  <a:gd name="connsiteX1258" fmla="*/ 134664 w 150971"/>
                  <a:gd name="connsiteY1258" fmla="*/ 98126 h 153028"/>
                  <a:gd name="connsiteX1259" fmla="*/ 135684 w 150971"/>
                  <a:gd name="connsiteY1259" fmla="*/ 96783 h 153028"/>
                  <a:gd name="connsiteX1260" fmla="*/ 50168 w 150971"/>
                  <a:gd name="connsiteY1260" fmla="*/ 117624 h 153028"/>
                  <a:gd name="connsiteX1261" fmla="*/ 51692 w 150971"/>
                  <a:gd name="connsiteY1261" fmla="*/ 122091 h 153028"/>
                  <a:gd name="connsiteX1262" fmla="*/ 48711 w 150971"/>
                  <a:gd name="connsiteY1262" fmla="*/ 119701 h 153028"/>
                  <a:gd name="connsiteX1263" fmla="*/ 50168 w 150971"/>
                  <a:gd name="connsiteY1263" fmla="*/ 117624 h 153028"/>
                  <a:gd name="connsiteX1264" fmla="*/ 126064 w 150971"/>
                  <a:gd name="connsiteY1264" fmla="*/ 100632 h 153028"/>
                  <a:gd name="connsiteX1265" fmla="*/ 127502 w 150971"/>
                  <a:gd name="connsiteY1265" fmla="*/ 104089 h 153028"/>
                  <a:gd name="connsiteX1266" fmla="*/ 124911 w 150971"/>
                  <a:gd name="connsiteY1266" fmla="*/ 102260 h 153028"/>
                  <a:gd name="connsiteX1267" fmla="*/ 126064 w 150971"/>
                  <a:gd name="connsiteY1267" fmla="*/ 100632 h 153028"/>
                  <a:gd name="connsiteX1268" fmla="*/ 25527 w 150971"/>
                  <a:gd name="connsiteY1268" fmla="*/ 124644 h 153028"/>
                  <a:gd name="connsiteX1269" fmla="*/ 26118 w 150971"/>
                  <a:gd name="connsiteY1269" fmla="*/ 126711 h 153028"/>
                  <a:gd name="connsiteX1270" fmla="*/ 24717 w 150971"/>
                  <a:gd name="connsiteY1270" fmla="*/ 125558 h 153028"/>
                  <a:gd name="connsiteX1271" fmla="*/ 25527 w 150971"/>
                  <a:gd name="connsiteY1271" fmla="*/ 124644 h 153028"/>
                  <a:gd name="connsiteX1272" fmla="*/ 116700 w 150971"/>
                  <a:gd name="connsiteY1272" fmla="*/ 104470 h 153028"/>
                  <a:gd name="connsiteX1273" fmla="*/ 118263 w 150971"/>
                  <a:gd name="connsiteY1273" fmla="*/ 108623 h 153028"/>
                  <a:gd name="connsiteX1274" fmla="*/ 115319 w 150971"/>
                  <a:gd name="connsiteY1274" fmla="*/ 106385 h 153028"/>
                  <a:gd name="connsiteX1275" fmla="*/ 116700 w 150971"/>
                  <a:gd name="connsiteY1275" fmla="*/ 104470 h 153028"/>
                  <a:gd name="connsiteX1276" fmla="*/ 41120 w 150971"/>
                  <a:gd name="connsiteY1276" fmla="*/ 122291 h 153028"/>
                  <a:gd name="connsiteX1277" fmla="*/ 42529 w 150971"/>
                  <a:gd name="connsiteY1277" fmla="*/ 125758 h 153028"/>
                  <a:gd name="connsiteX1278" fmla="*/ 39919 w 150971"/>
                  <a:gd name="connsiteY1278" fmla="*/ 124006 h 153028"/>
                  <a:gd name="connsiteX1279" fmla="*/ 41120 w 150971"/>
                  <a:gd name="connsiteY1279" fmla="*/ 122291 h 153028"/>
                  <a:gd name="connsiteX1280" fmla="*/ 142513 w 150971"/>
                  <a:gd name="connsiteY1280" fmla="*/ 99908 h 153028"/>
                  <a:gd name="connsiteX1281" fmla="*/ 143589 w 150971"/>
                  <a:gd name="connsiteY1281" fmla="*/ 100298 h 153028"/>
                  <a:gd name="connsiteX1282" fmla="*/ 143256 w 150971"/>
                  <a:gd name="connsiteY1282" fmla="*/ 101479 h 153028"/>
                  <a:gd name="connsiteX1283" fmla="*/ 142513 w 150971"/>
                  <a:gd name="connsiteY1283" fmla="*/ 99908 h 153028"/>
                  <a:gd name="connsiteX1284" fmla="*/ 107509 w 150971"/>
                  <a:gd name="connsiteY1284" fmla="*/ 108366 h 153028"/>
                  <a:gd name="connsiteX1285" fmla="*/ 109071 w 150971"/>
                  <a:gd name="connsiteY1285" fmla="*/ 113014 h 153028"/>
                  <a:gd name="connsiteX1286" fmla="*/ 105813 w 150971"/>
                  <a:gd name="connsiteY1286" fmla="*/ 110576 h 153028"/>
                  <a:gd name="connsiteX1287" fmla="*/ 107509 w 150971"/>
                  <a:gd name="connsiteY1287" fmla="*/ 108366 h 153028"/>
                  <a:gd name="connsiteX1288" fmla="*/ 56931 w 150971"/>
                  <a:gd name="connsiteY1288" fmla="*/ 120120 h 153028"/>
                  <a:gd name="connsiteX1289" fmla="*/ 58779 w 150971"/>
                  <a:gd name="connsiteY1289" fmla="*/ 124511 h 153028"/>
                  <a:gd name="connsiteX1290" fmla="*/ 55426 w 150971"/>
                  <a:gd name="connsiteY1290" fmla="*/ 122320 h 153028"/>
                  <a:gd name="connsiteX1291" fmla="*/ 56931 w 150971"/>
                  <a:gd name="connsiteY1291" fmla="*/ 120120 h 153028"/>
                  <a:gd name="connsiteX1292" fmla="*/ 132969 w 150971"/>
                  <a:gd name="connsiteY1292" fmla="*/ 103594 h 153028"/>
                  <a:gd name="connsiteX1293" fmla="*/ 134245 w 150971"/>
                  <a:gd name="connsiteY1293" fmla="*/ 106147 h 153028"/>
                  <a:gd name="connsiteX1294" fmla="*/ 132140 w 150971"/>
                  <a:gd name="connsiteY1294" fmla="*/ 104927 h 153028"/>
                  <a:gd name="connsiteX1295" fmla="*/ 132969 w 150971"/>
                  <a:gd name="connsiteY1295" fmla="*/ 103594 h 153028"/>
                  <a:gd name="connsiteX1296" fmla="*/ 32004 w 150971"/>
                  <a:gd name="connsiteY1296" fmla="*/ 127054 h 153028"/>
                  <a:gd name="connsiteX1297" fmla="*/ 33147 w 150971"/>
                  <a:gd name="connsiteY1297" fmla="*/ 129369 h 153028"/>
                  <a:gd name="connsiteX1298" fmla="*/ 32004 w 150971"/>
                  <a:gd name="connsiteY1298" fmla="*/ 127054 h 153028"/>
                  <a:gd name="connsiteX1299" fmla="*/ 73543 w 150971"/>
                  <a:gd name="connsiteY1299" fmla="*/ 118110 h 153028"/>
                  <a:gd name="connsiteX1300" fmla="*/ 74171 w 150971"/>
                  <a:gd name="connsiteY1300" fmla="*/ 123273 h 153028"/>
                  <a:gd name="connsiteX1301" fmla="*/ 71295 w 150971"/>
                  <a:gd name="connsiteY1301" fmla="*/ 119691 h 153028"/>
                  <a:gd name="connsiteX1302" fmla="*/ 73543 w 150971"/>
                  <a:gd name="connsiteY1302" fmla="*/ 118110 h 153028"/>
                  <a:gd name="connsiteX1303" fmla="*/ 98498 w 150971"/>
                  <a:gd name="connsiteY1303" fmla="*/ 112424 h 153028"/>
                  <a:gd name="connsiteX1304" fmla="*/ 99127 w 150971"/>
                  <a:gd name="connsiteY1304" fmla="*/ 117443 h 153028"/>
                  <a:gd name="connsiteX1305" fmla="*/ 96584 w 150971"/>
                  <a:gd name="connsiteY1305" fmla="*/ 113814 h 153028"/>
                  <a:gd name="connsiteX1306" fmla="*/ 98498 w 150971"/>
                  <a:gd name="connsiteY1306" fmla="*/ 112424 h 153028"/>
                  <a:gd name="connsiteX1307" fmla="*/ 47825 w 150971"/>
                  <a:gd name="connsiteY1307" fmla="*/ 124730 h 153028"/>
                  <a:gd name="connsiteX1308" fmla="*/ 49368 w 150971"/>
                  <a:gd name="connsiteY1308" fmla="*/ 128321 h 153028"/>
                  <a:gd name="connsiteX1309" fmla="*/ 46577 w 150971"/>
                  <a:gd name="connsiteY1309" fmla="*/ 126578 h 153028"/>
                  <a:gd name="connsiteX1310" fmla="*/ 47825 w 150971"/>
                  <a:gd name="connsiteY1310" fmla="*/ 124730 h 153028"/>
                  <a:gd name="connsiteX1311" fmla="*/ 123558 w 150971"/>
                  <a:gd name="connsiteY1311" fmla="*/ 107394 h 153028"/>
                  <a:gd name="connsiteX1312" fmla="*/ 124796 w 150971"/>
                  <a:gd name="connsiteY1312" fmla="*/ 110795 h 153028"/>
                  <a:gd name="connsiteX1313" fmla="*/ 122454 w 150971"/>
                  <a:gd name="connsiteY1313" fmla="*/ 109061 h 153028"/>
                  <a:gd name="connsiteX1314" fmla="*/ 123558 w 150971"/>
                  <a:gd name="connsiteY1314" fmla="*/ 107394 h 153028"/>
                  <a:gd name="connsiteX1315" fmla="*/ 89421 w 150971"/>
                  <a:gd name="connsiteY1315" fmla="*/ 116529 h 153028"/>
                  <a:gd name="connsiteX1316" fmla="*/ 90030 w 150971"/>
                  <a:gd name="connsiteY1316" fmla="*/ 121625 h 153028"/>
                  <a:gd name="connsiteX1317" fmla="*/ 87354 w 150971"/>
                  <a:gd name="connsiteY1317" fmla="*/ 117919 h 153028"/>
                  <a:gd name="connsiteX1318" fmla="*/ 89421 w 150971"/>
                  <a:gd name="connsiteY1318" fmla="*/ 116529 h 153028"/>
                  <a:gd name="connsiteX1319" fmla="*/ 63780 w 150971"/>
                  <a:gd name="connsiteY1319" fmla="*/ 122644 h 153028"/>
                  <a:gd name="connsiteX1320" fmla="*/ 65265 w 150971"/>
                  <a:gd name="connsiteY1320" fmla="*/ 127121 h 153028"/>
                  <a:gd name="connsiteX1321" fmla="*/ 62189 w 150971"/>
                  <a:gd name="connsiteY1321" fmla="*/ 124644 h 153028"/>
                  <a:gd name="connsiteX1322" fmla="*/ 63780 w 150971"/>
                  <a:gd name="connsiteY1322" fmla="*/ 122644 h 153028"/>
                  <a:gd name="connsiteX1323" fmla="*/ 23022 w 150971"/>
                  <a:gd name="connsiteY1323" fmla="*/ 132197 h 153028"/>
                  <a:gd name="connsiteX1324" fmla="*/ 23508 w 150971"/>
                  <a:gd name="connsiteY1324" fmla="*/ 132312 h 153028"/>
                  <a:gd name="connsiteX1325" fmla="*/ 23422 w 150971"/>
                  <a:gd name="connsiteY1325" fmla="*/ 132750 h 153028"/>
                  <a:gd name="connsiteX1326" fmla="*/ 23127 w 150971"/>
                  <a:gd name="connsiteY1326" fmla="*/ 132778 h 153028"/>
                  <a:gd name="connsiteX1327" fmla="*/ 22927 w 150971"/>
                  <a:gd name="connsiteY1327" fmla="*/ 132407 h 153028"/>
                  <a:gd name="connsiteX1328" fmla="*/ 23022 w 150971"/>
                  <a:gd name="connsiteY1328" fmla="*/ 132197 h 153028"/>
                  <a:gd name="connsiteX1329" fmla="*/ 114319 w 150971"/>
                  <a:gd name="connsiteY1329" fmla="*/ 111271 h 153028"/>
                  <a:gd name="connsiteX1330" fmla="*/ 115796 w 150971"/>
                  <a:gd name="connsiteY1330" fmla="*/ 115186 h 153028"/>
                  <a:gd name="connsiteX1331" fmla="*/ 112909 w 150971"/>
                  <a:gd name="connsiteY1331" fmla="*/ 113043 h 153028"/>
                  <a:gd name="connsiteX1332" fmla="*/ 114319 w 150971"/>
                  <a:gd name="connsiteY1332" fmla="*/ 111271 h 153028"/>
                  <a:gd name="connsiteX1333" fmla="*/ 38710 w 150971"/>
                  <a:gd name="connsiteY1333" fmla="*/ 129454 h 153028"/>
                  <a:gd name="connsiteX1334" fmla="*/ 39776 w 150971"/>
                  <a:gd name="connsiteY1334" fmla="*/ 132093 h 153028"/>
                  <a:gd name="connsiteX1335" fmla="*/ 37843 w 150971"/>
                  <a:gd name="connsiteY1335" fmla="*/ 130607 h 153028"/>
                  <a:gd name="connsiteX1336" fmla="*/ 38710 w 150971"/>
                  <a:gd name="connsiteY1336" fmla="*/ 129454 h 153028"/>
                  <a:gd name="connsiteX1337" fmla="*/ 139980 w 150971"/>
                  <a:gd name="connsiteY1337" fmla="*/ 106680 h 153028"/>
                  <a:gd name="connsiteX1338" fmla="*/ 141151 w 150971"/>
                  <a:gd name="connsiteY1338" fmla="*/ 107318 h 153028"/>
                  <a:gd name="connsiteX1339" fmla="*/ 140313 w 150971"/>
                  <a:gd name="connsiteY1339" fmla="*/ 108309 h 153028"/>
                  <a:gd name="connsiteX1340" fmla="*/ 139455 w 150971"/>
                  <a:gd name="connsiteY1340" fmla="*/ 107556 h 153028"/>
                  <a:gd name="connsiteX1341" fmla="*/ 139980 w 150971"/>
                  <a:gd name="connsiteY1341" fmla="*/ 106680 h 153028"/>
                  <a:gd name="connsiteX1342" fmla="*/ 79839 w 150971"/>
                  <a:gd name="connsiteY1342" fmla="*/ 120872 h 153028"/>
                  <a:gd name="connsiteX1343" fmla="*/ 81344 w 150971"/>
                  <a:gd name="connsiteY1343" fmla="*/ 125568 h 153028"/>
                  <a:gd name="connsiteX1344" fmla="*/ 78048 w 150971"/>
                  <a:gd name="connsiteY1344" fmla="*/ 122949 h 153028"/>
                  <a:gd name="connsiteX1345" fmla="*/ 79839 w 150971"/>
                  <a:gd name="connsiteY1345" fmla="*/ 120872 h 153028"/>
                  <a:gd name="connsiteX1346" fmla="*/ 104899 w 150971"/>
                  <a:gd name="connsiteY1346" fmla="*/ 115310 h 153028"/>
                  <a:gd name="connsiteX1347" fmla="*/ 106347 w 150971"/>
                  <a:gd name="connsiteY1347" fmla="*/ 119605 h 153028"/>
                  <a:gd name="connsiteX1348" fmla="*/ 103489 w 150971"/>
                  <a:gd name="connsiteY1348" fmla="*/ 117272 h 153028"/>
                  <a:gd name="connsiteX1349" fmla="*/ 104899 w 150971"/>
                  <a:gd name="connsiteY1349" fmla="*/ 115310 h 153028"/>
                  <a:gd name="connsiteX1350" fmla="*/ 54588 w 150971"/>
                  <a:gd name="connsiteY1350" fmla="*/ 127235 h 153028"/>
                  <a:gd name="connsiteX1351" fmla="*/ 56140 w 150971"/>
                  <a:gd name="connsiteY1351" fmla="*/ 130854 h 153028"/>
                  <a:gd name="connsiteX1352" fmla="*/ 53254 w 150971"/>
                  <a:gd name="connsiteY1352" fmla="*/ 129054 h 153028"/>
                  <a:gd name="connsiteX1353" fmla="*/ 54588 w 150971"/>
                  <a:gd name="connsiteY1353" fmla="*/ 127235 h 153028"/>
                  <a:gd name="connsiteX1354" fmla="*/ 130512 w 150971"/>
                  <a:gd name="connsiteY1354" fmla="*/ 110385 h 153028"/>
                  <a:gd name="connsiteX1355" fmla="*/ 131474 w 150971"/>
                  <a:gd name="connsiteY1355" fmla="*/ 112900 h 153028"/>
                  <a:gd name="connsiteX1356" fmla="*/ 129673 w 150971"/>
                  <a:gd name="connsiteY1356" fmla="*/ 111528 h 153028"/>
                  <a:gd name="connsiteX1357" fmla="*/ 130512 w 150971"/>
                  <a:gd name="connsiteY1357" fmla="*/ 110385 h 153028"/>
                  <a:gd name="connsiteX1358" fmla="*/ 29661 w 150971"/>
                  <a:gd name="connsiteY1358" fmla="*/ 134350 h 153028"/>
                  <a:gd name="connsiteX1359" fmla="*/ 30632 w 150971"/>
                  <a:gd name="connsiteY1359" fmla="*/ 134769 h 153028"/>
                  <a:gd name="connsiteX1360" fmla="*/ 30042 w 150971"/>
                  <a:gd name="connsiteY1360" fmla="*/ 135665 h 153028"/>
                  <a:gd name="connsiteX1361" fmla="*/ 29289 w 150971"/>
                  <a:gd name="connsiteY1361" fmla="*/ 135198 h 153028"/>
                  <a:gd name="connsiteX1362" fmla="*/ 29661 w 150971"/>
                  <a:gd name="connsiteY1362" fmla="*/ 134350 h 153028"/>
                  <a:gd name="connsiteX1363" fmla="*/ 95564 w 150971"/>
                  <a:gd name="connsiteY1363" fmla="*/ 119434 h 153028"/>
                  <a:gd name="connsiteX1364" fmla="*/ 97498 w 150971"/>
                  <a:gd name="connsiteY1364" fmla="*/ 123692 h 153028"/>
                  <a:gd name="connsiteX1365" fmla="*/ 94145 w 150971"/>
                  <a:gd name="connsiteY1365" fmla="*/ 121501 h 153028"/>
                  <a:gd name="connsiteX1366" fmla="*/ 95564 w 150971"/>
                  <a:gd name="connsiteY1366" fmla="*/ 119434 h 153028"/>
                  <a:gd name="connsiteX1367" fmla="*/ 70390 w 150971"/>
                  <a:gd name="connsiteY1367" fmla="*/ 125330 h 153028"/>
                  <a:gd name="connsiteX1368" fmla="*/ 71876 w 150971"/>
                  <a:gd name="connsiteY1368" fmla="*/ 129616 h 153028"/>
                  <a:gd name="connsiteX1369" fmla="*/ 68971 w 150971"/>
                  <a:gd name="connsiteY1369" fmla="*/ 127406 h 153028"/>
                  <a:gd name="connsiteX1370" fmla="*/ 70390 w 150971"/>
                  <a:gd name="connsiteY1370" fmla="*/ 125330 h 153028"/>
                  <a:gd name="connsiteX1371" fmla="*/ 121148 w 150971"/>
                  <a:gd name="connsiteY1371" fmla="*/ 114214 h 153028"/>
                  <a:gd name="connsiteX1372" fmla="*/ 122368 w 150971"/>
                  <a:gd name="connsiteY1372" fmla="*/ 117348 h 153028"/>
                  <a:gd name="connsiteX1373" fmla="*/ 120053 w 150971"/>
                  <a:gd name="connsiteY1373" fmla="*/ 115719 h 153028"/>
                  <a:gd name="connsiteX1374" fmla="*/ 121148 w 150971"/>
                  <a:gd name="connsiteY1374" fmla="*/ 114214 h 153028"/>
                  <a:gd name="connsiteX1375" fmla="*/ 45320 w 150971"/>
                  <a:gd name="connsiteY1375" fmla="*/ 131950 h 153028"/>
                  <a:gd name="connsiteX1376" fmla="*/ 46663 w 150971"/>
                  <a:gd name="connsiteY1376" fmla="*/ 134636 h 153028"/>
                  <a:gd name="connsiteX1377" fmla="*/ 44472 w 150971"/>
                  <a:gd name="connsiteY1377" fmla="*/ 133207 h 153028"/>
                  <a:gd name="connsiteX1378" fmla="*/ 45320 w 150971"/>
                  <a:gd name="connsiteY1378" fmla="*/ 131950 h 153028"/>
                  <a:gd name="connsiteX1379" fmla="*/ 86544 w 150971"/>
                  <a:gd name="connsiteY1379" fmla="*/ 123606 h 153028"/>
                  <a:gd name="connsiteX1380" fmla="*/ 87897 w 150971"/>
                  <a:gd name="connsiteY1380" fmla="*/ 127968 h 153028"/>
                  <a:gd name="connsiteX1381" fmla="*/ 84944 w 150971"/>
                  <a:gd name="connsiteY1381" fmla="*/ 125692 h 153028"/>
                  <a:gd name="connsiteX1382" fmla="*/ 86544 w 150971"/>
                  <a:gd name="connsiteY1382" fmla="*/ 123606 h 153028"/>
                  <a:gd name="connsiteX1383" fmla="*/ 61227 w 150971"/>
                  <a:gd name="connsiteY1383" fmla="*/ 129835 h 153028"/>
                  <a:gd name="connsiteX1384" fmla="*/ 62837 w 150971"/>
                  <a:gd name="connsiteY1384" fmla="*/ 133369 h 153028"/>
                  <a:gd name="connsiteX1385" fmla="*/ 60027 w 150971"/>
                  <a:gd name="connsiteY1385" fmla="*/ 131550 h 153028"/>
                  <a:gd name="connsiteX1386" fmla="*/ 61227 w 150971"/>
                  <a:gd name="connsiteY1386" fmla="*/ 129835 h 153028"/>
                  <a:gd name="connsiteX1387" fmla="*/ 111681 w 150971"/>
                  <a:gd name="connsiteY1387" fmla="*/ 118224 h 153028"/>
                  <a:gd name="connsiteX1388" fmla="*/ 113138 w 150971"/>
                  <a:gd name="connsiteY1388" fmla="*/ 121758 h 153028"/>
                  <a:gd name="connsiteX1389" fmla="*/ 110585 w 150971"/>
                  <a:gd name="connsiteY1389" fmla="*/ 119882 h 153028"/>
                  <a:gd name="connsiteX1390" fmla="*/ 111681 w 150971"/>
                  <a:gd name="connsiteY1390" fmla="*/ 118224 h 153028"/>
                  <a:gd name="connsiteX1391" fmla="*/ 36328 w 150971"/>
                  <a:gd name="connsiteY1391" fmla="*/ 136722 h 153028"/>
                  <a:gd name="connsiteX1392" fmla="*/ 37557 w 150971"/>
                  <a:gd name="connsiteY1392" fmla="*/ 137427 h 153028"/>
                  <a:gd name="connsiteX1393" fmla="*/ 36747 w 150971"/>
                  <a:gd name="connsiteY1393" fmla="*/ 138370 h 153028"/>
                  <a:gd name="connsiteX1394" fmla="*/ 36328 w 150971"/>
                  <a:gd name="connsiteY1394" fmla="*/ 136722 h 153028"/>
                  <a:gd name="connsiteX1395" fmla="*/ 137493 w 150971"/>
                  <a:gd name="connsiteY1395" fmla="*/ 113481 h 153028"/>
                  <a:gd name="connsiteX1396" fmla="*/ 138522 w 150971"/>
                  <a:gd name="connsiteY1396" fmla="*/ 114157 h 153028"/>
                  <a:gd name="connsiteX1397" fmla="*/ 138017 w 150971"/>
                  <a:gd name="connsiteY1397" fmla="*/ 114919 h 153028"/>
                  <a:gd name="connsiteX1398" fmla="*/ 137036 w 150971"/>
                  <a:gd name="connsiteY1398" fmla="*/ 114271 h 153028"/>
                  <a:gd name="connsiteX1399" fmla="*/ 137493 w 150971"/>
                  <a:gd name="connsiteY1399" fmla="*/ 113481 h 153028"/>
                  <a:gd name="connsiteX1400" fmla="*/ 77191 w 150971"/>
                  <a:gd name="connsiteY1400" fmla="*/ 127968 h 153028"/>
                  <a:gd name="connsiteX1401" fmla="*/ 78857 w 150971"/>
                  <a:gd name="connsiteY1401" fmla="*/ 131912 h 153028"/>
                  <a:gd name="connsiteX1402" fmla="*/ 75829 w 150971"/>
                  <a:gd name="connsiteY1402" fmla="*/ 129988 h 153028"/>
                  <a:gd name="connsiteX1403" fmla="*/ 77191 w 150971"/>
                  <a:gd name="connsiteY1403" fmla="*/ 127968 h 153028"/>
                  <a:gd name="connsiteX1404" fmla="*/ 102508 w 150971"/>
                  <a:gd name="connsiteY1404" fmla="*/ 122234 h 153028"/>
                  <a:gd name="connsiteX1405" fmla="*/ 103994 w 150971"/>
                  <a:gd name="connsiteY1405" fmla="*/ 126025 h 153028"/>
                  <a:gd name="connsiteX1406" fmla="*/ 101194 w 150971"/>
                  <a:gd name="connsiteY1406" fmla="*/ 124053 h 153028"/>
                  <a:gd name="connsiteX1407" fmla="*/ 102508 w 150971"/>
                  <a:gd name="connsiteY1407" fmla="*/ 122234 h 153028"/>
                  <a:gd name="connsiteX1408" fmla="*/ 52083 w 150971"/>
                  <a:gd name="connsiteY1408" fmla="*/ 134445 h 153028"/>
                  <a:gd name="connsiteX1409" fmla="*/ 53473 w 150971"/>
                  <a:gd name="connsiteY1409" fmla="*/ 137160 h 153028"/>
                  <a:gd name="connsiteX1410" fmla="*/ 51178 w 150971"/>
                  <a:gd name="connsiteY1410" fmla="*/ 135941 h 153028"/>
                  <a:gd name="connsiteX1411" fmla="*/ 52083 w 150971"/>
                  <a:gd name="connsiteY1411" fmla="*/ 134445 h 153028"/>
                  <a:gd name="connsiteX1412" fmla="*/ 127930 w 150971"/>
                  <a:gd name="connsiteY1412" fmla="*/ 117281 h 153028"/>
                  <a:gd name="connsiteX1413" fmla="*/ 129007 w 150971"/>
                  <a:gd name="connsiteY1413" fmla="*/ 119462 h 153028"/>
                  <a:gd name="connsiteX1414" fmla="*/ 127283 w 150971"/>
                  <a:gd name="connsiteY1414" fmla="*/ 118386 h 153028"/>
                  <a:gd name="connsiteX1415" fmla="*/ 127930 w 150971"/>
                  <a:gd name="connsiteY1415" fmla="*/ 117281 h 153028"/>
                  <a:gd name="connsiteX1416" fmla="*/ 93193 w 150971"/>
                  <a:gd name="connsiteY1416" fmla="*/ 126435 h 153028"/>
                  <a:gd name="connsiteX1417" fmla="*/ 94707 w 150971"/>
                  <a:gd name="connsiteY1417" fmla="*/ 130226 h 153028"/>
                  <a:gd name="connsiteX1418" fmla="*/ 91897 w 150971"/>
                  <a:gd name="connsiteY1418" fmla="*/ 128254 h 153028"/>
                  <a:gd name="connsiteX1419" fmla="*/ 93193 w 150971"/>
                  <a:gd name="connsiteY1419" fmla="*/ 126435 h 153028"/>
                  <a:gd name="connsiteX1420" fmla="*/ 68047 w 150971"/>
                  <a:gd name="connsiteY1420" fmla="*/ 132436 h 153028"/>
                  <a:gd name="connsiteX1421" fmla="*/ 69342 w 150971"/>
                  <a:gd name="connsiteY1421" fmla="*/ 135931 h 153028"/>
                  <a:gd name="connsiteX1422" fmla="*/ 66827 w 150971"/>
                  <a:gd name="connsiteY1422" fmla="*/ 134083 h 153028"/>
                  <a:gd name="connsiteX1423" fmla="*/ 68047 w 150971"/>
                  <a:gd name="connsiteY1423" fmla="*/ 132436 h 153028"/>
                  <a:gd name="connsiteX1424" fmla="*/ 118615 w 150971"/>
                  <a:gd name="connsiteY1424" fmla="*/ 121139 h 153028"/>
                  <a:gd name="connsiteX1425" fmla="*/ 119853 w 150971"/>
                  <a:gd name="connsiteY1425" fmla="*/ 123892 h 153028"/>
                  <a:gd name="connsiteX1426" fmla="*/ 117710 w 150971"/>
                  <a:gd name="connsiteY1426" fmla="*/ 122492 h 153028"/>
                  <a:gd name="connsiteX1427" fmla="*/ 118615 w 150971"/>
                  <a:gd name="connsiteY1427" fmla="*/ 121139 h 153028"/>
                  <a:gd name="connsiteX1428" fmla="*/ 43110 w 150971"/>
                  <a:gd name="connsiteY1428" fmla="*/ 139141 h 153028"/>
                  <a:gd name="connsiteX1429" fmla="*/ 43758 w 150971"/>
                  <a:gd name="connsiteY1429" fmla="*/ 140970 h 153028"/>
                  <a:gd name="connsiteX1430" fmla="*/ 42463 w 150971"/>
                  <a:gd name="connsiteY1430" fmla="*/ 140132 h 153028"/>
                  <a:gd name="connsiteX1431" fmla="*/ 43110 w 150971"/>
                  <a:gd name="connsiteY1431" fmla="*/ 139141 h 153028"/>
                  <a:gd name="connsiteX1432" fmla="*/ 84182 w 150971"/>
                  <a:gd name="connsiteY1432" fmla="*/ 130645 h 153028"/>
                  <a:gd name="connsiteX1433" fmla="*/ 85477 w 150971"/>
                  <a:gd name="connsiteY1433" fmla="*/ 134293 h 153028"/>
                  <a:gd name="connsiteX1434" fmla="*/ 82734 w 150971"/>
                  <a:gd name="connsiteY1434" fmla="*/ 132455 h 153028"/>
                  <a:gd name="connsiteX1435" fmla="*/ 84182 w 150971"/>
                  <a:gd name="connsiteY1435" fmla="*/ 130645 h 153028"/>
                  <a:gd name="connsiteX1436" fmla="*/ 109214 w 150971"/>
                  <a:gd name="connsiteY1436" fmla="*/ 125168 h 153028"/>
                  <a:gd name="connsiteX1437" fmla="*/ 110709 w 150971"/>
                  <a:gd name="connsiteY1437" fmla="*/ 128197 h 153028"/>
                  <a:gd name="connsiteX1438" fmla="*/ 108261 w 150971"/>
                  <a:gd name="connsiteY1438" fmla="*/ 126635 h 153028"/>
                  <a:gd name="connsiteX1439" fmla="*/ 109214 w 150971"/>
                  <a:gd name="connsiteY1439" fmla="*/ 125168 h 153028"/>
                  <a:gd name="connsiteX1440" fmla="*/ 58884 w 150971"/>
                  <a:gd name="connsiteY1440" fmla="*/ 136979 h 153028"/>
                  <a:gd name="connsiteX1441" fmla="*/ 60055 w 150971"/>
                  <a:gd name="connsiteY1441" fmla="*/ 139741 h 153028"/>
                  <a:gd name="connsiteX1442" fmla="*/ 57921 w 150971"/>
                  <a:gd name="connsiteY1442" fmla="*/ 138379 h 153028"/>
                  <a:gd name="connsiteX1443" fmla="*/ 58884 w 150971"/>
                  <a:gd name="connsiteY1443" fmla="*/ 136979 h 153028"/>
                  <a:gd name="connsiteX1444" fmla="*/ 135026 w 150971"/>
                  <a:gd name="connsiteY1444" fmla="*/ 120386 h 153028"/>
                  <a:gd name="connsiteX1445" fmla="*/ 135284 w 150971"/>
                  <a:gd name="connsiteY1445" fmla="*/ 120358 h 153028"/>
                  <a:gd name="connsiteX1446" fmla="*/ 135760 w 150971"/>
                  <a:gd name="connsiteY1446" fmla="*/ 120929 h 153028"/>
                  <a:gd name="connsiteX1447" fmla="*/ 135493 w 150971"/>
                  <a:gd name="connsiteY1447" fmla="*/ 121406 h 153028"/>
                  <a:gd name="connsiteX1448" fmla="*/ 135236 w 150971"/>
                  <a:gd name="connsiteY1448" fmla="*/ 121425 h 153028"/>
                  <a:gd name="connsiteX1449" fmla="*/ 134693 w 150971"/>
                  <a:gd name="connsiteY1449" fmla="*/ 121053 h 153028"/>
                  <a:gd name="connsiteX1450" fmla="*/ 135026 w 150971"/>
                  <a:gd name="connsiteY1450" fmla="*/ 120386 h 153028"/>
                  <a:gd name="connsiteX1451" fmla="*/ 100136 w 150971"/>
                  <a:gd name="connsiteY1451" fmla="*/ 129235 h 153028"/>
                  <a:gd name="connsiteX1452" fmla="*/ 101375 w 150971"/>
                  <a:gd name="connsiteY1452" fmla="*/ 132474 h 153028"/>
                  <a:gd name="connsiteX1453" fmla="*/ 98936 w 150971"/>
                  <a:gd name="connsiteY1453" fmla="*/ 130797 h 153028"/>
                  <a:gd name="connsiteX1454" fmla="*/ 100136 w 150971"/>
                  <a:gd name="connsiteY1454" fmla="*/ 129235 h 153028"/>
                  <a:gd name="connsiteX1455" fmla="*/ 74743 w 150971"/>
                  <a:gd name="connsiteY1455" fmla="*/ 135141 h 153028"/>
                  <a:gd name="connsiteX1456" fmla="*/ 75943 w 150971"/>
                  <a:gd name="connsiteY1456" fmla="*/ 138360 h 153028"/>
                  <a:gd name="connsiteX1457" fmla="*/ 73695 w 150971"/>
                  <a:gd name="connsiteY1457" fmla="*/ 136674 h 153028"/>
                  <a:gd name="connsiteX1458" fmla="*/ 74743 w 150971"/>
                  <a:gd name="connsiteY1458" fmla="*/ 135141 h 153028"/>
                  <a:gd name="connsiteX1459" fmla="*/ 49797 w 150971"/>
                  <a:gd name="connsiteY1459" fmla="*/ 141656 h 153028"/>
                  <a:gd name="connsiteX1460" fmla="*/ 50597 w 150971"/>
                  <a:gd name="connsiteY1460" fmla="*/ 143485 h 153028"/>
                  <a:gd name="connsiteX1461" fmla="*/ 49178 w 150971"/>
                  <a:gd name="connsiteY1461" fmla="*/ 142446 h 153028"/>
                  <a:gd name="connsiteX1462" fmla="*/ 49797 w 150971"/>
                  <a:gd name="connsiteY1462" fmla="*/ 141656 h 153028"/>
                  <a:gd name="connsiteX1463" fmla="*/ 125539 w 150971"/>
                  <a:gd name="connsiteY1463" fmla="*/ 124168 h 153028"/>
                  <a:gd name="connsiteX1464" fmla="*/ 126387 w 150971"/>
                  <a:gd name="connsiteY1464" fmla="*/ 126016 h 153028"/>
                  <a:gd name="connsiteX1465" fmla="*/ 124949 w 150971"/>
                  <a:gd name="connsiteY1465" fmla="*/ 125063 h 153028"/>
                  <a:gd name="connsiteX1466" fmla="*/ 125539 w 150971"/>
                  <a:gd name="connsiteY1466" fmla="*/ 124168 h 153028"/>
                  <a:gd name="connsiteX1467" fmla="*/ 90907 w 150971"/>
                  <a:gd name="connsiteY1467" fmla="*/ 133455 h 153028"/>
                  <a:gd name="connsiteX1468" fmla="*/ 92097 w 150971"/>
                  <a:gd name="connsiteY1468" fmla="*/ 136636 h 153028"/>
                  <a:gd name="connsiteX1469" fmla="*/ 89716 w 150971"/>
                  <a:gd name="connsiteY1469" fmla="*/ 135055 h 153028"/>
                  <a:gd name="connsiteX1470" fmla="*/ 90907 w 150971"/>
                  <a:gd name="connsiteY1470" fmla="*/ 133455 h 153028"/>
                  <a:gd name="connsiteX1471" fmla="*/ 65751 w 150971"/>
                  <a:gd name="connsiteY1471" fmla="*/ 139570 h 153028"/>
                  <a:gd name="connsiteX1472" fmla="*/ 66732 w 150971"/>
                  <a:gd name="connsiteY1472" fmla="*/ 142189 h 153028"/>
                  <a:gd name="connsiteX1473" fmla="*/ 64751 w 150971"/>
                  <a:gd name="connsiteY1473" fmla="*/ 140979 h 153028"/>
                  <a:gd name="connsiteX1474" fmla="*/ 65751 w 150971"/>
                  <a:gd name="connsiteY1474" fmla="*/ 139570 h 153028"/>
                  <a:gd name="connsiteX1475" fmla="*/ 116129 w 150971"/>
                  <a:gd name="connsiteY1475" fmla="*/ 128130 h 153028"/>
                  <a:gd name="connsiteX1476" fmla="*/ 117186 w 150971"/>
                  <a:gd name="connsiteY1476" fmla="*/ 130426 h 153028"/>
                  <a:gd name="connsiteX1477" fmla="*/ 115414 w 150971"/>
                  <a:gd name="connsiteY1477" fmla="*/ 129168 h 153028"/>
                  <a:gd name="connsiteX1478" fmla="*/ 116129 w 150971"/>
                  <a:gd name="connsiteY1478" fmla="*/ 128130 h 153028"/>
                  <a:gd name="connsiteX1479" fmla="*/ 81524 w 150971"/>
                  <a:gd name="connsiteY1479" fmla="*/ 137865 h 153028"/>
                  <a:gd name="connsiteX1480" fmla="*/ 82706 w 150971"/>
                  <a:gd name="connsiteY1480" fmla="*/ 140703 h 153028"/>
                  <a:gd name="connsiteX1481" fmla="*/ 80620 w 150971"/>
                  <a:gd name="connsiteY1481" fmla="*/ 139208 h 153028"/>
                  <a:gd name="connsiteX1482" fmla="*/ 81524 w 150971"/>
                  <a:gd name="connsiteY1482" fmla="*/ 137865 h 153028"/>
                  <a:gd name="connsiteX1483" fmla="*/ 106956 w 150971"/>
                  <a:gd name="connsiteY1483" fmla="*/ 132140 h 153028"/>
                  <a:gd name="connsiteX1484" fmla="*/ 107899 w 150971"/>
                  <a:gd name="connsiteY1484" fmla="*/ 134731 h 153028"/>
                  <a:gd name="connsiteX1485" fmla="*/ 106042 w 150971"/>
                  <a:gd name="connsiteY1485" fmla="*/ 133417 h 153028"/>
                  <a:gd name="connsiteX1486" fmla="*/ 106956 w 150971"/>
                  <a:gd name="connsiteY1486" fmla="*/ 132140 h 153028"/>
                  <a:gd name="connsiteX1487" fmla="*/ 56502 w 150971"/>
                  <a:gd name="connsiteY1487" fmla="*/ 144247 h 153028"/>
                  <a:gd name="connsiteX1488" fmla="*/ 57226 w 150971"/>
                  <a:gd name="connsiteY1488" fmla="*/ 146056 h 153028"/>
                  <a:gd name="connsiteX1489" fmla="*/ 55921 w 150971"/>
                  <a:gd name="connsiteY1489" fmla="*/ 145180 h 153028"/>
                  <a:gd name="connsiteX1490" fmla="*/ 56502 w 150971"/>
                  <a:gd name="connsiteY1490" fmla="*/ 144247 h 153028"/>
                  <a:gd name="connsiteX1491" fmla="*/ 97679 w 150971"/>
                  <a:gd name="connsiteY1491" fmla="*/ 136331 h 153028"/>
                  <a:gd name="connsiteX1492" fmla="*/ 98622 w 150971"/>
                  <a:gd name="connsiteY1492" fmla="*/ 138922 h 153028"/>
                  <a:gd name="connsiteX1493" fmla="*/ 96774 w 150971"/>
                  <a:gd name="connsiteY1493" fmla="*/ 137493 h 153028"/>
                  <a:gd name="connsiteX1494" fmla="*/ 97679 w 150971"/>
                  <a:gd name="connsiteY1494" fmla="*/ 136331 h 153028"/>
                  <a:gd name="connsiteX1495" fmla="*/ 72409 w 150971"/>
                  <a:gd name="connsiteY1495" fmla="*/ 142284 h 153028"/>
                  <a:gd name="connsiteX1496" fmla="*/ 73409 w 150971"/>
                  <a:gd name="connsiteY1496" fmla="*/ 144637 h 153028"/>
                  <a:gd name="connsiteX1497" fmla="*/ 71619 w 150971"/>
                  <a:gd name="connsiteY1497" fmla="*/ 143304 h 153028"/>
                  <a:gd name="connsiteX1498" fmla="*/ 72409 w 150971"/>
                  <a:gd name="connsiteY1498" fmla="*/ 142284 h 153028"/>
                  <a:gd name="connsiteX1499" fmla="*/ 123092 w 150971"/>
                  <a:gd name="connsiteY1499" fmla="*/ 131188 h 153028"/>
                  <a:gd name="connsiteX1500" fmla="*/ 124139 w 150971"/>
                  <a:gd name="connsiteY1500" fmla="*/ 131778 h 153028"/>
                  <a:gd name="connsiteX1501" fmla="*/ 123444 w 150971"/>
                  <a:gd name="connsiteY1501" fmla="*/ 132550 h 153028"/>
                  <a:gd name="connsiteX1502" fmla="*/ 122692 w 150971"/>
                  <a:gd name="connsiteY1502" fmla="*/ 131931 h 153028"/>
                  <a:gd name="connsiteX1503" fmla="*/ 123092 w 150971"/>
                  <a:gd name="connsiteY1503" fmla="*/ 131188 h 153028"/>
                  <a:gd name="connsiteX1504" fmla="*/ 88354 w 150971"/>
                  <a:gd name="connsiteY1504" fmla="*/ 140646 h 153028"/>
                  <a:gd name="connsiteX1505" fmla="*/ 89325 w 150971"/>
                  <a:gd name="connsiteY1505" fmla="*/ 143037 h 153028"/>
                  <a:gd name="connsiteX1506" fmla="*/ 87630 w 150971"/>
                  <a:gd name="connsiteY1506" fmla="*/ 141608 h 153028"/>
                  <a:gd name="connsiteX1507" fmla="*/ 88354 w 150971"/>
                  <a:gd name="connsiteY1507" fmla="*/ 140646 h 153028"/>
                  <a:gd name="connsiteX1508" fmla="*/ 113862 w 150971"/>
                  <a:gd name="connsiteY1508" fmla="*/ 135103 h 153028"/>
                  <a:gd name="connsiteX1509" fmla="*/ 114500 w 150971"/>
                  <a:gd name="connsiteY1509" fmla="*/ 136893 h 153028"/>
                  <a:gd name="connsiteX1510" fmla="*/ 113186 w 150971"/>
                  <a:gd name="connsiteY1510" fmla="*/ 135979 h 153028"/>
                  <a:gd name="connsiteX1511" fmla="*/ 113862 w 150971"/>
                  <a:gd name="connsiteY1511" fmla="*/ 135103 h 153028"/>
                  <a:gd name="connsiteX1512" fmla="*/ 63303 w 150971"/>
                  <a:gd name="connsiteY1512" fmla="*/ 146885 h 153028"/>
                  <a:gd name="connsiteX1513" fmla="*/ 64361 w 150971"/>
                  <a:gd name="connsiteY1513" fmla="*/ 148009 h 153028"/>
                  <a:gd name="connsiteX1514" fmla="*/ 62760 w 150971"/>
                  <a:gd name="connsiteY1514" fmla="*/ 147809 h 153028"/>
                  <a:gd name="connsiteX1515" fmla="*/ 63303 w 150971"/>
                  <a:gd name="connsiteY1515" fmla="*/ 146885 h 153028"/>
                  <a:gd name="connsiteX1516" fmla="*/ 79200 w 150971"/>
                  <a:gd name="connsiteY1516" fmla="*/ 145037 h 153028"/>
                  <a:gd name="connsiteX1517" fmla="*/ 80001 w 150971"/>
                  <a:gd name="connsiteY1517" fmla="*/ 147018 h 153028"/>
                  <a:gd name="connsiteX1518" fmla="*/ 78572 w 150971"/>
                  <a:gd name="connsiteY1518" fmla="*/ 145942 h 153028"/>
                  <a:gd name="connsiteX1519" fmla="*/ 79200 w 150971"/>
                  <a:gd name="connsiteY1519" fmla="*/ 145037 h 153028"/>
                  <a:gd name="connsiteX1520" fmla="*/ 104432 w 150971"/>
                  <a:gd name="connsiteY1520" fmla="*/ 139284 h 153028"/>
                  <a:gd name="connsiteX1521" fmla="*/ 105746 w 150971"/>
                  <a:gd name="connsiteY1521" fmla="*/ 139703 h 153028"/>
                  <a:gd name="connsiteX1522" fmla="*/ 104842 w 150971"/>
                  <a:gd name="connsiteY1522" fmla="*/ 141208 h 153028"/>
                  <a:gd name="connsiteX1523" fmla="*/ 104432 w 150971"/>
                  <a:gd name="connsiteY1523" fmla="*/ 139284 h 153028"/>
                  <a:gd name="connsiteX1524" fmla="*/ 95231 w 150971"/>
                  <a:gd name="connsiteY1524" fmla="*/ 143504 h 153028"/>
                  <a:gd name="connsiteX1525" fmla="*/ 95621 w 150971"/>
                  <a:gd name="connsiteY1525" fmla="*/ 145351 h 153028"/>
                  <a:gd name="connsiteX1526" fmla="*/ 95231 w 150971"/>
                  <a:gd name="connsiteY1526" fmla="*/ 143504 h 153028"/>
                  <a:gd name="connsiteX1527" fmla="*/ 70075 w 150971"/>
                  <a:gd name="connsiteY1527" fmla="*/ 149609 h 153028"/>
                  <a:gd name="connsiteX1528" fmla="*/ 70952 w 150971"/>
                  <a:gd name="connsiteY1528" fmla="*/ 149942 h 153028"/>
                  <a:gd name="connsiteX1529" fmla="*/ 70980 w 150971"/>
                  <a:gd name="connsiteY1529" fmla="*/ 150238 h 153028"/>
                  <a:gd name="connsiteX1530" fmla="*/ 70409 w 150971"/>
                  <a:gd name="connsiteY1530" fmla="*/ 150904 h 153028"/>
                  <a:gd name="connsiteX1531" fmla="*/ 69666 w 150971"/>
                  <a:gd name="connsiteY1531" fmla="*/ 150314 h 153028"/>
                  <a:gd name="connsiteX1532" fmla="*/ 70075 w 150971"/>
                  <a:gd name="connsiteY1532" fmla="*/ 149609 h 153028"/>
                  <a:gd name="connsiteX1533" fmla="*/ 86001 w 150971"/>
                  <a:gd name="connsiteY1533" fmla="*/ 147876 h 153028"/>
                  <a:gd name="connsiteX1534" fmla="*/ 87106 w 150971"/>
                  <a:gd name="connsiteY1534" fmla="*/ 148533 h 153028"/>
                  <a:gd name="connsiteX1535" fmla="*/ 86668 w 150971"/>
                  <a:gd name="connsiteY1535" fmla="*/ 149276 h 153028"/>
                  <a:gd name="connsiteX1536" fmla="*/ 85582 w 150971"/>
                  <a:gd name="connsiteY1536" fmla="*/ 148695 h 153028"/>
                  <a:gd name="connsiteX1537" fmla="*/ 86001 w 150971"/>
                  <a:gd name="connsiteY1537" fmla="*/ 147876 h 153028"/>
                  <a:gd name="connsiteX1538" fmla="*/ 111433 w 150971"/>
                  <a:gd name="connsiteY1538" fmla="*/ 142342 h 153028"/>
                  <a:gd name="connsiteX1539" fmla="*/ 111966 w 150971"/>
                  <a:gd name="connsiteY1539" fmla="*/ 142523 h 153028"/>
                  <a:gd name="connsiteX1540" fmla="*/ 111871 w 150971"/>
                  <a:gd name="connsiteY1540" fmla="*/ 143075 h 153028"/>
                  <a:gd name="connsiteX1541" fmla="*/ 111805 w 150971"/>
                  <a:gd name="connsiteY1541" fmla="*/ 143123 h 153028"/>
                  <a:gd name="connsiteX1542" fmla="*/ 111509 w 150971"/>
                  <a:gd name="connsiteY1542" fmla="*/ 143151 h 153028"/>
                  <a:gd name="connsiteX1543" fmla="*/ 111233 w 150971"/>
                  <a:gd name="connsiteY1543" fmla="*/ 142951 h 153028"/>
                  <a:gd name="connsiteX1544" fmla="*/ 111214 w 150971"/>
                  <a:gd name="connsiteY1544" fmla="*/ 142723 h 153028"/>
                  <a:gd name="connsiteX1545" fmla="*/ 111433 w 150971"/>
                  <a:gd name="connsiteY1545" fmla="*/ 142342 h 153028"/>
                  <a:gd name="connsiteX1546" fmla="*/ 102194 w 150971"/>
                  <a:gd name="connsiteY1546" fmla="*/ 146523 h 153028"/>
                  <a:gd name="connsiteX1547" fmla="*/ 102384 w 150971"/>
                  <a:gd name="connsiteY1547" fmla="*/ 147352 h 153028"/>
                  <a:gd name="connsiteX1548" fmla="*/ 101965 w 150971"/>
                  <a:gd name="connsiteY1548" fmla="*/ 147180 h 153028"/>
                  <a:gd name="connsiteX1549" fmla="*/ 101908 w 150971"/>
                  <a:gd name="connsiteY1549" fmla="*/ 146923 h 153028"/>
                  <a:gd name="connsiteX1550" fmla="*/ 102194 w 150971"/>
                  <a:gd name="connsiteY1550" fmla="*/ 146523 h 153028"/>
                  <a:gd name="connsiteX1551" fmla="*/ 76838 w 150971"/>
                  <a:gd name="connsiteY1551" fmla="*/ 152600 h 153028"/>
                  <a:gd name="connsiteX1552" fmla="*/ 77210 w 150971"/>
                  <a:gd name="connsiteY1552" fmla="*/ 152552 h 153028"/>
                  <a:gd name="connsiteX1553" fmla="*/ 77267 w 150971"/>
                  <a:gd name="connsiteY1553" fmla="*/ 152952 h 153028"/>
                  <a:gd name="connsiteX1554" fmla="*/ 76943 w 150971"/>
                  <a:gd name="connsiteY1554" fmla="*/ 153029 h 153028"/>
                  <a:gd name="connsiteX1555" fmla="*/ 76924 w 150971"/>
                  <a:gd name="connsiteY1555" fmla="*/ 152962 h 153028"/>
                  <a:gd name="connsiteX1556" fmla="*/ 76838 w 150971"/>
                  <a:gd name="connsiteY1556" fmla="*/ 152600 h 153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Lst>
                <a:rect l="l" t="t" r="r" b="b"/>
                <a:pathLst>
                  <a:path w="150971" h="153028">
                    <a:moveTo>
                      <a:pt x="64570" y="1467"/>
                    </a:moveTo>
                    <a:cubicBezTo>
                      <a:pt x="65408" y="1295"/>
                      <a:pt x="65656" y="2410"/>
                      <a:pt x="64875" y="2648"/>
                    </a:cubicBezTo>
                    <a:cubicBezTo>
                      <a:pt x="64579" y="2581"/>
                      <a:pt x="64456" y="2467"/>
                      <a:pt x="64227" y="2305"/>
                    </a:cubicBezTo>
                    <a:cubicBezTo>
                      <a:pt x="64141" y="1857"/>
                      <a:pt x="64341" y="1714"/>
                      <a:pt x="64570" y="1467"/>
                    </a:cubicBezTo>
                    <a:close/>
                    <a:moveTo>
                      <a:pt x="55207" y="5458"/>
                    </a:moveTo>
                    <a:cubicBezTo>
                      <a:pt x="55759" y="5324"/>
                      <a:pt x="55959" y="5582"/>
                      <a:pt x="56274" y="5820"/>
                    </a:cubicBezTo>
                    <a:cubicBezTo>
                      <a:pt x="56293" y="5982"/>
                      <a:pt x="56321" y="6134"/>
                      <a:pt x="56340" y="6296"/>
                    </a:cubicBezTo>
                    <a:cubicBezTo>
                      <a:pt x="56245" y="7077"/>
                      <a:pt x="55131" y="7315"/>
                      <a:pt x="54750" y="6629"/>
                    </a:cubicBezTo>
                    <a:cubicBezTo>
                      <a:pt x="54455" y="6096"/>
                      <a:pt x="54969" y="5677"/>
                      <a:pt x="55207" y="5458"/>
                    </a:cubicBezTo>
                    <a:close/>
                    <a:moveTo>
                      <a:pt x="80553" y="19"/>
                    </a:moveTo>
                    <a:cubicBezTo>
                      <a:pt x="80639" y="9"/>
                      <a:pt x="80724" y="0"/>
                      <a:pt x="80810" y="0"/>
                    </a:cubicBezTo>
                    <a:cubicBezTo>
                      <a:pt x="81010" y="38"/>
                      <a:pt x="81096" y="133"/>
                      <a:pt x="81220" y="286"/>
                    </a:cubicBezTo>
                    <a:cubicBezTo>
                      <a:pt x="81229" y="324"/>
                      <a:pt x="81239" y="352"/>
                      <a:pt x="81248" y="391"/>
                    </a:cubicBezTo>
                    <a:cubicBezTo>
                      <a:pt x="81162" y="524"/>
                      <a:pt x="81077" y="657"/>
                      <a:pt x="81001" y="791"/>
                    </a:cubicBezTo>
                    <a:cubicBezTo>
                      <a:pt x="80906" y="810"/>
                      <a:pt x="80810" y="838"/>
                      <a:pt x="80715" y="857"/>
                    </a:cubicBezTo>
                    <a:cubicBezTo>
                      <a:pt x="80534" y="724"/>
                      <a:pt x="80439" y="714"/>
                      <a:pt x="80343" y="410"/>
                    </a:cubicBezTo>
                    <a:cubicBezTo>
                      <a:pt x="80410" y="276"/>
                      <a:pt x="80477" y="143"/>
                      <a:pt x="80553" y="19"/>
                    </a:cubicBezTo>
                    <a:close/>
                    <a:moveTo>
                      <a:pt x="45949" y="9563"/>
                    </a:moveTo>
                    <a:cubicBezTo>
                      <a:pt x="46625" y="9382"/>
                      <a:pt x="47406" y="9992"/>
                      <a:pt x="47120" y="10697"/>
                    </a:cubicBezTo>
                    <a:cubicBezTo>
                      <a:pt x="46825" y="11430"/>
                      <a:pt x="45377" y="11554"/>
                      <a:pt x="45387" y="10563"/>
                    </a:cubicBezTo>
                    <a:cubicBezTo>
                      <a:pt x="45330" y="10068"/>
                      <a:pt x="45625" y="9839"/>
                      <a:pt x="45949" y="9563"/>
                    </a:cubicBezTo>
                    <a:close/>
                    <a:moveTo>
                      <a:pt x="71095" y="3762"/>
                    </a:moveTo>
                    <a:cubicBezTo>
                      <a:pt x="72466" y="3372"/>
                      <a:pt x="72952" y="5267"/>
                      <a:pt x="71581" y="5544"/>
                    </a:cubicBezTo>
                    <a:cubicBezTo>
                      <a:pt x="71114" y="5448"/>
                      <a:pt x="70714" y="5267"/>
                      <a:pt x="70571" y="4639"/>
                    </a:cubicBezTo>
                    <a:cubicBezTo>
                      <a:pt x="70666" y="4229"/>
                      <a:pt x="70818" y="4048"/>
                      <a:pt x="71095" y="3762"/>
                    </a:cubicBezTo>
                    <a:close/>
                    <a:moveTo>
                      <a:pt x="61798" y="7725"/>
                    </a:moveTo>
                    <a:cubicBezTo>
                      <a:pt x="63398" y="7277"/>
                      <a:pt x="63932" y="9334"/>
                      <a:pt x="62684" y="9906"/>
                    </a:cubicBezTo>
                    <a:cubicBezTo>
                      <a:pt x="61922" y="10258"/>
                      <a:pt x="60951" y="9449"/>
                      <a:pt x="61103" y="8639"/>
                    </a:cubicBezTo>
                    <a:cubicBezTo>
                      <a:pt x="61179" y="8258"/>
                      <a:pt x="61493" y="7972"/>
                      <a:pt x="61798" y="7725"/>
                    </a:cubicBezTo>
                    <a:close/>
                    <a:moveTo>
                      <a:pt x="36671" y="13792"/>
                    </a:moveTo>
                    <a:cubicBezTo>
                      <a:pt x="37252" y="13687"/>
                      <a:pt x="37567" y="13973"/>
                      <a:pt x="37833" y="14364"/>
                    </a:cubicBezTo>
                    <a:cubicBezTo>
                      <a:pt x="37890" y="14792"/>
                      <a:pt x="37681" y="15173"/>
                      <a:pt x="37386" y="15373"/>
                    </a:cubicBezTo>
                    <a:cubicBezTo>
                      <a:pt x="36805" y="15707"/>
                      <a:pt x="36233" y="15259"/>
                      <a:pt x="36119" y="14640"/>
                    </a:cubicBezTo>
                    <a:cubicBezTo>
                      <a:pt x="36204" y="14240"/>
                      <a:pt x="36395" y="14078"/>
                      <a:pt x="36671" y="13792"/>
                    </a:cubicBezTo>
                    <a:close/>
                    <a:moveTo>
                      <a:pt x="87306" y="2295"/>
                    </a:moveTo>
                    <a:cubicBezTo>
                      <a:pt x="87754" y="2238"/>
                      <a:pt x="87925" y="2476"/>
                      <a:pt x="88173" y="2743"/>
                    </a:cubicBezTo>
                    <a:cubicBezTo>
                      <a:pt x="88306" y="3657"/>
                      <a:pt x="87106" y="3905"/>
                      <a:pt x="86868" y="3000"/>
                    </a:cubicBezTo>
                    <a:cubicBezTo>
                      <a:pt x="86982" y="2667"/>
                      <a:pt x="87049" y="2553"/>
                      <a:pt x="87306" y="2295"/>
                    </a:cubicBezTo>
                    <a:close/>
                    <a:moveTo>
                      <a:pt x="52521" y="11763"/>
                    </a:moveTo>
                    <a:cubicBezTo>
                      <a:pt x="54159" y="11335"/>
                      <a:pt x="54883" y="13525"/>
                      <a:pt x="53569" y="14173"/>
                    </a:cubicBezTo>
                    <a:cubicBezTo>
                      <a:pt x="52511" y="14697"/>
                      <a:pt x="51378" y="13564"/>
                      <a:pt x="51759" y="12583"/>
                    </a:cubicBezTo>
                    <a:cubicBezTo>
                      <a:pt x="51902" y="12230"/>
                      <a:pt x="52197" y="12011"/>
                      <a:pt x="52521" y="11763"/>
                    </a:cubicBezTo>
                    <a:close/>
                    <a:moveTo>
                      <a:pt x="77753" y="6124"/>
                    </a:moveTo>
                    <a:cubicBezTo>
                      <a:pt x="79334" y="5677"/>
                      <a:pt x="79896" y="7582"/>
                      <a:pt x="78724" y="8182"/>
                    </a:cubicBezTo>
                    <a:cubicBezTo>
                      <a:pt x="77934" y="8582"/>
                      <a:pt x="77000" y="7820"/>
                      <a:pt x="77133" y="7029"/>
                    </a:cubicBezTo>
                    <a:cubicBezTo>
                      <a:pt x="77191" y="6648"/>
                      <a:pt x="77476" y="6391"/>
                      <a:pt x="77753" y="6124"/>
                    </a:cubicBezTo>
                    <a:close/>
                    <a:moveTo>
                      <a:pt x="27470" y="18155"/>
                    </a:moveTo>
                    <a:cubicBezTo>
                      <a:pt x="27594" y="18155"/>
                      <a:pt x="27718" y="18145"/>
                      <a:pt x="27851" y="18145"/>
                    </a:cubicBezTo>
                    <a:cubicBezTo>
                      <a:pt x="28004" y="18259"/>
                      <a:pt x="28156" y="18374"/>
                      <a:pt x="28308" y="18498"/>
                    </a:cubicBezTo>
                    <a:cubicBezTo>
                      <a:pt x="28575" y="19479"/>
                      <a:pt x="27251" y="19841"/>
                      <a:pt x="27061" y="18821"/>
                    </a:cubicBezTo>
                    <a:cubicBezTo>
                      <a:pt x="27137" y="18517"/>
                      <a:pt x="27280" y="18383"/>
                      <a:pt x="27470" y="18155"/>
                    </a:cubicBezTo>
                    <a:close/>
                    <a:moveTo>
                      <a:pt x="68371" y="10039"/>
                    </a:moveTo>
                    <a:cubicBezTo>
                      <a:pt x="70228" y="9534"/>
                      <a:pt x="71066" y="11782"/>
                      <a:pt x="69685" y="12621"/>
                    </a:cubicBezTo>
                    <a:cubicBezTo>
                      <a:pt x="68818" y="13144"/>
                      <a:pt x="67551" y="12430"/>
                      <a:pt x="67551" y="11411"/>
                    </a:cubicBezTo>
                    <a:cubicBezTo>
                      <a:pt x="67542" y="10792"/>
                      <a:pt x="67971" y="10420"/>
                      <a:pt x="68371" y="10039"/>
                    </a:cubicBezTo>
                    <a:close/>
                    <a:moveTo>
                      <a:pt x="43244" y="15954"/>
                    </a:moveTo>
                    <a:cubicBezTo>
                      <a:pt x="44920" y="15497"/>
                      <a:pt x="45606" y="17726"/>
                      <a:pt x="44291" y="18364"/>
                    </a:cubicBezTo>
                    <a:cubicBezTo>
                      <a:pt x="42853" y="19088"/>
                      <a:pt x="41710" y="17097"/>
                      <a:pt x="43244" y="15954"/>
                    </a:cubicBezTo>
                    <a:close/>
                    <a:moveTo>
                      <a:pt x="94012" y="4724"/>
                    </a:moveTo>
                    <a:cubicBezTo>
                      <a:pt x="94488" y="4639"/>
                      <a:pt x="94907" y="4896"/>
                      <a:pt x="95031" y="5362"/>
                    </a:cubicBezTo>
                    <a:cubicBezTo>
                      <a:pt x="94936" y="6210"/>
                      <a:pt x="93717" y="6677"/>
                      <a:pt x="93478" y="5534"/>
                    </a:cubicBezTo>
                    <a:cubicBezTo>
                      <a:pt x="93564" y="5134"/>
                      <a:pt x="93707" y="4991"/>
                      <a:pt x="94012" y="4724"/>
                    </a:cubicBezTo>
                    <a:close/>
                    <a:moveTo>
                      <a:pt x="59198" y="14021"/>
                    </a:moveTo>
                    <a:cubicBezTo>
                      <a:pt x="61217" y="13583"/>
                      <a:pt x="62027" y="16202"/>
                      <a:pt x="60379" y="17012"/>
                    </a:cubicBezTo>
                    <a:cubicBezTo>
                      <a:pt x="59341" y="17526"/>
                      <a:pt x="58036" y="16621"/>
                      <a:pt x="58131" y="15478"/>
                    </a:cubicBezTo>
                    <a:cubicBezTo>
                      <a:pt x="58179" y="14764"/>
                      <a:pt x="58626" y="14440"/>
                      <a:pt x="59198" y="14021"/>
                    </a:cubicBezTo>
                    <a:close/>
                    <a:moveTo>
                      <a:pt x="84525" y="8515"/>
                    </a:moveTo>
                    <a:cubicBezTo>
                      <a:pt x="86125" y="8087"/>
                      <a:pt x="86801" y="10220"/>
                      <a:pt x="85554" y="10858"/>
                    </a:cubicBezTo>
                    <a:cubicBezTo>
                      <a:pt x="84115" y="11592"/>
                      <a:pt x="83001" y="9639"/>
                      <a:pt x="84525" y="8515"/>
                    </a:cubicBezTo>
                    <a:close/>
                    <a:moveTo>
                      <a:pt x="33985" y="20222"/>
                    </a:moveTo>
                    <a:cubicBezTo>
                      <a:pt x="35519" y="19821"/>
                      <a:pt x="36224" y="21860"/>
                      <a:pt x="34957" y="22469"/>
                    </a:cubicBezTo>
                    <a:cubicBezTo>
                      <a:pt x="34147" y="22860"/>
                      <a:pt x="33147" y="22146"/>
                      <a:pt x="33271" y="21222"/>
                    </a:cubicBezTo>
                    <a:cubicBezTo>
                      <a:pt x="33319" y="20774"/>
                      <a:pt x="33652" y="20498"/>
                      <a:pt x="33985" y="20222"/>
                    </a:cubicBezTo>
                    <a:close/>
                    <a:moveTo>
                      <a:pt x="49759" y="18212"/>
                    </a:moveTo>
                    <a:cubicBezTo>
                      <a:pt x="52054" y="17593"/>
                      <a:pt x="52911" y="20393"/>
                      <a:pt x="51187" y="21260"/>
                    </a:cubicBezTo>
                    <a:cubicBezTo>
                      <a:pt x="50064" y="21822"/>
                      <a:pt x="48739" y="20879"/>
                      <a:pt x="48787" y="19726"/>
                    </a:cubicBezTo>
                    <a:cubicBezTo>
                      <a:pt x="48816" y="19021"/>
                      <a:pt x="49254" y="18621"/>
                      <a:pt x="49759" y="18212"/>
                    </a:cubicBezTo>
                    <a:close/>
                    <a:moveTo>
                      <a:pt x="75209" y="12373"/>
                    </a:moveTo>
                    <a:cubicBezTo>
                      <a:pt x="77334" y="11840"/>
                      <a:pt x="78086" y="14697"/>
                      <a:pt x="76152" y="15459"/>
                    </a:cubicBezTo>
                    <a:cubicBezTo>
                      <a:pt x="75171" y="15840"/>
                      <a:pt x="73943" y="14840"/>
                      <a:pt x="74086" y="13735"/>
                    </a:cubicBezTo>
                    <a:cubicBezTo>
                      <a:pt x="74171" y="13049"/>
                      <a:pt x="74638" y="12773"/>
                      <a:pt x="75209" y="12373"/>
                    </a:cubicBezTo>
                    <a:close/>
                    <a:moveTo>
                      <a:pt x="24860" y="24603"/>
                    </a:moveTo>
                    <a:cubicBezTo>
                      <a:pt x="26041" y="24441"/>
                      <a:pt x="26594" y="25936"/>
                      <a:pt x="25556" y="26451"/>
                    </a:cubicBezTo>
                    <a:cubicBezTo>
                      <a:pt x="24965" y="26746"/>
                      <a:pt x="24127" y="26127"/>
                      <a:pt x="24203" y="25508"/>
                    </a:cubicBezTo>
                    <a:cubicBezTo>
                      <a:pt x="24251" y="25108"/>
                      <a:pt x="24546" y="24851"/>
                      <a:pt x="24860" y="24603"/>
                    </a:cubicBezTo>
                    <a:close/>
                    <a:moveTo>
                      <a:pt x="100603" y="7306"/>
                    </a:moveTo>
                    <a:cubicBezTo>
                      <a:pt x="101184" y="7153"/>
                      <a:pt x="101479" y="7401"/>
                      <a:pt x="101737" y="7763"/>
                    </a:cubicBezTo>
                    <a:cubicBezTo>
                      <a:pt x="101841" y="8211"/>
                      <a:pt x="101517" y="8925"/>
                      <a:pt x="100955" y="8820"/>
                    </a:cubicBezTo>
                    <a:cubicBezTo>
                      <a:pt x="100594" y="8763"/>
                      <a:pt x="100422" y="8544"/>
                      <a:pt x="100184" y="8277"/>
                    </a:cubicBezTo>
                    <a:cubicBezTo>
                      <a:pt x="100127" y="7801"/>
                      <a:pt x="100365" y="7591"/>
                      <a:pt x="100603" y="7306"/>
                    </a:cubicBezTo>
                    <a:close/>
                    <a:moveTo>
                      <a:pt x="65808" y="16364"/>
                    </a:moveTo>
                    <a:cubicBezTo>
                      <a:pt x="68247" y="15735"/>
                      <a:pt x="69085" y="18964"/>
                      <a:pt x="67066" y="19831"/>
                    </a:cubicBezTo>
                    <a:cubicBezTo>
                      <a:pt x="65942" y="20317"/>
                      <a:pt x="64532" y="19317"/>
                      <a:pt x="64608" y="18050"/>
                    </a:cubicBezTo>
                    <a:cubicBezTo>
                      <a:pt x="64646" y="17221"/>
                      <a:pt x="65180" y="16840"/>
                      <a:pt x="65808" y="16364"/>
                    </a:cubicBezTo>
                    <a:close/>
                    <a:moveTo>
                      <a:pt x="40595" y="22412"/>
                    </a:moveTo>
                    <a:cubicBezTo>
                      <a:pt x="42844" y="21822"/>
                      <a:pt x="43596" y="24689"/>
                      <a:pt x="41681" y="25460"/>
                    </a:cubicBezTo>
                    <a:cubicBezTo>
                      <a:pt x="40748" y="25841"/>
                      <a:pt x="39510" y="24984"/>
                      <a:pt x="39576" y="23898"/>
                    </a:cubicBezTo>
                    <a:cubicBezTo>
                      <a:pt x="39624" y="23184"/>
                      <a:pt x="40043" y="22822"/>
                      <a:pt x="40595" y="22412"/>
                    </a:cubicBezTo>
                    <a:close/>
                    <a:moveTo>
                      <a:pt x="91107" y="11020"/>
                    </a:moveTo>
                    <a:cubicBezTo>
                      <a:pt x="92993" y="10496"/>
                      <a:pt x="93707" y="12744"/>
                      <a:pt x="92355" y="13468"/>
                    </a:cubicBezTo>
                    <a:cubicBezTo>
                      <a:pt x="91412" y="13964"/>
                      <a:pt x="90088" y="13049"/>
                      <a:pt x="90373" y="11954"/>
                    </a:cubicBezTo>
                    <a:cubicBezTo>
                      <a:pt x="90469" y="11544"/>
                      <a:pt x="90792" y="11297"/>
                      <a:pt x="91107" y="11020"/>
                    </a:cubicBezTo>
                    <a:close/>
                    <a:moveTo>
                      <a:pt x="15640" y="29194"/>
                    </a:moveTo>
                    <a:cubicBezTo>
                      <a:pt x="15726" y="29185"/>
                      <a:pt x="15812" y="29175"/>
                      <a:pt x="15897" y="29175"/>
                    </a:cubicBezTo>
                    <a:cubicBezTo>
                      <a:pt x="16135" y="29194"/>
                      <a:pt x="16507" y="29394"/>
                      <a:pt x="16440" y="29737"/>
                    </a:cubicBezTo>
                    <a:cubicBezTo>
                      <a:pt x="16373" y="30404"/>
                      <a:pt x="15507" y="30432"/>
                      <a:pt x="15307" y="29775"/>
                    </a:cubicBezTo>
                    <a:cubicBezTo>
                      <a:pt x="15421" y="29546"/>
                      <a:pt x="15497" y="29394"/>
                      <a:pt x="15640" y="29194"/>
                    </a:cubicBezTo>
                    <a:close/>
                    <a:moveTo>
                      <a:pt x="56579" y="20431"/>
                    </a:moveTo>
                    <a:cubicBezTo>
                      <a:pt x="59179" y="19793"/>
                      <a:pt x="60093" y="23260"/>
                      <a:pt x="57750" y="24184"/>
                    </a:cubicBezTo>
                    <a:cubicBezTo>
                      <a:pt x="56436" y="24698"/>
                      <a:pt x="55026" y="23327"/>
                      <a:pt x="55264" y="21955"/>
                    </a:cubicBezTo>
                    <a:cubicBezTo>
                      <a:pt x="55388" y="21165"/>
                      <a:pt x="55912" y="20898"/>
                      <a:pt x="56579" y="20431"/>
                    </a:cubicBezTo>
                    <a:close/>
                    <a:moveTo>
                      <a:pt x="81763" y="14802"/>
                    </a:moveTo>
                    <a:cubicBezTo>
                      <a:pt x="84020" y="14202"/>
                      <a:pt x="84963" y="16964"/>
                      <a:pt x="83325" y="17974"/>
                    </a:cubicBezTo>
                    <a:cubicBezTo>
                      <a:pt x="82201" y="18659"/>
                      <a:pt x="80610" y="17802"/>
                      <a:pt x="80658" y="16459"/>
                    </a:cubicBezTo>
                    <a:cubicBezTo>
                      <a:pt x="80696" y="15678"/>
                      <a:pt x="81201" y="15269"/>
                      <a:pt x="81763" y="14802"/>
                    </a:cubicBezTo>
                    <a:close/>
                    <a:moveTo>
                      <a:pt x="31490" y="26679"/>
                    </a:moveTo>
                    <a:cubicBezTo>
                      <a:pt x="33281" y="26289"/>
                      <a:pt x="34014" y="28737"/>
                      <a:pt x="32509" y="29442"/>
                    </a:cubicBezTo>
                    <a:cubicBezTo>
                      <a:pt x="31557" y="29889"/>
                      <a:pt x="30385" y="29061"/>
                      <a:pt x="30442" y="28061"/>
                    </a:cubicBezTo>
                    <a:cubicBezTo>
                      <a:pt x="30480" y="27365"/>
                      <a:pt x="30947" y="27070"/>
                      <a:pt x="31490" y="26679"/>
                    </a:cubicBezTo>
                    <a:close/>
                    <a:moveTo>
                      <a:pt x="107414" y="9830"/>
                    </a:moveTo>
                    <a:cubicBezTo>
                      <a:pt x="108538" y="9544"/>
                      <a:pt x="108880" y="11097"/>
                      <a:pt x="107766" y="11344"/>
                    </a:cubicBezTo>
                    <a:cubicBezTo>
                      <a:pt x="107366" y="11258"/>
                      <a:pt x="107061" y="11125"/>
                      <a:pt x="106947" y="10582"/>
                    </a:cubicBezTo>
                    <a:cubicBezTo>
                      <a:pt x="107023" y="10230"/>
                      <a:pt x="107166" y="10087"/>
                      <a:pt x="107414" y="9830"/>
                    </a:cubicBezTo>
                    <a:close/>
                    <a:moveTo>
                      <a:pt x="72428" y="18745"/>
                    </a:moveTo>
                    <a:cubicBezTo>
                      <a:pt x="75209" y="18021"/>
                      <a:pt x="76181" y="21612"/>
                      <a:pt x="73809" y="22603"/>
                    </a:cubicBezTo>
                    <a:cubicBezTo>
                      <a:pt x="72485" y="23155"/>
                      <a:pt x="70999" y="21841"/>
                      <a:pt x="71152" y="20441"/>
                    </a:cubicBezTo>
                    <a:cubicBezTo>
                      <a:pt x="71238" y="19602"/>
                      <a:pt x="71761" y="19240"/>
                      <a:pt x="72428" y="18745"/>
                    </a:cubicBezTo>
                    <a:close/>
                    <a:moveTo>
                      <a:pt x="47187" y="24641"/>
                    </a:moveTo>
                    <a:cubicBezTo>
                      <a:pt x="49864" y="23936"/>
                      <a:pt x="50806" y="27270"/>
                      <a:pt x="48749" y="28270"/>
                    </a:cubicBezTo>
                    <a:cubicBezTo>
                      <a:pt x="47435" y="28908"/>
                      <a:pt x="45882" y="27851"/>
                      <a:pt x="45968" y="26403"/>
                    </a:cubicBezTo>
                    <a:cubicBezTo>
                      <a:pt x="46015" y="25565"/>
                      <a:pt x="46539" y="25136"/>
                      <a:pt x="47187" y="24641"/>
                    </a:cubicBezTo>
                    <a:close/>
                    <a:moveTo>
                      <a:pt x="97793" y="13535"/>
                    </a:moveTo>
                    <a:cubicBezTo>
                      <a:pt x="99755" y="13002"/>
                      <a:pt x="100489" y="15335"/>
                      <a:pt x="98984" y="16069"/>
                    </a:cubicBezTo>
                    <a:cubicBezTo>
                      <a:pt x="98022" y="16535"/>
                      <a:pt x="96860" y="15621"/>
                      <a:pt x="97050" y="14583"/>
                    </a:cubicBezTo>
                    <a:cubicBezTo>
                      <a:pt x="97126" y="14135"/>
                      <a:pt x="97479" y="13840"/>
                      <a:pt x="97793" y="13535"/>
                    </a:cubicBezTo>
                    <a:close/>
                    <a:moveTo>
                      <a:pt x="22270" y="31118"/>
                    </a:moveTo>
                    <a:cubicBezTo>
                      <a:pt x="23784" y="30775"/>
                      <a:pt x="24355" y="32842"/>
                      <a:pt x="23060" y="33404"/>
                    </a:cubicBezTo>
                    <a:cubicBezTo>
                      <a:pt x="22260" y="33757"/>
                      <a:pt x="21231" y="32880"/>
                      <a:pt x="21489" y="32023"/>
                    </a:cubicBezTo>
                    <a:cubicBezTo>
                      <a:pt x="21612" y="31604"/>
                      <a:pt x="21908" y="31404"/>
                      <a:pt x="22270" y="31118"/>
                    </a:cubicBezTo>
                    <a:close/>
                    <a:moveTo>
                      <a:pt x="63151" y="22784"/>
                    </a:moveTo>
                    <a:cubicBezTo>
                      <a:pt x="66113" y="22012"/>
                      <a:pt x="67104" y="25813"/>
                      <a:pt x="64779" y="26889"/>
                    </a:cubicBezTo>
                    <a:cubicBezTo>
                      <a:pt x="63389" y="27537"/>
                      <a:pt x="61646" y="26318"/>
                      <a:pt x="61684" y="24832"/>
                    </a:cubicBezTo>
                    <a:cubicBezTo>
                      <a:pt x="61713" y="23793"/>
                      <a:pt x="62351" y="23355"/>
                      <a:pt x="63151" y="22784"/>
                    </a:cubicBezTo>
                    <a:close/>
                    <a:moveTo>
                      <a:pt x="37995" y="28899"/>
                    </a:moveTo>
                    <a:cubicBezTo>
                      <a:pt x="40539" y="28223"/>
                      <a:pt x="41415" y="31528"/>
                      <a:pt x="39300" y="32433"/>
                    </a:cubicBezTo>
                    <a:cubicBezTo>
                      <a:pt x="38138" y="32928"/>
                      <a:pt x="36719" y="31909"/>
                      <a:pt x="36786" y="30585"/>
                    </a:cubicBezTo>
                    <a:cubicBezTo>
                      <a:pt x="36833" y="29766"/>
                      <a:pt x="37367" y="29356"/>
                      <a:pt x="37995" y="28899"/>
                    </a:cubicBezTo>
                    <a:close/>
                    <a:moveTo>
                      <a:pt x="88630" y="17240"/>
                    </a:moveTo>
                    <a:cubicBezTo>
                      <a:pt x="91049" y="16726"/>
                      <a:pt x="91840" y="19907"/>
                      <a:pt x="89668" y="20755"/>
                    </a:cubicBezTo>
                    <a:cubicBezTo>
                      <a:pt x="88525" y="21203"/>
                      <a:pt x="87087" y="20031"/>
                      <a:pt x="87335" y="18707"/>
                    </a:cubicBezTo>
                    <a:cubicBezTo>
                      <a:pt x="87478" y="17974"/>
                      <a:pt x="87973" y="17688"/>
                      <a:pt x="88630" y="17240"/>
                    </a:cubicBezTo>
                    <a:close/>
                    <a:moveTo>
                      <a:pt x="13078" y="35709"/>
                    </a:moveTo>
                    <a:cubicBezTo>
                      <a:pt x="13592" y="35633"/>
                      <a:pt x="14002" y="35852"/>
                      <a:pt x="14116" y="36424"/>
                    </a:cubicBezTo>
                    <a:cubicBezTo>
                      <a:pt x="14049" y="36776"/>
                      <a:pt x="13897" y="37090"/>
                      <a:pt x="13468" y="37214"/>
                    </a:cubicBezTo>
                    <a:cubicBezTo>
                      <a:pt x="13078" y="37157"/>
                      <a:pt x="12725" y="37005"/>
                      <a:pt x="12592" y="36547"/>
                    </a:cubicBezTo>
                    <a:cubicBezTo>
                      <a:pt x="12659" y="36138"/>
                      <a:pt x="12811" y="35985"/>
                      <a:pt x="13078" y="35709"/>
                    </a:cubicBezTo>
                    <a:close/>
                    <a:moveTo>
                      <a:pt x="114176" y="12487"/>
                    </a:moveTo>
                    <a:cubicBezTo>
                      <a:pt x="114624" y="12392"/>
                      <a:pt x="114976" y="12611"/>
                      <a:pt x="115100" y="13030"/>
                    </a:cubicBezTo>
                    <a:cubicBezTo>
                      <a:pt x="115014" y="13297"/>
                      <a:pt x="114862" y="13821"/>
                      <a:pt x="114386" y="13725"/>
                    </a:cubicBezTo>
                    <a:cubicBezTo>
                      <a:pt x="114110" y="13678"/>
                      <a:pt x="113862" y="13516"/>
                      <a:pt x="113767" y="13182"/>
                    </a:cubicBezTo>
                    <a:cubicBezTo>
                      <a:pt x="113843" y="12849"/>
                      <a:pt x="113967" y="12725"/>
                      <a:pt x="114176" y="12487"/>
                    </a:cubicBezTo>
                    <a:close/>
                    <a:moveTo>
                      <a:pt x="54064" y="26813"/>
                    </a:moveTo>
                    <a:cubicBezTo>
                      <a:pt x="56931" y="26213"/>
                      <a:pt x="57941" y="30089"/>
                      <a:pt x="55416" y="31166"/>
                    </a:cubicBezTo>
                    <a:cubicBezTo>
                      <a:pt x="53883" y="31823"/>
                      <a:pt x="52121" y="30308"/>
                      <a:pt x="52416" y="28670"/>
                    </a:cubicBezTo>
                    <a:cubicBezTo>
                      <a:pt x="52578" y="27689"/>
                      <a:pt x="53207" y="27403"/>
                      <a:pt x="54064" y="26813"/>
                    </a:cubicBezTo>
                    <a:close/>
                    <a:moveTo>
                      <a:pt x="79277" y="21107"/>
                    </a:moveTo>
                    <a:cubicBezTo>
                      <a:pt x="82096" y="20517"/>
                      <a:pt x="83077" y="24203"/>
                      <a:pt x="80572" y="25251"/>
                    </a:cubicBezTo>
                    <a:cubicBezTo>
                      <a:pt x="79248" y="25803"/>
                      <a:pt x="77581" y="24575"/>
                      <a:pt x="77724" y="23098"/>
                    </a:cubicBezTo>
                    <a:cubicBezTo>
                      <a:pt x="77829" y="22031"/>
                      <a:pt x="78391" y="21717"/>
                      <a:pt x="79277" y="21107"/>
                    </a:cubicBezTo>
                    <a:close/>
                    <a:moveTo>
                      <a:pt x="28794" y="33261"/>
                    </a:moveTo>
                    <a:cubicBezTo>
                      <a:pt x="31004" y="32671"/>
                      <a:pt x="31747" y="35585"/>
                      <a:pt x="30013" y="36395"/>
                    </a:cubicBezTo>
                    <a:cubicBezTo>
                      <a:pt x="28956" y="36890"/>
                      <a:pt x="27661" y="35938"/>
                      <a:pt x="27737" y="34757"/>
                    </a:cubicBezTo>
                    <a:cubicBezTo>
                      <a:pt x="27784" y="34014"/>
                      <a:pt x="28251" y="33699"/>
                      <a:pt x="28794" y="33261"/>
                    </a:cubicBezTo>
                    <a:close/>
                    <a:moveTo>
                      <a:pt x="104537" y="16116"/>
                    </a:moveTo>
                    <a:cubicBezTo>
                      <a:pt x="106394" y="15611"/>
                      <a:pt x="107137" y="17697"/>
                      <a:pt x="105851" y="18507"/>
                    </a:cubicBezTo>
                    <a:cubicBezTo>
                      <a:pt x="104994" y="19040"/>
                      <a:pt x="103765" y="18364"/>
                      <a:pt x="103794" y="17307"/>
                    </a:cubicBezTo>
                    <a:cubicBezTo>
                      <a:pt x="103804" y="16793"/>
                      <a:pt x="104204" y="16440"/>
                      <a:pt x="104537" y="16116"/>
                    </a:cubicBezTo>
                    <a:close/>
                    <a:moveTo>
                      <a:pt x="69942" y="25089"/>
                    </a:moveTo>
                    <a:cubicBezTo>
                      <a:pt x="73009" y="24451"/>
                      <a:pt x="74114" y="28480"/>
                      <a:pt x="71552" y="29613"/>
                    </a:cubicBezTo>
                    <a:cubicBezTo>
                      <a:pt x="69847" y="30366"/>
                      <a:pt x="68066" y="28937"/>
                      <a:pt x="68256" y="27146"/>
                    </a:cubicBezTo>
                    <a:cubicBezTo>
                      <a:pt x="68371" y="26070"/>
                      <a:pt x="69047" y="25708"/>
                      <a:pt x="69942" y="25089"/>
                    </a:cubicBezTo>
                    <a:close/>
                    <a:moveTo>
                      <a:pt x="44548" y="31137"/>
                    </a:moveTo>
                    <a:cubicBezTo>
                      <a:pt x="47653" y="30337"/>
                      <a:pt x="48673" y="34233"/>
                      <a:pt x="46158" y="35319"/>
                    </a:cubicBezTo>
                    <a:cubicBezTo>
                      <a:pt x="44777" y="35919"/>
                      <a:pt x="43053" y="34576"/>
                      <a:pt x="43167" y="33052"/>
                    </a:cubicBezTo>
                    <a:cubicBezTo>
                      <a:pt x="43244" y="32109"/>
                      <a:pt x="43834" y="31690"/>
                      <a:pt x="44548" y="31137"/>
                    </a:cubicBezTo>
                    <a:close/>
                    <a:moveTo>
                      <a:pt x="95212" y="19783"/>
                    </a:moveTo>
                    <a:cubicBezTo>
                      <a:pt x="97593" y="19155"/>
                      <a:pt x="98593" y="22212"/>
                      <a:pt x="96755" y="23184"/>
                    </a:cubicBezTo>
                    <a:cubicBezTo>
                      <a:pt x="95526" y="23832"/>
                      <a:pt x="93945" y="22927"/>
                      <a:pt x="94012" y="21507"/>
                    </a:cubicBezTo>
                    <a:cubicBezTo>
                      <a:pt x="94059" y="20669"/>
                      <a:pt x="94564" y="20250"/>
                      <a:pt x="95212" y="19783"/>
                    </a:cubicBezTo>
                    <a:close/>
                    <a:moveTo>
                      <a:pt x="19660" y="37719"/>
                    </a:moveTo>
                    <a:cubicBezTo>
                      <a:pt x="21431" y="37300"/>
                      <a:pt x="22012" y="39653"/>
                      <a:pt x="20555" y="40281"/>
                    </a:cubicBezTo>
                    <a:cubicBezTo>
                      <a:pt x="19621" y="40681"/>
                      <a:pt x="18507" y="39633"/>
                      <a:pt x="18822" y="38671"/>
                    </a:cubicBezTo>
                    <a:cubicBezTo>
                      <a:pt x="18955" y="38224"/>
                      <a:pt x="19250" y="38024"/>
                      <a:pt x="19660" y="37719"/>
                    </a:cubicBezTo>
                    <a:close/>
                    <a:moveTo>
                      <a:pt x="60646" y="29175"/>
                    </a:moveTo>
                    <a:cubicBezTo>
                      <a:pt x="64341" y="28289"/>
                      <a:pt x="65113" y="33995"/>
                      <a:pt x="61408" y="34119"/>
                    </a:cubicBezTo>
                    <a:cubicBezTo>
                      <a:pt x="59912" y="34176"/>
                      <a:pt x="58407" y="32499"/>
                      <a:pt x="58998" y="30766"/>
                    </a:cubicBezTo>
                    <a:cubicBezTo>
                      <a:pt x="59284" y="29928"/>
                      <a:pt x="59855" y="29718"/>
                      <a:pt x="60646" y="29175"/>
                    </a:cubicBezTo>
                    <a:close/>
                    <a:moveTo>
                      <a:pt x="120939" y="15326"/>
                    </a:moveTo>
                    <a:cubicBezTo>
                      <a:pt x="121025" y="15316"/>
                      <a:pt x="121110" y="15316"/>
                      <a:pt x="121196" y="15307"/>
                    </a:cubicBezTo>
                    <a:cubicBezTo>
                      <a:pt x="121291" y="15354"/>
                      <a:pt x="121396" y="15411"/>
                      <a:pt x="121501" y="15469"/>
                    </a:cubicBezTo>
                    <a:cubicBezTo>
                      <a:pt x="121511" y="15564"/>
                      <a:pt x="121520" y="15669"/>
                      <a:pt x="121530" y="15764"/>
                    </a:cubicBezTo>
                    <a:cubicBezTo>
                      <a:pt x="121472" y="15840"/>
                      <a:pt x="121415" y="15916"/>
                      <a:pt x="121358" y="15992"/>
                    </a:cubicBezTo>
                    <a:cubicBezTo>
                      <a:pt x="121263" y="16002"/>
                      <a:pt x="121158" y="16012"/>
                      <a:pt x="121063" y="16021"/>
                    </a:cubicBezTo>
                    <a:cubicBezTo>
                      <a:pt x="120987" y="15964"/>
                      <a:pt x="120910" y="15907"/>
                      <a:pt x="120834" y="15850"/>
                    </a:cubicBezTo>
                    <a:cubicBezTo>
                      <a:pt x="120815" y="15764"/>
                      <a:pt x="120796" y="15678"/>
                      <a:pt x="120777" y="15592"/>
                    </a:cubicBezTo>
                    <a:cubicBezTo>
                      <a:pt x="120825" y="15507"/>
                      <a:pt x="120882" y="15411"/>
                      <a:pt x="120939" y="15326"/>
                    </a:cubicBezTo>
                    <a:close/>
                    <a:moveTo>
                      <a:pt x="85773" y="23631"/>
                    </a:moveTo>
                    <a:cubicBezTo>
                      <a:pt x="88802" y="22841"/>
                      <a:pt x="89906" y="26746"/>
                      <a:pt x="87468" y="27832"/>
                    </a:cubicBezTo>
                    <a:cubicBezTo>
                      <a:pt x="86001" y="28480"/>
                      <a:pt x="84325" y="27356"/>
                      <a:pt x="84363" y="25737"/>
                    </a:cubicBezTo>
                    <a:cubicBezTo>
                      <a:pt x="84392" y="24670"/>
                      <a:pt x="85020" y="24260"/>
                      <a:pt x="85773" y="23631"/>
                    </a:cubicBezTo>
                    <a:close/>
                    <a:moveTo>
                      <a:pt x="35414" y="35452"/>
                    </a:moveTo>
                    <a:cubicBezTo>
                      <a:pt x="38224" y="34719"/>
                      <a:pt x="39214" y="38319"/>
                      <a:pt x="36805" y="39348"/>
                    </a:cubicBezTo>
                    <a:cubicBezTo>
                      <a:pt x="35681" y="39824"/>
                      <a:pt x="34042" y="38795"/>
                      <a:pt x="34052" y="37443"/>
                    </a:cubicBezTo>
                    <a:cubicBezTo>
                      <a:pt x="34052" y="36414"/>
                      <a:pt x="34633" y="36004"/>
                      <a:pt x="35414" y="35452"/>
                    </a:cubicBezTo>
                    <a:close/>
                    <a:moveTo>
                      <a:pt x="111328" y="18726"/>
                    </a:moveTo>
                    <a:cubicBezTo>
                      <a:pt x="113052" y="18250"/>
                      <a:pt x="113738" y="20298"/>
                      <a:pt x="112462" y="21012"/>
                    </a:cubicBezTo>
                    <a:cubicBezTo>
                      <a:pt x="111700" y="21431"/>
                      <a:pt x="110471" y="20764"/>
                      <a:pt x="110623" y="19764"/>
                    </a:cubicBezTo>
                    <a:cubicBezTo>
                      <a:pt x="110680" y="19307"/>
                      <a:pt x="111004" y="19021"/>
                      <a:pt x="111328" y="18726"/>
                    </a:cubicBezTo>
                    <a:close/>
                    <a:moveTo>
                      <a:pt x="10478" y="42348"/>
                    </a:moveTo>
                    <a:cubicBezTo>
                      <a:pt x="11116" y="42186"/>
                      <a:pt x="11592" y="42491"/>
                      <a:pt x="11725" y="43158"/>
                    </a:cubicBezTo>
                    <a:cubicBezTo>
                      <a:pt x="11640" y="43539"/>
                      <a:pt x="11459" y="43682"/>
                      <a:pt x="11268" y="43986"/>
                    </a:cubicBezTo>
                    <a:cubicBezTo>
                      <a:pt x="10611" y="44167"/>
                      <a:pt x="10096" y="43901"/>
                      <a:pt x="9935" y="43310"/>
                    </a:cubicBezTo>
                    <a:cubicBezTo>
                      <a:pt x="9992" y="42824"/>
                      <a:pt x="10163" y="42662"/>
                      <a:pt x="10478" y="42348"/>
                    </a:cubicBezTo>
                    <a:close/>
                    <a:moveTo>
                      <a:pt x="51359" y="33357"/>
                    </a:moveTo>
                    <a:cubicBezTo>
                      <a:pt x="55102" y="32414"/>
                      <a:pt x="55921" y="38157"/>
                      <a:pt x="52159" y="38300"/>
                    </a:cubicBezTo>
                    <a:cubicBezTo>
                      <a:pt x="50902" y="38348"/>
                      <a:pt x="49349" y="37147"/>
                      <a:pt x="49606" y="35471"/>
                    </a:cubicBezTo>
                    <a:cubicBezTo>
                      <a:pt x="49778" y="34366"/>
                      <a:pt x="50397" y="34004"/>
                      <a:pt x="51359" y="33357"/>
                    </a:cubicBezTo>
                    <a:close/>
                    <a:moveTo>
                      <a:pt x="76476" y="27565"/>
                    </a:moveTo>
                    <a:cubicBezTo>
                      <a:pt x="80458" y="26546"/>
                      <a:pt x="81039" y="32385"/>
                      <a:pt x="77353" y="32528"/>
                    </a:cubicBezTo>
                    <a:cubicBezTo>
                      <a:pt x="76172" y="32575"/>
                      <a:pt x="74552" y="31347"/>
                      <a:pt x="74829" y="29661"/>
                    </a:cubicBezTo>
                    <a:cubicBezTo>
                      <a:pt x="75000" y="28603"/>
                      <a:pt x="75590" y="28184"/>
                      <a:pt x="76476" y="27565"/>
                    </a:cubicBezTo>
                    <a:close/>
                    <a:moveTo>
                      <a:pt x="26327" y="39824"/>
                    </a:moveTo>
                    <a:cubicBezTo>
                      <a:pt x="28642" y="39319"/>
                      <a:pt x="29432" y="42443"/>
                      <a:pt x="27470" y="43282"/>
                    </a:cubicBezTo>
                    <a:cubicBezTo>
                      <a:pt x="26261" y="43796"/>
                      <a:pt x="24870" y="42586"/>
                      <a:pt x="25079" y="41291"/>
                    </a:cubicBezTo>
                    <a:cubicBezTo>
                      <a:pt x="25184" y="40557"/>
                      <a:pt x="25698" y="40262"/>
                      <a:pt x="26327" y="39824"/>
                    </a:cubicBezTo>
                    <a:close/>
                    <a:moveTo>
                      <a:pt x="102032" y="22346"/>
                    </a:moveTo>
                    <a:cubicBezTo>
                      <a:pt x="104432" y="21717"/>
                      <a:pt x="105166" y="24936"/>
                      <a:pt x="103242" y="25784"/>
                    </a:cubicBezTo>
                    <a:cubicBezTo>
                      <a:pt x="102108" y="26279"/>
                      <a:pt x="100679" y="25327"/>
                      <a:pt x="100784" y="24003"/>
                    </a:cubicBezTo>
                    <a:cubicBezTo>
                      <a:pt x="100841" y="23155"/>
                      <a:pt x="101337" y="22822"/>
                      <a:pt x="102032" y="22346"/>
                    </a:cubicBezTo>
                    <a:close/>
                    <a:moveTo>
                      <a:pt x="67408" y="31518"/>
                    </a:moveTo>
                    <a:cubicBezTo>
                      <a:pt x="69266" y="31061"/>
                      <a:pt x="69980" y="32090"/>
                      <a:pt x="70656" y="33576"/>
                    </a:cubicBezTo>
                    <a:cubicBezTo>
                      <a:pt x="70818" y="33937"/>
                      <a:pt x="71009" y="34538"/>
                      <a:pt x="70933" y="34919"/>
                    </a:cubicBezTo>
                    <a:cubicBezTo>
                      <a:pt x="70866" y="35214"/>
                      <a:pt x="70533" y="35661"/>
                      <a:pt x="70275" y="35833"/>
                    </a:cubicBezTo>
                    <a:cubicBezTo>
                      <a:pt x="69771" y="36147"/>
                      <a:pt x="67389" y="37243"/>
                      <a:pt x="66885" y="37262"/>
                    </a:cubicBezTo>
                    <a:cubicBezTo>
                      <a:pt x="65884" y="35852"/>
                      <a:pt x="64837" y="33718"/>
                      <a:pt x="65989" y="32385"/>
                    </a:cubicBezTo>
                    <a:cubicBezTo>
                      <a:pt x="66332" y="31966"/>
                      <a:pt x="66913" y="31880"/>
                      <a:pt x="67408" y="31518"/>
                    </a:cubicBezTo>
                    <a:close/>
                    <a:moveTo>
                      <a:pt x="41891" y="37709"/>
                    </a:moveTo>
                    <a:cubicBezTo>
                      <a:pt x="45272" y="36843"/>
                      <a:pt x="46454" y="40900"/>
                      <a:pt x="43863" y="42148"/>
                    </a:cubicBezTo>
                    <a:cubicBezTo>
                      <a:pt x="42272" y="42910"/>
                      <a:pt x="40377" y="41662"/>
                      <a:pt x="40434" y="39938"/>
                    </a:cubicBezTo>
                    <a:cubicBezTo>
                      <a:pt x="40472" y="38824"/>
                      <a:pt x="41091" y="38367"/>
                      <a:pt x="41891" y="37709"/>
                    </a:cubicBezTo>
                    <a:close/>
                    <a:moveTo>
                      <a:pt x="92612" y="26117"/>
                    </a:moveTo>
                    <a:cubicBezTo>
                      <a:pt x="95612" y="25355"/>
                      <a:pt x="96669" y="29366"/>
                      <a:pt x="93955" y="30470"/>
                    </a:cubicBezTo>
                    <a:cubicBezTo>
                      <a:pt x="92726" y="30975"/>
                      <a:pt x="90926" y="29689"/>
                      <a:pt x="91040" y="28184"/>
                    </a:cubicBezTo>
                    <a:cubicBezTo>
                      <a:pt x="91126" y="27118"/>
                      <a:pt x="91764" y="26727"/>
                      <a:pt x="92612" y="26117"/>
                    </a:cubicBezTo>
                    <a:close/>
                    <a:moveTo>
                      <a:pt x="16983" y="44405"/>
                    </a:moveTo>
                    <a:cubicBezTo>
                      <a:pt x="18974" y="43863"/>
                      <a:pt x="19650" y="46387"/>
                      <a:pt x="18059" y="47082"/>
                    </a:cubicBezTo>
                    <a:cubicBezTo>
                      <a:pt x="17193" y="47463"/>
                      <a:pt x="16059" y="46644"/>
                      <a:pt x="16135" y="45663"/>
                    </a:cubicBezTo>
                    <a:cubicBezTo>
                      <a:pt x="16183" y="45072"/>
                      <a:pt x="16573" y="44787"/>
                      <a:pt x="16983" y="44405"/>
                    </a:cubicBezTo>
                    <a:close/>
                    <a:moveTo>
                      <a:pt x="118129" y="21403"/>
                    </a:moveTo>
                    <a:cubicBezTo>
                      <a:pt x="119663" y="20974"/>
                      <a:pt x="120234" y="22841"/>
                      <a:pt x="119082" y="23422"/>
                    </a:cubicBezTo>
                    <a:cubicBezTo>
                      <a:pt x="118348" y="23793"/>
                      <a:pt x="117338" y="23108"/>
                      <a:pt x="117491" y="22269"/>
                    </a:cubicBezTo>
                    <a:cubicBezTo>
                      <a:pt x="117558" y="21907"/>
                      <a:pt x="117872" y="21641"/>
                      <a:pt x="118129" y="21403"/>
                    </a:cubicBezTo>
                    <a:close/>
                    <a:moveTo>
                      <a:pt x="58303" y="35633"/>
                    </a:moveTo>
                    <a:cubicBezTo>
                      <a:pt x="61398" y="34900"/>
                      <a:pt x="60722" y="38148"/>
                      <a:pt x="62570" y="39167"/>
                    </a:cubicBezTo>
                    <a:cubicBezTo>
                      <a:pt x="64113" y="38824"/>
                      <a:pt x="65513" y="37567"/>
                      <a:pt x="66818" y="37509"/>
                    </a:cubicBezTo>
                    <a:cubicBezTo>
                      <a:pt x="67046" y="37976"/>
                      <a:pt x="67285" y="38433"/>
                      <a:pt x="67513" y="38900"/>
                    </a:cubicBezTo>
                    <a:cubicBezTo>
                      <a:pt x="68494" y="40843"/>
                      <a:pt x="69009" y="42120"/>
                      <a:pt x="71523" y="40824"/>
                    </a:cubicBezTo>
                    <a:cubicBezTo>
                      <a:pt x="71952" y="40605"/>
                      <a:pt x="72247" y="40453"/>
                      <a:pt x="72504" y="40138"/>
                    </a:cubicBezTo>
                    <a:cubicBezTo>
                      <a:pt x="73933" y="38405"/>
                      <a:pt x="71571" y="37347"/>
                      <a:pt x="71866" y="35728"/>
                    </a:cubicBezTo>
                    <a:cubicBezTo>
                      <a:pt x="72028" y="34823"/>
                      <a:pt x="73485" y="34319"/>
                      <a:pt x="74447" y="33918"/>
                    </a:cubicBezTo>
                    <a:cubicBezTo>
                      <a:pt x="77353" y="32699"/>
                      <a:pt x="76857" y="37252"/>
                      <a:pt x="78572" y="37481"/>
                    </a:cubicBezTo>
                    <a:cubicBezTo>
                      <a:pt x="79848" y="37652"/>
                      <a:pt x="81429" y="35709"/>
                      <a:pt x="82610" y="36204"/>
                    </a:cubicBezTo>
                    <a:cubicBezTo>
                      <a:pt x="83915" y="36757"/>
                      <a:pt x="83877" y="39395"/>
                      <a:pt x="85268" y="39843"/>
                    </a:cubicBezTo>
                    <a:cubicBezTo>
                      <a:pt x="86630" y="40281"/>
                      <a:pt x="88487" y="37995"/>
                      <a:pt x="89621" y="38795"/>
                    </a:cubicBezTo>
                    <a:cubicBezTo>
                      <a:pt x="90707" y="39567"/>
                      <a:pt x="90640" y="41805"/>
                      <a:pt x="91878" y="42339"/>
                    </a:cubicBezTo>
                    <a:cubicBezTo>
                      <a:pt x="93193" y="42901"/>
                      <a:pt x="94879" y="40786"/>
                      <a:pt x="96079" y="41291"/>
                    </a:cubicBezTo>
                    <a:cubicBezTo>
                      <a:pt x="97336" y="41815"/>
                      <a:pt x="97289" y="44463"/>
                      <a:pt x="98498" y="45025"/>
                    </a:cubicBezTo>
                    <a:cubicBezTo>
                      <a:pt x="100013" y="45720"/>
                      <a:pt x="101994" y="42434"/>
                      <a:pt x="103632" y="44748"/>
                    </a:cubicBezTo>
                    <a:cubicBezTo>
                      <a:pt x="104223" y="45587"/>
                      <a:pt x="105023" y="47396"/>
                      <a:pt x="104347" y="48187"/>
                    </a:cubicBezTo>
                    <a:cubicBezTo>
                      <a:pt x="103127" y="49625"/>
                      <a:pt x="99832" y="49063"/>
                      <a:pt x="101460" y="52273"/>
                    </a:cubicBezTo>
                    <a:cubicBezTo>
                      <a:pt x="101641" y="52616"/>
                      <a:pt x="101822" y="52949"/>
                      <a:pt x="101994" y="53283"/>
                    </a:cubicBezTo>
                    <a:cubicBezTo>
                      <a:pt x="102841" y="54350"/>
                      <a:pt x="104185" y="54083"/>
                      <a:pt x="105585" y="53407"/>
                    </a:cubicBezTo>
                    <a:cubicBezTo>
                      <a:pt x="105956" y="53226"/>
                      <a:pt x="106613" y="52749"/>
                      <a:pt x="107032" y="52921"/>
                    </a:cubicBezTo>
                    <a:cubicBezTo>
                      <a:pt x="108156" y="53378"/>
                      <a:pt x="108328" y="56293"/>
                      <a:pt x="109395" y="56931"/>
                    </a:cubicBezTo>
                    <a:cubicBezTo>
                      <a:pt x="110233" y="57426"/>
                      <a:pt x="112214" y="55435"/>
                      <a:pt x="113490" y="55950"/>
                    </a:cubicBezTo>
                    <a:cubicBezTo>
                      <a:pt x="114995" y="56550"/>
                      <a:pt x="116167" y="59455"/>
                      <a:pt x="114472" y="60541"/>
                    </a:cubicBezTo>
                    <a:cubicBezTo>
                      <a:pt x="113576" y="61122"/>
                      <a:pt x="111881" y="61274"/>
                      <a:pt x="111690" y="62284"/>
                    </a:cubicBezTo>
                    <a:cubicBezTo>
                      <a:pt x="111528" y="63122"/>
                      <a:pt x="113243" y="65275"/>
                      <a:pt x="113252" y="66399"/>
                    </a:cubicBezTo>
                    <a:cubicBezTo>
                      <a:pt x="112547" y="67170"/>
                      <a:pt x="110995" y="67351"/>
                      <a:pt x="110195" y="68132"/>
                    </a:cubicBezTo>
                    <a:cubicBezTo>
                      <a:pt x="109042" y="69256"/>
                      <a:pt x="109785" y="71933"/>
                      <a:pt x="111214" y="72561"/>
                    </a:cubicBezTo>
                    <a:cubicBezTo>
                      <a:pt x="112652" y="73200"/>
                      <a:pt x="113700" y="71447"/>
                      <a:pt x="115053" y="71599"/>
                    </a:cubicBezTo>
                    <a:cubicBezTo>
                      <a:pt x="116005" y="71704"/>
                      <a:pt x="116281" y="72819"/>
                      <a:pt x="116729" y="73752"/>
                    </a:cubicBezTo>
                    <a:cubicBezTo>
                      <a:pt x="116929" y="74171"/>
                      <a:pt x="117196" y="74743"/>
                      <a:pt x="117110" y="75257"/>
                    </a:cubicBezTo>
                    <a:cubicBezTo>
                      <a:pt x="116824" y="77029"/>
                      <a:pt x="114052" y="76752"/>
                      <a:pt x="113490" y="78143"/>
                    </a:cubicBezTo>
                    <a:cubicBezTo>
                      <a:pt x="113024" y="79305"/>
                      <a:pt x="114976" y="80905"/>
                      <a:pt x="114767" y="82172"/>
                    </a:cubicBezTo>
                    <a:cubicBezTo>
                      <a:pt x="114548" y="83515"/>
                      <a:pt x="111614" y="83563"/>
                      <a:pt x="111119" y="84953"/>
                    </a:cubicBezTo>
                    <a:cubicBezTo>
                      <a:pt x="110633" y="86306"/>
                      <a:pt x="112557" y="87982"/>
                      <a:pt x="112328" y="89040"/>
                    </a:cubicBezTo>
                    <a:cubicBezTo>
                      <a:pt x="112081" y="90164"/>
                      <a:pt x="109042" y="90345"/>
                      <a:pt x="108585" y="91726"/>
                    </a:cubicBezTo>
                    <a:cubicBezTo>
                      <a:pt x="108137" y="93059"/>
                      <a:pt x="110080" y="94783"/>
                      <a:pt x="109709" y="95793"/>
                    </a:cubicBezTo>
                    <a:cubicBezTo>
                      <a:pt x="109204" y="97164"/>
                      <a:pt x="106175" y="97031"/>
                      <a:pt x="105870" y="98536"/>
                    </a:cubicBezTo>
                    <a:cubicBezTo>
                      <a:pt x="105546" y="100098"/>
                      <a:pt x="107918" y="101508"/>
                      <a:pt x="106632" y="102994"/>
                    </a:cubicBezTo>
                    <a:cubicBezTo>
                      <a:pt x="106013" y="103708"/>
                      <a:pt x="103203" y="105023"/>
                      <a:pt x="102527" y="104127"/>
                    </a:cubicBezTo>
                    <a:cubicBezTo>
                      <a:pt x="101918" y="103318"/>
                      <a:pt x="101851" y="101984"/>
                      <a:pt x="101137" y="101374"/>
                    </a:cubicBezTo>
                    <a:cubicBezTo>
                      <a:pt x="99956" y="100374"/>
                      <a:pt x="97641" y="101308"/>
                      <a:pt x="97079" y="102537"/>
                    </a:cubicBezTo>
                    <a:cubicBezTo>
                      <a:pt x="96498" y="103794"/>
                      <a:pt x="97574" y="106689"/>
                      <a:pt x="99070" y="106556"/>
                    </a:cubicBezTo>
                    <a:cubicBezTo>
                      <a:pt x="100089" y="106470"/>
                      <a:pt x="101527" y="105013"/>
                      <a:pt x="102518" y="105194"/>
                    </a:cubicBezTo>
                    <a:cubicBezTo>
                      <a:pt x="103127" y="105308"/>
                      <a:pt x="104308" y="107423"/>
                      <a:pt x="104308" y="108347"/>
                    </a:cubicBezTo>
                    <a:cubicBezTo>
                      <a:pt x="104308" y="108814"/>
                      <a:pt x="104089" y="109337"/>
                      <a:pt x="103851" y="109671"/>
                    </a:cubicBezTo>
                    <a:cubicBezTo>
                      <a:pt x="103651" y="109957"/>
                      <a:pt x="103308" y="110261"/>
                      <a:pt x="102965" y="110442"/>
                    </a:cubicBezTo>
                    <a:cubicBezTo>
                      <a:pt x="101660" y="111147"/>
                      <a:pt x="100260" y="111061"/>
                      <a:pt x="99603" y="110042"/>
                    </a:cubicBezTo>
                    <a:cubicBezTo>
                      <a:pt x="99022" y="109137"/>
                      <a:pt x="98850" y="107356"/>
                      <a:pt x="97765" y="107318"/>
                    </a:cubicBezTo>
                    <a:cubicBezTo>
                      <a:pt x="97174" y="107299"/>
                      <a:pt x="96603" y="107709"/>
                      <a:pt x="96231" y="107899"/>
                    </a:cubicBezTo>
                    <a:cubicBezTo>
                      <a:pt x="95336" y="108347"/>
                      <a:pt x="94231" y="108585"/>
                      <a:pt x="94050" y="109461"/>
                    </a:cubicBezTo>
                    <a:cubicBezTo>
                      <a:pt x="93688" y="111195"/>
                      <a:pt x="96517" y="112690"/>
                      <a:pt x="94297" y="114300"/>
                    </a:cubicBezTo>
                    <a:cubicBezTo>
                      <a:pt x="93098" y="115176"/>
                      <a:pt x="91269" y="115595"/>
                      <a:pt x="90469" y="114462"/>
                    </a:cubicBezTo>
                    <a:cubicBezTo>
                      <a:pt x="89697" y="113366"/>
                      <a:pt x="89564" y="110899"/>
                      <a:pt x="87640" y="111738"/>
                    </a:cubicBezTo>
                    <a:cubicBezTo>
                      <a:pt x="86516" y="112224"/>
                      <a:pt x="84601" y="112757"/>
                      <a:pt x="84715" y="114043"/>
                    </a:cubicBezTo>
                    <a:cubicBezTo>
                      <a:pt x="84830" y="115262"/>
                      <a:pt x="86240" y="116300"/>
                      <a:pt x="85706" y="117529"/>
                    </a:cubicBezTo>
                    <a:cubicBezTo>
                      <a:pt x="85068" y="118996"/>
                      <a:pt x="82448" y="119872"/>
                      <a:pt x="81258" y="118634"/>
                    </a:cubicBezTo>
                    <a:cubicBezTo>
                      <a:pt x="80505" y="117853"/>
                      <a:pt x="80305" y="116300"/>
                      <a:pt x="79591" y="115529"/>
                    </a:cubicBezTo>
                    <a:cubicBezTo>
                      <a:pt x="78439" y="115548"/>
                      <a:pt x="76476" y="117348"/>
                      <a:pt x="75381" y="116995"/>
                    </a:cubicBezTo>
                    <a:cubicBezTo>
                      <a:pt x="74248" y="116643"/>
                      <a:pt x="74219" y="114976"/>
                      <a:pt x="73466" y="113986"/>
                    </a:cubicBezTo>
                    <a:cubicBezTo>
                      <a:pt x="72409" y="112585"/>
                      <a:pt x="69523" y="114100"/>
                      <a:pt x="68561" y="115081"/>
                    </a:cubicBezTo>
                    <a:cubicBezTo>
                      <a:pt x="68647" y="116262"/>
                      <a:pt x="69742" y="117100"/>
                      <a:pt x="69780" y="118405"/>
                    </a:cubicBezTo>
                    <a:cubicBezTo>
                      <a:pt x="69828" y="119872"/>
                      <a:pt x="67751" y="121339"/>
                      <a:pt x="66132" y="120691"/>
                    </a:cubicBezTo>
                    <a:cubicBezTo>
                      <a:pt x="65684" y="120510"/>
                      <a:pt x="65322" y="120234"/>
                      <a:pt x="65018" y="119815"/>
                    </a:cubicBezTo>
                    <a:cubicBezTo>
                      <a:pt x="64846" y="119510"/>
                      <a:pt x="64675" y="119205"/>
                      <a:pt x="64503" y="118910"/>
                    </a:cubicBezTo>
                    <a:cubicBezTo>
                      <a:pt x="63037" y="115605"/>
                      <a:pt x="67580" y="116367"/>
                      <a:pt x="68037" y="114643"/>
                    </a:cubicBezTo>
                    <a:cubicBezTo>
                      <a:pt x="68056" y="114157"/>
                      <a:pt x="67694" y="113576"/>
                      <a:pt x="67513" y="113205"/>
                    </a:cubicBezTo>
                    <a:cubicBezTo>
                      <a:pt x="66485" y="111061"/>
                      <a:pt x="65970" y="110338"/>
                      <a:pt x="63513" y="111509"/>
                    </a:cubicBezTo>
                    <a:cubicBezTo>
                      <a:pt x="63046" y="111728"/>
                      <a:pt x="62560" y="111852"/>
                      <a:pt x="62265" y="112176"/>
                    </a:cubicBezTo>
                    <a:cubicBezTo>
                      <a:pt x="61217" y="113319"/>
                      <a:pt x="63160" y="114643"/>
                      <a:pt x="63141" y="116148"/>
                    </a:cubicBezTo>
                    <a:cubicBezTo>
                      <a:pt x="63122" y="117881"/>
                      <a:pt x="60312" y="118729"/>
                      <a:pt x="58931" y="117957"/>
                    </a:cubicBezTo>
                    <a:cubicBezTo>
                      <a:pt x="58579" y="117757"/>
                      <a:pt x="58350" y="117443"/>
                      <a:pt x="58112" y="117043"/>
                    </a:cubicBezTo>
                    <a:cubicBezTo>
                      <a:pt x="57969" y="116748"/>
                      <a:pt x="57826" y="116453"/>
                      <a:pt x="57683" y="116157"/>
                    </a:cubicBezTo>
                    <a:cubicBezTo>
                      <a:pt x="56493" y="113309"/>
                      <a:pt x="60398" y="113843"/>
                      <a:pt x="61103" y="112224"/>
                    </a:cubicBezTo>
                    <a:cubicBezTo>
                      <a:pt x="61379" y="111595"/>
                      <a:pt x="60341" y="109356"/>
                      <a:pt x="59931" y="108966"/>
                    </a:cubicBezTo>
                    <a:cubicBezTo>
                      <a:pt x="59645" y="108680"/>
                      <a:pt x="59074" y="108394"/>
                      <a:pt x="58655" y="108347"/>
                    </a:cubicBezTo>
                    <a:cubicBezTo>
                      <a:pt x="57741" y="108242"/>
                      <a:pt x="55178" y="109585"/>
                      <a:pt x="55131" y="110185"/>
                    </a:cubicBezTo>
                    <a:cubicBezTo>
                      <a:pt x="55045" y="111385"/>
                      <a:pt x="56426" y="112347"/>
                      <a:pt x="56417" y="113605"/>
                    </a:cubicBezTo>
                    <a:cubicBezTo>
                      <a:pt x="56397" y="115205"/>
                      <a:pt x="53797" y="116148"/>
                      <a:pt x="52407" y="115481"/>
                    </a:cubicBezTo>
                    <a:cubicBezTo>
                      <a:pt x="51216" y="114910"/>
                      <a:pt x="50378" y="112681"/>
                      <a:pt x="51349" y="111547"/>
                    </a:cubicBezTo>
                    <a:cubicBezTo>
                      <a:pt x="51968" y="110823"/>
                      <a:pt x="53426" y="110776"/>
                      <a:pt x="54169" y="110099"/>
                    </a:cubicBezTo>
                    <a:cubicBezTo>
                      <a:pt x="54340" y="109947"/>
                      <a:pt x="54578" y="109604"/>
                      <a:pt x="54559" y="109328"/>
                    </a:cubicBezTo>
                    <a:cubicBezTo>
                      <a:pt x="54512" y="108728"/>
                      <a:pt x="53445" y="106518"/>
                      <a:pt x="53121" y="106204"/>
                    </a:cubicBezTo>
                    <a:cubicBezTo>
                      <a:pt x="51464" y="104632"/>
                      <a:pt x="50064" y="107223"/>
                      <a:pt x="48492" y="106851"/>
                    </a:cubicBezTo>
                    <a:cubicBezTo>
                      <a:pt x="46987" y="106499"/>
                      <a:pt x="47139" y="103375"/>
                      <a:pt x="45758" y="102889"/>
                    </a:cubicBezTo>
                    <a:cubicBezTo>
                      <a:pt x="45377" y="102756"/>
                      <a:pt x="44691" y="103241"/>
                      <a:pt x="44358" y="103403"/>
                    </a:cubicBezTo>
                    <a:cubicBezTo>
                      <a:pt x="43015" y="104041"/>
                      <a:pt x="41843" y="104337"/>
                      <a:pt x="40948" y="103432"/>
                    </a:cubicBezTo>
                    <a:cubicBezTo>
                      <a:pt x="40757" y="103137"/>
                      <a:pt x="40557" y="102841"/>
                      <a:pt x="40367" y="102546"/>
                    </a:cubicBezTo>
                    <a:cubicBezTo>
                      <a:pt x="39272" y="100317"/>
                      <a:pt x="40186" y="99746"/>
                      <a:pt x="41910" y="98888"/>
                    </a:cubicBezTo>
                    <a:cubicBezTo>
                      <a:pt x="42415" y="98641"/>
                      <a:pt x="42891" y="98527"/>
                      <a:pt x="43186" y="98174"/>
                    </a:cubicBezTo>
                    <a:cubicBezTo>
                      <a:pt x="43872" y="97355"/>
                      <a:pt x="42958" y="95536"/>
                      <a:pt x="42396" y="94602"/>
                    </a:cubicBezTo>
                    <a:cubicBezTo>
                      <a:pt x="40977" y="92221"/>
                      <a:pt x="38300" y="96507"/>
                      <a:pt x="36586" y="94078"/>
                    </a:cubicBezTo>
                    <a:cubicBezTo>
                      <a:pt x="35757" y="92907"/>
                      <a:pt x="35271" y="91097"/>
                      <a:pt x="36309" y="90268"/>
                    </a:cubicBezTo>
                    <a:cubicBezTo>
                      <a:pt x="37395" y="89411"/>
                      <a:pt x="39996" y="89363"/>
                      <a:pt x="39129" y="87344"/>
                    </a:cubicBezTo>
                    <a:cubicBezTo>
                      <a:pt x="38710" y="86363"/>
                      <a:pt x="38148" y="84582"/>
                      <a:pt x="37167" y="84458"/>
                    </a:cubicBezTo>
                    <a:cubicBezTo>
                      <a:pt x="35643" y="84258"/>
                      <a:pt x="34471" y="86516"/>
                      <a:pt x="32814" y="85163"/>
                    </a:cubicBezTo>
                    <a:cubicBezTo>
                      <a:pt x="32538" y="84934"/>
                      <a:pt x="32299" y="84620"/>
                      <a:pt x="32109" y="84258"/>
                    </a:cubicBezTo>
                    <a:cubicBezTo>
                      <a:pt x="30480" y="81153"/>
                      <a:pt x="33109" y="80477"/>
                      <a:pt x="35433" y="79429"/>
                    </a:cubicBezTo>
                    <a:cubicBezTo>
                      <a:pt x="35481" y="78172"/>
                      <a:pt x="33576" y="76533"/>
                      <a:pt x="33890" y="75190"/>
                    </a:cubicBezTo>
                    <a:cubicBezTo>
                      <a:pt x="34185" y="73904"/>
                      <a:pt x="36424" y="73866"/>
                      <a:pt x="37233" y="72904"/>
                    </a:cubicBezTo>
                    <a:cubicBezTo>
                      <a:pt x="38014" y="71980"/>
                      <a:pt x="37081" y="70332"/>
                      <a:pt x="36538" y="69237"/>
                    </a:cubicBezTo>
                    <a:cubicBezTo>
                      <a:pt x="36433" y="69028"/>
                      <a:pt x="36204" y="68713"/>
                      <a:pt x="36243" y="68428"/>
                    </a:cubicBezTo>
                    <a:cubicBezTo>
                      <a:pt x="36366" y="67466"/>
                      <a:pt x="38233" y="67180"/>
                      <a:pt x="39100" y="66665"/>
                    </a:cubicBezTo>
                    <a:cubicBezTo>
                      <a:pt x="40510" y="65827"/>
                      <a:pt x="39919" y="64294"/>
                      <a:pt x="39214" y="62884"/>
                    </a:cubicBezTo>
                    <a:cubicBezTo>
                      <a:pt x="38853" y="62160"/>
                      <a:pt x="38738" y="61789"/>
                      <a:pt x="38110" y="61541"/>
                    </a:cubicBezTo>
                    <a:cubicBezTo>
                      <a:pt x="37338" y="61836"/>
                      <a:pt x="35728" y="62827"/>
                      <a:pt x="34957" y="62846"/>
                    </a:cubicBezTo>
                    <a:cubicBezTo>
                      <a:pt x="33204" y="62884"/>
                      <a:pt x="32175" y="60379"/>
                      <a:pt x="32890" y="58845"/>
                    </a:cubicBezTo>
                    <a:cubicBezTo>
                      <a:pt x="33052" y="58493"/>
                      <a:pt x="33385" y="58198"/>
                      <a:pt x="33747" y="57960"/>
                    </a:cubicBezTo>
                    <a:cubicBezTo>
                      <a:pt x="33995" y="57826"/>
                      <a:pt x="34242" y="57693"/>
                      <a:pt x="34490" y="57560"/>
                    </a:cubicBezTo>
                    <a:cubicBezTo>
                      <a:pt x="37776" y="56140"/>
                      <a:pt x="37233" y="60646"/>
                      <a:pt x="38786" y="61046"/>
                    </a:cubicBezTo>
                    <a:cubicBezTo>
                      <a:pt x="39262" y="61065"/>
                      <a:pt x="39776" y="60760"/>
                      <a:pt x="40119" y="60588"/>
                    </a:cubicBezTo>
                    <a:cubicBezTo>
                      <a:pt x="41405" y="59941"/>
                      <a:pt x="42663" y="59655"/>
                      <a:pt x="42605" y="58198"/>
                    </a:cubicBezTo>
                    <a:cubicBezTo>
                      <a:pt x="42548" y="56845"/>
                      <a:pt x="40815" y="55559"/>
                      <a:pt x="41634" y="54473"/>
                    </a:cubicBezTo>
                    <a:cubicBezTo>
                      <a:pt x="42453" y="53378"/>
                      <a:pt x="45025" y="53559"/>
                      <a:pt x="45272" y="52006"/>
                    </a:cubicBezTo>
                    <a:cubicBezTo>
                      <a:pt x="45511" y="50530"/>
                      <a:pt x="43282" y="49101"/>
                      <a:pt x="44434" y="47720"/>
                    </a:cubicBezTo>
                    <a:cubicBezTo>
                      <a:pt x="44730" y="47368"/>
                      <a:pt x="45091" y="47244"/>
                      <a:pt x="45596" y="46996"/>
                    </a:cubicBezTo>
                    <a:cubicBezTo>
                      <a:pt x="46330" y="46644"/>
                      <a:pt x="47653" y="45787"/>
                      <a:pt x="48368" y="46358"/>
                    </a:cubicBezTo>
                    <a:cubicBezTo>
                      <a:pt x="49806" y="47511"/>
                      <a:pt x="48949" y="49911"/>
                      <a:pt x="51654" y="49740"/>
                    </a:cubicBezTo>
                    <a:cubicBezTo>
                      <a:pt x="53169" y="49644"/>
                      <a:pt x="54312" y="48273"/>
                      <a:pt x="54331" y="47187"/>
                    </a:cubicBezTo>
                    <a:cubicBezTo>
                      <a:pt x="54340" y="46634"/>
                      <a:pt x="54007" y="46158"/>
                      <a:pt x="53807" y="45749"/>
                    </a:cubicBezTo>
                    <a:cubicBezTo>
                      <a:pt x="53464" y="45044"/>
                      <a:pt x="53245" y="44139"/>
                      <a:pt x="52569" y="43986"/>
                    </a:cubicBezTo>
                    <a:cubicBezTo>
                      <a:pt x="51254" y="43958"/>
                      <a:pt x="50035" y="45472"/>
                      <a:pt x="48835" y="45377"/>
                    </a:cubicBezTo>
                    <a:cubicBezTo>
                      <a:pt x="48025" y="45310"/>
                      <a:pt x="46739" y="43291"/>
                      <a:pt x="46863" y="42110"/>
                    </a:cubicBezTo>
                    <a:cubicBezTo>
                      <a:pt x="46920" y="41596"/>
                      <a:pt x="47273" y="40948"/>
                      <a:pt x="47615" y="40605"/>
                    </a:cubicBezTo>
                    <a:cubicBezTo>
                      <a:pt x="47892" y="40424"/>
                      <a:pt x="48168" y="40253"/>
                      <a:pt x="48435" y="40072"/>
                    </a:cubicBezTo>
                    <a:cubicBezTo>
                      <a:pt x="49139" y="39738"/>
                      <a:pt x="49902" y="39700"/>
                      <a:pt x="50444" y="39872"/>
                    </a:cubicBezTo>
                    <a:cubicBezTo>
                      <a:pt x="52073" y="40415"/>
                      <a:pt x="51692" y="42281"/>
                      <a:pt x="52854" y="43262"/>
                    </a:cubicBezTo>
                    <a:cubicBezTo>
                      <a:pt x="53292" y="43625"/>
                      <a:pt x="56179" y="42300"/>
                      <a:pt x="56722" y="41910"/>
                    </a:cubicBezTo>
                    <a:cubicBezTo>
                      <a:pt x="58112" y="40910"/>
                      <a:pt x="55940" y="39338"/>
                      <a:pt x="56045" y="37814"/>
                    </a:cubicBezTo>
                    <a:cubicBezTo>
                      <a:pt x="56131" y="36414"/>
                      <a:pt x="57245" y="36404"/>
                      <a:pt x="58303" y="35633"/>
                    </a:cubicBezTo>
                    <a:close/>
                    <a:moveTo>
                      <a:pt x="83258" y="29985"/>
                    </a:moveTo>
                    <a:cubicBezTo>
                      <a:pt x="86363" y="29251"/>
                      <a:pt x="88192" y="33185"/>
                      <a:pt x="85068" y="34690"/>
                    </a:cubicBezTo>
                    <a:cubicBezTo>
                      <a:pt x="84715" y="34861"/>
                      <a:pt x="84268" y="35204"/>
                      <a:pt x="83744" y="35223"/>
                    </a:cubicBezTo>
                    <a:cubicBezTo>
                      <a:pt x="82668" y="35262"/>
                      <a:pt x="81201" y="33452"/>
                      <a:pt x="81448" y="32032"/>
                    </a:cubicBezTo>
                    <a:cubicBezTo>
                      <a:pt x="81629" y="31004"/>
                      <a:pt x="82372" y="30604"/>
                      <a:pt x="83258" y="29985"/>
                    </a:cubicBezTo>
                    <a:close/>
                    <a:moveTo>
                      <a:pt x="32690" y="42072"/>
                    </a:moveTo>
                    <a:cubicBezTo>
                      <a:pt x="35795" y="41262"/>
                      <a:pt x="36843" y="45015"/>
                      <a:pt x="34500" y="46129"/>
                    </a:cubicBezTo>
                    <a:cubicBezTo>
                      <a:pt x="33061" y="46815"/>
                      <a:pt x="31252" y="45663"/>
                      <a:pt x="31385" y="44005"/>
                    </a:cubicBezTo>
                    <a:cubicBezTo>
                      <a:pt x="31461" y="43101"/>
                      <a:pt x="32033" y="42624"/>
                      <a:pt x="32690" y="42072"/>
                    </a:cubicBezTo>
                    <a:close/>
                    <a:moveTo>
                      <a:pt x="108842" y="24908"/>
                    </a:moveTo>
                    <a:cubicBezTo>
                      <a:pt x="110995" y="24441"/>
                      <a:pt x="111805" y="27394"/>
                      <a:pt x="109985" y="28213"/>
                    </a:cubicBezTo>
                    <a:cubicBezTo>
                      <a:pt x="108747" y="28765"/>
                      <a:pt x="107385" y="27632"/>
                      <a:pt x="107585" y="26375"/>
                    </a:cubicBezTo>
                    <a:cubicBezTo>
                      <a:pt x="107709" y="25632"/>
                      <a:pt x="108195" y="25346"/>
                      <a:pt x="108842" y="24908"/>
                    </a:cubicBezTo>
                    <a:close/>
                    <a:moveTo>
                      <a:pt x="7925" y="49044"/>
                    </a:moveTo>
                    <a:cubicBezTo>
                      <a:pt x="9220" y="48711"/>
                      <a:pt x="9697" y="50587"/>
                      <a:pt x="8344" y="50844"/>
                    </a:cubicBezTo>
                    <a:cubicBezTo>
                      <a:pt x="7182" y="50616"/>
                      <a:pt x="7191" y="49749"/>
                      <a:pt x="7925" y="49044"/>
                    </a:cubicBezTo>
                    <a:close/>
                    <a:moveTo>
                      <a:pt x="99213" y="28727"/>
                    </a:moveTo>
                    <a:cubicBezTo>
                      <a:pt x="102280" y="27927"/>
                      <a:pt x="103299" y="31794"/>
                      <a:pt x="100965" y="32880"/>
                    </a:cubicBezTo>
                    <a:cubicBezTo>
                      <a:pt x="99622" y="33499"/>
                      <a:pt x="97765" y="32404"/>
                      <a:pt x="97784" y="30918"/>
                    </a:cubicBezTo>
                    <a:cubicBezTo>
                      <a:pt x="97793" y="29851"/>
                      <a:pt x="98422" y="29327"/>
                      <a:pt x="99213" y="28727"/>
                    </a:cubicBezTo>
                    <a:close/>
                    <a:moveTo>
                      <a:pt x="23622" y="46520"/>
                    </a:moveTo>
                    <a:cubicBezTo>
                      <a:pt x="26165" y="45853"/>
                      <a:pt x="27099" y="49025"/>
                      <a:pt x="25146" y="49997"/>
                    </a:cubicBezTo>
                    <a:cubicBezTo>
                      <a:pt x="23927" y="50616"/>
                      <a:pt x="22355" y="49682"/>
                      <a:pt x="22422" y="48235"/>
                    </a:cubicBezTo>
                    <a:cubicBezTo>
                      <a:pt x="22470" y="47406"/>
                      <a:pt x="22993" y="46996"/>
                      <a:pt x="23622" y="46520"/>
                    </a:cubicBezTo>
                    <a:close/>
                    <a:moveTo>
                      <a:pt x="125044" y="24060"/>
                    </a:moveTo>
                    <a:cubicBezTo>
                      <a:pt x="126292" y="23774"/>
                      <a:pt x="126692" y="25594"/>
                      <a:pt x="125378" y="25841"/>
                    </a:cubicBezTo>
                    <a:cubicBezTo>
                      <a:pt x="124930" y="25746"/>
                      <a:pt x="124578" y="25575"/>
                      <a:pt x="124454" y="24955"/>
                    </a:cubicBezTo>
                    <a:cubicBezTo>
                      <a:pt x="124549" y="24517"/>
                      <a:pt x="124720" y="24346"/>
                      <a:pt x="125044" y="24060"/>
                    </a:cubicBezTo>
                    <a:close/>
                    <a:moveTo>
                      <a:pt x="89811" y="32566"/>
                    </a:moveTo>
                    <a:cubicBezTo>
                      <a:pt x="92545" y="31871"/>
                      <a:pt x="94612" y="34795"/>
                      <a:pt x="92878" y="36643"/>
                    </a:cubicBezTo>
                    <a:cubicBezTo>
                      <a:pt x="92602" y="36938"/>
                      <a:pt x="92231" y="37024"/>
                      <a:pt x="91802" y="37233"/>
                    </a:cubicBezTo>
                    <a:cubicBezTo>
                      <a:pt x="91364" y="37424"/>
                      <a:pt x="90926" y="37614"/>
                      <a:pt x="90488" y="37805"/>
                    </a:cubicBezTo>
                    <a:cubicBezTo>
                      <a:pt x="89278" y="37881"/>
                      <a:pt x="88983" y="36938"/>
                      <a:pt x="88487" y="35881"/>
                    </a:cubicBezTo>
                    <a:cubicBezTo>
                      <a:pt x="88297" y="35481"/>
                      <a:pt x="88040" y="34966"/>
                      <a:pt x="88125" y="34480"/>
                    </a:cubicBezTo>
                    <a:cubicBezTo>
                      <a:pt x="88306" y="33547"/>
                      <a:pt x="89030" y="33137"/>
                      <a:pt x="89811" y="32566"/>
                    </a:cubicBezTo>
                    <a:close/>
                    <a:moveTo>
                      <a:pt x="39414" y="44244"/>
                    </a:moveTo>
                    <a:cubicBezTo>
                      <a:pt x="41367" y="43748"/>
                      <a:pt x="43596" y="45434"/>
                      <a:pt x="42872" y="47539"/>
                    </a:cubicBezTo>
                    <a:cubicBezTo>
                      <a:pt x="42615" y="48301"/>
                      <a:pt x="41786" y="48711"/>
                      <a:pt x="40919" y="49092"/>
                    </a:cubicBezTo>
                    <a:cubicBezTo>
                      <a:pt x="39348" y="49768"/>
                      <a:pt x="37652" y="48092"/>
                      <a:pt x="37776" y="46482"/>
                    </a:cubicBezTo>
                    <a:cubicBezTo>
                      <a:pt x="37852" y="45349"/>
                      <a:pt x="38548" y="44901"/>
                      <a:pt x="39414" y="44244"/>
                    </a:cubicBezTo>
                    <a:close/>
                    <a:moveTo>
                      <a:pt x="61217" y="39891"/>
                    </a:moveTo>
                    <a:cubicBezTo>
                      <a:pt x="60341" y="40500"/>
                      <a:pt x="58855" y="40643"/>
                      <a:pt x="58226" y="41415"/>
                    </a:cubicBezTo>
                    <a:cubicBezTo>
                      <a:pt x="57598" y="42186"/>
                      <a:pt x="58484" y="44282"/>
                      <a:pt x="59179" y="44872"/>
                    </a:cubicBezTo>
                    <a:cubicBezTo>
                      <a:pt x="59503" y="45158"/>
                      <a:pt x="60017" y="45339"/>
                      <a:pt x="60474" y="45406"/>
                    </a:cubicBezTo>
                    <a:cubicBezTo>
                      <a:pt x="62198" y="45653"/>
                      <a:pt x="63589" y="44101"/>
                      <a:pt x="63560" y="42834"/>
                    </a:cubicBezTo>
                    <a:cubicBezTo>
                      <a:pt x="63551" y="42367"/>
                      <a:pt x="63294" y="42005"/>
                      <a:pt x="63151" y="41710"/>
                    </a:cubicBezTo>
                    <a:cubicBezTo>
                      <a:pt x="62655" y="40681"/>
                      <a:pt x="62436" y="39767"/>
                      <a:pt x="61217" y="39891"/>
                    </a:cubicBezTo>
                    <a:close/>
                    <a:moveTo>
                      <a:pt x="115500" y="27622"/>
                    </a:moveTo>
                    <a:cubicBezTo>
                      <a:pt x="117662" y="27051"/>
                      <a:pt x="118320" y="29966"/>
                      <a:pt x="116548" y="30680"/>
                    </a:cubicBezTo>
                    <a:cubicBezTo>
                      <a:pt x="115624" y="31051"/>
                      <a:pt x="114395" y="30213"/>
                      <a:pt x="114452" y="29156"/>
                    </a:cubicBezTo>
                    <a:cubicBezTo>
                      <a:pt x="114491" y="28432"/>
                      <a:pt x="114948" y="28042"/>
                      <a:pt x="115500" y="27622"/>
                    </a:cubicBezTo>
                    <a:close/>
                    <a:moveTo>
                      <a:pt x="14431" y="51111"/>
                    </a:moveTo>
                    <a:cubicBezTo>
                      <a:pt x="16450" y="50559"/>
                      <a:pt x="17164" y="53007"/>
                      <a:pt x="15688" y="53778"/>
                    </a:cubicBezTo>
                    <a:cubicBezTo>
                      <a:pt x="14716" y="54292"/>
                      <a:pt x="13421" y="53407"/>
                      <a:pt x="13564" y="52292"/>
                    </a:cubicBezTo>
                    <a:cubicBezTo>
                      <a:pt x="13640" y="51778"/>
                      <a:pt x="14030" y="51435"/>
                      <a:pt x="14431" y="51111"/>
                    </a:cubicBezTo>
                    <a:close/>
                    <a:moveTo>
                      <a:pt x="30194" y="48682"/>
                    </a:moveTo>
                    <a:cubicBezTo>
                      <a:pt x="33214" y="47901"/>
                      <a:pt x="34462" y="51616"/>
                      <a:pt x="32185" y="52854"/>
                    </a:cubicBezTo>
                    <a:cubicBezTo>
                      <a:pt x="30737" y="53645"/>
                      <a:pt x="28670" y="52540"/>
                      <a:pt x="28747" y="50806"/>
                    </a:cubicBezTo>
                    <a:cubicBezTo>
                      <a:pt x="28794" y="49740"/>
                      <a:pt x="29394" y="49292"/>
                      <a:pt x="30194" y="48682"/>
                    </a:cubicBezTo>
                    <a:close/>
                    <a:moveTo>
                      <a:pt x="106109" y="31309"/>
                    </a:moveTo>
                    <a:cubicBezTo>
                      <a:pt x="108956" y="30575"/>
                      <a:pt x="109871" y="34357"/>
                      <a:pt x="107537" y="35385"/>
                    </a:cubicBezTo>
                    <a:cubicBezTo>
                      <a:pt x="106147" y="35995"/>
                      <a:pt x="104442" y="34747"/>
                      <a:pt x="104604" y="33214"/>
                    </a:cubicBezTo>
                    <a:cubicBezTo>
                      <a:pt x="104718" y="32242"/>
                      <a:pt x="105299" y="31871"/>
                      <a:pt x="106109" y="31309"/>
                    </a:cubicBezTo>
                    <a:close/>
                    <a:moveTo>
                      <a:pt x="76819" y="38414"/>
                    </a:moveTo>
                    <a:cubicBezTo>
                      <a:pt x="76000" y="39052"/>
                      <a:pt x="74809" y="39071"/>
                      <a:pt x="74409" y="39957"/>
                    </a:cubicBezTo>
                    <a:cubicBezTo>
                      <a:pt x="73543" y="41862"/>
                      <a:pt x="75467" y="43777"/>
                      <a:pt x="77095" y="43701"/>
                    </a:cubicBezTo>
                    <a:cubicBezTo>
                      <a:pt x="78629" y="43634"/>
                      <a:pt x="79629" y="42281"/>
                      <a:pt x="79600" y="41224"/>
                    </a:cubicBezTo>
                    <a:cubicBezTo>
                      <a:pt x="79581" y="40615"/>
                      <a:pt x="79220" y="40129"/>
                      <a:pt x="79029" y="39729"/>
                    </a:cubicBezTo>
                    <a:cubicBezTo>
                      <a:pt x="78524" y="38681"/>
                      <a:pt x="78191" y="38062"/>
                      <a:pt x="76819" y="38414"/>
                    </a:cubicBezTo>
                    <a:close/>
                    <a:moveTo>
                      <a:pt x="5353" y="55826"/>
                    </a:moveTo>
                    <a:cubicBezTo>
                      <a:pt x="6572" y="55483"/>
                      <a:pt x="7039" y="56969"/>
                      <a:pt x="6153" y="57464"/>
                    </a:cubicBezTo>
                    <a:cubicBezTo>
                      <a:pt x="5639" y="57750"/>
                      <a:pt x="4829" y="57255"/>
                      <a:pt x="4839" y="56702"/>
                    </a:cubicBezTo>
                    <a:cubicBezTo>
                      <a:pt x="4839" y="56321"/>
                      <a:pt x="5106" y="56064"/>
                      <a:pt x="5353" y="55826"/>
                    </a:cubicBezTo>
                    <a:close/>
                    <a:moveTo>
                      <a:pt x="131883" y="26918"/>
                    </a:moveTo>
                    <a:cubicBezTo>
                      <a:pt x="132245" y="26870"/>
                      <a:pt x="132540" y="27051"/>
                      <a:pt x="132645" y="27422"/>
                    </a:cubicBezTo>
                    <a:cubicBezTo>
                      <a:pt x="132540" y="27699"/>
                      <a:pt x="132502" y="27908"/>
                      <a:pt x="132140" y="28032"/>
                    </a:cubicBezTo>
                    <a:cubicBezTo>
                      <a:pt x="131864" y="27918"/>
                      <a:pt x="131740" y="27841"/>
                      <a:pt x="131521" y="27641"/>
                    </a:cubicBezTo>
                    <a:cubicBezTo>
                      <a:pt x="131502" y="27270"/>
                      <a:pt x="131674" y="27137"/>
                      <a:pt x="131883" y="26918"/>
                    </a:cubicBezTo>
                    <a:close/>
                    <a:moveTo>
                      <a:pt x="96726" y="35071"/>
                    </a:moveTo>
                    <a:cubicBezTo>
                      <a:pt x="99860" y="34290"/>
                      <a:pt x="101441" y="38376"/>
                      <a:pt x="98536" y="39776"/>
                    </a:cubicBezTo>
                    <a:cubicBezTo>
                      <a:pt x="98184" y="39948"/>
                      <a:pt x="97689" y="40281"/>
                      <a:pt x="97136" y="40291"/>
                    </a:cubicBezTo>
                    <a:cubicBezTo>
                      <a:pt x="96145" y="40300"/>
                      <a:pt x="94660" y="38510"/>
                      <a:pt x="94879" y="37090"/>
                    </a:cubicBezTo>
                    <a:cubicBezTo>
                      <a:pt x="95040" y="36043"/>
                      <a:pt x="95821" y="35681"/>
                      <a:pt x="96726" y="35071"/>
                    </a:cubicBezTo>
                    <a:close/>
                    <a:moveTo>
                      <a:pt x="21003" y="53235"/>
                    </a:moveTo>
                    <a:cubicBezTo>
                      <a:pt x="23622" y="52549"/>
                      <a:pt x="24632" y="55645"/>
                      <a:pt x="22717" y="56712"/>
                    </a:cubicBezTo>
                    <a:cubicBezTo>
                      <a:pt x="21374" y="57455"/>
                      <a:pt x="19774" y="56331"/>
                      <a:pt x="19869" y="54902"/>
                    </a:cubicBezTo>
                    <a:cubicBezTo>
                      <a:pt x="19917" y="54102"/>
                      <a:pt x="20412" y="53721"/>
                      <a:pt x="21003" y="53235"/>
                    </a:cubicBezTo>
                    <a:close/>
                    <a:moveTo>
                      <a:pt x="66923" y="42901"/>
                    </a:moveTo>
                    <a:cubicBezTo>
                      <a:pt x="66008" y="43558"/>
                      <a:pt x="65313" y="43777"/>
                      <a:pt x="65132" y="44872"/>
                    </a:cubicBezTo>
                    <a:cubicBezTo>
                      <a:pt x="64837" y="46691"/>
                      <a:pt x="66818" y="48330"/>
                      <a:pt x="68494" y="47587"/>
                    </a:cubicBezTo>
                    <a:cubicBezTo>
                      <a:pt x="71171" y="46396"/>
                      <a:pt x="70113" y="42091"/>
                      <a:pt x="66923" y="42901"/>
                    </a:cubicBezTo>
                    <a:close/>
                    <a:moveTo>
                      <a:pt x="122387" y="30318"/>
                    </a:moveTo>
                    <a:cubicBezTo>
                      <a:pt x="124178" y="29928"/>
                      <a:pt x="124768" y="32337"/>
                      <a:pt x="123273" y="32994"/>
                    </a:cubicBezTo>
                    <a:cubicBezTo>
                      <a:pt x="122434" y="33366"/>
                      <a:pt x="121358" y="32671"/>
                      <a:pt x="121377" y="31690"/>
                    </a:cubicBezTo>
                    <a:cubicBezTo>
                      <a:pt x="121387" y="31004"/>
                      <a:pt x="121834" y="30690"/>
                      <a:pt x="122387" y="30318"/>
                    </a:cubicBezTo>
                    <a:close/>
                    <a:moveTo>
                      <a:pt x="37024" y="50825"/>
                    </a:moveTo>
                    <a:cubicBezTo>
                      <a:pt x="39005" y="50330"/>
                      <a:pt x="39529" y="51330"/>
                      <a:pt x="40272" y="52883"/>
                    </a:cubicBezTo>
                    <a:cubicBezTo>
                      <a:pt x="40415" y="53169"/>
                      <a:pt x="40757" y="53721"/>
                      <a:pt x="40681" y="54150"/>
                    </a:cubicBezTo>
                    <a:cubicBezTo>
                      <a:pt x="40557" y="54893"/>
                      <a:pt x="39796" y="55102"/>
                      <a:pt x="39053" y="55474"/>
                    </a:cubicBezTo>
                    <a:cubicBezTo>
                      <a:pt x="38662" y="55664"/>
                      <a:pt x="38138" y="56045"/>
                      <a:pt x="37595" y="56074"/>
                    </a:cubicBezTo>
                    <a:cubicBezTo>
                      <a:pt x="36424" y="56131"/>
                      <a:pt x="34881" y="54683"/>
                      <a:pt x="35147" y="53035"/>
                    </a:cubicBezTo>
                    <a:cubicBezTo>
                      <a:pt x="35338" y="51854"/>
                      <a:pt x="36033" y="51549"/>
                      <a:pt x="37024" y="50825"/>
                    </a:cubicBezTo>
                    <a:close/>
                    <a:moveTo>
                      <a:pt x="112871" y="33957"/>
                    </a:moveTo>
                    <a:cubicBezTo>
                      <a:pt x="115453" y="33318"/>
                      <a:pt x="116443" y="36776"/>
                      <a:pt x="114310" y="37729"/>
                    </a:cubicBezTo>
                    <a:cubicBezTo>
                      <a:pt x="112967" y="38328"/>
                      <a:pt x="111347" y="37300"/>
                      <a:pt x="111471" y="35766"/>
                    </a:cubicBezTo>
                    <a:cubicBezTo>
                      <a:pt x="111538" y="34842"/>
                      <a:pt x="112128" y="34490"/>
                      <a:pt x="112871" y="33957"/>
                    </a:cubicBezTo>
                    <a:close/>
                    <a:moveTo>
                      <a:pt x="83248" y="41100"/>
                    </a:moveTo>
                    <a:cubicBezTo>
                      <a:pt x="82334" y="41748"/>
                      <a:pt x="81534" y="41796"/>
                      <a:pt x="81210" y="42786"/>
                    </a:cubicBezTo>
                    <a:cubicBezTo>
                      <a:pt x="80572" y="44710"/>
                      <a:pt x="82353" y="46253"/>
                      <a:pt x="83896" y="46187"/>
                    </a:cubicBezTo>
                    <a:cubicBezTo>
                      <a:pt x="87373" y="46044"/>
                      <a:pt x="86611" y="40243"/>
                      <a:pt x="83248" y="41100"/>
                    </a:cubicBezTo>
                    <a:close/>
                    <a:moveTo>
                      <a:pt x="57436" y="47177"/>
                    </a:moveTo>
                    <a:cubicBezTo>
                      <a:pt x="56569" y="47834"/>
                      <a:pt x="55864" y="48235"/>
                      <a:pt x="55817" y="49368"/>
                    </a:cubicBezTo>
                    <a:cubicBezTo>
                      <a:pt x="55750" y="50978"/>
                      <a:pt x="57560" y="52416"/>
                      <a:pt x="58998" y="51816"/>
                    </a:cubicBezTo>
                    <a:cubicBezTo>
                      <a:pt x="61884" y="50635"/>
                      <a:pt x="60893" y="46292"/>
                      <a:pt x="57436" y="47177"/>
                    </a:cubicBezTo>
                    <a:close/>
                    <a:moveTo>
                      <a:pt x="12030" y="57807"/>
                    </a:moveTo>
                    <a:cubicBezTo>
                      <a:pt x="13954" y="57378"/>
                      <a:pt x="14564" y="59893"/>
                      <a:pt x="12935" y="60560"/>
                    </a:cubicBezTo>
                    <a:cubicBezTo>
                      <a:pt x="12097" y="60903"/>
                      <a:pt x="10963" y="60093"/>
                      <a:pt x="11039" y="59103"/>
                    </a:cubicBezTo>
                    <a:cubicBezTo>
                      <a:pt x="11097" y="58445"/>
                      <a:pt x="11516" y="58188"/>
                      <a:pt x="12030" y="57807"/>
                    </a:cubicBezTo>
                    <a:close/>
                    <a:moveTo>
                      <a:pt x="103232" y="37748"/>
                    </a:moveTo>
                    <a:cubicBezTo>
                      <a:pt x="106632" y="36871"/>
                      <a:pt x="107966" y="41034"/>
                      <a:pt x="105290" y="42358"/>
                    </a:cubicBezTo>
                    <a:cubicBezTo>
                      <a:pt x="103651" y="43167"/>
                      <a:pt x="101603" y="41920"/>
                      <a:pt x="101698" y="39957"/>
                    </a:cubicBezTo>
                    <a:cubicBezTo>
                      <a:pt x="101746" y="38862"/>
                      <a:pt x="102441" y="38395"/>
                      <a:pt x="103232" y="37748"/>
                    </a:cubicBezTo>
                    <a:close/>
                    <a:moveTo>
                      <a:pt x="27851" y="55302"/>
                    </a:moveTo>
                    <a:cubicBezTo>
                      <a:pt x="30861" y="54569"/>
                      <a:pt x="31995" y="58617"/>
                      <a:pt x="29299" y="59750"/>
                    </a:cubicBezTo>
                    <a:cubicBezTo>
                      <a:pt x="27908" y="60341"/>
                      <a:pt x="26089" y="59017"/>
                      <a:pt x="26203" y="57502"/>
                    </a:cubicBezTo>
                    <a:cubicBezTo>
                      <a:pt x="26280" y="56331"/>
                      <a:pt x="26899" y="55959"/>
                      <a:pt x="27851" y="55302"/>
                    </a:cubicBezTo>
                    <a:close/>
                    <a:moveTo>
                      <a:pt x="48673" y="51140"/>
                    </a:moveTo>
                    <a:cubicBezTo>
                      <a:pt x="47835" y="51730"/>
                      <a:pt x="46768" y="51787"/>
                      <a:pt x="46406" y="52654"/>
                    </a:cubicBezTo>
                    <a:cubicBezTo>
                      <a:pt x="46168" y="53216"/>
                      <a:pt x="46330" y="53930"/>
                      <a:pt x="46654" y="54531"/>
                    </a:cubicBezTo>
                    <a:cubicBezTo>
                      <a:pt x="47311" y="55788"/>
                      <a:pt x="47854" y="56359"/>
                      <a:pt x="49330" y="56264"/>
                    </a:cubicBezTo>
                    <a:cubicBezTo>
                      <a:pt x="52721" y="56045"/>
                      <a:pt x="51845" y="50349"/>
                      <a:pt x="48673" y="51140"/>
                    </a:cubicBezTo>
                    <a:close/>
                    <a:moveTo>
                      <a:pt x="73523" y="45663"/>
                    </a:moveTo>
                    <a:cubicBezTo>
                      <a:pt x="72733" y="46234"/>
                      <a:pt x="72104" y="46663"/>
                      <a:pt x="72057" y="47673"/>
                    </a:cubicBezTo>
                    <a:cubicBezTo>
                      <a:pt x="71980" y="49282"/>
                      <a:pt x="73628" y="50616"/>
                      <a:pt x="75162" y="49949"/>
                    </a:cubicBezTo>
                    <a:cubicBezTo>
                      <a:pt x="77753" y="48844"/>
                      <a:pt x="76724" y="44844"/>
                      <a:pt x="73523" y="45663"/>
                    </a:cubicBezTo>
                    <a:close/>
                    <a:moveTo>
                      <a:pt x="129035" y="33147"/>
                    </a:moveTo>
                    <a:cubicBezTo>
                      <a:pt x="130645" y="32699"/>
                      <a:pt x="131140" y="34719"/>
                      <a:pt x="129912" y="35300"/>
                    </a:cubicBezTo>
                    <a:cubicBezTo>
                      <a:pt x="129149" y="35661"/>
                      <a:pt x="128254" y="34871"/>
                      <a:pt x="128378" y="34100"/>
                    </a:cubicBezTo>
                    <a:cubicBezTo>
                      <a:pt x="128454" y="33671"/>
                      <a:pt x="128731" y="33433"/>
                      <a:pt x="129035" y="33147"/>
                    </a:cubicBezTo>
                    <a:close/>
                    <a:moveTo>
                      <a:pt x="2934" y="62608"/>
                    </a:moveTo>
                    <a:cubicBezTo>
                      <a:pt x="3486" y="62493"/>
                      <a:pt x="3705" y="62789"/>
                      <a:pt x="3991" y="63084"/>
                    </a:cubicBezTo>
                    <a:cubicBezTo>
                      <a:pt x="4058" y="63617"/>
                      <a:pt x="3839" y="64046"/>
                      <a:pt x="3296" y="64198"/>
                    </a:cubicBezTo>
                    <a:cubicBezTo>
                      <a:pt x="2867" y="64141"/>
                      <a:pt x="2515" y="63979"/>
                      <a:pt x="2391" y="63417"/>
                    </a:cubicBezTo>
                    <a:cubicBezTo>
                      <a:pt x="2495" y="63027"/>
                      <a:pt x="2667" y="62875"/>
                      <a:pt x="2934" y="62608"/>
                    </a:cubicBezTo>
                    <a:close/>
                    <a:moveTo>
                      <a:pt x="18526" y="59960"/>
                    </a:moveTo>
                    <a:cubicBezTo>
                      <a:pt x="21050" y="59293"/>
                      <a:pt x="22070" y="62408"/>
                      <a:pt x="20126" y="63427"/>
                    </a:cubicBezTo>
                    <a:cubicBezTo>
                      <a:pt x="18860" y="64094"/>
                      <a:pt x="17240" y="63151"/>
                      <a:pt x="17336" y="61684"/>
                    </a:cubicBezTo>
                    <a:cubicBezTo>
                      <a:pt x="17383" y="60817"/>
                      <a:pt x="17869" y="60446"/>
                      <a:pt x="18526" y="59960"/>
                    </a:cubicBezTo>
                    <a:close/>
                    <a:moveTo>
                      <a:pt x="119501" y="36719"/>
                    </a:moveTo>
                    <a:cubicBezTo>
                      <a:pt x="122063" y="36043"/>
                      <a:pt x="122892" y="39205"/>
                      <a:pt x="120930" y="40110"/>
                    </a:cubicBezTo>
                    <a:cubicBezTo>
                      <a:pt x="119758" y="40653"/>
                      <a:pt x="118329" y="39672"/>
                      <a:pt x="118405" y="38376"/>
                    </a:cubicBezTo>
                    <a:cubicBezTo>
                      <a:pt x="118453" y="37595"/>
                      <a:pt x="118929" y="37186"/>
                      <a:pt x="119501" y="36719"/>
                    </a:cubicBezTo>
                    <a:close/>
                    <a:moveTo>
                      <a:pt x="89983" y="43644"/>
                    </a:moveTo>
                    <a:cubicBezTo>
                      <a:pt x="88992" y="44358"/>
                      <a:pt x="88325" y="44253"/>
                      <a:pt x="87964" y="45396"/>
                    </a:cubicBezTo>
                    <a:cubicBezTo>
                      <a:pt x="87306" y="47415"/>
                      <a:pt x="89221" y="48825"/>
                      <a:pt x="90849" y="48711"/>
                    </a:cubicBezTo>
                    <a:cubicBezTo>
                      <a:pt x="94088" y="48501"/>
                      <a:pt x="93336" y="42786"/>
                      <a:pt x="89983" y="43644"/>
                    </a:cubicBezTo>
                    <a:close/>
                    <a:moveTo>
                      <a:pt x="64380" y="49940"/>
                    </a:moveTo>
                    <a:cubicBezTo>
                      <a:pt x="63503" y="50540"/>
                      <a:pt x="62932" y="50863"/>
                      <a:pt x="62875" y="51959"/>
                    </a:cubicBezTo>
                    <a:cubicBezTo>
                      <a:pt x="62798" y="53473"/>
                      <a:pt x="64370" y="54597"/>
                      <a:pt x="65646" y="54092"/>
                    </a:cubicBezTo>
                    <a:cubicBezTo>
                      <a:pt x="68266" y="53045"/>
                      <a:pt x="67228" y="49235"/>
                      <a:pt x="64380" y="49940"/>
                    </a:cubicBezTo>
                    <a:close/>
                    <a:moveTo>
                      <a:pt x="110280" y="40329"/>
                    </a:moveTo>
                    <a:cubicBezTo>
                      <a:pt x="113329" y="39576"/>
                      <a:pt x="114405" y="43729"/>
                      <a:pt x="111747" y="44882"/>
                    </a:cubicBezTo>
                    <a:cubicBezTo>
                      <a:pt x="110252" y="45529"/>
                      <a:pt x="108385" y="44053"/>
                      <a:pt x="108566" y="42434"/>
                    </a:cubicBezTo>
                    <a:cubicBezTo>
                      <a:pt x="108680" y="41319"/>
                      <a:pt x="109347" y="40957"/>
                      <a:pt x="110280" y="40329"/>
                    </a:cubicBezTo>
                    <a:close/>
                    <a:moveTo>
                      <a:pt x="9611" y="64560"/>
                    </a:moveTo>
                    <a:cubicBezTo>
                      <a:pt x="11278" y="64351"/>
                      <a:pt x="11944" y="66561"/>
                      <a:pt x="10449" y="67218"/>
                    </a:cubicBezTo>
                    <a:cubicBezTo>
                      <a:pt x="9535" y="67618"/>
                      <a:pt x="8458" y="66723"/>
                      <a:pt x="8592" y="65751"/>
                    </a:cubicBezTo>
                    <a:cubicBezTo>
                      <a:pt x="8668" y="65160"/>
                      <a:pt x="9106" y="64894"/>
                      <a:pt x="9611" y="64560"/>
                    </a:cubicBezTo>
                    <a:close/>
                    <a:moveTo>
                      <a:pt x="54864" y="54112"/>
                    </a:moveTo>
                    <a:cubicBezTo>
                      <a:pt x="54083" y="54711"/>
                      <a:pt x="53502" y="55159"/>
                      <a:pt x="53445" y="56188"/>
                    </a:cubicBezTo>
                    <a:cubicBezTo>
                      <a:pt x="53350" y="57902"/>
                      <a:pt x="55216" y="58969"/>
                      <a:pt x="56626" y="58302"/>
                    </a:cubicBezTo>
                    <a:cubicBezTo>
                      <a:pt x="59065" y="57150"/>
                      <a:pt x="57960" y="53311"/>
                      <a:pt x="54864" y="54112"/>
                    </a:cubicBezTo>
                    <a:close/>
                    <a:moveTo>
                      <a:pt x="80391" y="48292"/>
                    </a:moveTo>
                    <a:cubicBezTo>
                      <a:pt x="79591" y="48863"/>
                      <a:pt x="78962" y="49273"/>
                      <a:pt x="78924" y="50301"/>
                    </a:cubicBezTo>
                    <a:cubicBezTo>
                      <a:pt x="78857" y="51949"/>
                      <a:pt x="80629" y="53064"/>
                      <a:pt x="82058" y="52349"/>
                    </a:cubicBezTo>
                    <a:cubicBezTo>
                      <a:pt x="84315" y="51206"/>
                      <a:pt x="83277" y="47549"/>
                      <a:pt x="80391" y="48292"/>
                    </a:cubicBezTo>
                    <a:close/>
                    <a:moveTo>
                      <a:pt x="135960" y="35995"/>
                    </a:moveTo>
                    <a:cubicBezTo>
                      <a:pt x="136417" y="35881"/>
                      <a:pt x="136770" y="36071"/>
                      <a:pt x="136960" y="36376"/>
                    </a:cubicBezTo>
                    <a:cubicBezTo>
                      <a:pt x="137341" y="36871"/>
                      <a:pt x="136808" y="37462"/>
                      <a:pt x="136284" y="37557"/>
                    </a:cubicBezTo>
                    <a:cubicBezTo>
                      <a:pt x="135903" y="37471"/>
                      <a:pt x="135579" y="37309"/>
                      <a:pt x="135465" y="36795"/>
                    </a:cubicBezTo>
                    <a:cubicBezTo>
                      <a:pt x="135541" y="36433"/>
                      <a:pt x="135722" y="36252"/>
                      <a:pt x="135960" y="35995"/>
                    </a:cubicBezTo>
                    <a:close/>
                    <a:moveTo>
                      <a:pt x="25413" y="62008"/>
                    </a:moveTo>
                    <a:cubicBezTo>
                      <a:pt x="28347" y="61389"/>
                      <a:pt x="29356" y="65399"/>
                      <a:pt x="26679" y="66494"/>
                    </a:cubicBezTo>
                    <a:cubicBezTo>
                      <a:pt x="25232" y="67085"/>
                      <a:pt x="23441" y="65522"/>
                      <a:pt x="23698" y="63913"/>
                    </a:cubicBezTo>
                    <a:cubicBezTo>
                      <a:pt x="23851" y="62884"/>
                      <a:pt x="24527" y="62617"/>
                      <a:pt x="25413" y="62008"/>
                    </a:cubicBezTo>
                    <a:close/>
                    <a:moveTo>
                      <a:pt x="97060" y="46034"/>
                    </a:moveTo>
                    <a:cubicBezTo>
                      <a:pt x="96298" y="46596"/>
                      <a:pt x="95250" y="46663"/>
                      <a:pt x="94840" y="47415"/>
                    </a:cubicBezTo>
                    <a:cubicBezTo>
                      <a:pt x="93812" y="49282"/>
                      <a:pt x="95488" y="51464"/>
                      <a:pt x="97355" y="51387"/>
                    </a:cubicBezTo>
                    <a:cubicBezTo>
                      <a:pt x="98736" y="51330"/>
                      <a:pt x="99879" y="50101"/>
                      <a:pt x="99917" y="49168"/>
                    </a:cubicBezTo>
                    <a:cubicBezTo>
                      <a:pt x="99936" y="48673"/>
                      <a:pt x="99641" y="48244"/>
                      <a:pt x="99470" y="47901"/>
                    </a:cubicBezTo>
                    <a:cubicBezTo>
                      <a:pt x="98860" y="46682"/>
                      <a:pt x="98708" y="45615"/>
                      <a:pt x="97060" y="46034"/>
                    </a:cubicBezTo>
                    <a:close/>
                    <a:moveTo>
                      <a:pt x="45825" y="58017"/>
                    </a:moveTo>
                    <a:cubicBezTo>
                      <a:pt x="44796" y="58741"/>
                      <a:pt x="44091" y="58703"/>
                      <a:pt x="43891" y="59979"/>
                    </a:cubicBezTo>
                    <a:cubicBezTo>
                      <a:pt x="43596" y="61855"/>
                      <a:pt x="45701" y="63598"/>
                      <a:pt x="47415" y="62770"/>
                    </a:cubicBezTo>
                    <a:cubicBezTo>
                      <a:pt x="49978" y="61541"/>
                      <a:pt x="48939" y="57236"/>
                      <a:pt x="45825" y="58017"/>
                    </a:cubicBezTo>
                    <a:close/>
                    <a:moveTo>
                      <a:pt x="126397" y="39453"/>
                    </a:moveTo>
                    <a:cubicBezTo>
                      <a:pt x="128473" y="38900"/>
                      <a:pt x="129235" y="41672"/>
                      <a:pt x="127540" y="42415"/>
                    </a:cubicBezTo>
                    <a:cubicBezTo>
                      <a:pt x="126625" y="42815"/>
                      <a:pt x="125368" y="42062"/>
                      <a:pt x="125387" y="40976"/>
                    </a:cubicBezTo>
                    <a:cubicBezTo>
                      <a:pt x="125387" y="40272"/>
                      <a:pt x="125864" y="39853"/>
                      <a:pt x="126397" y="39453"/>
                    </a:cubicBezTo>
                    <a:close/>
                    <a:moveTo>
                      <a:pt x="71028" y="52768"/>
                    </a:moveTo>
                    <a:cubicBezTo>
                      <a:pt x="70409" y="53235"/>
                      <a:pt x="69923" y="53673"/>
                      <a:pt x="69866" y="54483"/>
                    </a:cubicBezTo>
                    <a:cubicBezTo>
                      <a:pt x="69771" y="55978"/>
                      <a:pt x="71428" y="56979"/>
                      <a:pt x="72742" y="56245"/>
                    </a:cubicBezTo>
                    <a:cubicBezTo>
                      <a:pt x="74647" y="55178"/>
                      <a:pt x="73600" y="52092"/>
                      <a:pt x="71028" y="52768"/>
                    </a:cubicBezTo>
                    <a:close/>
                    <a:moveTo>
                      <a:pt x="419" y="69485"/>
                    </a:moveTo>
                    <a:cubicBezTo>
                      <a:pt x="829" y="69418"/>
                      <a:pt x="971" y="69609"/>
                      <a:pt x="1210" y="69799"/>
                    </a:cubicBezTo>
                    <a:cubicBezTo>
                      <a:pt x="1219" y="69913"/>
                      <a:pt x="1238" y="70018"/>
                      <a:pt x="1248" y="70132"/>
                    </a:cubicBezTo>
                    <a:cubicBezTo>
                      <a:pt x="1210" y="70399"/>
                      <a:pt x="1057" y="70552"/>
                      <a:pt x="848" y="70714"/>
                    </a:cubicBezTo>
                    <a:cubicBezTo>
                      <a:pt x="448" y="70742"/>
                      <a:pt x="124" y="70552"/>
                      <a:pt x="0" y="70152"/>
                    </a:cubicBezTo>
                    <a:cubicBezTo>
                      <a:pt x="133" y="69875"/>
                      <a:pt x="210" y="69713"/>
                      <a:pt x="419" y="69485"/>
                    </a:cubicBezTo>
                    <a:close/>
                    <a:moveTo>
                      <a:pt x="116881" y="43091"/>
                    </a:moveTo>
                    <a:cubicBezTo>
                      <a:pt x="119853" y="42320"/>
                      <a:pt x="120872" y="46139"/>
                      <a:pt x="118472" y="47196"/>
                    </a:cubicBezTo>
                    <a:cubicBezTo>
                      <a:pt x="117177" y="47768"/>
                      <a:pt x="115367" y="46568"/>
                      <a:pt x="115472" y="45044"/>
                    </a:cubicBezTo>
                    <a:cubicBezTo>
                      <a:pt x="115538" y="44101"/>
                      <a:pt x="116138" y="43653"/>
                      <a:pt x="116881" y="43091"/>
                    </a:cubicBezTo>
                    <a:close/>
                    <a:moveTo>
                      <a:pt x="16021" y="66723"/>
                    </a:moveTo>
                    <a:cubicBezTo>
                      <a:pt x="18460" y="66075"/>
                      <a:pt x="19345" y="69256"/>
                      <a:pt x="17383" y="70161"/>
                    </a:cubicBezTo>
                    <a:cubicBezTo>
                      <a:pt x="16126" y="70742"/>
                      <a:pt x="14754" y="69590"/>
                      <a:pt x="14859" y="68275"/>
                    </a:cubicBezTo>
                    <a:cubicBezTo>
                      <a:pt x="14935" y="67513"/>
                      <a:pt x="15459" y="67180"/>
                      <a:pt x="16021" y="66723"/>
                    </a:cubicBezTo>
                    <a:close/>
                    <a:moveTo>
                      <a:pt x="87230" y="50806"/>
                    </a:moveTo>
                    <a:cubicBezTo>
                      <a:pt x="86335" y="51416"/>
                      <a:pt x="85753" y="51730"/>
                      <a:pt x="85687" y="52835"/>
                    </a:cubicBezTo>
                    <a:cubicBezTo>
                      <a:pt x="85601" y="54254"/>
                      <a:pt x="87259" y="55559"/>
                      <a:pt x="88544" y="55016"/>
                    </a:cubicBezTo>
                    <a:cubicBezTo>
                      <a:pt x="91126" y="53950"/>
                      <a:pt x="90145" y="50082"/>
                      <a:pt x="87230" y="50806"/>
                    </a:cubicBezTo>
                    <a:close/>
                    <a:moveTo>
                      <a:pt x="61960" y="56912"/>
                    </a:moveTo>
                    <a:cubicBezTo>
                      <a:pt x="61236" y="57398"/>
                      <a:pt x="60617" y="57760"/>
                      <a:pt x="60570" y="58636"/>
                    </a:cubicBezTo>
                    <a:cubicBezTo>
                      <a:pt x="60493" y="59979"/>
                      <a:pt x="61865" y="61131"/>
                      <a:pt x="63170" y="60541"/>
                    </a:cubicBezTo>
                    <a:cubicBezTo>
                      <a:pt x="65227" y="59617"/>
                      <a:pt x="64418" y="56521"/>
                      <a:pt x="61960" y="56912"/>
                    </a:cubicBezTo>
                    <a:close/>
                    <a:moveTo>
                      <a:pt x="32223" y="64198"/>
                    </a:moveTo>
                    <a:cubicBezTo>
                      <a:pt x="34138" y="63741"/>
                      <a:pt x="34471" y="64875"/>
                      <a:pt x="35185" y="66361"/>
                    </a:cubicBezTo>
                    <a:cubicBezTo>
                      <a:pt x="35338" y="66675"/>
                      <a:pt x="35728" y="67208"/>
                      <a:pt x="35690" y="67723"/>
                    </a:cubicBezTo>
                    <a:cubicBezTo>
                      <a:pt x="35652" y="68275"/>
                      <a:pt x="33242" y="69561"/>
                      <a:pt x="32347" y="69523"/>
                    </a:cubicBezTo>
                    <a:cubicBezTo>
                      <a:pt x="31032" y="69466"/>
                      <a:pt x="29632" y="67646"/>
                      <a:pt x="30175" y="66037"/>
                    </a:cubicBezTo>
                    <a:cubicBezTo>
                      <a:pt x="30594" y="64770"/>
                      <a:pt x="31118" y="64941"/>
                      <a:pt x="32223" y="64198"/>
                    </a:cubicBezTo>
                    <a:close/>
                    <a:moveTo>
                      <a:pt x="107823" y="46777"/>
                    </a:moveTo>
                    <a:cubicBezTo>
                      <a:pt x="109595" y="46330"/>
                      <a:pt x="111443" y="47825"/>
                      <a:pt x="111081" y="49863"/>
                    </a:cubicBezTo>
                    <a:cubicBezTo>
                      <a:pt x="110871" y="50987"/>
                      <a:pt x="110109" y="51273"/>
                      <a:pt x="108956" y="51835"/>
                    </a:cubicBezTo>
                    <a:cubicBezTo>
                      <a:pt x="108452" y="52073"/>
                      <a:pt x="107813" y="52416"/>
                      <a:pt x="107309" y="52254"/>
                    </a:cubicBezTo>
                    <a:cubicBezTo>
                      <a:pt x="106775" y="51464"/>
                      <a:pt x="105023" y="49016"/>
                      <a:pt x="105861" y="47958"/>
                    </a:cubicBezTo>
                    <a:cubicBezTo>
                      <a:pt x="106318" y="47368"/>
                      <a:pt x="107137" y="47282"/>
                      <a:pt x="107823" y="46777"/>
                    </a:cubicBezTo>
                    <a:close/>
                    <a:moveTo>
                      <a:pt x="133236" y="42281"/>
                    </a:moveTo>
                    <a:cubicBezTo>
                      <a:pt x="134864" y="41910"/>
                      <a:pt x="135579" y="43967"/>
                      <a:pt x="134303" y="44615"/>
                    </a:cubicBezTo>
                    <a:cubicBezTo>
                      <a:pt x="133293" y="45129"/>
                      <a:pt x="132131" y="44139"/>
                      <a:pt x="132483" y="43139"/>
                    </a:cubicBezTo>
                    <a:cubicBezTo>
                      <a:pt x="132617" y="42758"/>
                      <a:pt x="132902" y="42548"/>
                      <a:pt x="133236" y="42281"/>
                    </a:cubicBezTo>
                    <a:close/>
                    <a:moveTo>
                      <a:pt x="6877" y="71485"/>
                    </a:moveTo>
                    <a:cubicBezTo>
                      <a:pt x="8572" y="71018"/>
                      <a:pt x="9201" y="73181"/>
                      <a:pt x="7868" y="73800"/>
                    </a:cubicBezTo>
                    <a:cubicBezTo>
                      <a:pt x="7096" y="74162"/>
                      <a:pt x="6020" y="73409"/>
                      <a:pt x="6163" y="72485"/>
                    </a:cubicBezTo>
                    <a:cubicBezTo>
                      <a:pt x="6229" y="72066"/>
                      <a:pt x="6553" y="71761"/>
                      <a:pt x="6877" y="71485"/>
                    </a:cubicBezTo>
                    <a:close/>
                    <a:moveTo>
                      <a:pt x="52283" y="61008"/>
                    </a:moveTo>
                    <a:cubicBezTo>
                      <a:pt x="51606" y="61627"/>
                      <a:pt x="51006" y="62036"/>
                      <a:pt x="51016" y="63084"/>
                    </a:cubicBezTo>
                    <a:cubicBezTo>
                      <a:pt x="51035" y="64751"/>
                      <a:pt x="52883" y="65608"/>
                      <a:pt x="54235" y="64846"/>
                    </a:cubicBezTo>
                    <a:cubicBezTo>
                      <a:pt x="56302" y="63665"/>
                      <a:pt x="55159" y="60265"/>
                      <a:pt x="52283" y="61008"/>
                    </a:cubicBezTo>
                    <a:close/>
                    <a:moveTo>
                      <a:pt x="78010" y="55407"/>
                    </a:moveTo>
                    <a:cubicBezTo>
                      <a:pt x="77372" y="55845"/>
                      <a:pt x="76886" y="56169"/>
                      <a:pt x="76810" y="56940"/>
                    </a:cubicBezTo>
                    <a:cubicBezTo>
                      <a:pt x="76676" y="58169"/>
                      <a:pt x="77991" y="59236"/>
                      <a:pt x="79067" y="58807"/>
                    </a:cubicBezTo>
                    <a:cubicBezTo>
                      <a:pt x="81210" y="57960"/>
                      <a:pt x="80401" y="54864"/>
                      <a:pt x="78010" y="55407"/>
                    </a:cubicBezTo>
                    <a:close/>
                    <a:moveTo>
                      <a:pt x="22574" y="68923"/>
                    </a:moveTo>
                    <a:cubicBezTo>
                      <a:pt x="25584" y="68142"/>
                      <a:pt x="26765" y="71790"/>
                      <a:pt x="24527" y="72952"/>
                    </a:cubicBezTo>
                    <a:cubicBezTo>
                      <a:pt x="23070" y="73714"/>
                      <a:pt x="21155" y="72752"/>
                      <a:pt x="21203" y="71028"/>
                    </a:cubicBezTo>
                    <a:cubicBezTo>
                      <a:pt x="21222" y="69961"/>
                      <a:pt x="21812" y="69551"/>
                      <a:pt x="22574" y="68923"/>
                    </a:cubicBezTo>
                    <a:close/>
                    <a:moveTo>
                      <a:pt x="123663" y="45853"/>
                    </a:moveTo>
                    <a:cubicBezTo>
                      <a:pt x="126216" y="45186"/>
                      <a:pt x="127245" y="48377"/>
                      <a:pt x="125321" y="49416"/>
                    </a:cubicBezTo>
                    <a:cubicBezTo>
                      <a:pt x="123977" y="50140"/>
                      <a:pt x="122377" y="49054"/>
                      <a:pt x="122472" y="47606"/>
                    </a:cubicBezTo>
                    <a:cubicBezTo>
                      <a:pt x="122530" y="46758"/>
                      <a:pt x="123044" y="46358"/>
                      <a:pt x="123663" y="45853"/>
                    </a:cubicBezTo>
                    <a:close/>
                    <a:moveTo>
                      <a:pt x="43072" y="64837"/>
                    </a:moveTo>
                    <a:cubicBezTo>
                      <a:pt x="42148" y="65494"/>
                      <a:pt x="41377" y="65770"/>
                      <a:pt x="41320" y="66951"/>
                    </a:cubicBezTo>
                    <a:cubicBezTo>
                      <a:pt x="41234" y="68751"/>
                      <a:pt x="43177" y="70275"/>
                      <a:pt x="44730" y="69580"/>
                    </a:cubicBezTo>
                    <a:cubicBezTo>
                      <a:pt x="47473" y="68361"/>
                      <a:pt x="46444" y="63979"/>
                      <a:pt x="43072" y="64837"/>
                    </a:cubicBezTo>
                    <a:close/>
                    <a:moveTo>
                      <a:pt x="93812" y="53311"/>
                    </a:moveTo>
                    <a:cubicBezTo>
                      <a:pt x="92983" y="53911"/>
                      <a:pt x="92412" y="54321"/>
                      <a:pt x="92355" y="55397"/>
                    </a:cubicBezTo>
                    <a:cubicBezTo>
                      <a:pt x="92269" y="57017"/>
                      <a:pt x="94088" y="58264"/>
                      <a:pt x="95488" y="57636"/>
                    </a:cubicBezTo>
                    <a:cubicBezTo>
                      <a:pt x="98041" y="56493"/>
                      <a:pt x="97012" y="52492"/>
                      <a:pt x="93812" y="53311"/>
                    </a:cubicBezTo>
                    <a:close/>
                    <a:moveTo>
                      <a:pt x="68666" y="59845"/>
                    </a:moveTo>
                    <a:cubicBezTo>
                      <a:pt x="68180" y="60236"/>
                      <a:pt x="67685" y="60598"/>
                      <a:pt x="67666" y="61255"/>
                    </a:cubicBezTo>
                    <a:cubicBezTo>
                      <a:pt x="67637" y="62293"/>
                      <a:pt x="68780" y="63189"/>
                      <a:pt x="69733" y="62789"/>
                    </a:cubicBezTo>
                    <a:cubicBezTo>
                      <a:pt x="71476" y="62046"/>
                      <a:pt x="70799" y="59274"/>
                      <a:pt x="68666" y="59845"/>
                    </a:cubicBezTo>
                    <a:close/>
                    <a:moveTo>
                      <a:pt x="114290" y="49492"/>
                    </a:moveTo>
                    <a:cubicBezTo>
                      <a:pt x="117596" y="48644"/>
                      <a:pt x="118853" y="53007"/>
                      <a:pt x="115919" y="54235"/>
                    </a:cubicBezTo>
                    <a:cubicBezTo>
                      <a:pt x="114367" y="54893"/>
                      <a:pt x="112433" y="53378"/>
                      <a:pt x="112624" y="51625"/>
                    </a:cubicBezTo>
                    <a:cubicBezTo>
                      <a:pt x="112738" y="50568"/>
                      <a:pt x="113433" y="50120"/>
                      <a:pt x="114290" y="49492"/>
                    </a:cubicBezTo>
                    <a:close/>
                    <a:moveTo>
                      <a:pt x="13611" y="73533"/>
                    </a:moveTo>
                    <a:cubicBezTo>
                      <a:pt x="15792" y="72980"/>
                      <a:pt x="16659" y="75924"/>
                      <a:pt x="14735" y="76762"/>
                    </a:cubicBezTo>
                    <a:cubicBezTo>
                      <a:pt x="13688" y="77219"/>
                      <a:pt x="12411" y="76324"/>
                      <a:pt x="12440" y="75200"/>
                    </a:cubicBezTo>
                    <a:cubicBezTo>
                      <a:pt x="12468" y="74381"/>
                      <a:pt x="12973" y="74000"/>
                      <a:pt x="13611" y="73533"/>
                    </a:cubicBezTo>
                    <a:close/>
                    <a:moveTo>
                      <a:pt x="84677" y="58007"/>
                    </a:moveTo>
                    <a:cubicBezTo>
                      <a:pt x="84068" y="58464"/>
                      <a:pt x="83601" y="58798"/>
                      <a:pt x="83563" y="59588"/>
                    </a:cubicBezTo>
                    <a:cubicBezTo>
                      <a:pt x="83506" y="60884"/>
                      <a:pt x="84877" y="61884"/>
                      <a:pt x="86078" y="61284"/>
                    </a:cubicBezTo>
                    <a:cubicBezTo>
                      <a:pt x="87925" y="60369"/>
                      <a:pt x="87125" y="57378"/>
                      <a:pt x="84677" y="58007"/>
                    </a:cubicBezTo>
                    <a:close/>
                    <a:moveTo>
                      <a:pt x="140027" y="45225"/>
                    </a:moveTo>
                    <a:cubicBezTo>
                      <a:pt x="141361" y="44844"/>
                      <a:pt x="141751" y="46568"/>
                      <a:pt x="140561" y="46882"/>
                    </a:cubicBezTo>
                    <a:cubicBezTo>
                      <a:pt x="139494" y="46615"/>
                      <a:pt x="139332" y="46053"/>
                      <a:pt x="140027" y="45225"/>
                    </a:cubicBezTo>
                    <a:close/>
                    <a:moveTo>
                      <a:pt x="59360" y="63884"/>
                    </a:moveTo>
                    <a:cubicBezTo>
                      <a:pt x="58712" y="64332"/>
                      <a:pt x="58207" y="64703"/>
                      <a:pt x="58179" y="65522"/>
                    </a:cubicBezTo>
                    <a:cubicBezTo>
                      <a:pt x="58150" y="66713"/>
                      <a:pt x="59465" y="67627"/>
                      <a:pt x="60627" y="67085"/>
                    </a:cubicBezTo>
                    <a:cubicBezTo>
                      <a:pt x="62427" y="66237"/>
                      <a:pt x="61579" y="63379"/>
                      <a:pt x="59360" y="63884"/>
                    </a:cubicBezTo>
                    <a:close/>
                    <a:moveTo>
                      <a:pt x="29394" y="71028"/>
                    </a:moveTo>
                    <a:cubicBezTo>
                      <a:pt x="31147" y="70590"/>
                      <a:pt x="31823" y="71342"/>
                      <a:pt x="32480" y="72704"/>
                    </a:cubicBezTo>
                    <a:cubicBezTo>
                      <a:pt x="33214" y="74238"/>
                      <a:pt x="32699" y="75038"/>
                      <a:pt x="31423" y="75686"/>
                    </a:cubicBezTo>
                    <a:cubicBezTo>
                      <a:pt x="31118" y="75848"/>
                      <a:pt x="30642" y="76124"/>
                      <a:pt x="30156" y="76124"/>
                    </a:cubicBezTo>
                    <a:cubicBezTo>
                      <a:pt x="28918" y="76152"/>
                      <a:pt x="27327" y="74924"/>
                      <a:pt x="27584" y="73228"/>
                    </a:cubicBezTo>
                    <a:cubicBezTo>
                      <a:pt x="27765" y="72104"/>
                      <a:pt x="28451" y="71714"/>
                      <a:pt x="29394" y="71028"/>
                    </a:cubicBezTo>
                    <a:close/>
                    <a:moveTo>
                      <a:pt x="130712" y="48625"/>
                    </a:moveTo>
                    <a:cubicBezTo>
                      <a:pt x="132712" y="48196"/>
                      <a:pt x="133445" y="50911"/>
                      <a:pt x="131845" y="51702"/>
                    </a:cubicBezTo>
                    <a:cubicBezTo>
                      <a:pt x="130731" y="52254"/>
                      <a:pt x="129435" y="51302"/>
                      <a:pt x="129502" y="50111"/>
                    </a:cubicBezTo>
                    <a:cubicBezTo>
                      <a:pt x="129550" y="49320"/>
                      <a:pt x="130064" y="49073"/>
                      <a:pt x="130712" y="48625"/>
                    </a:cubicBezTo>
                    <a:close/>
                    <a:moveTo>
                      <a:pt x="100613" y="55654"/>
                    </a:moveTo>
                    <a:cubicBezTo>
                      <a:pt x="99660" y="56340"/>
                      <a:pt x="98965" y="56731"/>
                      <a:pt x="98898" y="57950"/>
                    </a:cubicBezTo>
                    <a:cubicBezTo>
                      <a:pt x="98803" y="59645"/>
                      <a:pt x="100803" y="61046"/>
                      <a:pt x="102270" y="60398"/>
                    </a:cubicBezTo>
                    <a:cubicBezTo>
                      <a:pt x="105051" y="59169"/>
                      <a:pt x="103918" y="54826"/>
                      <a:pt x="100613" y="55654"/>
                    </a:cubicBezTo>
                    <a:close/>
                    <a:moveTo>
                      <a:pt x="49921" y="67732"/>
                    </a:moveTo>
                    <a:cubicBezTo>
                      <a:pt x="49111" y="68313"/>
                      <a:pt x="48463" y="68742"/>
                      <a:pt x="48463" y="69809"/>
                    </a:cubicBezTo>
                    <a:cubicBezTo>
                      <a:pt x="48473" y="71276"/>
                      <a:pt x="50016" y="72266"/>
                      <a:pt x="51264" y="71742"/>
                    </a:cubicBezTo>
                    <a:cubicBezTo>
                      <a:pt x="53740" y="70723"/>
                      <a:pt x="52749" y="67027"/>
                      <a:pt x="49921" y="67732"/>
                    </a:cubicBezTo>
                    <a:close/>
                    <a:moveTo>
                      <a:pt x="4591" y="78353"/>
                    </a:moveTo>
                    <a:cubicBezTo>
                      <a:pt x="5810" y="78200"/>
                      <a:pt x="6353" y="79762"/>
                      <a:pt x="5305" y="80315"/>
                    </a:cubicBezTo>
                    <a:cubicBezTo>
                      <a:pt x="4220" y="80886"/>
                      <a:pt x="3191" y="79334"/>
                      <a:pt x="4591" y="78353"/>
                    </a:cubicBezTo>
                    <a:close/>
                    <a:moveTo>
                      <a:pt x="75533" y="62617"/>
                    </a:moveTo>
                    <a:cubicBezTo>
                      <a:pt x="75181" y="62903"/>
                      <a:pt x="74838" y="63170"/>
                      <a:pt x="74733" y="63598"/>
                    </a:cubicBezTo>
                    <a:cubicBezTo>
                      <a:pt x="74514" y="64560"/>
                      <a:pt x="75619" y="65503"/>
                      <a:pt x="76581" y="65027"/>
                    </a:cubicBezTo>
                    <a:cubicBezTo>
                      <a:pt x="77943" y="64379"/>
                      <a:pt x="77200" y="62179"/>
                      <a:pt x="75533" y="62617"/>
                    </a:cubicBezTo>
                    <a:close/>
                    <a:moveTo>
                      <a:pt x="120977" y="52321"/>
                    </a:moveTo>
                    <a:cubicBezTo>
                      <a:pt x="124063" y="51521"/>
                      <a:pt x="125178" y="55359"/>
                      <a:pt x="122730" y="56474"/>
                    </a:cubicBezTo>
                    <a:cubicBezTo>
                      <a:pt x="121215" y="57159"/>
                      <a:pt x="119415" y="55912"/>
                      <a:pt x="119596" y="54235"/>
                    </a:cubicBezTo>
                    <a:cubicBezTo>
                      <a:pt x="119691" y="53302"/>
                      <a:pt x="120291" y="52883"/>
                      <a:pt x="120977" y="52321"/>
                    </a:cubicBezTo>
                    <a:close/>
                    <a:moveTo>
                      <a:pt x="20126" y="75752"/>
                    </a:moveTo>
                    <a:cubicBezTo>
                      <a:pt x="23031" y="75000"/>
                      <a:pt x="24032" y="78648"/>
                      <a:pt x="21679" y="79677"/>
                    </a:cubicBezTo>
                    <a:cubicBezTo>
                      <a:pt x="20412" y="80229"/>
                      <a:pt x="18698" y="79076"/>
                      <a:pt x="18783" y="77648"/>
                    </a:cubicBezTo>
                    <a:cubicBezTo>
                      <a:pt x="18831" y="76752"/>
                      <a:pt x="19403" y="76276"/>
                      <a:pt x="20126" y="75752"/>
                    </a:cubicBezTo>
                    <a:close/>
                    <a:moveTo>
                      <a:pt x="40729" y="71485"/>
                    </a:moveTo>
                    <a:cubicBezTo>
                      <a:pt x="39719" y="72200"/>
                      <a:pt x="38814" y="72285"/>
                      <a:pt x="38653" y="73523"/>
                    </a:cubicBezTo>
                    <a:cubicBezTo>
                      <a:pt x="38586" y="74019"/>
                      <a:pt x="38900" y="74495"/>
                      <a:pt x="39081" y="74867"/>
                    </a:cubicBezTo>
                    <a:cubicBezTo>
                      <a:pt x="39634" y="75981"/>
                      <a:pt x="40595" y="77105"/>
                      <a:pt x="42139" y="76438"/>
                    </a:cubicBezTo>
                    <a:cubicBezTo>
                      <a:pt x="44987" y="75219"/>
                      <a:pt x="43996" y="70704"/>
                      <a:pt x="40729" y="71485"/>
                    </a:cubicBezTo>
                    <a:close/>
                    <a:moveTo>
                      <a:pt x="91383" y="60398"/>
                    </a:moveTo>
                    <a:cubicBezTo>
                      <a:pt x="90773" y="60865"/>
                      <a:pt x="90211" y="61255"/>
                      <a:pt x="90173" y="62046"/>
                    </a:cubicBezTo>
                    <a:cubicBezTo>
                      <a:pt x="90097" y="63427"/>
                      <a:pt x="91478" y="64646"/>
                      <a:pt x="92802" y="64056"/>
                    </a:cubicBezTo>
                    <a:cubicBezTo>
                      <a:pt x="94964" y="63094"/>
                      <a:pt x="94107" y="59693"/>
                      <a:pt x="91383" y="60398"/>
                    </a:cubicBezTo>
                    <a:close/>
                    <a:moveTo>
                      <a:pt x="66170" y="66903"/>
                    </a:moveTo>
                    <a:cubicBezTo>
                      <a:pt x="65846" y="67180"/>
                      <a:pt x="65475" y="67523"/>
                      <a:pt x="65427" y="67951"/>
                    </a:cubicBezTo>
                    <a:cubicBezTo>
                      <a:pt x="65313" y="68894"/>
                      <a:pt x="66351" y="69647"/>
                      <a:pt x="67199" y="69209"/>
                    </a:cubicBezTo>
                    <a:cubicBezTo>
                      <a:pt x="68466" y="68561"/>
                      <a:pt x="67818" y="66456"/>
                      <a:pt x="66170" y="66903"/>
                    </a:cubicBezTo>
                    <a:close/>
                    <a:moveTo>
                      <a:pt x="108366" y="57693"/>
                    </a:moveTo>
                    <a:cubicBezTo>
                      <a:pt x="106871" y="58760"/>
                      <a:pt x="105308" y="58503"/>
                      <a:pt x="105404" y="60655"/>
                    </a:cubicBezTo>
                    <a:cubicBezTo>
                      <a:pt x="105423" y="61131"/>
                      <a:pt x="105670" y="61560"/>
                      <a:pt x="105832" y="61846"/>
                    </a:cubicBezTo>
                    <a:cubicBezTo>
                      <a:pt x="106604" y="63255"/>
                      <a:pt x="107757" y="63627"/>
                      <a:pt x="109395" y="62808"/>
                    </a:cubicBezTo>
                    <a:cubicBezTo>
                      <a:pt x="110252" y="62379"/>
                      <a:pt x="110690" y="62227"/>
                      <a:pt x="111081" y="61541"/>
                    </a:cubicBezTo>
                    <a:cubicBezTo>
                      <a:pt x="110890" y="60503"/>
                      <a:pt x="109785" y="57826"/>
                      <a:pt x="109071" y="57607"/>
                    </a:cubicBezTo>
                    <a:cubicBezTo>
                      <a:pt x="108833" y="57636"/>
                      <a:pt x="108604" y="57664"/>
                      <a:pt x="108366" y="57693"/>
                    </a:cubicBezTo>
                    <a:close/>
                    <a:moveTo>
                      <a:pt x="11116" y="80448"/>
                    </a:moveTo>
                    <a:cubicBezTo>
                      <a:pt x="13078" y="80020"/>
                      <a:pt x="13821" y="82525"/>
                      <a:pt x="12268" y="83296"/>
                    </a:cubicBezTo>
                    <a:cubicBezTo>
                      <a:pt x="11268" y="83791"/>
                      <a:pt x="10068" y="83010"/>
                      <a:pt x="10087" y="81905"/>
                    </a:cubicBezTo>
                    <a:cubicBezTo>
                      <a:pt x="10096" y="81182"/>
                      <a:pt x="10563" y="80858"/>
                      <a:pt x="11116" y="80448"/>
                    </a:cubicBezTo>
                    <a:close/>
                    <a:moveTo>
                      <a:pt x="137427" y="51559"/>
                    </a:moveTo>
                    <a:cubicBezTo>
                      <a:pt x="139094" y="51130"/>
                      <a:pt x="139770" y="53273"/>
                      <a:pt x="138427" y="53911"/>
                    </a:cubicBezTo>
                    <a:cubicBezTo>
                      <a:pt x="137493" y="54350"/>
                      <a:pt x="136350" y="53454"/>
                      <a:pt x="136646" y="52464"/>
                    </a:cubicBezTo>
                    <a:cubicBezTo>
                      <a:pt x="136770" y="52035"/>
                      <a:pt x="137074" y="51845"/>
                      <a:pt x="137427" y="51559"/>
                    </a:cubicBezTo>
                    <a:close/>
                    <a:moveTo>
                      <a:pt x="56864" y="70685"/>
                    </a:moveTo>
                    <a:cubicBezTo>
                      <a:pt x="56207" y="71133"/>
                      <a:pt x="55664" y="71476"/>
                      <a:pt x="55645" y="72295"/>
                    </a:cubicBezTo>
                    <a:cubicBezTo>
                      <a:pt x="55617" y="73466"/>
                      <a:pt x="56912" y="74371"/>
                      <a:pt x="58017" y="73866"/>
                    </a:cubicBezTo>
                    <a:cubicBezTo>
                      <a:pt x="59731" y="73095"/>
                      <a:pt x="59007" y="70180"/>
                      <a:pt x="56864" y="70685"/>
                    </a:cubicBezTo>
                    <a:close/>
                    <a:moveTo>
                      <a:pt x="26670" y="77962"/>
                    </a:moveTo>
                    <a:cubicBezTo>
                      <a:pt x="30099" y="77086"/>
                      <a:pt x="31318" y="81277"/>
                      <a:pt x="28594" y="82525"/>
                    </a:cubicBezTo>
                    <a:cubicBezTo>
                      <a:pt x="27032" y="83248"/>
                      <a:pt x="25041" y="81944"/>
                      <a:pt x="25165" y="80162"/>
                    </a:cubicBezTo>
                    <a:cubicBezTo>
                      <a:pt x="25241" y="79067"/>
                      <a:pt x="25870" y="78629"/>
                      <a:pt x="26670" y="77962"/>
                    </a:cubicBezTo>
                    <a:close/>
                    <a:moveTo>
                      <a:pt x="82248" y="65208"/>
                    </a:moveTo>
                    <a:cubicBezTo>
                      <a:pt x="81915" y="65513"/>
                      <a:pt x="81572" y="65761"/>
                      <a:pt x="81496" y="66218"/>
                    </a:cubicBezTo>
                    <a:cubicBezTo>
                      <a:pt x="81324" y="67208"/>
                      <a:pt x="82420" y="68085"/>
                      <a:pt x="83372" y="67608"/>
                    </a:cubicBezTo>
                    <a:cubicBezTo>
                      <a:pt x="84725" y="66923"/>
                      <a:pt x="84029" y="64713"/>
                      <a:pt x="82248" y="65208"/>
                    </a:cubicBezTo>
                    <a:close/>
                    <a:moveTo>
                      <a:pt x="127854" y="55131"/>
                    </a:moveTo>
                    <a:cubicBezTo>
                      <a:pt x="130512" y="54426"/>
                      <a:pt x="131454" y="57798"/>
                      <a:pt x="129330" y="58731"/>
                    </a:cubicBezTo>
                    <a:cubicBezTo>
                      <a:pt x="128064" y="59293"/>
                      <a:pt x="126597" y="58293"/>
                      <a:pt x="126635" y="56921"/>
                    </a:cubicBezTo>
                    <a:cubicBezTo>
                      <a:pt x="126663" y="56064"/>
                      <a:pt x="127206" y="55626"/>
                      <a:pt x="127854" y="55131"/>
                    </a:cubicBezTo>
                    <a:close/>
                    <a:moveTo>
                      <a:pt x="47254" y="74419"/>
                    </a:moveTo>
                    <a:cubicBezTo>
                      <a:pt x="46511" y="74981"/>
                      <a:pt x="45939" y="75362"/>
                      <a:pt x="45825" y="76305"/>
                    </a:cubicBezTo>
                    <a:cubicBezTo>
                      <a:pt x="45634" y="77943"/>
                      <a:pt x="47339" y="79258"/>
                      <a:pt x="48921" y="78553"/>
                    </a:cubicBezTo>
                    <a:cubicBezTo>
                      <a:pt x="51349" y="77467"/>
                      <a:pt x="50206" y="73666"/>
                      <a:pt x="47254" y="74419"/>
                    </a:cubicBezTo>
                    <a:close/>
                    <a:moveTo>
                      <a:pt x="98031" y="62741"/>
                    </a:moveTo>
                    <a:cubicBezTo>
                      <a:pt x="97298" y="63313"/>
                      <a:pt x="96698" y="63760"/>
                      <a:pt x="96679" y="64760"/>
                    </a:cubicBezTo>
                    <a:cubicBezTo>
                      <a:pt x="96641" y="66494"/>
                      <a:pt x="98508" y="67513"/>
                      <a:pt x="99974" y="66694"/>
                    </a:cubicBezTo>
                    <a:cubicBezTo>
                      <a:pt x="102118" y="65494"/>
                      <a:pt x="100908" y="61998"/>
                      <a:pt x="98031" y="62741"/>
                    </a:cubicBezTo>
                    <a:close/>
                    <a:moveTo>
                      <a:pt x="2000" y="85363"/>
                    </a:moveTo>
                    <a:cubicBezTo>
                      <a:pt x="2495" y="85249"/>
                      <a:pt x="2934" y="85515"/>
                      <a:pt x="3058" y="85992"/>
                    </a:cubicBezTo>
                    <a:cubicBezTo>
                      <a:pt x="2982" y="86382"/>
                      <a:pt x="2867" y="86715"/>
                      <a:pt x="2343" y="86839"/>
                    </a:cubicBezTo>
                    <a:cubicBezTo>
                      <a:pt x="1981" y="86763"/>
                      <a:pt x="1657" y="86630"/>
                      <a:pt x="1543" y="86154"/>
                    </a:cubicBezTo>
                    <a:cubicBezTo>
                      <a:pt x="1610" y="85782"/>
                      <a:pt x="1753" y="85620"/>
                      <a:pt x="2000" y="85363"/>
                    </a:cubicBezTo>
                    <a:close/>
                    <a:moveTo>
                      <a:pt x="118586" y="58712"/>
                    </a:moveTo>
                    <a:cubicBezTo>
                      <a:pt x="121777" y="57941"/>
                      <a:pt x="122996" y="62274"/>
                      <a:pt x="120139" y="63475"/>
                    </a:cubicBezTo>
                    <a:cubicBezTo>
                      <a:pt x="118443" y="64189"/>
                      <a:pt x="116443" y="62436"/>
                      <a:pt x="116786" y="60646"/>
                    </a:cubicBezTo>
                    <a:cubicBezTo>
                      <a:pt x="116986" y="59645"/>
                      <a:pt x="117710" y="59322"/>
                      <a:pt x="118586" y="58712"/>
                    </a:cubicBezTo>
                    <a:close/>
                    <a:moveTo>
                      <a:pt x="17612" y="82629"/>
                    </a:moveTo>
                    <a:cubicBezTo>
                      <a:pt x="20288" y="81925"/>
                      <a:pt x="21222" y="85315"/>
                      <a:pt x="18945" y="86268"/>
                    </a:cubicBezTo>
                    <a:cubicBezTo>
                      <a:pt x="17774" y="86754"/>
                      <a:pt x="16335" y="85715"/>
                      <a:pt x="16411" y="84344"/>
                    </a:cubicBezTo>
                    <a:cubicBezTo>
                      <a:pt x="16469" y="83534"/>
                      <a:pt x="17012" y="83125"/>
                      <a:pt x="17612" y="82629"/>
                    </a:cubicBezTo>
                    <a:close/>
                    <a:moveTo>
                      <a:pt x="73190" y="69875"/>
                    </a:moveTo>
                    <a:cubicBezTo>
                      <a:pt x="72876" y="70161"/>
                      <a:pt x="72609" y="70352"/>
                      <a:pt x="72742" y="70923"/>
                    </a:cubicBezTo>
                    <a:cubicBezTo>
                      <a:pt x="72942" y="71161"/>
                      <a:pt x="73162" y="71237"/>
                      <a:pt x="73419" y="71380"/>
                    </a:cubicBezTo>
                    <a:cubicBezTo>
                      <a:pt x="73533" y="71342"/>
                      <a:pt x="73657" y="71304"/>
                      <a:pt x="73771" y="71256"/>
                    </a:cubicBezTo>
                    <a:cubicBezTo>
                      <a:pt x="74038" y="71075"/>
                      <a:pt x="74228" y="70752"/>
                      <a:pt x="74171" y="70371"/>
                    </a:cubicBezTo>
                    <a:cubicBezTo>
                      <a:pt x="73952" y="70047"/>
                      <a:pt x="73666" y="69799"/>
                      <a:pt x="73190" y="69875"/>
                    </a:cubicBezTo>
                    <a:close/>
                    <a:moveTo>
                      <a:pt x="38500" y="78076"/>
                    </a:moveTo>
                    <a:cubicBezTo>
                      <a:pt x="37652" y="78695"/>
                      <a:pt x="36424" y="78876"/>
                      <a:pt x="35643" y="79496"/>
                    </a:cubicBezTo>
                    <a:cubicBezTo>
                      <a:pt x="35747" y="80220"/>
                      <a:pt x="36233" y="80972"/>
                      <a:pt x="36547" y="81601"/>
                    </a:cubicBezTo>
                    <a:cubicBezTo>
                      <a:pt x="36738" y="82048"/>
                      <a:pt x="36929" y="82496"/>
                      <a:pt x="37129" y="82944"/>
                    </a:cubicBezTo>
                    <a:cubicBezTo>
                      <a:pt x="37805" y="83915"/>
                      <a:pt x="39453" y="83506"/>
                      <a:pt x="40500" y="82772"/>
                    </a:cubicBezTo>
                    <a:cubicBezTo>
                      <a:pt x="42348" y="81477"/>
                      <a:pt x="41186" y="77400"/>
                      <a:pt x="38500" y="78076"/>
                    </a:cubicBezTo>
                    <a:close/>
                    <a:moveTo>
                      <a:pt x="144389" y="54464"/>
                    </a:moveTo>
                    <a:cubicBezTo>
                      <a:pt x="144828" y="54407"/>
                      <a:pt x="145161" y="54607"/>
                      <a:pt x="145370" y="54921"/>
                    </a:cubicBezTo>
                    <a:cubicBezTo>
                      <a:pt x="145913" y="55874"/>
                      <a:pt x="144132" y="56626"/>
                      <a:pt x="143808" y="55397"/>
                    </a:cubicBezTo>
                    <a:cubicBezTo>
                      <a:pt x="143885" y="54931"/>
                      <a:pt x="144066" y="54759"/>
                      <a:pt x="144389" y="54464"/>
                    </a:cubicBezTo>
                    <a:close/>
                    <a:moveTo>
                      <a:pt x="88925" y="67532"/>
                    </a:moveTo>
                    <a:cubicBezTo>
                      <a:pt x="88440" y="67961"/>
                      <a:pt x="87982" y="68313"/>
                      <a:pt x="87982" y="69037"/>
                    </a:cubicBezTo>
                    <a:cubicBezTo>
                      <a:pt x="87992" y="70142"/>
                      <a:pt x="89211" y="70923"/>
                      <a:pt x="90240" y="70418"/>
                    </a:cubicBezTo>
                    <a:cubicBezTo>
                      <a:pt x="91869" y="69599"/>
                      <a:pt x="91164" y="66942"/>
                      <a:pt x="88925" y="67532"/>
                    </a:cubicBezTo>
                    <a:close/>
                    <a:moveTo>
                      <a:pt x="63713" y="73695"/>
                    </a:moveTo>
                    <a:cubicBezTo>
                      <a:pt x="63322" y="73990"/>
                      <a:pt x="62951" y="74295"/>
                      <a:pt x="62903" y="74790"/>
                    </a:cubicBezTo>
                    <a:cubicBezTo>
                      <a:pt x="62817" y="75609"/>
                      <a:pt x="63798" y="76333"/>
                      <a:pt x="64513" y="76009"/>
                    </a:cubicBezTo>
                    <a:cubicBezTo>
                      <a:pt x="65808" y="75438"/>
                      <a:pt x="65294" y="73352"/>
                      <a:pt x="63713" y="73695"/>
                    </a:cubicBezTo>
                    <a:close/>
                    <a:moveTo>
                      <a:pt x="134703" y="57998"/>
                    </a:moveTo>
                    <a:cubicBezTo>
                      <a:pt x="136817" y="57436"/>
                      <a:pt x="137665" y="60103"/>
                      <a:pt x="135989" y="60922"/>
                    </a:cubicBezTo>
                    <a:cubicBezTo>
                      <a:pt x="134950" y="61436"/>
                      <a:pt x="133645" y="60531"/>
                      <a:pt x="133741" y="59388"/>
                    </a:cubicBezTo>
                    <a:cubicBezTo>
                      <a:pt x="133779" y="58741"/>
                      <a:pt x="134217" y="58388"/>
                      <a:pt x="134703" y="57998"/>
                    </a:cubicBezTo>
                    <a:close/>
                    <a:moveTo>
                      <a:pt x="104956" y="64932"/>
                    </a:moveTo>
                    <a:cubicBezTo>
                      <a:pt x="103965" y="65589"/>
                      <a:pt x="103337" y="65875"/>
                      <a:pt x="103165" y="67018"/>
                    </a:cubicBezTo>
                    <a:cubicBezTo>
                      <a:pt x="102899" y="68742"/>
                      <a:pt x="104823" y="70352"/>
                      <a:pt x="106375" y="69733"/>
                    </a:cubicBezTo>
                    <a:cubicBezTo>
                      <a:pt x="109290" y="68561"/>
                      <a:pt x="108090" y="64217"/>
                      <a:pt x="104956" y="64932"/>
                    </a:cubicBezTo>
                    <a:close/>
                    <a:moveTo>
                      <a:pt x="8620" y="87401"/>
                    </a:moveTo>
                    <a:cubicBezTo>
                      <a:pt x="10239" y="87039"/>
                      <a:pt x="10906" y="89192"/>
                      <a:pt x="9515" y="89811"/>
                    </a:cubicBezTo>
                    <a:cubicBezTo>
                      <a:pt x="8734" y="90154"/>
                      <a:pt x="7668" y="89449"/>
                      <a:pt x="7753" y="88582"/>
                    </a:cubicBezTo>
                    <a:cubicBezTo>
                      <a:pt x="7811" y="88040"/>
                      <a:pt x="8201" y="87735"/>
                      <a:pt x="8620" y="87401"/>
                    </a:cubicBezTo>
                    <a:close/>
                    <a:moveTo>
                      <a:pt x="54055" y="77410"/>
                    </a:moveTo>
                    <a:cubicBezTo>
                      <a:pt x="53464" y="77867"/>
                      <a:pt x="52978" y="78267"/>
                      <a:pt x="52959" y="79067"/>
                    </a:cubicBezTo>
                    <a:cubicBezTo>
                      <a:pt x="52930" y="80334"/>
                      <a:pt x="54312" y="81324"/>
                      <a:pt x="55483" y="80801"/>
                    </a:cubicBezTo>
                    <a:cubicBezTo>
                      <a:pt x="57474" y="79905"/>
                      <a:pt x="56693" y="76714"/>
                      <a:pt x="54055" y="77410"/>
                    </a:cubicBezTo>
                    <a:close/>
                    <a:moveTo>
                      <a:pt x="24413" y="84782"/>
                    </a:moveTo>
                    <a:cubicBezTo>
                      <a:pt x="27404" y="84049"/>
                      <a:pt x="28480" y="88021"/>
                      <a:pt x="25765" y="89135"/>
                    </a:cubicBezTo>
                    <a:cubicBezTo>
                      <a:pt x="24336" y="89725"/>
                      <a:pt x="22736" y="88411"/>
                      <a:pt x="22813" y="86858"/>
                    </a:cubicBezTo>
                    <a:cubicBezTo>
                      <a:pt x="22860" y="85753"/>
                      <a:pt x="23527" y="85392"/>
                      <a:pt x="24413" y="84782"/>
                    </a:cubicBezTo>
                    <a:close/>
                    <a:moveTo>
                      <a:pt x="125282" y="61608"/>
                    </a:moveTo>
                    <a:cubicBezTo>
                      <a:pt x="128273" y="60836"/>
                      <a:pt x="129226" y="64694"/>
                      <a:pt x="126807" y="65732"/>
                    </a:cubicBezTo>
                    <a:cubicBezTo>
                      <a:pt x="125530" y="66284"/>
                      <a:pt x="123711" y="65113"/>
                      <a:pt x="123815" y="63617"/>
                    </a:cubicBezTo>
                    <a:cubicBezTo>
                      <a:pt x="123882" y="62589"/>
                      <a:pt x="124473" y="62198"/>
                      <a:pt x="125282" y="61608"/>
                    </a:cubicBezTo>
                    <a:close/>
                    <a:moveTo>
                      <a:pt x="80067" y="72390"/>
                    </a:moveTo>
                    <a:cubicBezTo>
                      <a:pt x="80010" y="72428"/>
                      <a:pt x="79963" y="72466"/>
                      <a:pt x="79905" y="72504"/>
                    </a:cubicBezTo>
                    <a:cubicBezTo>
                      <a:pt x="79600" y="72704"/>
                      <a:pt x="79420" y="73019"/>
                      <a:pt x="79515" y="73466"/>
                    </a:cubicBezTo>
                    <a:cubicBezTo>
                      <a:pt x="79753" y="73771"/>
                      <a:pt x="80039" y="74019"/>
                      <a:pt x="80534" y="73914"/>
                    </a:cubicBezTo>
                    <a:cubicBezTo>
                      <a:pt x="80867" y="73685"/>
                      <a:pt x="81134" y="73400"/>
                      <a:pt x="81020" y="72895"/>
                    </a:cubicBezTo>
                    <a:cubicBezTo>
                      <a:pt x="80763" y="72571"/>
                      <a:pt x="80515" y="72428"/>
                      <a:pt x="80067" y="72390"/>
                    </a:cubicBezTo>
                    <a:close/>
                    <a:moveTo>
                      <a:pt x="44682" y="81020"/>
                    </a:moveTo>
                    <a:cubicBezTo>
                      <a:pt x="43805" y="81648"/>
                      <a:pt x="43148" y="82115"/>
                      <a:pt x="43110" y="83239"/>
                    </a:cubicBezTo>
                    <a:cubicBezTo>
                      <a:pt x="43053" y="84858"/>
                      <a:pt x="44853" y="86125"/>
                      <a:pt x="46263" y="85544"/>
                    </a:cubicBezTo>
                    <a:cubicBezTo>
                      <a:pt x="49082" y="84372"/>
                      <a:pt x="47958" y="80191"/>
                      <a:pt x="44682" y="81020"/>
                    </a:cubicBezTo>
                    <a:close/>
                    <a:moveTo>
                      <a:pt x="95593" y="69752"/>
                    </a:moveTo>
                    <a:cubicBezTo>
                      <a:pt x="94955" y="70237"/>
                      <a:pt x="94450" y="70666"/>
                      <a:pt x="94402" y="71504"/>
                    </a:cubicBezTo>
                    <a:cubicBezTo>
                      <a:pt x="94326" y="72809"/>
                      <a:pt x="95745" y="73857"/>
                      <a:pt x="96850" y="73409"/>
                    </a:cubicBezTo>
                    <a:cubicBezTo>
                      <a:pt x="99184" y="72466"/>
                      <a:pt x="98336" y="69037"/>
                      <a:pt x="95593" y="69752"/>
                    </a:cubicBezTo>
                    <a:close/>
                    <a:moveTo>
                      <a:pt x="116300" y="65275"/>
                    </a:moveTo>
                    <a:cubicBezTo>
                      <a:pt x="119044" y="64579"/>
                      <a:pt x="120472" y="68389"/>
                      <a:pt x="118596" y="69790"/>
                    </a:cubicBezTo>
                    <a:cubicBezTo>
                      <a:pt x="117586" y="70542"/>
                      <a:pt x="115805" y="71104"/>
                      <a:pt x="115091" y="70066"/>
                    </a:cubicBezTo>
                    <a:cubicBezTo>
                      <a:pt x="114853" y="69523"/>
                      <a:pt x="114614" y="68990"/>
                      <a:pt x="114376" y="68447"/>
                    </a:cubicBezTo>
                    <a:cubicBezTo>
                      <a:pt x="114129" y="67913"/>
                      <a:pt x="113624" y="67180"/>
                      <a:pt x="113805" y="66608"/>
                    </a:cubicBezTo>
                    <a:cubicBezTo>
                      <a:pt x="114062" y="66418"/>
                      <a:pt x="114328" y="66237"/>
                      <a:pt x="114586" y="66046"/>
                    </a:cubicBezTo>
                    <a:cubicBezTo>
                      <a:pt x="115157" y="65789"/>
                      <a:pt x="115729" y="65532"/>
                      <a:pt x="116300" y="65275"/>
                    </a:cubicBezTo>
                    <a:close/>
                    <a:moveTo>
                      <a:pt x="15230" y="89564"/>
                    </a:moveTo>
                    <a:cubicBezTo>
                      <a:pt x="17412" y="88983"/>
                      <a:pt x="18212" y="91888"/>
                      <a:pt x="16488" y="92726"/>
                    </a:cubicBezTo>
                    <a:cubicBezTo>
                      <a:pt x="15373" y="93269"/>
                      <a:pt x="14021" y="92335"/>
                      <a:pt x="14107" y="91116"/>
                    </a:cubicBezTo>
                    <a:cubicBezTo>
                      <a:pt x="14164" y="90345"/>
                      <a:pt x="14631" y="90002"/>
                      <a:pt x="15230" y="89564"/>
                    </a:cubicBezTo>
                    <a:close/>
                    <a:moveTo>
                      <a:pt x="70628" y="76848"/>
                    </a:moveTo>
                    <a:cubicBezTo>
                      <a:pt x="70466" y="77057"/>
                      <a:pt x="70361" y="77238"/>
                      <a:pt x="70237" y="77467"/>
                    </a:cubicBezTo>
                    <a:cubicBezTo>
                      <a:pt x="70352" y="77857"/>
                      <a:pt x="70685" y="78067"/>
                      <a:pt x="71085" y="77991"/>
                    </a:cubicBezTo>
                    <a:cubicBezTo>
                      <a:pt x="71333" y="77800"/>
                      <a:pt x="71495" y="77572"/>
                      <a:pt x="71428" y="77190"/>
                    </a:cubicBezTo>
                    <a:cubicBezTo>
                      <a:pt x="71276" y="77000"/>
                      <a:pt x="71114" y="76857"/>
                      <a:pt x="70856" y="76829"/>
                    </a:cubicBezTo>
                    <a:cubicBezTo>
                      <a:pt x="70771" y="76838"/>
                      <a:pt x="70704" y="76838"/>
                      <a:pt x="70628" y="76848"/>
                    </a:cubicBezTo>
                    <a:close/>
                    <a:moveTo>
                      <a:pt x="141532" y="60970"/>
                    </a:moveTo>
                    <a:cubicBezTo>
                      <a:pt x="143151" y="60512"/>
                      <a:pt x="143818" y="62455"/>
                      <a:pt x="142589" y="63074"/>
                    </a:cubicBezTo>
                    <a:cubicBezTo>
                      <a:pt x="141808" y="63465"/>
                      <a:pt x="140770" y="62741"/>
                      <a:pt x="140903" y="61874"/>
                    </a:cubicBezTo>
                    <a:cubicBezTo>
                      <a:pt x="140970" y="61484"/>
                      <a:pt x="141265" y="61227"/>
                      <a:pt x="141532" y="60970"/>
                    </a:cubicBezTo>
                    <a:close/>
                    <a:moveTo>
                      <a:pt x="31042" y="87049"/>
                    </a:moveTo>
                    <a:cubicBezTo>
                      <a:pt x="32795" y="86601"/>
                      <a:pt x="33414" y="87192"/>
                      <a:pt x="34042" y="88554"/>
                    </a:cubicBezTo>
                    <a:cubicBezTo>
                      <a:pt x="34833" y="90240"/>
                      <a:pt x="34176" y="91278"/>
                      <a:pt x="32690" y="91907"/>
                    </a:cubicBezTo>
                    <a:cubicBezTo>
                      <a:pt x="30899" y="92659"/>
                      <a:pt x="28985" y="91078"/>
                      <a:pt x="29261" y="89211"/>
                    </a:cubicBezTo>
                    <a:cubicBezTo>
                      <a:pt x="29432" y="88030"/>
                      <a:pt x="30080" y="87744"/>
                      <a:pt x="31042" y="87049"/>
                    </a:cubicBezTo>
                    <a:close/>
                    <a:moveTo>
                      <a:pt x="60941" y="80296"/>
                    </a:moveTo>
                    <a:cubicBezTo>
                      <a:pt x="60550" y="80620"/>
                      <a:pt x="60141" y="81001"/>
                      <a:pt x="60084" y="81515"/>
                    </a:cubicBezTo>
                    <a:cubicBezTo>
                      <a:pt x="59969" y="82582"/>
                      <a:pt x="61198" y="83458"/>
                      <a:pt x="62170" y="82972"/>
                    </a:cubicBezTo>
                    <a:cubicBezTo>
                      <a:pt x="63703" y="82210"/>
                      <a:pt x="62989" y="79743"/>
                      <a:pt x="60941" y="80296"/>
                    </a:cubicBezTo>
                    <a:close/>
                    <a:moveTo>
                      <a:pt x="86496" y="74581"/>
                    </a:moveTo>
                    <a:cubicBezTo>
                      <a:pt x="86163" y="74857"/>
                      <a:pt x="85830" y="75143"/>
                      <a:pt x="85735" y="75552"/>
                    </a:cubicBezTo>
                    <a:cubicBezTo>
                      <a:pt x="85525" y="76495"/>
                      <a:pt x="86639" y="77314"/>
                      <a:pt x="87430" y="76981"/>
                    </a:cubicBezTo>
                    <a:cubicBezTo>
                      <a:pt x="88878" y="76381"/>
                      <a:pt x="88306" y="74095"/>
                      <a:pt x="86496" y="74581"/>
                    </a:cubicBezTo>
                    <a:close/>
                    <a:moveTo>
                      <a:pt x="132207" y="64456"/>
                    </a:moveTo>
                    <a:cubicBezTo>
                      <a:pt x="134598" y="63865"/>
                      <a:pt x="135389" y="67094"/>
                      <a:pt x="133388" y="67942"/>
                    </a:cubicBezTo>
                    <a:cubicBezTo>
                      <a:pt x="132207" y="68437"/>
                      <a:pt x="130845" y="67361"/>
                      <a:pt x="130950" y="66075"/>
                    </a:cubicBezTo>
                    <a:cubicBezTo>
                      <a:pt x="131016" y="65237"/>
                      <a:pt x="131531" y="64922"/>
                      <a:pt x="132207" y="64456"/>
                    </a:cubicBezTo>
                    <a:close/>
                    <a:moveTo>
                      <a:pt x="102461" y="71885"/>
                    </a:moveTo>
                    <a:cubicBezTo>
                      <a:pt x="101594" y="72476"/>
                      <a:pt x="100965" y="72742"/>
                      <a:pt x="100803" y="73752"/>
                    </a:cubicBezTo>
                    <a:cubicBezTo>
                      <a:pt x="100546" y="75381"/>
                      <a:pt x="102203" y="76886"/>
                      <a:pt x="103708" y="76305"/>
                    </a:cubicBezTo>
                    <a:cubicBezTo>
                      <a:pt x="106451" y="75238"/>
                      <a:pt x="105413" y="71209"/>
                      <a:pt x="102461" y="71885"/>
                    </a:cubicBezTo>
                    <a:close/>
                    <a:moveTo>
                      <a:pt x="51597" y="83858"/>
                    </a:moveTo>
                    <a:cubicBezTo>
                      <a:pt x="50845" y="84401"/>
                      <a:pt x="50254" y="84744"/>
                      <a:pt x="50159" y="85668"/>
                    </a:cubicBezTo>
                    <a:cubicBezTo>
                      <a:pt x="49987" y="87182"/>
                      <a:pt x="51635" y="88401"/>
                      <a:pt x="52969" y="87830"/>
                    </a:cubicBezTo>
                    <a:cubicBezTo>
                      <a:pt x="55302" y="86830"/>
                      <a:pt x="54359" y="83163"/>
                      <a:pt x="51597" y="83858"/>
                    </a:cubicBezTo>
                    <a:close/>
                    <a:moveTo>
                      <a:pt x="6039" y="94488"/>
                    </a:moveTo>
                    <a:cubicBezTo>
                      <a:pt x="7458" y="94078"/>
                      <a:pt x="7877" y="95812"/>
                      <a:pt x="6791" y="96288"/>
                    </a:cubicBezTo>
                    <a:cubicBezTo>
                      <a:pt x="6296" y="96507"/>
                      <a:pt x="5496" y="96021"/>
                      <a:pt x="5496" y="95450"/>
                    </a:cubicBezTo>
                    <a:cubicBezTo>
                      <a:pt x="5505" y="95031"/>
                      <a:pt x="5801" y="94764"/>
                      <a:pt x="6039" y="94488"/>
                    </a:cubicBezTo>
                    <a:close/>
                    <a:moveTo>
                      <a:pt x="122692" y="68132"/>
                    </a:moveTo>
                    <a:cubicBezTo>
                      <a:pt x="125911" y="67313"/>
                      <a:pt x="127054" y="71523"/>
                      <a:pt x="124196" y="72685"/>
                    </a:cubicBezTo>
                    <a:cubicBezTo>
                      <a:pt x="122872" y="73219"/>
                      <a:pt x="121044" y="71942"/>
                      <a:pt x="121091" y="70399"/>
                    </a:cubicBezTo>
                    <a:cubicBezTo>
                      <a:pt x="121130" y="69209"/>
                      <a:pt x="121758" y="68771"/>
                      <a:pt x="122692" y="68132"/>
                    </a:cubicBezTo>
                    <a:close/>
                    <a:moveTo>
                      <a:pt x="22022" y="91707"/>
                    </a:moveTo>
                    <a:cubicBezTo>
                      <a:pt x="24575" y="91164"/>
                      <a:pt x="25498" y="94612"/>
                      <a:pt x="23298" y="95593"/>
                    </a:cubicBezTo>
                    <a:cubicBezTo>
                      <a:pt x="21812" y="96250"/>
                      <a:pt x="20260" y="94869"/>
                      <a:pt x="20507" y="93393"/>
                    </a:cubicBezTo>
                    <a:cubicBezTo>
                      <a:pt x="20669" y="92488"/>
                      <a:pt x="21241" y="92250"/>
                      <a:pt x="22022" y="91707"/>
                    </a:cubicBezTo>
                    <a:close/>
                    <a:moveTo>
                      <a:pt x="77505" y="79353"/>
                    </a:moveTo>
                    <a:cubicBezTo>
                      <a:pt x="77229" y="79619"/>
                      <a:pt x="76971" y="79838"/>
                      <a:pt x="77114" y="80277"/>
                    </a:cubicBezTo>
                    <a:cubicBezTo>
                      <a:pt x="77305" y="80467"/>
                      <a:pt x="77486" y="80534"/>
                      <a:pt x="77705" y="80677"/>
                    </a:cubicBezTo>
                    <a:cubicBezTo>
                      <a:pt x="77810" y="80639"/>
                      <a:pt x="77914" y="80600"/>
                      <a:pt x="78019" y="80562"/>
                    </a:cubicBezTo>
                    <a:cubicBezTo>
                      <a:pt x="78248" y="80400"/>
                      <a:pt x="78296" y="80200"/>
                      <a:pt x="78419" y="79981"/>
                    </a:cubicBezTo>
                    <a:cubicBezTo>
                      <a:pt x="78296" y="79524"/>
                      <a:pt x="77924" y="79324"/>
                      <a:pt x="77505" y="79353"/>
                    </a:cubicBezTo>
                    <a:close/>
                    <a:moveTo>
                      <a:pt x="42386" y="87506"/>
                    </a:moveTo>
                    <a:cubicBezTo>
                      <a:pt x="41529" y="88116"/>
                      <a:pt x="40681" y="88163"/>
                      <a:pt x="40357" y="89078"/>
                    </a:cubicBezTo>
                    <a:cubicBezTo>
                      <a:pt x="40119" y="89745"/>
                      <a:pt x="40843" y="91592"/>
                      <a:pt x="41291" y="92126"/>
                    </a:cubicBezTo>
                    <a:cubicBezTo>
                      <a:pt x="41605" y="92497"/>
                      <a:pt x="42196" y="92773"/>
                      <a:pt x="42729" y="92783"/>
                    </a:cubicBezTo>
                    <a:cubicBezTo>
                      <a:pt x="43196" y="92792"/>
                      <a:pt x="43605" y="92554"/>
                      <a:pt x="43929" y="92392"/>
                    </a:cubicBezTo>
                    <a:cubicBezTo>
                      <a:pt x="46901" y="90868"/>
                      <a:pt x="45415" y="86744"/>
                      <a:pt x="42386" y="87506"/>
                    </a:cubicBezTo>
                    <a:close/>
                    <a:moveTo>
                      <a:pt x="93202" y="76648"/>
                    </a:moveTo>
                    <a:cubicBezTo>
                      <a:pt x="92573" y="77105"/>
                      <a:pt x="92040" y="77467"/>
                      <a:pt x="92021" y="78286"/>
                    </a:cubicBezTo>
                    <a:cubicBezTo>
                      <a:pt x="92002" y="79467"/>
                      <a:pt x="93345" y="80524"/>
                      <a:pt x="94497" y="79953"/>
                    </a:cubicBezTo>
                    <a:cubicBezTo>
                      <a:pt x="96317" y="79048"/>
                      <a:pt x="95498" y="76095"/>
                      <a:pt x="93202" y="76648"/>
                    </a:cubicBezTo>
                    <a:close/>
                    <a:moveTo>
                      <a:pt x="148562" y="63970"/>
                    </a:moveTo>
                    <a:cubicBezTo>
                      <a:pt x="148676" y="63960"/>
                      <a:pt x="148780" y="63941"/>
                      <a:pt x="148895" y="63932"/>
                    </a:cubicBezTo>
                    <a:cubicBezTo>
                      <a:pt x="149133" y="64065"/>
                      <a:pt x="149323" y="64113"/>
                      <a:pt x="149428" y="64456"/>
                    </a:cubicBezTo>
                    <a:cubicBezTo>
                      <a:pt x="149352" y="64770"/>
                      <a:pt x="149247" y="64941"/>
                      <a:pt x="148971" y="65132"/>
                    </a:cubicBezTo>
                    <a:cubicBezTo>
                      <a:pt x="148695" y="65103"/>
                      <a:pt x="148219" y="64941"/>
                      <a:pt x="148247" y="64618"/>
                    </a:cubicBezTo>
                    <a:cubicBezTo>
                      <a:pt x="148257" y="64294"/>
                      <a:pt x="148400" y="64179"/>
                      <a:pt x="148562" y="63970"/>
                    </a:cubicBezTo>
                    <a:close/>
                    <a:moveTo>
                      <a:pt x="67789" y="83153"/>
                    </a:moveTo>
                    <a:cubicBezTo>
                      <a:pt x="67523" y="83410"/>
                      <a:pt x="67228" y="83687"/>
                      <a:pt x="67161" y="84058"/>
                    </a:cubicBezTo>
                    <a:cubicBezTo>
                      <a:pt x="67018" y="84953"/>
                      <a:pt x="68085" y="85706"/>
                      <a:pt x="68875" y="85258"/>
                    </a:cubicBezTo>
                    <a:cubicBezTo>
                      <a:pt x="70047" y="84601"/>
                      <a:pt x="69352" y="82725"/>
                      <a:pt x="67789" y="83153"/>
                    </a:cubicBezTo>
                    <a:close/>
                    <a:moveTo>
                      <a:pt x="109338" y="74057"/>
                    </a:moveTo>
                    <a:cubicBezTo>
                      <a:pt x="108395" y="74676"/>
                      <a:pt x="107728" y="74762"/>
                      <a:pt x="107356" y="75686"/>
                    </a:cubicBezTo>
                    <a:cubicBezTo>
                      <a:pt x="106680" y="77429"/>
                      <a:pt x="108166" y="79372"/>
                      <a:pt x="109747" y="79305"/>
                    </a:cubicBezTo>
                    <a:cubicBezTo>
                      <a:pt x="110271" y="79286"/>
                      <a:pt x="110700" y="78991"/>
                      <a:pt x="111033" y="78819"/>
                    </a:cubicBezTo>
                    <a:cubicBezTo>
                      <a:pt x="111843" y="78410"/>
                      <a:pt x="112424" y="78143"/>
                      <a:pt x="112547" y="77333"/>
                    </a:cubicBezTo>
                    <a:cubicBezTo>
                      <a:pt x="112624" y="76819"/>
                      <a:pt x="112290" y="76257"/>
                      <a:pt x="112100" y="75876"/>
                    </a:cubicBezTo>
                    <a:cubicBezTo>
                      <a:pt x="111433" y="74581"/>
                      <a:pt x="111033" y="73666"/>
                      <a:pt x="109338" y="74057"/>
                    </a:cubicBezTo>
                    <a:close/>
                    <a:moveTo>
                      <a:pt x="12745" y="96545"/>
                    </a:moveTo>
                    <a:cubicBezTo>
                      <a:pt x="14621" y="96050"/>
                      <a:pt x="15250" y="98527"/>
                      <a:pt x="13735" y="99203"/>
                    </a:cubicBezTo>
                    <a:cubicBezTo>
                      <a:pt x="12859" y="99593"/>
                      <a:pt x="11725" y="98803"/>
                      <a:pt x="11849" y="97774"/>
                    </a:cubicBezTo>
                    <a:cubicBezTo>
                      <a:pt x="11916" y="97222"/>
                      <a:pt x="12306" y="96879"/>
                      <a:pt x="12745" y="96545"/>
                    </a:cubicBezTo>
                    <a:close/>
                    <a:moveTo>
                      <a:pt x="138922" y="67418"/>
                    </a:moveTo>
                    <a:cubicBezTo>
                      <a:pt x="140865" y="66894"/>
                      <a:pt x="141656" y="69351"/>
                      <a:pt x="140103" y="70066"/>
                    </a:cubicBezTo>
                    <a:cubicBezTo>
                      <a:pt x="139151" y="70504"/>
                      <a:pt x="137922" y="69618"/>
                      <a:pt x="138094" y="68599"/>
                    </a:cubicBezTo>
                    <a:cubicBezTo>
                      <a:pt x="138179" y="68085"/>
                      <a:pt x="138532" y="67742"/>
                      <a:pt x="138922" y="67418"/>
                    </a:cubicBezTo>
                    <a:close/>
                    <a:moveTo>
                      <a:pt x="58569" y="86611"/>
                    </a:moveTo>
                    <a:cubicBezTo>
                      <a:pt x="57817" y="87106"/>
                      <a:pt x="57226" y="87430"/>
                      <a:pt x="57178" y="88335"/>
                    </a:cubicBezTo>
                    <a:cubicBezTo>
                      <a:pt x="57112" y="89621"/>
                      <a:pt x="58512" y="90611"/>
                      <a:pt x="59636" y="90125"/>
                    </a:cubicBezTo>
                    <a:cubicBezTo>
                      <a:pt x="61589" y="89278"/>
                      <a:pt x="60827" y="86258"/>
                      <a:pt x="58569" y="86611"/>
                    </a:cubicBezTo>
                    <a:close/>
                    <a:moveTo>
                      <a:pt x="28480" y="94021"/>
                    </a:moveTo>
                    <a:cubicBezTo>
                      <a:pt x="31661" y="93193"/>
                      <a:pt x="32728" y="97298"/>
                      <a:pt x="30071" y="98431"/>
                    </a:cubicBezTo>
                    <a:cubicBezTo>
                      <a:pt x="28727" y="99003"/>
                      <a:pt x="26841" y="97755"/>
                      <a:pt x="26937" y="96193"/>
                    </a:cubicBezTo>
                    <a:cubicBezTo>
                      <a:pt x="27003" y="95050"/>
                      <a:pt x="27604" y="94669"/>
                      <a:pt x="28480" y="94021"/>
                    </a:cubicBezTo>
                    <a:close/>
                    <a:moveTo>
                      <a:pt x="83972" y="81391"/>
                    </a:moveTo>
                    <a:cubicBezTo>
                      <a:pt x="83658" y="81658"/>
                      <a:pt x="83334" y="81925"/>
                      <a:pt x="83239" y="82324"/>
                    </a:cubicBezTo>
                    <a:cubicBezTo>
                      <a:pt x="83030" y="83239"/>
                      <a:pt x="84106" y="84077"/>
                      <a:pt x="84896" y="83725"/>
                    </a:cubicBezTo>
                    <a:cubicBezTo>
                      <a:pt x="86268" y="83125"/>
                      <a:pt x="85687" y="80924"/>
                      <a:pt x="83972" y="81391"/>
                    </a:cubicBezTo>
                    <a:close/>
                    <a:moveTo>
                      <a:pt x="129607" y="70971"/>
                    </a:moveTo>
                    <a:cubicBezTo>
                      <a:pt x="132264" y="70409"/>
                      <a:pt x="133207" y="73838"/>
                      <a:pt x="130950" y="74838"/>
                    </a:cubicBezTo>
                    <a:cubicBezTo>
                      <a:pt x="129616" y="75428"/>
                      <a:pt x="128083" y="74257"/>
                      <a:pt x="128178" y="72857"/>
                    </a:cubicBezTo>
                    <a:cubicBezTo>
                      <a:pt x="128254" y="71866"/>
                      <a:pt x="128807" y="71523"/>
                      <a:pt x="129607" y="70971"/>
                    </a:cubicBezTo>
                    <a:close/>
                    <a:moveTo>
                      <a:pt x="48949" y="90316"/>
                    </a:moveTo>
                    <a:cubicBezTo>
                      <a:pt x="48073" y="90926"/>
                      <a:pt x="47368" y="91335"/>
                      <a:pt x="47311" y="92440"/>
                    </a:cubicBezTo>
                    <a:cubicBezTo>
                      <a:pt x="47225" y="94145"/>
                      <a:pt x="49063" y="95602"/>
                      <a:pt x="50702" y="94812"/>
                    </a:cubicBezTo>
                    <a:cubicBezTo>
                      <a:pt x="53197" y="93593"/>
                      <a:pt x="52054" y="89535"/>
                      <a:pt x="48949" y="90316"/>
                    </a:cubicBezTo>
                    <a:close/>
                    <a:moveTo>
                      <a:pt x="99736" y="78819"/>
                    </a:moveTo>
                    <a:cubicBezTo>
                      <a:pt x="99013" y="79372"/>
                      <a:pt x="98412" y="79810"/>
                      <a:pt x="98365" y="80772"/>
                    </a:cubicBezTo>
                    <a:cubicBezTo>
                      <a:pt x="98288" y="82267"/>
                      <a:pt x="99946" y="83591"/>
                      <a:pt x="101394" y="82877"/>
                    </a:cubicBezTo>
                    <a:cubicBezTo>
                      <a:pt x="103708" y="81734"/>
                      <a:pt x="102651" y="78067"/>
                      <a:pt x="99736" y="78819"/>
                    </a:cubicBezTo>
                    <a:close/>
                    <a:moveTo>
                      <a:pt x="120187" y="74704"/>
                    </a:moveTo>
                    <a:cubicBezTo>
                      <a:pt x="123492" y="73857"/>
                      <a:pt x="124673" y="78267"/>
                      <a:pt x="121787" y="79496"/>
                    </a:cubicBezTo>
                    <a:cubicBezTo>
                      <a:pt x="120167" y="80181"/>
                      <a:pt x="118120" y="78505"/>
                      <a:pt x="118339" y="76724"/>
                    </a:cubicBezTo>
                    <a:cubicBezTo>
                      <a:pt x="118472" y="75609"/>
                      <a:pt x="119272" y="75362"/>
                      <a:pt x="120187" y="74704"/>
                    </a:cubicBezTo>
                    <a:close/>
                    <a:moveTo>
                      <a:pt x="3810" y="101603"/>
                    </a:moveTo>
                    <a:cubicBezTo>
                      <a:pt x="4067" y="101622"/>
                      <a:pt x="4181" y="101737"/>
                      <a:pt x="4363" y="101860"/>
                    </a:cubicBezTo>
                    <a:cubicBezTo>
                      <a:pt x="4372" y="101946"/>
                      <a:pt x="4372" y="102032"/>
                      <a:pt x="4381" y="102117"/>
                    </a:cubicBezTo>
                    <a:cubicBezTo>
                      <a:pt x="4343" y="102346"/>
                      <a:pt x="4248" y="102479"/>
                      <a:pt x="3953" y="102556"/>
                    </a:cubicBezTo>
                    <a:cubicBezTo>
                      <a:pt x="3734" y="102479"/>
                      <a:pt x="3610" y="102394"/>
                      <a:pt x="3458" y="102213"/>
                    </a:cubicBezTo>
                    <a:cubicBezTo>
                      <a:pt x="3458" y="102165"/>
                      <a:pt x="3458" y="102108"/>
                      <a:pt x="3458" y="102060"/>
                    </a:cubicBezTo>
                    <a:cubicBezTo>
                      <a:pt x="3581" y="101908"/>
                      <a:pt x="3696" y="101756"/>
                      <a:pt x="3810" y="101603"/>
                    </a:cubicBezTo>
                    <a:close/>
                    <a:moveTo>
                      <a:pt x="74600" y="85687"/>
                    </a:moveTo>
                    <a:cubicBezTo>
                      <a:pt x="74304" y="85953"/>
                      <a:pt x="73962" y="86258"/>
                      <a:pt x="73914" y="86677"/>
                    </a:cubicBezTo>
                    <a:cubicBezTo>
                      <a:pt x="73828" y="87544"/>
                      <a:pt x="74809" y="88268"/>
                      <a:pt x="75600" y="87887"/>
                    </a:cubicBezTo>
                    <a:cubicBezTo>
                      <a:pt x="76857" y="87268"/>
                      <a:pt x="76190" y="85249"/>
                      <a:pt x="74600" y="85687"/>
                    </a:cubicBezTo>
                    <a:close/>
                    <a:moveTo>
                      <a:pt x="19298" y="98793"/>
                    </a:moveTo>
                    <a:cubicBezTo>
                      <a:pt x="21679" y="98165"/>
                      <a:pt x="22546" y="101098"/>
                      <a:pt x="20755" y="101984"/>
                    </a:cubicBezTo>
                    <a:cubicBezTo>
                      <a:pt x="19650" y="102537"/>
                      <a:pt x="18117" y="101698"/>
                      <a:pt x="18221" y="100365"/>
                    </a:cubicBezTo>
                    <a:cubicBezTo>
                      <a:pt x="18279" y="99622"/>
                      <a:pt x="18774" y="99260"/>
                      <a:pt x="19298" y="98793"/>
                    </a:cubicBezTo>
                    <a:close/>
                    <a:moveTo>
                      <a:pt x="145875" y="70409"/>
                    </a:moveTo>
                    <a:cubicBezTo>
                      <a:pt x="146733" y="70171"/>
                      <a:pt x="147438" y="70923"/>
                      <a:pt x="147085" y="71685"/>
                    </a:cubicBezTo>
                    <a:cubicBezTo>
                      <a:pt x="146704" y="72495"/>
                      <a:pt x="145504" y="72257"/>
                      <a:pt x="145332" y="71333"/>
                    </a:cubicBezTo>
                    <a:cubicBezTo>
                      <a:pt x="145418" y="70904"/>
                      <a:pt x="145590" y="70704"/>
                      <a:pt x="145875" y="70409"/>
                    </a:cubicBezTo>
                    <a:close/>
                    <a:moveTo>
                      <a:pt x="90526" y="83487"/>
                    </a:moveTo>
                    <a:cubicBezTo>
                      <a:pt x="90011" y="83915"/>
                      <a:pt x="89554" y="84268"/>
                      <a:pt x="89497" y="84972"/>
                    </a:cubicBezTo>
                    <a:cubicBezTo>
                      <a:pt x="89411" y="86268"/>
                      <a:pt x="90726" y="87220"/>
                      <a:pt x="91869" y="86706"/>
                    </a:cubicBezTo>
                    <a:cubicBezTo>
                      <a:pt x="93783" y="85849"/>
                      <a:pt x="92964" y="82848"/>
                      <a:pt x="90526" y="83487"/>
                    </a:cubicBezTo>
                    <a:close/>
                    <a:moveTo>
                      <a:pt x="35405" y="96250"/>
                    </a:moveTo>
                    <a:cubicBezTo>
                      <a:pt x="38881" y="95364"/>
                      <a:pt x="39891" y="101174"/>
                      <a:pt x="36204" y="101346"/>
                    </a:cubicBezTo>
                    <a:cubicBezTo>
                      <a:pt x="34623" y="101422"/>
                      <a:pt x="32918" y="99822"/>
                      <a:pt x="33557" y="97936"/>
                    </a:cubicBezTo>
                    <a:cubicBezTo>
                      <a:pt x="33871" y="97003"/>
                      <a:pt x="34528" y="96860"/>
                      <a:pt x="35405" y="96250"/>
                    </a:cubicBezTo>
                    <a:close/>
                    <a:moveTo>
                      <a:pt x="65103" y="89430"/>
                    </a:moveTo>
                    <a:cubicBezTo>
                      <a:pt x="64589" y="89849"/>
                      <a:pt x="64141" y="90230"/>
                      <a:pt x="64122" y="90945"/>
                    </a:cubicBezTo>
                    <a:cubicBezTo>
                      <a:pt x="64094" y="92154"/>
                      <a:pt x="65437" y="93012"/>
                      <a:pt x="66513" y="92440"/>
                    </a:cubicBezTo>
                    <a:cubicBezTo>
                      <a:pt x="68247" y="91526"/>
                      <a:pt x="67323" y="88849"/>
                      <a:pt x="65103" y="89430"/>
                    </a:cubicBezTo>
                    <a:close/>
                    <a:moveTo>
                      <a:pt x="136303" y="73981"/>
                    </a:moveTo>
                    <a:cubicBezTo>
                      <a:pt x="138608" y="73362"/>
                      <a:pt x="139389" y="76095"/>
                      <a:pt x="137627" y="76933"/>
                    </a:cubicBezTo>
                    <a:cubicBezTo>
                      <a:pt x="136465" y="77495"/>
                      <a:pt x="134979" y="76305"/>
                      <a:pt x="135398" y="75019"/>
                    </a:cubicBezTo>
                    <a:cubicBezTo>
                      <a:pt x="135560" y="74562"/>
                      <a:pt x="135893" y="74295"/>
                      <a:pt x="136303" y="73981"/>
                    </a:cubicBezTo>
                    <a:close/>
                    <a:moveTo>
                      <a:pt x="106604" y="80953"/>
                    </a:moveTo>
                    <a:cubicBezTo>
                      <a:pt x="105756" y="81515"/>
                      <a:pt x="105166" y="81705"/>
                      <a:pt x="104851" y="82572"/>
                    </a:cubicBezTo>
                    <a:cubicBezTo>
                      <a:pt x="104194" y="84392"/>
                      <a:pt x="105851" y="86039"/>
                      <a:pt x="107385" y="85973"/>
                    </a:cubicBezTo>
                    <a:cubicBezTo>
                      <a:pt x="111185" y="85801"/>
                      <a:pt x="110109" y="80153"/>
                      <a:pt x="106604" y="80953"/>
                    </a:cubicBezTo>
                    <a:close/>
                    <a:moveTo>
                      <a:pt x="55664" y="93088"/>
                    </a:moveTo>
                    <a:cubicBezTo>
                      <a:pt x="54940" y="93640"/>
                      <a:pt x="54340" y="94040"/>
                      <a:pt x="54283" y="95002"/>
                    </a:cubicBezTo>
                    <a:cubicBezTo>
                      <a:pt x="54178" y="96698"/>
                      <a:pt x="55940" y="97936"/>
                      <a:pt x="57503" y="97107"/>
                    </a:cubicBezTo>
                    <a:cubicBezTo>
                      <a:pt x="59693" y="95936"/>
                      <a:pt x="58569" y="92345"/>
                      <a:pt x="55664" y="93088"/>
                    </a:cubicBezTo>
                    <a:close/>
                    <a:moveTo>
                      <a:pt x="10220" y="103699"/>
                    </a:moveTo>
                    <a:cubicBezTo>
                      <a:pt x="11573" y="103318"/>
                      <a:pt x="12220" y="104946"/>
                      <a:pt x="11173" y="105527"/>
                    </a:cubicBezTo>
                    <a:cubicBezTo>
                      <a:pt x="10611" y="105842"/>
                      <a:pt x="9630" y="105423"/>
                      <a:pt x="9649" y="104670"/>
                    </a:cubicBezTo>
                    <a:cubicBezTo>
                      <a:pt x="9658" y="104232"/>
                      <a:pt x="9973" y="103975"/>
                      <a:pt x="10220" y="103699"/>
                    </a:cubicBezTo>
                    <a:close/>
                    <a:moveTo>
                      <a:pt x="81448" y="87897"/>
                    </a:moveTo>
                    <a:cubicBezTo>
                      <a:pt x="80906" y="88278"/>
                      <a:pt x="80420" y="88563"/>
                      <a:pt x="80391" y="89240"/>
                    </a:cubicBezTo>
                    <a:cubicBezTo>
                      <a:pt x="80343" y="90326"/>
                      <a:pt x="81505" y="91202"/>
                      <a:pt x="82544" y="90678"/>
                    </a:cubicBezTo>
                    <a:cubicBezTo>
                      <a:pt x="83991" y="89954"/>
                      <a:pt x="83287" y="87449"/>
                      <a:pt x="81448" y="87897"/>
                    </a:cubicBezTo>
                    <a:close/>
                    <a:moveTo>
                      <a:pt x="126816" y="77610"/>
                    </a:moveTo>
                    <a:cubicBezTo>
                      <a:pt x="129959" y="76791"/>
                      <a:pt x="130931" y="80724"/>
                      <a:pt x="128226" y="81763"/>
                    </a:cubicBezTo>
                    <a:cubicBezTo>
                      <a:pt x="127025" y="82220"/>
                      <a:pt x="125406" y="80924"/>
                      <a:pt x="125501" y="79505"/>
                    </a:cubicBezTo>
                    <a:cubicBezTo>
                      <a:pt x="125578" y="78572"/>
                      <a:pt x="126140" y="78172"/>
                      <a:pt x="126816" y="77610"/>
                    </a:cubicBezTo>
                    <a:close/>
                    <a:moveTo>
                      <a:pt x="25889" y="101060"/>
                    </a:moveTo>
                    <a:cubicBezTo>
                      <a:pt x="28718" y="100317"/>
                      <a:pt x="29766" y="103746"/>
                      <a:pt x="27584" y="104803"/>
                    </a:cubicBezTo>
                    <a:cubicBezTo>
                      <a:pt x="26118" y="105518"/>
                      <a:pt x="24565" y="104289"/>
                      <a:pt x="24660" y="102822"/>
                    </a:cubicBezTo>
                    <a:cubicBezTo>
                      <a:pt x="24717" y="101994"/>
                      <a:pt x="25289" y="101565"/>
                      <a:pt x="25889" y="101060"/>
                    </a:cubicBezTo>
                    <a:close/>
                    <a:moveTo>
                      <a:pt x="46577" y="96783"/>
                    </a:moveTo>
                    <a:cubicBezTo>
                      <a:pt x="45806" y="97326"/>
                      <a:pt x="44863" y="97393"/>
                      <a:pt x="44510" y="98174"/>
                    </a:cubicBezTo>
                    <a:cubicBezTo>
                      <a:pt x="44139" y="98993"/>
                      <a:pt x="45568" y="102146"/>
                      <a:pt x="46301" y="102317"/>
                    </a:cubicBezTo>
                    <a:cubicBezTo>
                      <a:pt x="46968" y="102356"/>
                      <a:pt x="47653" y="101908"/>
                      <a:pt x="48120" y="101670"/>
                    </a:cubicBezTo>
                    <a:cubicBezTo>
                      <a:pt x="49149" y="101155"/>
                      <a:pt x="49730" y="100841"/>
                      <a:pt x="49892" y="99822"/>
                    </a:cubicBezTo>
                    <a:cubicBezTo>
                      <a:pt x="50216" y="97803"/>
                      <a:pt x="48311" y="96336"/>
                      <a:pt x="46577" y="96783"/>
                    </a:cubicBezTo>
                    <a:close/>
                    <a:moveTo>
                      <a:pt x="97317" y="85601"/>
                    </a:moveTo>
                    <a:cubicBezTo>
                      <a:pt x="96517" y="86144"/>
                      <a:pt x="95869" y="86516"/>
                      <a:pt x="95821" y="87506"/>
                    </a:cubicBezTo>
                    <a:cubicBezTo>
                      <a:pt x="95745" y="88983"/>
                      <a:pt x="97250" y="90278"/>
                      <a:pt x="98612" y="89706"/>
                    </a:cubicBezTo>
                    <a:cubicBezTo>
                      <a:pt x="101155" y="88640"/>
                      <a:pt x="100184" y="84887"/>
                      <a:pt x="97317" y="85601"/>
                    </a:cubicBezTo>
                    <a:close/>
                    <a:moveTo>
                      <a:pt x="118024" y="81277"/>
                    </a:moveTo>
                    <a:cubicBezTo>
                      <a:pt x="121339" y="80439"/>
                      <a:pt x="122187" y="86192"/>
                      <a:pt x="118729" y="86468"/>
                    </a:cubicBezTo>
                    <a:cubicBezTo>
                      <a:pt x="117005" y="86601"/>
                      <a:pt x="116662" y="85753"/>
                      <a:pt x="115938" y="84268"/>
                    </a:cubicBezTo>
                    <a:cubicBezTo>
                      <a:pt x="115776" y="83944"/>
                      <a:pt x="115519" y="83363"/>
                      <a:pt x="115643" y="82972"/>
                    </a:cubicBezTo>
                    <a:cubicBezTo>
                      <a:pt x="115957" y="81953"/>
                      <a:pt x="117100" y="81925"/>
                      <a:pt x="118024" y="81277"/>
                    </a:cubicBezTo>
                    <a:close/>
                    <a:moveTo>
                      <a:pt x="72095" y="91916"/>
                    </a:moveTo>
                    <a:cubicBezTo>
                      <a:pt x="71428" y="92354"/>
                      <a:pt x="70933" y="92669"/>
                      <a:pt x="70895" y="93478"/>
                    </a:cubicBezTo>
                    <a:cubicBezTo>
                      <a:pt x="70847" y="94650"/>
                      <a:pt x="72123" y="95593"/>
                      <a:pt x="73238" y="95059"/>
                    </a:cubicBezTo>
                    <a:cubicBezTo>
                      <a:pt x="74971" y="94240"/>
                      <a:pt x="74190" y="91573"/>
                      <a:pt x="72095" y="91916"/>
                    </a:cubicBezTo>
                    <a:close/>
                    <a:moveTo>
                      <a:pt x="16936" y="105823"/>
                    </a:moveTo>
                    <a:cubicBezTo>
                      <a:pt x="18726" y="105346"/>
                      <a:pt x="19479" y="107737"/>
                      <a:pt x="18031" y="108423"/>
                    </a:cubicBezTo>
                    <a:cubicBezTo>
                      <a:pt x="17031" y="108890"/>
                      <a:pt x="15840" y="108052"/>
                      <a:pt x="16059" y="106947"/>
                    </a:cubicBezTo>
                    <a:cubicBezTo>
                      <a:pt x="16155" y="106442"/>
                      <a:pt x="16516" y="106147"/>
                      <a:pt x="16936" y="105823"/>
                    </a:cubicBezTo>
                    <a:close/>
                    <a:moveTo>
                      <a:pt x="143218" y="76971"/>
                    </a:moveTo>
                    <a:cubicBezTo>
                      <a:pt x="144809" y="76524"/>
                      <a:pt x="145409" y="78457"/>
                      <a:pt x="144189" y="79057"/>
                    </a:cubicBezTo>
                    <a:cubicBezTo>
                      <a:pt x="143428" y="79438"/>
                      <a:pt x="142389" y="78638"/>
                      <a:pt x="142580" y="77838"/>
                    </a:cubicBezTo>
                    <a:cubicBezTo>
                      <a:pt x="142665" y="77486"/>
                      <a:pt x="142951" y="77229"/>
                      <a:pt x="143218" y="76971"/>
                    </a:cubicBezTo>
                    <a:close/>
                    <a:moveTo>
                      <a:pt x="62503" y="95764"/>
                    </a:moveTo>
                    <a:cubicBezTo>
                      <a:pt x="61770" y="96288"/>
                      <a:pt x="61179" y="96688"/>
                      <a:pt x="61151" y="97631"/>
                    </a:cubicBezTo>
                    <a:cubicBezTo>
                      <a:pt x="61103" y="99098"/>
                      <a:pt x="62551" y="100289"/>
                      <a:pt x="63980" y="99670"/>
                    </a:cubicBezTo>
                    <a:cubicBezTo>
                      <a:pt x="66323" y="98660"/>
                      <a:pt x="65342" y="95040"/>
                      <a:pt x="62503" y="95764"/>
                    </a:cubicBezTo>
                    <a:close/>
                    <a:moveTo>
                      <a:pt x="88164" y="90030"/>
                    </a:moveTo>
                    <a:cubicBezTo>
                      <a:pt x="87449" y="90516"/>
                      <a:pt x="86820" y="90878"/>
                      <a:pt x="86782" y="91754"/>
                    </a:cubicBezTo>
                    <a:cubicBezTo>
                      <a:pt x="86706" y="93174"/>
                      <a:pt x="88125" y="94155"/>
                      <a:pt x="89402" y="93574"/>
                    </a:cubicBezTo>
                    <a:cubicBezTo>
                      <a:pt x="91412" y="92669"/>
                      <a:pt x="90497" y="89659"/>
                      <a:pt x="88164" y="90030"/>
                    </a:cubicBezTo>
                    <a:close/>
                    <a:moveTo>
                      <a:pt x="32499" y="103375"/>
                    </a:moveTo>
                    <a:cubicBezTo>
                      <a:pt x="35814" y="102518"/>
                      <a:pt x="36862" y="106508"/>
                      <a:pt x="34280" y="107632"/>
                    </a:cubicBezTo>
                    <a:cubicBezTo>
                      <a:pt x="32766" y="108290"/>
                      <a:pt x="31070" y="107023"/>
                      <a:pt x="31185" y="105385"/>
                    </a:cubicBezTo>
                    <a:cubicBezTo>
                      <a:pt x="31242" y="104442"/>
                      <a:pt x="31813" y="103946"/>
                      <a:pt x="32499" y="103375"/>
                    </a:cubicBezTo>
                    <a:close/>
                    <a:moveTo>
                      <a:pt x="133750" y="80524"/>
                    </a:moveTo>
                    <a:cubicBezTo>
                      <a:pt x="136074" y="79915"/>
                      <a:pt x="137017" y="82810"/>
                      <a:pt x="135217" y="83753"/>
                    </a:cubicBezTo>
                    <a:cubicBezTo>
                      <a:pt x="134064" y="84363"/>
                      <a:pt x="132579" y="83468"/>
                      <a:pt x="132645" y="82144"/>
                    </a:cubicBezTo>
                    <a:cubicBezTo>
                      <a:pt x="132683" y="81362"/>
                      <a:pt x="133179" y="80991"/>
                      <a:pt x="133750" y="80524"/>
                    </a:cubicBezTo>
                    <a:close/>
                    <a:moveTo>
                      <a:pt x="52940" y="99527"/>
                    </a:moveTo>
                    <a:cubicBezTo>
                      <a:pt x="52159" y="100127"/>
                      <a:pt x="51388" y="100641"/>
                      <a:pt x="51349" y="101679"/>
                    </a:cubicBezTo>
                    <a:cubicBezTo>
                      <a:pt x="51283" y="103327"/>
                      <a:pt x="53007" y="105051"/>
                      <a:pt x="54521" y="104404"/>
                    </a:cubicBezTo>
                    <a:cubicBezTo>
                      <a:pt x="57893" y="102956"/>
                      <a:pt x="56569" y="98603"/>
                      <a:pt x="52940" y="99527"/>
                    </a:cubicBezTo>
                    <a:close/>
                    <a:moveTo>
                      <a:pt x="103851" y="87773"/>
                    </a:moveTo>
                    <a:cubicBezTo>
                      <a:pt x="102927" y="88468"/>
                      <a:pt x="102184" y="88944"/>
                      <a:pt x="102165" y="90173"/>
                    </a:cubicBezTo>
                    <a:cubicBezTo>
                      <a:pt x="102137" y="91802"/>
                      <a:pt x="103927" y="93202"/>
                      <a:pt x="105413" y="92573"/>
                    </a:cubicBezTo>
                    <a:cubicBezTo>
                      <a:pt x="108814" y="91126"/>
                      <a:pt x="107052" y="86963"/>
                      <a:pt x="103851" y="87773"/>
                    </a:cubicBezTo>
                    <a:close/>
                    <a:moveTo>
                      <a:pt x="78724" y="94336"/>
                    </a:moveTo>
                    <a:cubicBezTo>
                      <a:pt x="78048" y="94821"/>
                      <a:pt x="77514" y="95193"/>
                      <a:pt x="77496" y="96060"/>
                    </a:cubicBezTo>
                    <a:cubicBezTo>
                      <a:pt x="77467" y="97307"/>
                      <a:pt x="78810" y="98298"/>
                      <a:pt x="79953" y="97812"/>
                    </a:cubicBezTo>
                    <a:cubicBezTo>
                      <a:pt x="82058" y="96898"/>
                      <a:pt x="81162" y="93716"/>
                      <a:pt x="78724" y="94336"/>
                    </a:cubicBezTo>
                    <a:close/>
                    <a:moveTo>
                      <a:pt x="7972" y="110899"/>
                    </a:moveTo>
                    <a:cubicBezTo>
                      <a:pt x="8306" y="110861"/>
                      <a:pt x="8401" y="111014"/>
                      <a:pt x="8601" y="111166"/>
                    </a:cubicBezTo>
                    <a:cubicBezTo>
                      <a:pt x="8668" y="111557"/>
                      <a:pt x="8506" y="111719"/>
                      <a:pt x="8239" y="111890"/>
                    </a:cubicBezTo>
                    <a:cubicBezTo>
                      <a:pt x="7972" y="111795"/>
                      <a:pt x="7753" y="111766"/>
                      <a:pt x="7639" y="111423"/>
                    </a:cubicBezTo>
                    <a:cubicBezTo>
                      <a:pt x="7696" y="111166"/>
                      <a:pt x="7801" y="111080"/>
                      <a:pt x="7972" y="110899"/>
                    </a:cubicBezTo>
                    <a:close/>
                    <a:moveTo>
                      <a:pt x="124358" y="84210"/>
                    </a:moveTo>
                    <a:cubicBezTo>
                      <a:pt x="127368" y="83429"/>
                      <a:pt x="128454" y="87344"/>
                      <a:pt x="126054" y="88449"/>
                    </a:cubicBezTo>
                    <a:cubicBezTo>
                      <a:pt x="124578" y="89125"/>
                      <a:pt x="122749" y="87801"/>
                      <a:pt x="122854" y="86268"/>
                    </a:cubicBezTo>
                    <a:cubicBezTo>
                      <a:pt x="122930" y="85239"/>
                      <a:pt x="123539" y="84801"/>
                      <a:pt x="124358" y="84210"/>
                    </a:cubicBezTo>
                    <a:close/>
                    <a:moveTo>
                      <a:pt x="23603" y="108080"/>
                    </a:moveTo>
                    <a:cubicBezTo>
                      <a:pt x="25898" y="107480"/>
                      <a:pt x="26575" y="110528"/>
                      <a:pt x="24727" y="111309"/>
                    </a:cubicBezTo>
                    <a:cubicBezTo>
                      <a:pt x="23632" y="111776"/>
                      <a:pt x="22365" y="110728"/>
                      <a:pt x="22460" y="109557"/>
                    </a:cubicBezTo>
                    <a:cubicBezTo>
                      <a:pt x="22527" y="108823"/>
                      <a:pt x="23013" y="108509"/>
                      <a:pt x="23603" y="108080"/>
                    </a:cubicBezTo>
                    <a:close/>
                    <a:moveTo>
                      <a:pt x="94640" y="92288"/>
                    </a:moveTo>
                    <a:cubicBezTo>
                      <a:pt x="93879" y="92869"/>
                      <a:pt x="93212" y="93240"/>
                      <a:pt x="93164" y="94259"/>
                    </a:cubicBezTo>
                    <a:cubicBezTo>
                      <a:pt x="93088" y="95860"/>
                      <a:pt x="94688" y="97174"/>
                      <a:pt x="96193" y="96517"/>
                    </a:cubicBezTo>
                    <a:cubicBezTo>
                      <a:pt x="98717" y="95431"/>
                      <a:pt x="97698" y="91507"/>
                      <a:pt x="94640" y="92288"/>
                    </a:cubicBezTo>
                    <a:close/>
                    <a:moveTo>
                      <a:pt x="69209" y="98346"/>
                    </a:moveTo>
                    <a:cubicBezTo>
                      <a:pt x="68504" y="98888"/>
                      <a:pt x="67942" y="99308"/>
                      <a:pt x="67904" y="100241"/>
                    </a:cubicBezTo>
                    <a:cubicBezTo>
                      <a:pt x="67837" y="101870"/>
                      <a:pt x="69571" y="102870"/>
                      <a:pt x="70961" y="102156"/>
                    </a:cubicBezTo>
                    <a:cubicBezTo>
                      <a:pt x="73066" y="101079"/>
                      <a:pt x="72057" y="97612"/>
                      <a:pt x="69209" y="98346"/>
                    </a:cubicBezTo>
                    <a:close/>
                    <a:moveTo>
                      <a:pt x="115614" y="87944"/>
                    </a:moveTo>
                    <a:cubicBezTo>
                      <a:pt x="118977" y="87116"/>
                      <a:pt x="119739" y="93345"/>
                      <a:pt x="115662" y="93250"/>
                    </a:cubicBezTo>
                    <a:cubicBezTo>
                      <a:pt x="114281" y="93221"/>
                      <a:pt x="114014" y="92288"/>
                      <a:pt x="113395" y="91002"/>
                    </a:cubicBezTo>
                    <a:cubicBezTo>
                      <a:pt x="113243" y="90687"/>
                      <a:pt x="112767" y="89954"/>
                      <a:pt x="112938" y="89516"/>
                    </a:cubicBezTo>
                    <a:cubicBezTo>
                      <a:pt x="113271" y="88659"/>
                      <a:pt x="114824" y="88516"/>
                      <a:pt x="115614" y="87944"/>
                    </a:cubicBezTo>
                    <a:close/>
                    <a:moveTo>
                      <a:pt x="39367" y="105661"/>
                    </a:moveTo>
                    <a:cubicBezTo>
                      <a:pt x="42643" y="104823"/>
                      <a:pt x="43863" y="109128"/>
                      <a:pt x="41091" y="110309"/>
                    </a:cubicBezTo>
                    <a:cubicBezTo>
                      <a:pt x="39272" y="111090"/>
                      <a:pt x="37405" y="109423"/>
                      <a:pt x="37729" y="107594"/>
                    </a:cubicBezTo>
                    <a:cubicBezTo>
                      <a:pt x="37890" y="106632"/>
                      <a:pt x="38538" y="106232"/>
                      <a:pt x="39367" y="105661"/>
                    </a:cubicBezTo>
                    <a:close/>
                    <a:moveTo>
                      <a:pt x="150304" y="80086"/>
                    </a:moveTo>
                    <a:cubicBezTo>
                      <a:pt x="150638" y="80058"/>
                      <a:pt x="150867" y="80181"/>
                      <a:pt x="150971" y="80505"/>
                    </a:cubicBezTo>
                    <a:cubicBezTo>
                      <a:pt x="150914" y="80753"/>
                      <a:pt x="150828" y="80877"/>
                      <a:pt x="150638" y="81039"/>
                    </a:cubicBezTo>
                    <a:cubicBezTo>
                      <a:pt x="150600" y="81048"/>
                      <a:pt x="150562" y="81058"/>
                      <a:pt x="150524" y="81067"/>
                    </a:cubicBezTo>
                    <a:cubicBezTo>
                      <a:pt x="150362" y="80982"/>
                      <a:pt x="150209" y="80886"/>
                      <a:pt x="150047" y="80801"/>
                    </a:cubicBezTo>
                    <a:cubicBezTo>
                      <a:pt x="150038" y="80715"/>
                      <a:pt x="150038" y="80629"/>
                      <a:pt x="150028" y="80543"/>
                    </a:cubicBezTo>
                    <a:cubicBezTo>
                      <a:pt x="150066" y="80296"/>
                      <a:pt x="150181" y="80248"/>
                      <a:pt x="150304" y="80086"/>
                    </a:cubicBezTo>
                    <a:close/>
                    <a:moveTo>
                      <a:pt x="60017" y="102070"/>
                    </a:moveTo>
                    <a:cubicBezTo>
                      <a:pt x="59007" y="102737"/>
                      <a:pt x="58303" y="103089"/>
                      <a:pt x="58217" y="104308"/>
                    </a:cubicBezTo>
                    <a:cubicBezTo>
                      <a:pt x="58103" y="106023"/>
                      <a:pt x="59979" y="107480"/>
                      <a:pt x="61560" y="106804"/>
                    </a:cubicBezTo>
                    <a:cubicBezTo>
                      <a:pt x="64294" y="105613"/>
                      <a:pt x="63160" y="101346"/>
                      <a:pt x="60017" y="102070"/>
                    </a:cubicBezTo>
                    <a:close/>
                    <a:moveTo>
                      <a:pt x="140799" y="83449"/>
                    </a:moveTo>
                    <a:cubicBezTo>
                      <a:pt x="142399" y="83106"/>
                      <a:pt x="143056" y="85344"/>
                      <a:pt x="141646" y="85944"/>
                    </a:cubicBezTo>
                    <a:cubicBezTo>
                      <a:pt x="140732" y="86335"/>
                      <a:pt x="139579" y="85325"/>
                      <a:pt x="139922" y="84372"/>
                    </a:cubicBezTo>
                    <a:cubicBezTo>
                      <a:pt x="140075" y="83925"/>
                      <a:pt x="140370" y="83744"/>
                      <a:pt x="140799" y="83449"/>
                    </a:cubicBezTo>
                    <a:close/>
                    <a:moveTo>
                      <a:pt x="14449" y="113005"/>
                    </a:moveTo>
                    <a:cubicBezTo>
                      <a:pt x="15221" y="112804"/>
                      <a:pt x="15430" y="113138"/>
                      <a:pt x="15792" y="113566"/>
                    </a:cubicBezTo>
                    <a:cubicBezTo>
                      <a:pt x="15907" y="114214"/>
                      <a:pt x="15430" y="115100"/>
                      <a:pt x="14649" y="114852"/>
                    </a:cubicBezTo>
                    <a:cubicBezTo>
                      <a:pt x="13649" y="114548"/>
                      <a:pt x="13878" y="113557"/>
                      <a:pt x="14449" y="113005"/>
                    </a:cubicBezTo>
                    <a:close/>
                    <a:moveTo>
                      <a:pt x="85220" y="96669"/>
                    </a:moveTo>
                    <a:cubicBezTo>
                      <a:pt x="84611" y="97222"/>
                      <a:pt x="84020" y="97622"/>
                      <a:pt x="83972" y="98508"/>
                    </a:cubicBezTo>
                    <a:cubicBezTo>
                      <a:pt x="83906" y="100060"/>
                      <a:pt x="85477" y="101232"/>
                      <a:pt x="86849" y="100612"/>
                    </a:cubicBezTo>
                    <a:cubicBezTo>
                      <a:pt x="89221" y="99555"/>
                      <a:pt x="88268" y="95879"/>
                      <a:pt x="85220" y="96669"/>
                    </a:cubicBezTo>
                    <a:close/>
                    <a:moveTo>
                      <a:pt x="30099" y="110414"/>
                    </a:moveTo>
                    <a:cubicBezTo>
                      <a:pt x="32890" y="109680"/>
                      <a:pt x="33757" y="113071"/>
                      <a:pt x="31623" y="114043"/>
                    </a:cubicBezTo>
                    <a:cubicBezTo>
                      <a:pt x="30328" y="114633"/>
                      <a:pt x="28880" y="113481"/>
                      <a:pt x="28975" y="112109"/>
                    </a:cubicBezTo>
                    <a:cubicBezTo>
                      <a:pt x="29032" y="111309"/>
                      <a:pt x="29518" y="110899"/>
                      <a:pt x="30099" y="110414"/>
                    </a:cubicBezTo>
                    <a:close/>
                    <a:moveTo>
                      <a:pt x="131150" y="87163"/>
                    </a:moveTo>
                    <a:cubicBezTo>
                      <a:pt x="133712" y="86487"/>
                      <a:pt x="134646" y="89716"/>
                      <a:pt x="132597" y="90621"/>
                    </a:cubicBezTo>
                    <a:cubicBezTo>
                      <a:pt x="131369" y="91164"/>
                      <a:pt x="129950" y="90192"/>
                      <a:pt x="130016" y="88821"/>
                    </a:cubicBezTo>
                    <a:cubicBezTo>
                      <a:pt x="130054" y="88030"/>
                      <a:pt x="130569" y="87639"/>
                      <a:pt x="131150" y="87163"/>
                    </a:cubicBezTo>
                    <a:close/>
                    <a:moveTo>
                      <a:pt x="101403" y="94450"/>
                    </a:moveTo>
                    <a:cubicBezTo>
                      <a:pt x="100470" y="95088"/>
                      <a:pt x="99784" y="95393"/>
                      <a:pt x="99593" y="96460"/>
                    </a:cubicBezTo>
                    <a:cubicBezTo>
                      <a:pt x="99289" y="98146"/>
                      <a:pt x="100727" y="99631"/>
                      <a:pt x="102022" y="99584"/>
                    </a:cubicBezTo>
                    <a:cubicBezTo>
                      <a:pt x="102584" y="99555"/>
                      <a:pt x="103041" y="99222"/>
                      <a:pt x="103413" y="99031"/>
                    </a:cubicBezTo>
                    <a:cubicBezTo>
                      <a:pt x="103899" y="98784"/>
                      <a:pt x="104223" y="98669"/>
                      <a:pt x="104499" y="98327"/>
                    </a:cubicBezTo>
                    <a:cubicBezTo>
                      <a:pt x="105223" y="97441"/>
                      <a:pt x="104527" y="95507"/>
                      <a:pt x="103689" y="94831"/>
                    </a:cubicBezTo>
                    <a:cubicBezTo>
                      <a:pt x="103165" y="94402"/>
                      <a:pt x="102337" y="94221"/>
                      <a:pt x="101403" y="94450"/>
                    </a:cubicBezTo>
                    <a:close/>
                    <a:moveTo>
                      <a:pt x="76172" y="100689"/>
                    </a:moveTo>
                    <a:cubicBezTo>
                      <a:pt x="75238" y="101317"/>
                      <a:pt x="74571" y="101689"/>
                      <a:pt x="74543" y="102851"/>
                    </a:cubicBezTo>
                    <a:cubicBezTo>
                      <a:pt x="74504" y="104261"/>
                      <a:pt x="76210" y="105442"/>
                      <a:pt x="77419" y="104956"/>
                    </a:cubicBezTo>
                    <a:cubicBezTo>
                      <a:pt x="80020" y="103908"/>
                      <a:pt x="79058" y="100051"/>
                      <a:pt x="76172" y="100689"/>
                    </a:cubicBezTo>
                    <a:close/>
                    <a:moveTo>
                      <a:pt x="46682" y="107918"/>
                    </a:moveTo>
                    <a:cubicBezTo>
                      <a:pt x="48235" y="107528"/>
                      <a:pt x="48606" y="108452"/>
                      <a:pt x="49168" y="109661"/>
                    </a:cubicBezTo>
                    <a:cubicBezTo>
                      <a:pt x="49321" y="109995"/>
                      <a:pt x="49606" y="110461"/>
                      <a:pt x="49578" y="110928"/>
                    </a:cubicBezTo>
                    <a:cubicBezTo>
                      <a:pt x="49521" y="111842"/>
                      <a:pt x="48501" y="113100"/>
                      <a:pt x="47139" y="113166"/>
                    </a:cubicBezTo>
                    <a:cubicBezTo>
                      <a:pt x="45444" y="113243"/>
                      <a:pt x="43663" y="111538"/>
                      <a:pt x="44482" y="109566"/>
                    </a:cubicBezTo>
                    <a:cubicBezTo>
                      <a:pt x="44882" y="108595"/>
                      <a:pt x="45739" y="108595"/>
                      <a:pt x="46682" y="107918"/>
                    </a:cubicBezTo>
                    <a:close/>
                    <a:moveTo>
                      <a:pt x="121901" y="90849"/>
                    </a:moveTo>
                    <a:cubicBezTo>
                      <a:pt x="124854" y="90125"/>
                      <a:pt x="125968" y="94126"/>
                      <a:pt x="123406" y="95240"/>
                    </a:cubicBezTo>
                    <a:cubicBezTo>
                      <a:pt x="122044" y="95841"/>
                      <a:pt x="120244" y="94583"/>
                      <a:pt x="120282" y="93040"/>
                    </a:cubicBezTo>
                    <a:cubicBezTo>
                      <a:pt x="120320" y="91897"/>
                      <a:pt x="120996" y="91478"/>
                      <a:pt x="121901" y="90849"/>
                    </a:cubicBezTo>
                    <a:close/>
                    <a:moveTo>
                      <a:pt x="21289" y="115148"/>
                    </a:moveTo>
                    <a:cubicBezTo>
                      <a:pt x="22822" y="114948"/>
                      <a:pt x="23479" y="116948"/>
                      <a:pt x="22155" y="117605"/>
                    </a:cubicBezTo>
                    <a:cubicBezTo>
                      <a:pt x="21298" y="118024"/>
                      <a:pt x="20231" y="117262"/>
                      <a:pt x="20288" y="116405"/>
                    </a:cubicBezTo>
                    <a:cubicBezTo>
                      <a:pt x="20326" y="115776"/>
                      <a:pt x="20774" y="115491"/>
                      <a:pt x="21289" y="115148"/>
                    </a:cubicBezTo>
                    <a:close/>
                    <a:moveTo>
                      <a:pt x="66542" y="104699"/>
                    </a:moveTo>
                    <a:cubicBezTo>
                      <a:pt x="65684" y="105356"/>
                      <a:pt x="65037" y="105775"/>
                      <a:pt x="64970" y="106918"/>
                    </a:cubicBezTo>
                    <a:cubicBezTo>
                      <a:pt x="64875" y="108661"/>
                      <a:pt x="66637" y="110052"/>
                      <a:pt x="68294" y="109337"/>
                    </a:cubicBezTo>
                    <a:cubicBezTo>
                      <a:pt x="71161" y="108099"/>
                      <a:pt x="69942" y="103832"/>
                      <a:pt x="66542" y="104699"/>
                    </a:cubicBezTo>
                    <a:close/>
                    <a:moveTo>
                      <a:pt x="91888" y="98917"/>
                    </a:moveTo>
                    <a:cubicBezTo>
                      <a:pt x="91097" y="99555"/>
                      <a:pt x="90459" y="99993"/>
                      <a:pt x="90411" y="101079"/>
                    </a:cubicBezTo>
                    <a:cubicBezTo>
                      <a:pt x="90345" y="102718"/>
                      <a:pt x="92231" y="104137"/>
                      <a:pt x="93793" y="103413"/>
                    </a:cubicBezTo>
                    <a:cubicBezTo>
                      <a:pt x="96431" y="102194"/>
                      <a:pt x="95317" y="98050"/>
                      <a:pt x="91888" y="98917"/>
                    </a:cubicBezTo>
                    <a:close/>
                    <a:moveTo>
                      <a:pt x="147647" y="86620"/>
                    </a:moveTo>
                    <a:cubicBezTo>
                      <a:pt x="147752" y="86611"/>
                      <a:pt x="147847" y="86601"/>
                      <a:pt x="147942" y="86592"/>
                    </a:cubicBezTo>
                    <a:cubicBezTo>
                      <a:pt x="148219" y="86620"/>
                      <a:pt x="148723" y="86868"/>
                      <a:pt x="148638" y="87306"/>
                    </a:cubicBezTo>
                    <a:cubicBezTo>
                      <a:pt x="148600" y="87630"/>
                      <a:pt x="148419" y="87887"/>
                      <a:pt x="147999" y="87982"/>
                    </a:cubicBezTo>
                    <a:cubicBezTo>
                      <a:pt x="147657" y="87906"/>
                      <a:pt x="147457" y="87754"/>
                      <a:pt x="147238" y="87478"/>
                    </a:cubicBezTo>
                    <a:cubicBezTo>
                      <a:pt x="147209" y="87049"/>
                      <a:pt x="147409" y="86877"/>
                      <a:pt x="147647" y="86620"/>
                    </a:cubicBezTo>
                    <a:close/>
                    <a:moveTo>
                      <a:pt x="113071" y="94678"/>
                    </a:moveTo>
                    <a:cubicBezTo>
                      <a:pt x="116348" y="93859"/>
                      <a:pt x="117110" y="99793"/>
                      <a:pt x="113529" y="99927"/>
                    </a:cubicBezTo>
                    <a:cubicBezTo>
                      <a:pt x="111947" y="99984"/>
                      <a:pt x="111547" y="99155"/>
                      <a:pt x="110862" y="97736"/>
                    </a:cubicBezTo>
                    <a:cubicBezTo>
                      <a:pt x="110700" y="97393"/>
                      <a:pt x="110366" y="96803"/>
                      <a:pt x="110509" y="96374"/>
                    </a:cubicBezTo>
                    <a:cubicBezTo>
                      <a:pt x="110842" y="95374"/>
                      <a:pt x="112166" y="95326"/>
                      <a:pt x="113071" y="94678"/>
                    </a:cubicBezTo>
                    <a:close/>
                    <a:moveTo>
                      <a:pt x="36862" y="112766"/>
                    </a:moveTo>
                    <a:cubicBezTo>
                      <a:pt x="39824" y="111995"/>
                      <a:pt x="40757" y="115729"/>
                      <a:pt x="38348" y="116748"/>
                    </a:cubicBezTo>
                    <a:cubicBezTo>
                      <a:pt x="37024" y="117310"/>
                      <a:pt x="35423" y="116214"/>
                      <a:pt x="35490" y="114710"/>
                    </a:cubicBezTo>
                    <a:cubicBezTo>
                      <a:pt x="35538" y="113719"/>
                      <a:pt x="36090" y="113319"/>
                      <a:pt x="36862" y="112766"/>
                    </a:cubicBezTo>
                    <a:close/>
                    <a:moveTo>
                      <a:pt x="138027" y="90164"/>
                    </a:moveTo>
                    <a:cubicBezTo>
                      <a:pt x="139932" y="89640"/>
                      <a:pt x="140703" y="92030"/>
                      <a:pt x="139189" y="92745"/>
                    </a:cubicBezTo>
                    <a:cubicBezTo>
                      <a:pt x="138198" y="93212"/>
                      <a:pt x="137093" y="92231"/>
                      <a:pt x="137255" y="91259"/>
                    </a:cubicBezTo>
                    <a:cubicBezTo>
                      <a:pt x="137341" y="90773"/>
                      <a:pt x="137684" y="90497"/>
                      <a:pt x="138027" y="90164"/>
                    </a:cubicBezTo>
                    <a:close/>
                    <a:moveTo>
                      <a:pt x="82791" y="103070"/>
                    </a:moveTo>
                    <a:cubicBezTo>
                      <a:pt x="81867" y="103708"/>
                      <a:pt x="81172" y="104089"/>
                      <a:pt x="81124" y="105242"/>
                    </a:cubicBezTo>
                    <a:cubicBezTo>
                      <a:pt x="81058" y="106851"/>
                      <a:pt x="82820" y="108280"/>
                      <a:pt x="84306" y="107661"/>
                    </a:cubicBezTo>
                    <a:cubicBezTo>
                      <a:pt x="87087" y="106489"/>
                      <a:pt x="85954" y="102289"/>
                      <a:pt x="82791" y="103070"/>
                    </a:cubicBezTo>
                    <a:close/>
                    <a:moveTo>
                      <a:pt x="128740" y="93831"/>
                    </a:moveTo>
                    <a:cubicBezTo>
                      <a:pt x="131245" y="93212"/>
                      <a:pt x="132140" y="96498"/>
                      <a:pt x="129912" y="97431"/>
                    </a:cubicBezTo>
                    <a:cubicBezTo>
                      <a:pt x="128740" y="97926"/>
                      <a:pt x="127340" y="96774"/>
                      <a:pt x="127454" y="95498"/>
                    </a:cubicBezTo>
                    <a:cubicBezTo>
                      <a:pt x="127530" y="94650"/>
                      <a:pt x="128054" y="94307"/>
                      <a:pt x="128740" y="93831"/>
                    </a:cubicBezTo>
                    <a:close/>
                    <a:moveTo>
                      <a:pt x="27756" y="117519"/>
                    </a:moveTo>
                    <a:cubicBezTo>
                      <a:pt x="29842" y="116957"/>
                      <a:pt x="30594" y="119558"/>
                      <a:pt x="29013" y="120339"/>
                    </a:cubicBezTo>
                    <a:cubicBezTo>
                      <a:pt x="27994" y="120844"/>
                      <a:pt x="26746" y="120005"/>
                      <a:pt x="26794" y="118948"/>
                    </a:cubicBezTo>
                    <a:cubicBezTo>
                      <a:pt x="26832" y="118291"/>
                      <a:pt x="27270" y="117919"/>
                      <a:pt x="27756" y="117519"/>
                    </a:cubicBezTo>
                    <a:close/>
                    <a:moveTo>
                      <a:pt x="73438" y="107128"/>
                    </a:moveTo>
                    <a:cubicBezTo>
                      <a:pt x="72485" y="107775"/>
                      <a:pt x="71819" y="108147"/>
                      <a:pt x="71647" y="109252"/>
                    </a:cubicBezTo>
                    <a:cubicBezTo>
                      <a:pt x="71399" y="110880"/>
                      <a:pt x="73028" y="112281"/>
                      <a:pt x="74257" y="112176"/>
                    </a:cubicBezTo>
                    <a:cubicBezTo>
                      <a:pt x="74581" y="112033"/>
                      <a:pt x="74905" y="111900"/>
                      <a:pt x="75219" y="111766"/>
                    </a:cubicBezTo>
                    <a:cubicBezTo>
                      <a:pt x="78172" y="110347"/>
                      <a:pt x="76543" y="106375"/>
                      <a:pt x="73438" y="107128"/>
                    </a:cubicBezTo>
                    <a:close/>
                    <a:moveTo>
                      <a:pt x="43596" y="115119"/>
                    </a:moveTo>
                    <a:cubicBezTo>
                      <a:pt x="46577" y="114348"/>
                      <a:pt x="47720" y="118291"/>
                      <a:pt x="45187" y="119386"/>
                    </a:cubicBezTo>
                    <a:cubicBezTo>
                      <a:pt x="43510" y="120110"/>
                      <a:pt x="41786" y="118539"/>
                      <a:pt x="42129" y="116824"/>
                    </a:cubicBezTo>
                    <a:cubicBezTo>
                      <a:pt x="42291" y="115995"/>
                      <a:pt x="42901" y="115633"/>
                      <a:pt x="43596" y="115119"/>
                    </a:cubicBezTo>
                    <a:close/>
                    <a:moveTo>
                      <a:pt x="119148" y="97679"/>
                    </a:moveTo>
                    <a:cubicBezTo>
                      <a:pt x="122320" y="96850"/>
                      <a:pt x="123415" y="100794"/>
                      <a:pt x="120968" y="101927"/>
                    </a:cubicBezTo>
                    <a:cubicBezTo>
                      <a:pt x="119482" y="102613"/>
                      <a:pt x="117681" y="101270"/>
                      <a:pt x="117758" y="99708"/>
                    </a:cubicBezTo>
                    <a:cubicBezTo>
                      <a:pt x="117815" y="98717"/>
                      <a:pt x="118443" y="98260"/>
                      <a:pt x="119148" y="97679"/>
                    </a:cubicBezTo>
                    <a:close/>
                    <a:moveTo>
                      <a:pt x="89364" y="105423"/>
                    </a:moveTo>
                    <a:cubicBezTo>
                      <a:pt x="88411" y="106080"/>
                      <a:pt x="87773" y="106470"/>
                      <a:pt x="87630" y="107604"/>
                    </a:cubicBezTo>
                    <a:cubicBezTo>
                      <a:pt x="87459" y="108975"/>
                      <a:pt x="88849" y="110680"/>
                      <a:pt x="89811" y="110671"/>
                    </a:cubicBezTo>
                    <a:cubicBezTo>
                      <a:pt x="90392" y="110661"/>
                      <a:pt x="90859" y="110300"/>
                      <a:pt x="91240" y="110109"/>
                    </a:cubicBezTo>
                    <a:cubicBezTo>
                      <a:pt x="92059" y="109718"/>
                      <a:pt x="92735" y="109518"/>
                      <a:pt x="92983" y="108795"/>
                    </a:cubicBezTo>
                    <a:cubicBezTo>
                      <a:pt x="93145" y="108318"/>
                      <a:pt x="92964" y="107642"/>
                      <a:pt x="92716" y="107147"/>
                    </a:cubicBezTo>
                    <a:cubicBezTo>
                      <a:pt x="91983" y="105689"/>
                      <a:pt x="91297" y="104927"/>
                      <a:pt x="89364" y="105423"/>
                    </a:cubicBezTo>
                    <a:close/>
                    <a:moveTo>
                      <a:pt x="145066" y="93212"/>
                    </a:moveTo>
                    <a:cubicBezTo>
                      <a:pt x="145542" y="93097"/>
                      <a:pt x="145904" y="93307"/>
                      <a:pt x="146104" y="93621"/>
                    </a:cubicBezTo>
                    <a:cubicBezTo>
                      <a:pt x="146380" y="94107"/>
                      <a:pt x="146018" y="94555"/>
                      <a:pt x="145685" y="94783"/>
                    </a:cubicBezTo>
                    <a:cubicBezTo>
                      <a:pt x="145132" y="94907"/>
                      <a:pt x="144685" y="94612"/>
                      <a:pt x="144542" y="94097"/>
                    </a:cubicBezTo>
                    <a:cubicBezTo>
                      <a:pt x="144637" y="93678"/>
                      <a:pt x="144790" y="93497"/>
                      <a:pt x="145066" y="93212"/>
                    </a:cubicBezTo>
                    <a:close/>
                    <a:moveTo>
                      <a:pt x="18822" y="122396"/>
                    </a:moveTo>
                    <a:cubicBezTo>
                      <a:pt x="19307" y="122320"/>
                      <a:pt x="19726" y="122577"/>
                      <a:pt x="19850" y="123072"/>
                    </a:cubicBezTo>
                    <a:cubicBezTo>
                      <a:pt x="19783" y="123473"/>
                      <a:pt x="19631" y="123844"/>
                      <a:pt x="19107" y="123968"/>
                    </a:cubicBezTo>
                    <a:cubicBezTo>
                      <a:pt x="18726" y="123901"/>
                      <a:pt x="18402" y="123749"/>
                      <a:pt x="18269" y="123292"/>
                    </a:cubicBezTo>
                    <a:cubicBezTo>
                      <a:pt x="18393" y="122825"/>
                      <a:pt x="18469" y="122711"/>
                      <a:pt x="18822" y="122396"/>
                    </a:cubicBezTo>
                    <a:close/>
                    <a:moveTo>
                      <a:pt x="110395" y="101479"/>
                    </a:moveTo>
                    <a:cubicBezTo>
                      <a:pt x="113690" y="100660"/>
                      <a:pt x="114405" y="106232"/>
                      <a:pt x="111290" y="106508"/>
                    </a:cubicBezTo>
                    <a:cubicBezTo>
                      <a:pt x="109737" y="106651"/>
                      <a:pt x="109033" y="106023"/>
                      <a:pt x="108395" y="104670"/>
                    </a:cubicBezTo>
                    <a:cubicBezTo>
                      <a:pt x="108175" y="104213"/>
                      <a:pt x="108071" y="103603"/>
                      <a:pt x="108204" y="103194"/>
                    </a:cubicBezTo>
                    <a:cubicBezTo>
                      <a:pt x="108547" y="102156"/>
                      <a:pt x="109433" y="102156"/>
                      <a:pt x="110395" y="101479"/>
                    </a:cubicBezTo>
                    <a:close/>
                    <a:moveTo>
                      <a:pt x="34442" y="119853"/>
                    </a:moveTo>
                    <a:cubicBezTo>
                      <a:pt x="36795" y="119224"/>
                      <a:pt x="37576" y="122329"/>
                      <a:pt x="35652" y="123139"/>
                    </a:cubicBezTo>
                    <a:cubicBezTo>
                      <a:pt x="34538" y="123606"/>
                      <a:pt x="33214" y="122539"/>
                      <a:pt x="33338" y="121320"/>
                    </a:cubicBezTo>
                    <a:cubicBezTo>
                      <a:pt x="33414" y="120615"/>
                      <a:pt x="33909" y="120282"/>
                      <a:pt x="34442" y="119853"/>
                    </a:cubicBezTo>
                    <a:close/>
                    <a:moveTo>
                      <a:pt x="80248" y="109499"/>
                    </a:moveTo>
                    <a:cubicBezTo>
                      <a:pt x="79715" y="109880"/>
                      <a:pt x="79162" y="109995"/>
                      <a:pt x="78800" y="110442"/>
                    </a:cubicBezTo>
                    <a:cubicBezTo>
                      <a:pt x="77572" y="111938"/>
                      <a:pt x="78962" y="113624"/>
                      <a:pt x="79734" y="115157"/>
                    </a:cubicBezTo>
                    <a:cubicBezTo>
                      <a:pt x="80343" y="115224"/>
                      <a:pt x="82601" y="114157"/>
                      <a:pt x="83182" y="113795"/>
                    </a:cubicBezTo>
                    <a:cubicBezTo>
                      <a:pt x="83468" y="113614"/>
                      <a:pt x="83782" y="113176"/>
                      <a:pt x="83839" y="112843"/>
                    </a:cubicBezTo>
                    <a:cubicBezTo>
                      <a:pt x="83925" y="112290"/>
                      <a:pt x="83620" y="111642"/>
                      <a:pt x="83382" y="111204"/>
                    </a:cubicBezTo>
                    <a:cubicBezTo>
                      <a:pt x="82687" y="109890"/>
                      <a:pt x="81991" y="109061"/>
                      <a:pt x="80248" y="109499"/>
                    </a:cubicBezTo>
                    <a:close/>
                    <a:moveTo>
                      <a:pt x="135684" y="96783"/>
                    </a:moveTo>
                    <a:cubicBezTo>
                      <a:pt x="137570" y="96536"/>
                      <a:pt x="138198" y="98869"/>
                      <a:pt x="136550" y="99546"/>
                    </a:cubicBezTo>
                    <a:cubicBezTo>
                      <a:pt x="135731" y="99879"/>
                      <a:pt x="134569" y="99108"/>
                      <a:pt x="134664" y="98126"/>
                    </a:cubicBezTo>
                    <a:cubicBezTo>
                      <a:pt x="134731" y="97450"/>
                      <a:pt x="135150" y="97174"/>
                      <a:pt x="135684" y="96783"/>
                    </a:cubicBezTo>
                    <a:close/>
                    <a:moveTo>
                      <a:pt x="50168" y="117624"/>
                    </a:moveTo>
                    <a:cubicBezTo>
                      <a:pt x="53530" y="116757"/>
                      <a:pt x="54597" y="120977"/>
                      <a:pt x="51692" y="122091"/>
                    </a:cubicBezTo>
                    <a:cubicBezTo>
                      <a:pt x="50359" y="122596"/>
                      <a:pt x="48635" y="121215"/>
                      <a:pt x="48711" y="119701"/>
                    </a:cubicBezTo>
                    <a:cubicBezTo>
                      <a:pt x="48768" y="118672"/>
                      <a:pt x="49425" y="118234"/>
                      <a:pt x="50168" y="117624"/>
                    </a:cubicBezTo>
                    <a:close/>
                    <a:moveTo>
                      <a:pt x="126064" y="100632"/>
                    </a:moveTo>
                    <a:cubicBezTo>
                      <a:pt x="128711" y="99927"/>
                      <a:pt x="129569" y="103184"/>
                      <a:pt x="127502" y="104089"/>
                    </a:cubicBezTo>
                    <a:cubicBezTo>
                      <a:pt x="126292" y="104623"/>
                      <a:pt x="124835" y="103622"/>
                      <a:pt x="124911" y="102260"/>
                    </a:cubicBezTo>
                    <a:cubicBezTo>
                      <a:pt x="124968" y="101489"/>
                      <a:pt x="125463" y="101089"/>
                      <a:pt x="126064" y="100632"/>
                    </a:cubicBezTo>
                    <a:close/>
                    <a:moveTo>
                      <a:pt x="25527" y="124644"/>
                    </a:moveTo>
                    <a:cubicBezTo>
                      <a:pt x="26851" y="124482"/>
                      <a:pt x="27327" y="126206"/>
                      <a:pt x="26118" y="126711"/>
                    </a:cubicBezTo>
                    <a:cubicBezTo>
                      <a:pt x="25470" y="126978"/>
                      <a:pt x="24555" y="126273"/>
                      <a:pt x="24717" y="125558"/>
                    </a:cubicBezTo>
                    <a:cubicBezTo>
                      <a:pt x="24813" y="125111"/>
                      <a:pt x="25127" y="124901"/>
                      <a:pt x="25527" y="124644"/>
                    </a:cubicBezTo>
                    <a:close/>
                    <a:moveTo>
                      <a:pt x="116700" y="104470"/>
                    </a:moveTo>
                    <a:cubicBezTo>
                      <a:pt x="119815" y="103661"/>
                      <a:pt x="120768" y="107528"/>
                      <a:pt x="118263" y="108623"/>
                    </a:cubicBezTo>
                    <a:cubicBezTo>
                      <a:pt x="116900" y="109223"/>
                      <a:pt x="115224" y="107880"/>
                      <a:pt x="115319" y="106385"/>
                    </a:cubicBezTo>
                    <a:cubicBezTo>
                      <a:pt x="115376" y="105451"/>
                      <a:pt x="115996" y="105003"/>
                      <a:pt x="116700" y="104470"/>
                    </a:cubicBezTo>
                    <a:close/>
                    <a:moveTo>
                      <a:pt x="41120" y="122291"/>
                    </a:moveTo>
                    <a:cubicBezTo>
                      <a:pt x="43691" y="121615"/>
                      <a:pt x="44530" y="124835"/>
                      <a:pt x="42529" y="125758"/>
                    </a:cubicBezTo>
                    <a:cubicBezTo>
                      <a:pt x="41348" y="126301"/>
                      <a:pt x="39862" y="125292"/>
                      <a:pt x="39919" y="124006"/>
                    </a:cubicBezTo>
                    <a:cubicBezTo>
                      <a:pt x="39957" y="123168"/>
                      <a:pt x="40472" y="122777"/>
                      <a:pt x="41120" y="122291"/>
                    </a:cubicBezTo>
                    <a:close/>
                    <a:moveTo>
                      <a:pt x="142513" y="99908"/>
                    </a:moveTo>
                    <a:cubicBezTo>
                      <a:pt x="143018" y="99774"/>
                      <a:pt x="143370" y="99984"/>
                      <a:pt x="143589" y="100298"/>
                    </a:cubicBezTo>
                    <a:cubicBezTo>
                      <a:pt x="143856" y="100765"/>
                      <a:pt x="143580" y="101279"/>
                      <a:pt x="143256" y="101479"/>
                    </a:cubicBezTo>
                    <a:cubicBezTo>
                      <a:pt x="142523" y="102041"/>
                      <a:pt x="141446" y="100908"/>
                      <a:pt x="142513" y="99908"/>
                    </a:cubicBezTo>
                    <a:close/>
                    <a:moveTo>
                      <a:pt x="107509" y="108366"/>
                    </a:moveTo>
                    <a:cubicBezTo>
                      <a:pt x="110728" y="107537"/>
                      <a:pt x="111823" y="111842"/>
                      <a:pt x="109071" y="113014"/>
                    </a:cubicBezTo>
                    <a:cubicBezTo>
                      <a:pt x="107585" y="113652"/>
                      <a:pt x="105708" y="112214"/>
                      <a:pt x="105813" y="110576"/>
                    </a:cubicBezTo>
                    <a:cubicBezTo>
                      <a:pt x="105889" y="109404"/>
                      <a:pt x="106556" y="109023"/>
                      <a:pt x="107509" y="108366"/>
                    </a:cubicBezTo>
                    <a:close/>
                    <a:moveTo>
                      <a:pt x="56931" y="120120"/>
                    </a:moveTo>
                    <a:cubicBezTo>
                      <a:pt x="60141" y="119291"/>
                      <a:pt x="61284" y="123349"/>
                      <a:pt x="58779" y="124511"/>
                    </a:cubicBezTo>
                    <a:cubicBezTo>
                      <a:pt x="57350" y="125178"/>
                      <a:pt x="55331" y="124044"/>
                      <a:pt x="55426" y="122320"/>
                    </a:cubicBezTo>
                    <a:cubicBezTo>
                      <a:pt x="55493" y="121225"/>
                      <a:pt x="56093" y="120758"/>
                      <a:pt x="56931" y="120120"/>
                    </a:cubicBezTo>
                    <a:close/>
                    <a:moveTo>
                      <a:pt x="132969" y="103594"/>
                    </a:moveTo>
                    <a:cubicBezTo>
                      <a:pt x="134779" y="103099"/>
                      <a:pt x="135589" y="105346"/>
                      <a:pt x="134245" y="106147"/>
                    </a:cubicBezTo>
                    <a:cubicBezTo>
                      <a:pt x="133378" y="106661"/>
                      <a:pt x="132131" y="105966"/>
                      <a:pt x="132140" y="104927"/>
                    </a:cubicBezTo>
                    <a:cubicBezTo>
                      <a:pt x="132150" y="104289"/>
                      <a:pt x="132540" y="103975"/>
                      <a:pt x="132969" y="103594"/>
                    </a:cubicBezTo>
                    <a:close/>
                    <a:moveTo>
                      <a:pt x="32004" y="127054"/>
                    </a:moveTo>
                    <a:cubicBezTo>
                      <a:pt x="33652" y="126597"/>
                      <a:pt x="34357" y="128664"/>
                      <a:pt x="33147" y="129369"/>
                    </a:cubicBezTo>
                    <a:cubicBezTo>
                      <a:pt x="31775" y="130169"/>
                      <a:pt x="30556" y="128273"/>
                      <a:pt x="32004" y="127054"/>
                    </a:cubicBezTo>
                    <a:close/>
                    <a:moveTo>
                      <a:pt x="73543" y="118110"/>
                    </a:moveTo>
                    <a:cubicBezTo>
                      <a:pt x="76705" y="117300"/>
                      <a:pt x="77400" y="123091"/>
                      <a:pt x="74171" y="123273"/>
                    </a:cubicBezTo>
                    <a:cubicBezTo>
                      <a:pt x="72419" y="123368"/>
                      <a:pt x="70466" y="121787"/>
                      <a:pt x="71295" y="119691"/>
                    </a:cubicBezTo>
                    <a:cubicBezTo>
                      <a:pt x="71666" y="118758"/>
                      <a:pt x="72714" y="118777"/>
                      <a:pt x="73543" y="118110"/>
                    </a:cubicBezTo>
                    <a:close/>
                    <a:moveTo>
                      <a:pt x="98498" y="112424"/>
                    </a:moveTo>
                    <a:cubicBezTo>
                      <a:pt x="102060" y="111509"/>
                      <a:pt x="102651" y="117386"/>
                      <a:pt x="99127" y="117443"/>
                    </a:cubicBezTo>
                    <a:cubicBezTo>
                      <a:pt x="97546" y="117472"/>
                      <a:pt x="95774" y="115672"/>
                      <a:pt x="96584" y="113814"/>
                    </a:cubicBezTo>
                    <a:cubicBezTo>
                      <a:pt x="96926" y="113024"/>
                      <a:pt x="97745" y="112986"/>
                      <a:pt x="98498" y="112424"/>
                    </a:cubicBezTo>
                    <a:close/>
                    <a:moveTo>
                      <a:pt x="47825" y="124730"/>
                    </a:moveTo>
                    <a:cubicBezTo>
                      <a:pt x="50444" y="124044"/>
                      <a:pt x="51368" y="127321"/>
                      <a:pt x="49368" y="128321"/>
                    </a:cubicBezTo>
                    <a:cubicBezTo>
                      <a:pt x="48130" y="128949"/>
                      <a:pt x="46520" y="127997"/>
                      <a:pt x="46577" y="126578"/>
                    </a:cubicBezTo>
                    <a:cubicBezTo>
                      <a:pt x="46615" y="125654"/>
                      <a:pt x="47139" y="125254"/>
                      <a:pt x="47825" y="124730"/>
                    </a:cubicBezTo>
                    <a:close/>
                    <a:moveTo>
                      <a:pt x="123558" y="107394"/>
                    </a:moveTo>
                    <a:cubicBezTo>
                      <a:pt x="126102" y="106718"/>
                      <a:pt x="126921" y="109909"/>
                      <a:pt x="124796" y="110795"/>
                    </a:cubicBezTo>
                    <a:cubicBezTo>
                      <a:pt x="123730" y="111233"/>
                      <a:pt x="122396" y="110271"/>
                      <a:pt x="122454" y="109061"/>
                    </a:cubicBezTo>
                    <a:cubicBezTo>
                      <a:pt x="122501" y="108271"/>
                      <a:pt x="122996" y="107861"/>
                      <a:pt x="123558" y="107394"/>
                    </a:cubicBezTo>
                    <a:close/>
                    <a:moveTo>
                      <a:pt x="89421" y="116529"/>
                    </a:moveTo>
                    <a:cubicBezTo>
                      <a:pt x="92697" y="115700"/>
                      <a:pt x="93345" y="121472"/>
                      <a:pt x="90030" y="121625"/>
                    </a:cubicBezTo>
                    <a:cubicBezTo>
                      <a:pt x="88287" y="121701"/>
                      <a:pt x="86458" y="119853"/>
                      <a:pt x="87354" y="117919"/>
                    </a:cubicBezTo>
                    <a:cubicBezTo>
                      <a:pt x="87716" y="117129"/>
                      <a:pt x="88659" y="117081"/>
                      <a:pt x="89421" y="116529"/>
                    </a:cubicBezTo>
                    <a:close/>
                    <a:moveTo>
                      <a:pt x="63780" y="122644"/>
                    </a:moveTo>
                    <a:cubicBezTo>
                      <a:pt x="66847" y="121863"/>
                      <a:pt x="67971" y="125968"/>
                      <a:pt x="65265" y="127121"/>
                    </a:cubicBezTo>
                    <a:cubicBezTo>
                      <a:pt x="63798" y="127749"/>
                      <a:pt x="62017" y="126244"/>
                      <a:pt x="62189" y="124644"/>
                    </a:cubicBezTo>
                    <a:cubicBezTo>
                      <a:pt x="62294" y="123625"/>
                      <a:pt x="62951" y="123234"/>
                      <a:pt x="63780" y="122644"/>
                    </a:cubicBezTo>
                    <a:close/>
                    <a:moveTo>
                      <a:pt x="23022" y="132197"/>
                    </a:moveTo>
                    <a:cubicBezTo>
                      <a:pt x="23317" y="132140"/>
                      <a:pt x="23336" y="132197"/>
                      <a:pt x="23508" y="132312"/>
                    </a:cubicBezTo>
                    <a:cubicBezTo>
                      <a:pt x="23546" y="132569"/>
                      <a:pt x="23489" y="132588"/>
                      <a:pt x="23422" y="132750"/>
                    </a:cubicBezTo>
                    <a:cubicBezTo>
                      <a:pt x="23327" y="132759"/>
                      <a:pt x="23222" y="132769"/>
                      <a:pt x="23127" y="132778"/>
                    </a:cubicBezTo>
                    <a:cubicBezTo>
                      <a:pt x="22993" y="132721"/>
                      <a:pt x="22879" y="132607"/>
                      <a:pt x="22927" y="132407"/>
                    </a:cubicBezTo>
                    <a:cubicBezTo>
                      <a:pt x="22955" y="132340"/>
                      <a:pt x="22993" y="132274"/>
                      <a:pt x="23022" y="132197"/>
                    </a:cubicBezTo>
                    <a:close/>
                    <a:moveTo>
                      <a:pt x="114319" y="111271"/>
                    </a:moveTo>
                    <a:cubicBezTo>
                      <a:pt x="117034" y="110566"/>
                      <a:pt x="118063" y="114176"/>
                      <a:pt x="115796" y="115186"/>
                    </a:cubicBezTo>
                    <a:cubicBezTo>
                      <a:pt x="114376" y="115814"/>
                      <a:pt x="112747" y="114605"/>
                      <a:pt x="112909" y="113043"/>
                    </a:cubicBezTo>
                    <a:cubicBezTo>
                      <a:pt x="113005" y="112128"/>
                      <a:pt x="113576" y="111804"/>
                      <a:pt x="114319" y="111271"/>
                    </a:cubicBezTo>
                    <a:close/>
                    <a:moveTo>
                      <a:pt x="38710" y="129454"/>
                    </a:moveTo>
                    <a:cubicBezTo>
                      <a:pt x="40624" y="128930"/>
                      <a:pt x="41262" y="131397"/>
                      <a:pt x="39776" y="132093"/>
                    </a:cubicBezTo>
                    <a:cubicBezTo>
                      <a:pt x="38843" y="132521"/>
                      <a:pt x="37681" y="131597"/>
                      <a:pt x="37843" y="130607"/>
                    </a:cubicBezTo>
                    <a:cubicBezTo>
                      <a:pt x="37919" y="130083"/>
                      <a:pt x="38300" y="129778"/>
                      <a:pt x="38710" y="129454"/>
                    </a:cubicBezTo>
                    <a:close/>
                    <a:moveTo>
                      <a:pt x="139980" y="106680"/>
                    </a:moveTo>
                    <a:cubicBezTo>
                      <a:pt x="140532" y="106547"/>
                      <a:pt x="141008" y="106813"/>
                      <a:pt x="141151" y="107318"/>
                    </a:cubicBezTo>
                    <a:cubicBezTo>
                      <a:pt x="141084" y="107794"/>
                      <a:pt x="140932" y="108175"/>
                      <a:pt x="140313" y="108309"/>
                    </a:cubicBezTo>
                    <a:cubicBezTo>
                      <a:pt x="139932" y="108223"/>
                      <a:pt x="139579" y="108042"/>
                      <a:pt x="139455" y="107556"/>
                    </a:cubicBezTo>
                    <a:cubicBezTo>
                      <a:pt x="139551" y="107147"/>
                      <a:pt x="139703" y="106966"/>
                      <a:pt x="139980" y="106680"/>
                    </a:cubicBezTo>
                    <a:close/>
                    <a:moveTo>
                      <a:pt x="79839" y="120872"/>
                    </a:moveTo>
                    <a:cubicBezTo>
                      <a:pt x="82991" y="120063"/>
                      <a:pt x="84077" y="124396"/>
                      <a:pt x="81344" y="125568"/>
                    </a:cubicBezTo>
                    <a:cubicBezTo>
                      <a:pt x="79753" y="126254"/>
                      <a:pt x="77762" y="124673"/>
                      <a:pt x="78048" y="122949"/>
                    </a:cubicBezTo>
                    <a:cubicBezTo>
                      <a:pt x="78248" y="121701"/>
                      <a:pt x="78810" y="121596"/>
                      <a:pt x="79839" y="120872"/>
                    </a:cubicBezTo>
                    <a:close/>
                    <a:moveTo>
                      <a:pt x="104899" y="115310"/>
                    </a:moveTo>
                    <a:cubicBezTo>
                      <a:pt x="108071" y="114490"/>
                      <a:pt x="109090" y="118548"/>
                      <a:pt x="106347" y="119605"/>
                    </a:cubicBezTo>
                    <a:cubicBezTo>
                      <a:pt x="104975" y="120129"/>
                      <a:pt x="103384" y="118824"/>
                      <a:pt x="103489" y="117272"/>
                    </a:cubicBezTo>
                    <a:cubicBezTo>
                      <a:pt x="103556" y="116272"/>
                      <a:pt x="104127" y="115881"/>
                      <a:pt x="104899" y="115310"/>
                    </a:cubicBezTo>
                    <a:close/>
                    <a:moveTo>
                      <a:pt x="54588" y="127235"/>
                    </a:moveTo>
                    <a:cubicBezTo>
                      <a:pt x="57122" y="126578"/>
                      <a:pt x="58121" y="129826"/>
                      <a:pt x="56140" y="130854"/>
                    </a:cubicBezTo>
                    <a:cubicBezTo>
                      <a:pt x="54855" y="131531"/>
                      <a:pt x="53159" y="130540"/>
                      <a:pt x="53254" y="129054"/>
                    </a:cubicBezTo>
                    <a:cubicBezTo>
                      <a:pt x="53321" y="128140"/>
                      <a:pt x="53864" y="127749"/>
                      <a:pt x="54588" y="127235"/>
                    </a:cubicBezTo>
                    <a:close/>
                    <a:moveTo>
                      <a:pt x="130512" y="110385"/>
                    </a:moveTo>
                    <a:cubicBezTo>
                      <a:pt x="132302" y="109899"/>
                      <a:pt x="132931" y="112262"/>
                      <a:pt x="131474" y="112900"/>
                    </a:cubicBezTo>
                    <a:cubicBezTo>
                      <a:pt x="130683" y="113243"/>
                      <a:pt x="129530" y="112500"/>
                      <a:pt x="129673" y="111528"/>
                    </a:cubicBezTo>
                    <a:cubicBezTo>
                      <a:pt x="129750" y="111014"/>
                      <a:pt x="130121" y="110709"/>
                      <a:pt x="130512" y="110385"/>
                    </a:cubicBezTo>
                    <a:close/>
                    <a:moveTo>
                      <a:pt x="29661" y="134350"/>
                    </a:moveTo>
                    <a:cubicBezTo>
                      <a:pt x="30166" y="134236"/>
                      <a:pt x="30404" y="134455"/>
                      <a:pt x="30632" y="134769"/>
                    </a:cubicBezTo>
                    <a:cubicBezTo>
                      <a:pt x="30680" y="135179"/>
                      <a:pt x="30451" y="135541"/>
                      <a:pt x="30042" y="135665"/>
                    </a:cubicBezTo>
                    <a:cubicBezTo>
                      <a:pt x="29709" y="135541"/>
                      <a:pt x="29518" y="135474"/>
                      <a:pt x="29289" y="135198"/>
                    </a:cubicBezTo>
                    <a:cubicBezTo>
                      <a:pt x="29270" y="134769"/>
                      <a:pt x="29461" y="134626"/>
                      <a:pt x="29661" y="134350"/>
                    </a:cubicBezTo>
                    <a:close/>
                    <a:moveTo>
                      <a:pt x="95564" y="119434"/>
                    </a:moveTo>
                    <a:cubicBezTo>
                      <a:pt x="98708" y="118624"/>
                      <a:pt x="99870" y="122453"/>
                      <a:pt x="97498" y="123692"/>
                    </a:cubicBezTo>
                    <a:cubicBezTo>
                      <a:pt x="95955" y="124501"/>
                      <a:pt x="94012" y="123215"/>
                      <a:pt x="94145" y="121501"/>
                    </a:cubicBezTo>
                    <a:cubicBezTo>
                      <a:pt x="94221" y="120472"/>
                      <a:pt x="94802" y="120063"/>
                      <a:pt x="95564" y="119434"/>
                    </a:cubicBezTo>
                    <a:close/>
                    <a:moveTo>
                      <a:pt x="70390" y="125330"/>
                    </a:moveTo>
                    <a:cubicBezTo>
                      <a:pt x="73590" y="124501"/>
                      <a:pt x="74590" y="128568"/>
                      <a:pt x="71876" y="129616"/>
                    </a:cubicBezTo>
                    <a:cubicBezTo>
                      <a:pt x="70676" y="130083"/>
                      <a:pt x="68875" y="128892"/>
                      <a:pt x="68971" y="127406"/>
                    </a:cubicBezTo>
                    <a:cubicBezTo>
                      <a:pt x="69037" y="126368"/>
                      <a:pt x="69609" y="125921"/>
                      <a:pt x="70390" y="125330"/>
                    </a:cubicBezTo>
                    <a:close/>
                    <a:moveTo>
                      <a:pt x="121148" y="114214"/>
                    </a:moveTo>
                    <a:cubicBezTo>
                      <a:pt x="123301" y="113643"/>
                      <a:pt x="124120" y="116538"/>
                      <a:pt x="122368" y="117348"/>
                    </a:cubicBezTo>
                    <a:cubicBezTo>
                      <a:pt x="121282" y="117843"/>
                      <a:pt x="119958" y="116919"/>
                      <a:pt x="120053" y="115719"/>
                    </a:cubicBezTo>
                    <a:cubicBezTo>
                      <a:pt x="120110" y="115024"/>
                      <a:pt x="120606" y="114624"/>
                      <a:pt x="121148" y="114214"/>
                    </a:cubicBezTo>
                    <a:close/>
                    <a:moveTo>
                      <a:pt x="45320" y="131950"/>
                    </a:moveTo>
                    <a:cubicBezTo>
                      <a:pt x="47435" y="131378"/>
                      <a:pt x="48178" y="133817"/>
                      <a:pt x="46663" y="134636"/>
                    </a:cubicBezTo>
                    <a:cubicBezTo>
                      <a:pt x="45711" y="135150"/>
                      <a:pt x="44358" y="134360"/>
                      <a:pt x="44472" y="133207"/>
                    </a:cubicBezTo>
                    <a:cubicBezTo>
                      <a:pt x="44530" y="132645"/>
                      <a:pt x="44939" y="132321"/>
                      <a:pt x="45320" y="131950"/>
                    </a:cubicBezTo>
                    <a:close/>
                    <a:moveTo>
                      <a:pt x="86544" y="123606"/>
                    </a:moveTo>
                    <a:cubicBezTo>
                      <a:pt x="89535" y="122872"/>
                      <a:pt x="90554" y="126873"/>
                      <a:pt x="87897" y="127968"/>
                    </a:cubicBezTo>
                    <a:cubicBezTo>
                      <a:pt x="86478" y="128549"/>
                      <a:pt x="84868" y="127225"/>
                      <a:pt x="84944" y="125692"/>
                    </a:cubicBezTo>
                    <a:cubicBezTo>
                      <a:pt x="84992" y="124587"/>
                      <a:pt x="85658" y="124216"/>
                      <a:pt x="86544" y="123606"/>
                    </a:cubicBezTo>
                    <a:close/>
                    <a:moveTo>
                      <a:pt x="61227" y="129835"/>
                    </a:moveTo>
                    <a:cubicBezTo>
                      <a:pt x="63875" y="129140"/>
                      <a:pt x="64808" y="132359"/>
                      <a:pt x="62837" y="133369"/>
                    </a:cubicBezTo>
                    <a:cubicBezTo>
                      <a:pt x="61551" y="134026"/>
                      <a:pt x="59931" y="133074"/>
                      <a:pt x="60027" y="131550"/>
                    </a:cubicBezTo>
                    <a:cubicBezTo>
                      <a:pt x="60074" y="130712"/>
                      <a:pt x="60608" y="130340"/>
                      <a:pt x="61227" y="129835"/>
                    </a:cubicBezTo>
                    <a:close/>
                    <a:moveTo>
                      <a:pt x="111681" y="118224"/>
                    </a:moveTo>
                    <a:cubicBezTo>
                      <a:pt x="114367" y="117510"/>
                      <a:pt x="115271" y="120815"/>
                      <a:pt x="113138" y="121758"/>
                    </a:cubicBezTo>
                    <a:cubicBezTo>
                      <a:pt x="111852" y="122329"/>
                      <a:pt x="110500" y="121215"/>
                      <a:pt x="110585" y="119882"/>
                    </a:cubicBezTo>
                    <a:cubicBezTo>
                      <a:pt x="110633" y="119101"/>
                      <a:pt x="111147" y="118720"/>
                      <a:pt x="111681" y="118224"/>
                    </a:cubicBezTo>
                    <a:close/>
                    <a:moveTo>
                      <a:pt x="36328" y="136722"/>
                    </a:moveTo>
                    <a:cubicBezTo>
                      <a:pt x="36852" y="136579"/>
                      <a:pt x="37595" y="136903"/>
                      <a:pt x="37557" y="137427"/>
                    </a:cubicBezTo>
                    <a:cubicBezTo>
                      <a:pt x="37595" y="137884"/>
                      <a:pt x="37290" y="138265"/>
                      <a:pt x="36747" y="138370"/>
                    </a:cubicBezTo>
                    <a:cubicBezTo>
                      <a:pt x="35719" y="138170"/>
                      <a:pt x="35766" y="137370"/>
                      <a:pt x="36328" y="136722"/>
                    </a:cubicBezTo>
                    <a:close/>
                    <a:moveTo>
                      <a:pt x="137493" y="113481"/>
                    </a:moveTo>
                    <a:cubicBezTo>
                      <a:pt x="137989" y="113376"/>
                      <a:pt x="138408" y="113633"/>
                      <a:pt x="138522" y="114157"/>
                    </a:cubicBezTo>
                    <a:cubicBezTo>
                      <a:pt x="138446" y="114500"/>
                      <a:pt x="138294" y="114700"/>
                      <a:pt x="138017" y="114919"/>
                    </a:cubicBezTo>
                    <a:cubicBezTo>
                      <a:pt x="137570" y="114957"/>
                      <a:pt x="137160" y="114748"/>
                      <a:pt x="137036" y="114271"/>
                    </a:cubicBezTo>
                    <a:cubicBezTo>
                      <a:pt x="137113" y="113909"/>
                      <a:pt x="137274" y="113748"/>
                      <a:pt x="137493" y="113481"/>
                    </a:cubicBezTo>
                    <a:close/>
                    <a:moveTo>
                      <a:pt x="77191" y="127968"/>
                    </a:moveTo>
                    <a:cubicBezTo>
                      <a:pt x="80001" y="127235"/>
                      <a:pt x="81067" y="130835"/>
                      <a:pt x="78857" y="131912"/>
                    </a:cubicBezTo>
                    <a:cubicBezTo>
                      <a:pt x="77534" y="132559"/>
                      <a:pt x="75743" y="131426"/>
                      <a:pt x="75829" y="129988"/>
                    </a:cubicBezTo>
                    <a:cubicBezTo>
                      <a:pt x="75895" y="128968"/>
                      <a:pt x="76419" y="128559"/>
                      <a:pt x="77191" y="127968"/>
                    </a:cubicBezTo>
                    <a:close/>
                    <a:moveTo>
                      <a:pt x="102508" y="122234"/>
                    </a:moveTo>
                    <a:cubicBezTo>
                      <a:pt x="105166" y="121549"/>
                      <a:pt x="106147" y="125063"/>
                      <a:pt x="103994" y="126025"/>
                    </a:cubicBezTo>
                    <a:cubicBezTo>
                      <a:pt x="102632" y="126635"/>
                      <a:pt x="101089" y="125463"/>
                      <a:pt x="101194" y="124053"/>
                    </a:cubicBezTo>
                    <a:cubicBezTo>
                      <a:pt x="101251" y="123139"/>
                      <a:pt x="101803" y="122777"/>
                      <a:pt x="102508" y="122234"/>
                    </a:cubicBezTo>
                    <a:close/>
                    <a:moveTo>
                      <a:pt x="52083" y="134445"/>
                    </a:moveTo>
                    <a:cubicBezTo>
                      <a:pt x="54150" y="133883"/>
                      <a:pt x="54902" y="136293"/>
                      <a:pt x="53473" y="137160"/>
                    </a:cubicBezTo>
                    <a:cubicBezTo>
                      <a:pt x="52540" y="137722"/>
                      <a:pt x="51168" y="137017"/>
                      <a:pt x="51178" y="135941"/>
                    </a:cubicBezTo>
                    <a:cubicBezTo>
                      <a:pt x="51178" y="135245"/>
                      <a:pt x="51588" y="134864"/>
                      <a:pt x="52083" y="134445"/>
                    </a:cubicBezTo>
                    <a:close/>
                    <a:moveTo>
                      <a:pt x="127930" y="117281"/>
                    </a:moveTo>
                    <a:cubicBezTo>
                      <a:pt x="129559" y="116824"/>
                      <a:pt x="130245" y="118834"/>
                      <a:pt x="129007" y="119462"/>
                    </a:cubicBezTo>
                    <a:cubicBezTo>
                      <a:pt x="128283" y="119825"/>
                      <a:pt x="127254" y="119205"/>
                      <a:pt x="127283" y="118386"/>
                    </a:cubicBezTo>
                    <a:cubicBezTo>
                      <a:pt x="127283" y="117910"/>
                      <a:pt x="127626" y="117577"/>
                      <a:pt x="127930" y="117281"/>
                    </a:cubicBezTo>
                    <a:close/>
                    <a:moveTo>
                      <a:pt x="93193" y="126435"/>
                    </a:moveTo>
                    <a:cubicBezTo>
                      <a:pt x="95964" y="125711"/>
                      <a:pt x="96917" y="129245"/>
                      <a:pt x="94707" y="130226"/>
                    </a:cubicBezTo>
                    <a:cubicBezTo>
                      <a:pt x="93345" y="130826"/>
                      <a:pt x="91802" y="129673"/>
                      <a:pt x="91897" y="128254"/>
                    </a:cubicBezTo>
                    <a:cubicBezTo>
                      <a:pt x="91964" y="127349"/>
                      <a:pt x="92507" y="126968"/>
                      <a:pt x="93193" y="126435"/>
                    </a:cubicBezTo>
                    <a:close/>
                    <a:moveTo>
                      <a:pt x="68047" y="132436"/>
                    </a:moveTo>
                    <a:cubicBezTo>
                      <a:pt x="70571" y="131769"/>
                      <a:pt x="71381" y="134998"/>
                      <a:pt x="69342" y="135931"/>
                    </a:cubicBezTo>
                    <a:cubicBezTo>
                      <a:pt x="68123" y="136493"/>
                      <a:pt x="66751" y="135341"/>
                      <a:pt x="66827" y="134083"/>
                    </a:cubicBezTo>
                    <a:cubicBezTo>
                      <a:pt x="66885" y="133264"/>
                      <a:pt x="67399" y="132902"/>
                      <a:pt x="68047" y="132436"/>
                    </a:cubicBezTo>
                    <a:close/>
                    <a:moveTo>
                      <a:pt x="118615" y="121139"/>
                    </a:moveTo>
                    <a:cubicBezTo>
                      <a:pt x="120587" y="120605"/>
                      <a:pt x="121434" y="123139"/>
                      <a:pt x="119853" y="123892"/>
                    </a:cubicBezTo>
                    <a:cubicBezTo>
                      <a:pt x="118853" y="124358"/>
                      <a:pt x="117624" y="123587"/>
                      <a:pt x="117710" y="122492"/>
                    </a:cubicBezTo>
                    <a:cubicBezTo>
                      <a:pt x="117758" y="121853"/>
                      <a:pt x="118177" y="121539"/>
                      <a:pt x="118615" y="121139"/>
                    </a:cubicBezTo>
                    <a:close/>
                    <a:moveTo>
                      <a:pt x="43110" y="139141"/>
                    </a:moveTo>
                    <a:cubicBezTo>
                      <a:pt x="44358" y="138855"/>
                      <a:pt x="44787" y="140513"/>
                      <a:pt x="43758" y="140970"/>
                    </a:cubicBezTo>
                    <a:cubicBezTo>
                      <a:pt x="43272" y="141189"/>
                      <a:pt x="42453" y="140703"/>
                      <a:pt x="42463" y="140132"/>
                    </a:cubicBezTo>
                    <a:cubicBezTo>
                      <a:pt x="42472" y="139684"/>
                      <a:pt x="42786" y="139398"/>
                      <a:pt x="43110" y="139141"/>
                    </a:cubicBezTo>
                    <a:close/>
                    <a:moveTo>
                      <a:pt x="84182" y="130645"/>
                    </a:moveTo>
                    <a:cubicBezTo>
                      <a:pt x="86478" y="130159"/>
                      <a:pt x="87439" y="133378"/>
                      <a:pt x="85477" y="134293"/>
                    </a:cubicBezTo>
                    <a:cubicBezTo>
                      <a:pt x="84172" y="134893"/>
                      <a:pt x="82648" y="133883"/>
                      <a:pt x="82734" y="132455"/>
                    </a:cubicBezTo>
                    <a:cubicBezTo>
                      <a:pt x="82801" y="131512"/>
                      <a:pt x="83411" y="131169"/>
                      <a:pt x="84182" y="130645"/>
                    </a:cubicBezTo>
                    <a:close/>
                    <a:moveTo>
                      <a:pt x="109214" y="125168"/>
                    </a:moveTo>
                    <a:cubicBezTo>
                      <a:pt x="111490" y="124558"/>
                      <a:pt x="112376" y="127302"/>
                      <a:pt x="110709" y="128197"/>
                    </a:cubicBezTo>
                    <a:cubicBezTo>
                      <a:pt x="109623" y="128787"/>
                      <a:pt x="108166" y="127921"/>
                      <a:pt x="108261" y="126635"/>
                    </a:cubicBezTo>
                    <a:cubicBezTo>
                      <a:pt x="108318" y="125968"/>
                      <a:pt x="108766" y="125597"/>
                      <a:pt x="109214" y="125168"/>
                    </a:cubicBezTo>
                    <a:close/>
                    <a:moveTo>
                      <a:pt x="58884" y="136979"/>
                    </a:moveTo>
                    <a:cubicBezTo>
                      <a:pt x="60789" y="136474"/>
                      <a:pt x="61608" y="139008"/>
                      <a:pt x="60055" y="139741"/>
                    </a:cubicBezTo>
                    <a:cubicBezTo>
                      <a:pt x="59065" y="140217"/>
                      <a:pt x="57874" y="139408"/>
                      <a:pt x="57921" y="138379"/>
                    </a:cubicBezTo>
                    <a:cubicBezTo>
                      <a:pt x="57950" y="137741"/>
                      <a:pt x="58417" y="137360"/>
                      <a:pt x="58884" y="136979"/>
                    </a:cubicBezTo>
                    <a:close/>
                    <a:moveTo>
                      <a:pt x="135026" y="120386"/>
                    </a:moveTo>
                    <a:cubicBezTo>
                      <a:pt x="135112" y="120377"/>
                      <a:pt x="135198" y="120367"/>
                      <a:pt x="135284" y="120358"/>
                    </a:cubicBezTo>
                    <a:cubicBezTo>
                      <a:pt x="135474" y="120463"/>
                      <a:pt x="135817" y="120586"/>
                      <a:pt x="135760" y="120929"/>
                    </a:cubicBezTo>
                    <a:cubicBezTo>
                      <a:pt x="135722" y="121158"/>
                      <a:pt x="135617" y="121244"/>
                      <a:pt x="135493" y="121406"/>
                    </a:cubicBezTo>
                    <a:cubicBezTo>
                      <a:pt x="135407" y="121415"/>
                      <a:pt x="135322" y="121425"/>
                      <a:pt x="135236" y="121425"/>
                    </a:cubicBezTo>
                    <a:cubicBezTo>
                      <a:pt x="134979" y="121386"/>
                      <a:pt x="134855" y="121253"/>
                      <a:pt x="134693" y="121053"/>
                    </a:cubicBezTo>
                    <a:cubicBezTo>
                      <a:pt x="134674" y="120720"/>
                      <a:pt x="134826" y="120605"/>
                      <a:pt x="135026" y="120386"/>
                    </a:cubicBezTo>
                    <a:close/>
                    <a:moveTo>
                      <a:pt x="100136" y="129235"/>
                    </a:moveTo>
                    <a:cubicBezTo>
                      <a:pt x="102356" y="128749"/>
                      <a:pt x="103165" y="131645"/>
                      <a:pt x="101375" y="132474"/>
                    </a:cubicBezTo>
                    <a:cubicBezTo>
                      <a:pt x="100232" y="133007"/>
                      <a:pt x="98841" y="132083"/>
                      <a:pt x="98936" y="130797"/>
                    </a:cubicBezTo>
                    <a:cubicBezTo>
                      <a:pt x="99003" y="130007"/>
                      <a:pt x="99517" y="129702"/>
                      <a:pt x="100136" y="129235"/>
                    </a:cubicBezTo>
                    <a:close/>
                    <a:moveTo>
                      <a:pt x="74743" y="135141"/>
                    </a:moveTo>
                    <a:cubicBezTo>
                      <a:pt x="77153" y="134502"/>
                      <a:pt x="77905" y="137531"/>
                      <a:pt x="75943" y="138360"/>
                    </a:cubicBezTo>
                    <a:cubicBezTo>
                      <a:pt x="74914" y="138789"/>
                      <a:pt x="73600" y="137855"/>
                      <a:pt x="73695" y="136674"/>
                    </a:cubicBezTo>
                    <a:cubicBezTo>
                      <a:pt x="73752" y="135960"/>
                      <a:pt x="74219" y="135569"/>
                      <a:pt x="74743" y="135141"/>
                    </a:cubicBezTo>
                    <a:close/>
                    <a:moveTo>
                      <a:pt x="49797" y="141656"/>
                    </a:moveTo>
                    <a:cubicBezTo>
                      <a:pt x="51045" y="141332"/>
                      <a:pt x="51540" y="142961"/>
                      <a:pt x="50597" y="143485"/>
                    </a:cubicBezTo>
                    <a:cubicBezTo>
                      <a:pt x="49911" y="143865"/>
                      <a:pt x="49035" y="143132"/>
                      <a:pt x="49178" y="142446"/>
                    </a:cubicBezTo>
                    <a:cubicBezTo>
                      <a:pt x="49254" y="142122"/>
                      <a:pt x="49559" y="141875"/>
                      <a:pt x="49797" y="141656"/>
                    </a:cubicBezTo>
                    <a:close/>
                    <a:moveTo>
                      <a:pt x="125539" y="124168"/>
                    </a:moveTo>
                    <a:cubicBezTo>
                      <a:pt x="126845" y="123806"/>
                      <a:pt x="127397" y="125501"/>
                      <a:pt x="126387" y="126016"/>
                    </a:cubicBezTo>
                    <a:cubicBezTo>
                      <a:pt x="125730" y="126359"/>
                      <a:pt x="124873" y="125730"/>
                      <a:pt x="124949" y="125063"/>
                    </a:cubicBezTo>
                    <a:cubicBezTo>
                      <a:pt x="124987" y="124701"/>
                      <a:pt x="125282" y="124406"/>
                      <a:pt x="125539" y="124168"/>
                    </a:cubicBezTo>
                    <a:close/>
                    <a:moveTo>
                      <a:pt x="90907" y="133455"/>
                    </a:moveTo>
                    <a:cubicBezTo>
                      <a:pt x="93012" y="132969"/>
                      <a:pt x="93793" y="135807"/>
                      <a:pt x="92097" y="136636"/>
                    </a:cubicBezTo>
                    <a:cubicBezTo>
                      <a:pt x="90992" y="137179"/>
                      <a:pt x="89668" y="136217"/>
                      <a:pt x="89716" y="135055"/>
                    </a:cubicBezTo>
                    <a:cubicBezTo>
                      <a:pt x="89754" y="134264"/>
                      <a:pt x="90259" y="133893"/>
                      <a:pt x="90907" y="133455"/>
                    </a:cubicBezTo>
                    <a:close/>
                    <a:moveTo>
                      <a:pt x="65751" y="139570"/>
                    </a:moveTo>
                    <a:cubicBezTo>
                      <a:pt x="67485" y="139189"/>
                      <a:pt x="68171" y="141503"/>
                      <a:pt x="66732" y="142189"/>
                    </a:cubicBezTo>
                    <a:cubicBezTo>
                      <a:pt x="65846" y="142608"/>
                      <a:pt x="64732" y="141970"/>
                      <a:pt x="64751" y="140979"/>
                    </a:cubicBezTo>
                    <a:cubicBezTo>
                      <a:pt x="64751" y="140265"/>
                      <a:pt x="65208" y="139970"/>
                      <a:pt x="65751" y="139570"/>
                    </a:cubicBezTo>
                    <a:close/>
                    <a:moveTo>
                      <a:pt x="116129" y="128130"/>
                    </a:moveTo>
                    <a:cubicBezTo>
                      <a:pt x="117786" y="127673"/>
                      <a:pt x="118520" y="129778"/>
                      <a:pt x="117186" y="130426"/>
                    </a:cubicBezTo>
                    <a:cubicBezTo>
                      <a:pt x="116377" y="130816"/>
                      <a:pt x="115271" y="130102"/>
                      <a:pt x="115414" y="129168"/>
                    </a:cubicBezTo>
                    <a:cubicBezTo>
                      <a:pt x="115481" y="128711"/>
                      <a:pt x="115805" y="128426"/>
                      <a:pt x="116129" y="128130"/>
                    </a:cubicBezTo>
                    <a:close/>
                    <a:moveTo>
                      <a:pt x="81524" y="137865"/>
                    </a:moveTo>
                    <a:cubicBezTo>
                      <a:pt x="83620" y="137303"/>
                      <a:pt x="84372" y="139941"/>
                      <a:pt x="82706" y="140703"/>
                    </a:cubicBezTo>
                    <a:cubicBezTo>
                      <a:pt x="81734" y="141151"/>
                      <a:pt x="80553" y="140275"/>
                      <a:pt x="80620" y="139208"/>
                    </a:cubicBezTo>
                    <a:cubicBezTo>
                      <a:pt x="80658" y="138570"/>
                      <a:pt x="81058" y="138246"/>
                      <a:pt x="81524" y="137865"/>
                    </a:cubicBezTo>
                    <a:close/>
                    <a:moveTo>
                      <a:pt x="106956" y="132140"/>
                    </a:moveTo>
                    <a:cubicBezTo>
                      <a:pt x="108709" y="131750"/>
                      <a:pt x="109395" y="134074"/>
                      <a:pt x="107899" y="134731"/>
                    </a:cubicBezTo>
                    <a:cubicBezTo>
                      <a:pt x="107080" y="135093"/>
                      <a:pt x="106013" y="134407"/>
                      <a:pt x="106042" y="133417"/>
                    </a:cubicBezTo>
                    <a:cubicBezTo>
                      <a:pt x="106051" y="132807"/>
                      <a:pt x="106489" y="132493"/>
                      <a:pt x="106956" y="132140"/>
                    </a:cubicBezTo>
                    <a:close/>
                    <a:moveTo>
                      <a:pt x="56502" y="144247"/>
                    </a:moveTo>
                    <a:cubicBezTo>
                      <a:pt x="57788" y="143904"/>
                      <a:pt x="58255" y="145599"/>
                      <a:pt x="57226" y="146056"/>
                    </a:cubicBezTo>
                    <a:cubicBezTo>
                      <a:pt x="56722" y="146275"/>
                      <a:pt x="55912" y="145771"/>
                      <a:pt x="55921" y="145180"/>
                    </a:cubicBezTo>
                    <a:cubicBezTo>
                      <a:pt x="55931" y="144780"/>
                      <a:pt x="56245" y="144494"/>
                      <a:pt x="56502" y="144247"/>
                    </a:cubicBezTo>
                    <a:close/>
                    <a:moveTo>
                      <a:pt x="97679" y="136331"/>
                    </a:moveTo>
                    <a:cubicBezTo>
                      <a:pt x="99451" y="135874"/>
                      <a:pt x="100117" y="138265"/>
                      <a:pt x="98622" y="138922"/>
                    </a:cubicBezTo>
                    <a:cubicBezTo>
                      <a:pt x="97765" y="139294"/>
                      <a:pt x="96641" y="138512"/>
                      <a:pt x="96774" y="137493"/>
                    </a:cubicBezTo>
                    <a:cubicBezTo>
                      <a:pt x="96841" y="136950"/>
                      <a:pt x="97241" y="136655"/>
                      <a:pt x="97679" y="136331"/>
                    </a:cubicBezTo>
                    <a:close/>
                    <a:moveTo>
                      <a:pt x="72409" y="142284"/>
                    </a:moveTo>
                    <a:cubicBezTo>
                      <a:pt x="74019" y="141865"/>
                      <a:pt x="74714" y="144018"/>
                      <a:pt x="73409" y="144637"/>
                    </a:cubicBezTo>
                    <a:cubicBezTo>
                      <a:pt x="72552" y="145047"/>
                      <a:pt x="71428" y="144218"/>
                      <a:pt x="71619" y="143304"/>
                    </a:cubicBezTo>
                    <a:cubicBezTo>
                      <a:pt x="71714" y="142846"/>
                      <a:pt x="72047" y="142580"/>
                      <a:pt x="72409" y="142284"/>
                    </a:cubicBezTo>
                    <a:close/>
                    <a:moveTo>
                      <a:pt x="123092" y="131188"/>
                    </a:moveTo>
                    <a:cubicBezTo>
                      <a:pt x="123625" y="131045"/>
                      <a:pt x="124025" y="131264"/>
                      <a:pt x="124139" y="131778"/>
                    </a:cubicBezTo>
                    <a:cubicBezTo>
                      <a:pt x="124063" y="132140"/>
                      <a:pt x="123930" y="132436"/>
                      <a:pt x="123444" y="132550"/>
                    </a:cubicBezTo>
                    <a:cubicBezTo>
                      <a:pt x="123120" y="132474"/>
                      <a:pt x="122815" y="132321"/>
                      <a:pt x="122692" y="131931"/>
                    </a:cubicBezTo>
                    <a:cubicBezTo>
                      <a:pt x="122758" y="131597"/>
                      <a:pt x="122911" y="131426"/>
                      <a:pt x="123092" y="131188"/>
                    </a:cubicBezTo>
                    <a:close/>
                    <a:moveTo>
                      <a:pt x="88354" y="140646"/>
                    </a:moveTo>
                    <a:cubicBezTo>
                      <a:pt x="90106" y="140160"/>
                      <a:pt x="90726" y="142437"/>
                      <a:pt x="89325" y="143037"/>
                    </a:cubicBezTo>
                    <a:cubicBezTo>
                      <a:pt x="88497" y="143399"/>
                      <a:pt x="87439" y="142551"/>
                      <a:pt x="87630" y="141608"/>
                    </a:cubicBezTo>
                    <a:cubicBezTo>
                      <a:pt x="87706" y="141189"/>
                      <a:pt x="88040" y="140941"/>
                      <a:pt x="88354" y="140646"/>
                    </a:cubicBezTo>
                    <a:close/>
                    <a:moveTo>
                      <a:pt x="113862" y="135103"/>
                    </a:moveTo>
                    <a:cubicBezTo>
                      <a:pt x="114986" y="135122"/>
                      <a:pt x="115576" y="136369"/>
                      <a:pt x="114500" y="136893"/>
                    </a:cubicBezTo>
                    <a:cubicBezTo>
                      <a:pt x="113967" y="137150"/>
                      <a:pt x="113138" y="136646"/>
                      <a:pt x="113186" y="135979"/>
                    </a:cubicBezTo>
                    <a:cubicBezTo>
                      <a:pt x="113224" y="135588"/>
                      <a:pt x="113567" y="135341"/>
                      <a:pt x="113862" y="135103"/>
                    </a:cubicBezTo>
                    <a:close/>
                    <a:moveTo>
                      <a:pt x="63303" y="146885"/>
                    </a:moveTo>
                    <a:cubicBezTo>
                      <a:pt x="64008" y="146704"/>
                      <a:pt x="64665" y="147342"/>
                      <a:pt x="64361" y="148009"/>
                    </a:cubicBezTo>
                    <a:cubicBezTo>
                      <a:pt x="64027" y="148733"/>
                      <a:pt x="62970" y="148657"/>
                      <a:pt x="62760" y="147809"/>
                    </a:cubicBezTo>
                    <a:cubicBezTo>
                      <a:pt x="62884" y="147380"/>
                      <a:pt x="62998" y="147209"/>
                      <a:pt x="63303" y="146885"/>
                    </a:cubicBezTo>
                    <a:close/>
                    <a:moveTo>
                      <a:pt x="79200" y="145037"/>
                    </a:moveTo>
                    <a:cubicBezTo>
                      <a:pt x="80601" y="144656"/>
                      <a:pt x="81115" y="146494"/>
                      <a:pt x="80001" y="147018"/>
                    </a:cubicBezTo>
                    <a:cubicBezTo>
                      <a:pt x="79343" y="147323"/>
                      <a:pt x="78467" y="146704"/>
                      <a:pt x="78572" y="145942"/>
                    </a:cubicBezTo>
                    <a:cubicBezTo>
                      <a:pt x="78629" y="145551"/>
                      <a:pt x="78924" y="145294"/>
                      <a:pt x="79200" y="145037"/>
                    </a:cubicBezTo>
                    <a:close/>
                    <a:moveTo>
                      <a:pt x="104432" y="139284"/>
                    </a:moveTo>
                    <a:cubicBezTo>
                      <a:pt x="105070" y="139113"/>
                      <a:pt x="105470" y="139303"/>
                      <a:pt x="105746" y="139703"/>
                    </a:cubicBezTo>
                    <a:cubicBezTo>
                      <a:pt x="106118" y="140332"/>
                      <a:pt x="105594" y="141322"/>
                      <a:pt x="104842" y="141208"/>
                    </a:cubicBezTo>
                    <a:cubicBezTo>
                      <a:pt x="103727" y="141037"/>
                      <a:pt x="103784" y="139903"/>
                      <a:pt x="104432" y="139284"/>
                    </a:cubicBezTo>
                    <a:close/>
                    <a:moveTo>
                      <a:pt x="95231" y="143504"/>
                    </a:moveTo>
                    <a:cubicBezTo>
                      <a:pt x="96593" y="143151"/>
                      <a:pt x="97050" y="145085"/>
                      <a:pt x="95621" y="145351"/>
                    </a:cubicBezTo>
                    <a:cubicBezTo>
                      <a:pt x="94402" y="145104"/>
                      <a:pt x="94517" y="144209"/>
                      <a:pt x="95231" y="143504"/>
                    </a:cubicBezTo>
                    <a:close/>
                    <a:moveTo>
                      <a:pt x="70075" y="149609"/>
                    </a:moveTo>
                    <a:cubicBezTo>
                      <a:pt x="70533" y="149523"/>
                      <a:pt x="70685" y="149742"/>
                      <a:pt x="70952" y="149942"/>
                    </a:cubicBezTo>
                    <a:cubicBezTo>
                      <a:pt x="70961" y="150038"/>
                      <a:pt x="70971" y="150143"/>
                      <a:pt x="70980" y="150238"/>
                    </a:cubicBezTo>
                    <a:cubicBezTo>
                      <a:pt x="70942" y="150533"/>
                      <a:pt x="70780" y="150800"/>
                      <a:pt x="70409" y="150904"/>
                    </a:cubicBezTo>
                    <a:cubicBezTo>
                      <a:pt x="70075" y="150838"/>
                      <a:pt x="69790" y="150714"/>
                      <a:pt x="69666" y="150314"/>
                    </a:cubicBezTo>
                    <a:cubicBezTo>
                      <a:pt x="69733" y="149981"/>
                      <a:pt x="69866" y="149847"/>
                      <a:pt x="70075" y="149609"/>
                    </a:cubicBezTo>
                    <a:close/>
                    <a:moveTo>
                      <a:pt x="86001" y="147876"/>
                    </a:moveTo>
                    <a:cubicBezTo>
                      <a:pt x="86544" y="147733"/>
                      <a:pt x="86982" y="148009"/>
                      <a:pt x="87106" y="148533"/>
                    </a:cubicBezTo>
                    <a:cubicBezTo>
                      <a:pt x="87030" y="148866"/>
                      <a:pt x="86859" y="149019"/>
                      <a:pt x="86668" y="149276"/>
                    </a:cubicBezTo>
                    <a:cubicBezTo>
                      <a:pt x="86154" y="149400"/>
                      <a:pt x="85725" y="149152"/>
                      <a:pt x="85582" y="148695"/>
                    </a:cubicBezTo>
                    <a:cubicBezTo>
                      <a:pt x="85630" y="148285"/>
                      <a:pt x="85773" y="148152"/>
                      <a:pt x="86001" y="147876"/>
                    </a:cubicBezTo>
                    <a:close/>
                    <a:moveTo>
                      <a:pt x="111433" y="142342"/>
                    </a:moveTo>
                    <a:cubicBezTo>
                      <a:pt x="111700" y="142313"/>
                      <a:pt x="111795" y="142408"/>
                      <a:pt x="111966" y="142523"/>
                    </a:cubicBezTo>
                    <a:cubicBezTo>
                      <a:pt x="112043" y="142846"/>
                      <a:pt x="111957" y="142875"/>
                      <a:pt x="111871" y="143075"/>
                    </a:cubicBezTo>
                    <a:cubicBezTo>
                      <a:pt x="111852" y="143094"/>
                      <a:pt x="111833" y="143113"/>
                      <a:pt x="111805" y="143123"/>
                    </a:cubicBezTo>
                    <a:cubicBezTo>
                      <a:pt x="111709" y="143132"/>
                      <a:pt x="111605" y="143142"/>
                      <a:pt x="111509" y="143151"/>
                    </a:cubicBezTo>
                    <a:cubicBezTo>
                      <a:pt x="111414" y="143084"/>
                      <a:pt x="111328" y="143018"/>
                      <a:pt x="111233" y="142951"/>
                    </a:cubicBezTo>
                    <a:cubicBezTo>
                      <a:pt x="111223" y="142875"/>
                      <a:pt x="111223" y="142799"/>
                      <a:pt x="111214" y="142723"/>
                    </a:cubicBezTo>
                    <a:cubicBezTo>
                      <a:pt x="111262" y="142542"/>
                      <a:pt x="111338" y="142484"/>
                      <a:pt x="111433" y="142342"/>
                    </a:cubicBezTo>
                    <a:close/>
                    <a:moveTo>
                      <a:pt x="102194" y="146523"/>
                    </a:moveTo>
                    <a:cubicBezTo>
                      <a:pt x="102889" y="146447"/>
                      <a:pt x="102870" y="147428"/>
                      <a:pt x="102384" y="147352"/>
                    </a:cubicBezTo>
                    <a:cubicBezTo>
                      <a:pt x="102156" y="147352"/>
                      <a:pt x="102127" y="147275"/>
                      <a:pt x="101965" y="147180"/>
                    </a:cubicBezTo>
                    <a:cubicBezTo>
                      <a:pt x="101946" y="147095"/>
                      <a:pt x="101927" y="147009"/>
                      <a:pt x="101908" y="146923"/>
                    </a:cubicBezTo>
                    <a:cubicBezTo>
                      <a:pt x="101975" y="146742"/>
                      <a:pt x="102060" y="146675"/>
                      <a:pt x="102194" y="146523"/>
                    </a:cubicBezTo>
                    <a:close/>
                    <a:moveTo>
                      <a:pt x="76838" y="152600"/>
                    </a:moveTo>
                    <a:cubicBezTo>
                      <a:pt x="76962" y="152590"/>
                      <a:pt x="77086" y="152571"/>
                      <a:pt x="77210" y="152552"/>
                    </a:cubicBezTo>
                    <a:cubicBezTo>
                      <a:pt x="77229" y="152686"/>
                      <a:pt x="77248" y="152819"/>
                      <a:pt x="77267" y="152952"/>
                    </a:cubicBezTo>
                    <a:cubicBezTo>
                      <a:pt x="77153" y="152981"/>
                      <a:pt x="77048" y="153000"/>
                      <a:pt x="76943" y="153029"/>
                    </a:cubicBezTo>
                    <a:cubicBezTo>
                      <a:pt x="76943" y="153010"/>
                      <a:pt x="76933" y="152981"/>
                      <a:pt x="76924" y="152962"/>
                    </a:cubicBezTo>
                    <a:cubicBezTo>
                      <a:pt x="76895" y="152848"/>
                      <a:pt x="76867" y="152724"/>
                      <a:pt x="76838" y="152600"/>
                    </a:cubicBezTo>
                    <a:close/>
                  </a:path>
                </a:pathLst>
              </a:custGeom>
              <a:solidFill>
                <a:srgbClr val="FF662E"/>
              </a:solidFill>
              <a:ln w="9525" cap="flat">
                <a:noFill/>
                <a:prstDash val="solid"/>
                <a:miter/>
              </a:ln>
            </p:spPr>
            <p:txBody>
              <a:bodyPr rtlCol="0" anchor="ctr"/>
              <a:lstStyle/>
              <a:p>
                <a:endParaRPr lang="en-US"/>
              </a:p>
            </p:txBody>
          </p:sp>
          <p:sp>
            <p:nvSpPr>
              <p:cNvPr id="1102" name="Freeform: Shape 723">
                <a:extLst>
                  <a:ext uri="{FF2B5EF4-FFF2-40B4-BE49-F238E27FC236}">
                    <a16:creationId xmlns:a16="http://schemas.microsoft.com/office/drawing/2014/main" id="{3B16C70E-EDE3-42E4-3D1E-EB5AF0026E0B}"/>
                  </a:ext>
                </a:extLst>
              </p:cNvPr>
              <p:cNvSpPr/>
              <p:nvPr/>
            </p:nvSpPr>
            <p:spPr>
              <a:xfrm>
                <a:off x="-6694070" y="-1612535"/>
                <a:ext cx="71237" cy="51553"/>
              </a:xfrm>
              <a:custGeom>
                <a:avLst/>
                <a:gdLst>
                  <a:gd name="connsiteX0" fmla="*/ 71238 w 71237"/>
                  <a:gd name="connsiteY0" fmla="*/ 2664 h 51553"/>
                  <a:gd name="connsiteX1" fmla="*/ 56883 w 71237"/>
                  <a:gd name="connsiteY1" fmla="*/ 7 h 51553"/>
                  <a:gd name="connsiteX2" fmla="*/ 0 w 71237"/>
                  <a:gd name="connsiteY2" fmla="*/ 30839 h 51553"/>
                  <a:gd name="connsiteX3" fmla="*/ 49406 w 71237"/>
                  <a:gd name="connsiteY3" fmla="*/ 51528 h 51553"/>
                  <a:gd name="connsiteX4" fmla="*/ 65113 w 71237"/>
                  <a:gd name="connsiteY4" fmla="*/ 49365 h 51553"/>
                  <a:gd name="connsiteX5" fmla="*/ 71238 w 71237"/>
                  <a:gd name="connsiteY5" fmla="*/ 2664 h 51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37" h="51553">
                    <a:moveTo>
                      <a:pt x="71238" y="2664"/>
                    </a:moveTo>
                    <a:cubicBezTo>
                      <a:pt x="71276" y="2007"/>
                      <a:pt x="63237" y="-136"/>
                      <a:pt x="56883" y="7"/>
                    </a:cubicBezTo>
                    <a:cubicBezTo>
                      <a:pt x="12183" y="1026"/>
                      <a:pt x="0" y="30839"/>
                      <a:pt x="0" y="30839"/>
                    </a:cubicBezTo>
                    <a:cubicBezTo>
                      <a:pt x="0" y="30839"/>
                      <a:pt x="13145" y="50613"/>
                      <a:pt x="49406" y="51528"/>
                    </a:cubicBezTo>
                    <a:cubicBezTo>
                      <a:pt x="56302" y="51699"/>
                      <a:pt x="58864" y="51042"/>
                      <a:pt x="65113" y="49365"/>
                    </a:cubicBezTo>
                    <a:lnTo>
                      <a:pt x="71238" y="2664"/>
                    </a:lnTo>
                    <a:close/>
                  </a:path>
                </a:pathLst>
              </a:custGeom>
              <a:solidFill>
                <a:srgbClr val="FFFFFF"/>
              </a:solidFill>
              <a:ln w="9525" cap="flat">
                <a:noFill/>
                <a:prstDash val="solid"/>
                <a:miter/>
              </a:ln>
            </p:spPr>
            <p:txBody>
              <a:bodyPr rtlCol="0" anchor="ctr"/>
              <a:lstStyle/>
              <a:p>
                <a:endParaRPr lang="en-US"/>
              </a:p>
            </p:txBody>
          </p:sp>
          <p:sp>
            <p:nvSpPr>
              <p:cNvPr id="1103" name="Freeform: Shape 724">
                <a:extLst>
                  <a:ext uri="{FF2B5EF4-FFF2-40B4-BE49-F238E27FC236}">
                    <a16:creationId xmlns:a16="http://schemas.microsoft.com/office/drawing/2014/main" id="{6BDA2133-1855-26DB-DB0D-9778B1FC9E1B}"/>
                  </a:ext>
                </a:extLst>
              </p:cNvPr>
              <p:cNvSpPr/>
              <p:nvPr/>
            </p:nvSpPr>
            <p:spPr>
              <a:xfrm>
                <a:off x="-6813824" y="-1684202"/>
                <a:ext cx="69607" cy="28862"/>
              </a:xfrm>
              <a:custGeom>
                <a:avLst/>
                <a:gdLst>
                  <a:gd name="connsiteX0" fmla="*/ 68738 w 69607"/>
                  <a:gd name="connsiteY0" fmla="*/ 26144 h 28862"/>
                  <a:gd name="connsiteX1" fmla="*/ 33543 w 69607"/>
                  <a:gd name="connsiteY1" fmla="*/ 25306 h 28862"/>
                  <a:gd name="connsiteX2" fmla="*/ 263 w 69607"/>
                  <a:gd name="connsiteY2" fmla="*/ 14743 h 28862"/>
                  <a:gd name="connsiteX3" fmla="*/ 9254 w 69607"/>
                  <a:gd name="connsiteY3" fmla="*/ 3675 h 28862"/>
                  <a:gd name="connsiteX4" fmla="*/ 37829 w 69607"/>
                  <a:gd name="connsiteY4" fmla="*/ 875 h 28862"/>
                  <a:gd name="connsiteX5" fmla="*/ 63613 w 69607"/>
                  <a:gd name="connsiteY5" fmla="*/ 12924 h 28862"/>
                  <a:gd name="connsiteX6" fmla="*/ 68738 w 69607"/>
                  <a:gd name="connsiteY6" fmla="*/ 26144 h 2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607" h="28862">
                    <a:moveTo>
                      <a:pt x="68738" y="26144"/>
                    </a:moveTo>
                    <a:cubicBezTo>
                      <a:pt x="64261" y="31307"/>
                      <a:pt x="50612" y="28011"/>
                      <a:pt x="33543" y="25306"/>
                    </a:cubicBezTo>
                    <a:cubicBezTo>
                      <a:pt x="16588" y="21944"/>
                      <a:pt x="3196" y="20925"/>
                      <a:pt x="263" y="14743"/>
                    </a:cubicBezTo>
                    <a:cubicBezTo>
                      <a:pt x="-966" y="11647"/>
                      <a:pt x="2129" y="6952"/>
                      <a:pt x="9254" y="3675"/>
                    </a:cubicBezTo>
                    <a:cubicBezTo>
                      <a:pt x="16284" y="341"/>
                      <a:pt x="26828" y="-1049"/>
                      <a:pt x="37829" y="875"/>
                    </a:cubicBezTo>
                    <a:cubicBezTo>
                      <a:pt x="48821" y="2827"/>
                      <a:pt x="58108" y="7618"/>
                      <a:pt x="63613" y="12924"/>
                    </a:cubicBezTo>
                    <a:cubicBezTo>
                      <a:pt x="69224" y="18201"/>
                      <a:pt x="70805" y="23506"/>
                      <a:pt x="68738" y="26144"/>
                    </a:cubicBezTo>
                    <a:close/>
                  </a:path>
                </a:pathLst>
              </a:custGeom>
              <a:solidFill>
                <a:srgbClr val="00113E"/>
              </a:solidFill>
              <a:ln w="9525" cap="flat">
                <a:noFill/>
                <a:prstDash val="solid"/>
                <a:miter/>
              </a:ln>
            </p:spPr>
            <p:txBody>
              <a:bodyPr rtlCol="0" anchor="ctr"/>
              <a:lstStyle/>
              <a:p>
                <a:endParaRPr lang="en-US"/>
              </a:p>
            </p:txBody>
          </p:sp>
          <p:sp>
            <p:nvSpPr>
              <p:cNvPr id="1104" name="Freeform: Shape 725">
                <a:extLst>
                  <a:ext uri="{FF2B5EF4-FFF2-40B4-BE49-F238E27FC236}">
                    <a16:creationId xmlns:a16="http://schemas.microsoft.com/office/drawing/2014/main" id="{9C25145F-862E-68C3-E089-D22902F2807F}"/>
                  </a:ext>
                </a:extLst>
              </p:cNvPr>
              <p:cNvSpPr/>
              <p:nvPr/>
            </p:nvSpPr>
            <p:spPr>
              <a:xfrm>
                <a:off x="-6721607" y="-1577138"/>
                <a:ext cx="25583" cy="43492"/>
              </a:xfrm>
              <a:custGeom>
                <a:avLst/>
                <a:gdLst>
                  <a:gd name="connsiteX0" fmla="*/ 0 w 25583"/>
                  <a:gd name="connsiteY0" fmla="*/ 42544 h 43492"/>
                  <a:gd name="connsiteX1" fmla="*/ 8782 w 25583"/>
                  <a:gd name="connsiteY1" fmla="*/ 39848 h 43492"/>
                  <a:gd name="connsiteX2" fmla="*/ 17850 w 25583"/>
                  <a:gd name="connsiteY2" fmla="*/ 37105 h 43492"/>
                  <a:gd name="connsiteX3" fmla="*/ 19984 w 25583"/>
                  <a:gd name="connsiteY3" fmla="*/ 29999 h 43492"/>
                  <a:gd name="connsiteX4" fmla="*/ 11602 w 25583"/>
                  <a:gd name="connsiteY4" fmla="*/ 15 h 43492"/>
                  <a:gd name="connsiteX5" fmla="*/ 24718 w 25583"/>
                  <a:gd name="connsiteY5" fmla="*/ 28523 h 43492"/>
                  <a:gd name="connsiteX6" fmla="*/ 25146 w 25583"/>
                  <a:gd name="connsiteY6" fmla="*/ 36172 h 43492"/>
                  <a:gd name="connsiteX7" fmla="*/ 19507 w 25583"/>
                  <a:gd name="connsiteY7" fmla="*/ 41353 h 43492"/>
                  <a:gd name="connsiteX8" fmla="*/ 9363 w 25583"/>
                  <a:gd name="connsiteY8" fmla="*/ 43296 h 43492"/>
                  <a:gd name="connsiteX9" fmla="*/ 0 w 25583"/>
                  <a:gd name="connsiteY9" fmla="*/ 42544 h 4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83" h="43492">
                    <a:moveTo>
                      <a:pt x="0" y="42544"/>
                    </a:moveTo>
                    <a:cubicBezTo>
                      <a:pt x="-28" y="41829"/>
                      <a:pt x="3420" y="41201"/>
                      <a:pt x="8782" y="39848"/>
                    </a:cubicBezTo>
                    <a:cubicBezTo>
                      <a:pt x="11383" y="39172"/>
                      <a:pt x="14783" y="38296"/>
                      <a:pt x="17850" y="37105"/>
                    </a:cubicBezTo>
                    <a:cubicBezTo>
                      <a:pt x="20917" y="35848"/>
                      <a:pt x="21231" y="34133"/>
                      <a:pt x="19984" y="29999"/>
                    </a:cubicBezTo>
                    <a:cubicBezTo>
                      <a:pt x="14154" y="14016"/>
                      <a:pt x="10325" y="539"/>
                      <a:pt x="11602" y="15"/>
                    </a:cubicBezTo>
                    <a:cubicBezTo>
                      <a:pt x="12859" y="-490"/>
                      <a:pt x="18764" y="12168"/>
                      <a:pt x="24718" y="28523"/>
                    </a:cubicBezTo>
                    <a:cubicBezTo>
                      <a:pt x="25356" y="30685"/>
                      <a:pt x="26061" y="33285"/>
                      <a:pt x="25146" y="36172"/>
                    </a:cubicBezTo>
                    <a:cubicBezTo>
                      <a:pt x="24175" y="39162"/>
                      <a:pt x="21431" y="40724"/>
                      <a:pt x="19507" y="41353"/>
                    </a:cubicBezTo>
                    <a:cubicBezTo>
                      <a:pt x="15526" y="42591"/>
                      <a:pt x="12306" y="42991"/>
                      <a:pt x="9363" y="43296"/>
                    </a:cubicBezTo>
                    <a:cubicBezTo>
                      <a:pt x="3582" y="43820"/>
                      <a:pt x="19" y="43201"/>
                      <a:pt x="0" y="42544"/>
                    </a:cubicBezTo>
                    <a:close/>
                  </a:path>
                </a:pathLst>
              </a:custGeom>
              <a:solidFill>
                <a:srgbClr val="00113E"/>
              </a:solidFill>
              <a:ln w="9525" cap="flat">
                <a:noFill/>
                <a:prstDash val="solid"/>
                <a:miter/>
              </a:ln>
            </p:spPr>
            <p:txBody>
              <a:bodyPr rtlCol="0" anchor="ctr"/>
              <a:lstStyle/>
              <a:p>
                <a:endParaRPr lang="en-US"/>
              </a:p>
            </p:txBody>
          </p:sp>
          <p:sp>
            <p:nvSpPr>
              <p:cNvPr id="1105" name="Freeform: Shape 726">
                <a:extLst>
                  <a:ext uri="{FF2B5EF4-FFF2-40B4-BE49-F238E27FC236}">
                    <a16:creationId xmlns:a16="http://schemas.microsoft.com/office/drawing/2014/main" id="{DF0DC114-DFCC-9B31-4ACE-6DA49F296039}"/>
                  </a:ext>
                </a:extLst>
              </p:cNvPr>
              <p:cNvSpPr/>
              <p:nvPr/>
            </p:nvSpPr>
            <p:spPr>
              <a:xfrm>
                <a:off x="-6849491" y="-1470063"/>
                <a:ext cx="101643" cy="92554"/>
              </a:xfrm>
              <a:custGeom>
                <a:avLst/>
                <a:gdLst>
                  <a:gd name="connsiteX0" fmla="*/ 2 w 101643"/>
                  <a:gd name="connsiteY0" fmla="*/ 0 h 92554"/>
                  <a:gd name="connsiteX1" fmla="*/ 94633 w 101643"/>
                  <a:gd name="connsiteY1" fmla="*/ 92554 h 92554"/>
                  <a:gd name="connsiteX2" fmla="*/ 101643 w 101643"/>
                  <a:gd name="connsiteY2" fmla="*/ 60398 h 92554"/>
                  <a:gd name="connsiteX3" fmla="*/ 2 w 101643"/>
                  <a:gd name="connsiteY3" fmla="*/ 0 h 92554"/>
                </a:gdLst>
                <a:ahLst/>
                <a:cxnLst>
                  <a:cxn ang="0">
                    <a:pos x="connsiteX0" y="connsiteY0"/>
                  </a:cxn>
                  <a:cxn ang="0">
                    <a:pos x="connsiteX1" y="connsiteY1"/>
                  </a:cxn>
                  <a:cxn ang="0">
                    <a:pos x="connsiteX2" y="connsiteY2"/>
                  </a:cxn>
                  <a:cxn ang="0">
                    <a:pos x="connsiteX3" y="connsiteY3"/>
                  </a:cxn>
                </a:cxnLst>
                <a:rect l="l" t="t" r="r" b="b"/>
                <a:pathLst>
                  <a:path w="101643" h="92554">
                    <a:moveTo>
                      <a:pt x="2" y="0"/>
                    </a:moveTo>
                    <a:cubicBezTo>
                      <a:pt x="2" y="0"/>
                      <a:pt x="-1674" y="70456"/>
                      <a:pt x="94633" y="92554"/>
                    </a:cubicBezTo>
                    <a:lnTo>
                      <a:pt x="101643" y="60398"/>
                    </a:lnTo>
                    <a:cubicBezTo>
                      <a:pt x="82336" y="57493"/>
                      <a:pt x="38740" y="42596"/>
                      <a:pt x="2" y="0"/>
                    </a:cubicBezTo>
                    <a:close/>
                  </a:path>
                </a:pathLst>
              </a:custGeom>
              <a:solidFill>
                <a:srgbClr val="00113E"/>
              </a:solidFill>
              <a:ln w="9525" cap="flat">
                <a:noFill/>
                <a:prstDash val="solid"/>
                <a:miter/>
              </a:ln>
            </p:spPr>
            <p:txBody>
              <a:bodyPr rtlCol="0" anchor="ctr"/>
              <a:lstStyle/>
              <a:p>
                <a:endParaRPr lang="en-US"/>
              </a:p>
            </p:txBody>
          </p:sp>
          <p:sp>
            <p:nvSpPr>
              <p:cNvPr id="1107" name="Freeform: Shape 727">
                <a:extLst>
                  <a:ext uri="{FF2B5EF4-FFF2-40B4-BE49-F238E27FC236}">
                    <a16:creationId xmlns:a16="http://schemas.microsoft.com/office/drawing/2014/main" id="{C037AE44-C7FB-0E28-B4EE-667394576292}"/>
                  </a:ext>
                </a:extLst>
              </p:cNvPr>
              <p:cNvSpPr/>
              <p:nvPr/>
            </p:nvSpPr>
            <p:spPr>
              <a:xfrm>
                <a:off x="-6675689" y="-1658003"/>
                <a:ext cx="52666" cy="24848"/>
              </a:xfrm>
              <a:custGeom>
                <a:avLst/>
                <a:gdLst>
                  <a:gd name="connsiteX0" fmla="*/ 52342 w 52666"/>
                  <a:gd name="connsiteY0" fmla="*/ 17205 h 24848"/>
                  <a:gd name="connsiteX1" fmla="*/ 25996 w 52666"/>
                  <a:gd name="connsiteY1" fmla="*/ 24815 h 24848"/>
                  <a:gd name="connsiteX2" fmla="*/ 212 w 52666"/>
                  <a:gd name="connsiteY2" fmla="*/ 15490 h 24848"/>
                  <a:gd name="connsiteX3" fmla="*/ 6213 w 52666"/>
                  <a:gd name="connsiteY3" fmla="*/ 5156 h 24848"/>
                  <a:gd name="connsiteX4" fmla="*/ 26815 w 52666"/>
                  <a:gd name="connsiteY4" fmla="*/ 22 h 24848"/>
                  <a:gd name="connsiteX5" fmla="*/ 47027 w 52666"/>
                  <a:gd name="connsiteY5" fmla="*/ 6499 h 24848"/>
                  <a:gd name="connsiteX6" fmla="*/ 52342 w 52666"/>
                  <a:gd name="connsiteY6" fmla="*/ 17205 h 2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66" h="24848">
                    <a:moveTo>
                      <a:pt x="52342" y="17205"/>
                    </a:moveTo>
                    <a:cubicBezTo>
                      <a:pt x="49761" y="23644"/>
                      <a:pt x="38303" y="25101"/>
                      <a:pt x="25996" y="24815"/>
                    </a:cubicBezTo>
                    <a:cubicBezTo>
                      <a:pt x="13690" y="24291"/>
                      <a:pt x="2365" y="22081"/>
                      <a:pt x="212" y="15490"/>
                    </a:cubicBezTo>
                    <a:cubicBezTo>
                      <a:pt x="-712" y="12233"/>
                      <a:pt x="1403" y="8327"/>
                      <a:pt x="6213" y="5156"/>
                    </a:cubicBezTo>
                    <a:cubicBezTo>
                      <a:pt x="10975" y="1984"/>
                      <a:pt x="18462" y="-245"/>
                      <a:pt x="26815" y="22"/>
                    </a:cubicBezTo>
                    <a:cubicBezTo>
                      <a:pt x="35169" y="298"/>
                      <a:pt x="42494" y="3022"/>
                      <a:pt x="47027" y="6499"/>
                    </a:cubicBezTo>
                    <a:cubicBezTo>
                      <a:pt x="51618" y="9985"/>
                      <a:pt x="53476" y="14014"/>
                      <a:pt x="52342" y="17205"/>
                    </a:cubicBezTo>
                    <a:close/>
                  </a:path>
                </a:pathLst>
              </a:custGeom>
              <a:solidFill>
                <a:srgbClr val="00113E"/>
              </a:solidFill>
              <a:ln w="9525" cap="flat">
                <a:noFill/>
                <a:prstDash val="solid"/>
                <a:miter/>
              </a:ln>
            </p:spPr>
            <p:txBody>
              <a:bodyPr rtlCol="0" anchor="ctr"/>
              <a:lstStyle/>
              <a:p>
                <a:endParaRPr lang="en-US"/>
              </a:p>
            </p:txBody>
          </p:sp>
          <p:sp>
            <p:nvSpPr>
              <p:cNvPr id="1108" name="Freeform: Shape 728">
                <a:extLst>
                  <a:ext uri="{FF2B5EF4-FFF2-40B4-BE49-F238E27FC236}">
                    <a16:creationId xmlns:a16="http://schemas.microsoft.com/office/drawing/2014/main" id="{96777E5B-F44D-256E-B910-2254EA2C7510}"/>
                  </a:ext>
                </a:extLst>
              </p:cNvPr>
              <p:cNvSpPr/>
              <p:nvPr/>
            </p:nvSpPr>
            <p:spPr>
              <a:xfrm>
                <a:off x="-6657487" y="-1612459"/>
                <a:ext cx="34644" cy="51544"/>
              </a:xfrm>
              <a:custGeom>
                <a:avLst/>
                <a:gdLst>
                  <a:gd name="connsiteX0" fmla="*/ 12804 w 34644"/>
                  <a:gd name="connsiteY0" fmla="*/ 51518 h 51544"/>
                  <a:gd name="connsiteX1" fmla="*/ 28511 w 34644"/>
                  <a:gd name="connsiteY1" fmla="*/ 49356 h 51544"/>
                  <a:gd name="connsiteX2" fmla="*/ 31635 w 34644"/>
                  <a:gd name="connsiteY2" fmla="*/ 31496 h 51544"/>
                  <a:gd name="connsiteX3" fmla="*/ 32921 w 34644"/>
                  <a:gd name="connsiteY3" fmla="*/ 21810 h 51544"/>
                  <a:gd name="connsiteX4" fmla="*/ 34645 w 34644"/>
                  <a:gd name="connsiteY4" fmla="*/ 2664 h 51544"/>
                  <a:gd name="connsiteX5" fmla="*/ 20290 w 34644"/>
                  <a:gd name="connsiteY5" fmla="*/ 7 h 51544"/>
                  <a:gd name="connsiteX6" fmla="*/ 8546 w 34644"/>
                  <a:gd name="connsiteY6" fmla="*/ 1064 h 51544"/>
                  <a:gd name="connsiteX7" fmla="*/ 2231 w 34644"/>
                  <a:gd name="connsiteY7" fmla="*/ 50546 h 51544"/>
                  <a:gd name="connsiteX8" fmla="*/ 12804 w 34644"/>
                  <a:gd name="connsiteY8" fmla="*/ 51518 h 5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4" h="51544">
                    <a:moveTo>
                      <a:pt x="12804" y="51518"/>
                    </a:moveTo>
                    <a:cubicBezTo>
                      <a:pt x="19700" y="51689"/>
                      <a:pt x="22262" y="51032"/>
                      <a:pt x="28511" y="49356"/>
                    </a:cubicBezTo>
                    <a:lnTo>
                      <a:pt x="31635" y="31496"/>
                    </a:lnTo>
                    <a:cubicBezTo>
                      <a:pt x="32197" y="28286"/>
                      <a:pt x="32625" y="25058"/>
                      <a:pt x="32921" y="21810"/>
                    </a:cubicBezTo>
                    <a:lnTo>
                      <a:pt x="34645" y="2664"/>
                    </a:lnTo>
                    <a:cubicBezTo>
                      <a:pt x="34683" y="2007"/>
                      <a:pt x="26644" y="-136"/>
                      <a:pt x="20290" y="7"/>
                    </a:cubicBezTo>
                    <a:cubicBezTo>
                      <a:pt x="15423" y="121"/>
                      <a:pt x="12671" y="350"/>
                      <a:pt x="8546" y="1064"/>
                    </a:cubicBezTo>
                    <a:cubicBezTo>
                      <a:pt x="8356" y="1721"/>
                      <a:pt x="-5218" y="37926"/>
                      <a:pt x="2231" y="50546"/>
                    </a:cubicBezTo>
                    <a:cubicBezTo>
                      <a:pt x="5088" y="50899"/>
                      <a:pt x="9575" y="51442"/>
                      <a:pt x="12804" y="51518"/>
                    </a:cubicBezTo>
                    <a:close/>
                  </a:path>
                </a:pathLst>
              </a:custGeom>
              <a:solidFill>
                <a:srgbClr val="00113E"/>
              </a:solidFill>
              <a:ln w="9525" cap="flat">
                <a:noFill/>
                <a:prstDash val="solid"/>
                <a:miter/>
              </a:ln>
            </p:spPr>
            <p:txBody>
              <a:bodyPr rtlCol="0" anchor="ctr"/>
              <a:lstStyle/>
              <a:p>
                <a:endParaRPr lang="en-US"/>
              </a:p>
            </p:txBody>
          </p:sp>
          <p:sp>
            <p:nvSpPr>
              <p:cNvPr id="1109" name="Freeform: Shape 729">
                <a:extLst>
                  <a:ext uri="{FF2B5EF4-FFF2-40B4-BE49-F238E27FC236}">
                    <a16:creationId xmlns:a16="http://schemas.microsoft.com/office/drawing/2014/main" id="{61E17978-35BA-1F0F-3F8E-D2177A8A6785}"/>
                  </a:ext>
                </a:extLst>
              </p:cNvPr>
              <p:cNvSpPr/>
              <p:nvPr/>
            </p:nvSpPr>
            <p:spPr>
              <a:xfrm>
                <a:off x="-6909817" y="-1799058"/>
                <a:ext cx="295566" cy="196883"/>
              </a:xfrm>
              <a:custGeom>
                <a:avLst/>
                <a:gdLst>
                  <a:gd name="connsiteX0" fmla="*/ 203165 w 295566"/>
                  <a:gd name="connsiteY0" fmla="*/ 8098 h 196883"/>
                  <a:gd name="connsiteX1" fmla="*/ 67853 w 295566"/>
                  <a:gd name="connsiteY1" fmla="*/ 17023 h 196883"/>
                  <a:gd name="connsiteX2" fmla="*/ 23466 w 295566"/>
                  <a:gd name="connsiteY2" fmla="*/ 57104 h 196883"/>
                  <a:gd name="connsiteX3" fmla="*/ 12446 w 295566"/>
                  <a:gd name="connsiteY3" fmla="*/ 102291 h 196883"/>
                  <a:gd name="connsiteX4" fmla="*/ 4073 w 295566"/>
                  <a:gd name="connsiteY4" fmla="*/ 107901 h 196883"/>
                  <a:gd name="connsiteX5" fmla="*/ 2082 w 295566"/>
                  <a:gd name="connsiteY5" fmla="*/ 120703 h 196883"/>
                  <a:gd name="connsiteX6" fmla="*/ 24323 w 295566"/>
                  <a:gd name="connsiteY6" fmla="*/ 196884 h 196883"/>
                  <a:gd name="connsiteX7" fmla="*/ 55679 w 295566"/>
                  <a:gd name="connsiteY7" fmla="*/ 98586 h 196883"/>
                  <a:gd name="connsiteX8" fmla="*/ 114258 w 295566"/>
                  <a:gd name="connsiteY8" fmla="*/ 64477 h 196883"/>
                  <a:gd name="connsiteX9" fmla="*/ 295567 w 295566"/>
                  <a:gd name="connsiteY9" fmla="*/ 136124 h 196883"/>
                  <a:gd name="connsiteX10" fmla="*/ 203165 w 295566"/>
                  <a:gd name="connsiteY10" fmla="*/ 8098 h 19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566" h="196883">
                    <a:moveTo>
                      <a:pt x="203165" y="8098"/>
                    </a:moveTo>
                    <a:cubicBezTo>
                      <a:pt x="126164" y="-14362"/>
                      <a:pt x="67853" y="17023"/>
                      <a:pt x="67853" y="17023"/>
                    </a:cubicBezTo>
                    <a:lnTo>
                      <a:pt x="23466" y="57104"/>
                    </a:lnTo>
                    <a:cubicBezTo>
                      <a:pt x="17951" y="58905"/>
                      <a:pt x="17789" y="100043"/>
                      <a:pt x="12446" y="102291"/>
                    </a:cubicBezTo>
                    <a:cubicBezTo>
                      <a:pt x="9312" y="103615"/>
                      <a:pt x="6054" y="105129"/>
                      <a:pt x="4073" y="107901"/>
                    </a:cubicBezTo>
                    <a:cubicBezTo>
                      <a:pt x="1511" y="111492"/>
                      <a:pt x="2968" y="116378"/>
                      <a:pt x="2082" y="120703"/>
                    </a:cubicBezTo>
                    <a:cubicBezTo>
                      <a:pt x="-3223" y="146725"/>
                      <a:pt x="720" y="178920"/>
                      <a:pt x="24323" y="196884"/>
                    </a:cubicBezTo>
                    <a:cubicBezTo>
                      <a:pt x="46526" y="170966"/>
                      <a:pt x="57423" y="133171"/>
                      <a:pt x="55679" y="98586"/>
                    </a:cubicBezTo>
                    <a:cubicBezTo>
                      <a:pt x="78006" y="93280"/>
                      <a:pt x="98828" y="81479"/>
                      <a:pt x="114258" y="64477"/>
                    </a:cubicBezTo>
                    <a:cubicBezTo>
                      <a:pt x="152939" y="121674"/>
                      <a:pt x="228225" y="151430"/>
                      <a:pt x="295567" y="136124"/>
                    </a:cubicBezTo>
                    <a:cubicBezTo>
                      <a:pt x="295567" y="136114"/>
                      <a:pt x="280155" y="30558"/>
                      <a:pt x="203165" y="8098"/>
                    </a:cubicBezTo>
                    <a:close/>
                  </a:path>
                </a:pathLst>
              </a:custGeom>
              <a:solidFill>
                <a:srgbClr val="00113E"/>
              </a:solidFill>
              <a:ln w="9525" cap="flat">
                <a:noFill/>
                <a:prstDash val="solid"/>
                <a:miter/>
              </a:ln>
            </p:spPr>
            <p:txBody>
              <a:bodyPr rtlCol="0" anchor="ctr"/>
              <a:lstStyle/>
              <a:p>
                <a:endParaRPr lang="en-US"/>
              </a:p>
            </p:txBody>
          </p:sp>
          <p:sp>
            <p:nvSpPr>
              <p:cNvPr id="1110" name="Freeform: Shape 730">
                <a:extLst>
                  <a:ext uri="{FF2B5EF4-FFF2-40B4-BE49-F238E27FC236}">
                    <a16:creationId xmlns:a16="http://schemas.microsoft.com/office/drawing/2014/main" id="{F4888ED1-253D-9C6D-A1BD-65AFDFBD9CF2}"/>
                  </a:ext>
                </a:extLst>
              </p:cNvPr>
              <p:cNvSpPr/>
              <p:nvPr/>
            </p:nvSpPr>
            <p:spPr>
              <a:xfrm>
                <a:off x="-6840831" y="-1641375"/>
                <a:ext cx="103748" cy="58120"/>
              </a:xfrm>
              <a:custGeom>
                <a:avLst/>
                <a:gdLst>
                  <a:gd name="connsiteX0" fmla="*/ 0 w 103748"/>
                  <a:gd name="connsiteY0" fmla="*/ 14884 h 58120"/>
                  <a:gd name="connsiteX1" fmla="*/ 62655 w 103748"/>
                  <a:gd name="connsiteY1" fmla="*/ 4816 h 58120"/>
                  <a:gd name="connsiteX2" fmla="*/ 103746 w 103748"/>
                  <a:gd name="connsiteY2" fmla="*/ 50555 h 58120"/>
                  <a:gd name="connsiteX3" fmla="*/ 39824 w 103748"/>
                  <a:gd name="connsiteY3" fmla="*/ 53146 h 58120"/>
                  <a:gd name="connsiteX4" fmla="*/ 0 w 103748"/>
                  <a:gd name="connsiteY4" fmla="*/ 14884 h 5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48" h="58120">
                    <a:moveTo>
                      <a:pt x="0" y="14884"/>
                    </a:moveTo>
                    <a:cubicBezTo>
                      <a:pt x="0" y="14884"/>
                      <a:pt x="20555" y="-10262"/>
                      <a:pt x="62655" y="4816"/>
                    </a:cubicBezTo>
                    <a:cubicBezTo>
                      <a:pt x="104756" y="19894"/>
                      <a:pt x="103746" y="50555"/>
                      <a:pt x="103746" y="50555"/>
                    </a:cubicBezTo>
                    <a:cubicBezTo>
                      <a:pt x="103746" y="50555"/>
                      <a:pt x="70028" y="65690"/>
                      <a:pt x="39824" y="53146"/>
                    </a:cubicBezTo>
                    <a:cubicBezTo>
                      <a:pt x="6201" y="39191"/>
                      <a:pt x="0" y="14884"/>
                      <a:pt x="0" y="14884"/>
                    </a:cubicBezTo>
                    <a:close/>
                  </a:path>
                </a:pathLst>
              </a:custGeom>
              <a:solidFill>
                <a:srgbClr val="FFFFFF"/>
              </a:solidFill>
              <a:ln w="9525" cap="flat">
                <a:noFill/>
                <a:prstDash val="solid"/>
                <a:miter/>
              </a:ln>
            </p:spPr>
            <p:txBody>
              <a:bodyPr rtlCol="0" anchor="ctr"/>
              <a:lstStyle/>
              <a:p>
                <a:endParaRPr lang="en-US"/>
              </a:p>
            </p:txBody>
          </p:sp>
          <p:sp>
            <p:nvSpPr>
              <p:cNvPr id="1111" name="Freeform: Shape 731">
                <a:extLst>
                  <a:ext uri="{FF2B5EF4-FFF2-40B4-BE49-F238E27FC236}">
                    <a16:creationId xmlns:a16="http://schemas.microsoft.com/office/drawing/2014/main" id="{0A97F140-254F-933F-0F08-8043B459EDD3}"/>
                  </a:ext>
                </a:extLst>
              </p:cNvPr>
              <p:cNvSpPr/>
              <p:nvPr/>
            </p:nvSpPr>
            <p:spPr>
              <a:xfrm>
                <a:off x="-6789554" y="-1637141"/>
                <a:ext cx="55815" cy="53940"/>
              </a:xfrm>
              <a:custGeom>
                <a:avLst/>
                <a:gdLst>
                  <a:gd name="connsiteX0" fmla="*/ 14731 w 55815"/>
                  <a:gd name="connsiteY0" fmla="*/ 657 h 53940"/>
                  <a:gd name="connsiteX1" fmla="*/ 12617 w 55815"/>
                  <a:gd name="connsiteY1" fmla="*/ 0 h 53940"/>
                  <a:gd name="connsiteX2" fmla="*/ 2844 w 55815"/>
                  <a:gd name="connsiteY2" fmla="*/ 52359 h 53940"/>
                  <a:gd name="connsiteX3" fmla="*/ 55813 w 55815"/>
                  <a:gd name="connsiteY3" fmla="*/ 46396 h 53940"/>
                  <a:gd name="connsiteX4" fmla="*/ 14731 w 55815"/>
                  <a:gd name="connsiteY4" fmla="*/ 657 h 53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5" h="53940">
                    <a:moveTo>
                      <a:pt x="14731" y="657"/>
                    </a:moveTo>
                    <a:cubicBezTo>
                      <a:pt x="14008" y="400"/>
                      <a:pt x="13331" y="238"/>
                      <a:pt x="12617" y="0"/>
                    </a:cubicBezTo>
                    <a:cubicBezTo>
                      <a:pt x="12264" y="457"/>
                      <a:pt x="-7119" y="25356"/>
                      <a:pt x="2844" y="52359"/>
                    </a:cubicBezTo>
                    <a:cubicBezTo>
                      <a:pt x="29695" y="58093"/>
                      <a:pt x="55813" y="46396"/>
                      <a:pt x="55813" y="46396"/>
                    </a:cubicBezTo>
                    <a:cubicBezTo>
                      <a:pt x="55813" y="46396"/>
                      <a:pt x="56832" y="15735"/>
                      <a:pt x="14731" y="657"/>
                    </a:cubicBezTo>
                    <a:close/>
                  </a:path>
                </a:pathLst>
              </a:custGeom>
              <a:solidFill>
                <a:srgbClr val="00113E"/>
              </a:solidFill>
              <a:ln w="9525" cap="flat">
                <a:noFill/>
                <a:prstDash val="solid"/>
                <a:miter/>
              </a:ln>
            </p:spPr>
            <p:txBody>
              <a:bodyPr rtlCol="0" anchor="ctr"/>
              <a:lstStyle/>
              <a:p>
                <a:endParaRPr lang="en-US"/>
              </a:p>
            </p:txBody>
          </p:sp>
          <p:sp>
            <p:nvSpPr>
              <p:cNvPr id="1112" name="Freeform: Shape 732">
                <a:extLst>
                  <a:ext uri="{FF2B5EF4-FFF2-40B4-BE49-F238E27FC236}">
                    <a16:creationId xmlns:a16="http://schemas.microsoft.com/office/drawing/2014/main" id="{CA6F275E-CDD5-0BA0-069A-77EC21BB23B5}"/>
                  </a:ext>
                </a:extLst>
              </p:cNvPr>
              <p:cNvSpPr/>
              <p:nvPr/>
            </p:nvSpPr>
            <p:spPr>
              <a:xfrm>
                <a:off x="-6771256" y="-1529694"/>
                <a:ext cx="52344" cy="39479"/>
              </a:xfrm>
              <a:custGeom>
                <a:avLst/>
                <a:gdLst>
                  <a:gd name="connsiteX0" fmla="*/ 52344 w 52344"/>
                  <a:gd name="connsiteY0" fmla="*/ 27723 h 39479"/>
                  <a:gd name="connsiteX1" fmla="*/ 25693 w 52344"/>
                  <a:gd name="connsiteY1" fmla="*/ 4015 h 39479"/>
                  <a:gd name="connsiteX2" fmla="*/ 8672 w 52344"/>
                  <a:gd name="connsiteY2" fmla="*/ 863 h 39479"/>
                  <a:gd name="connsiteX3" fmla="*/ 948 w 52344"/>
                  <a:gd name="connsiteY3" fmla="*/ 9549 h 39479"/>
                  <a:gd name="connsiteX4" fmla="*/ 12025 w 52344"/>
                  <a:gd name="connsiteY4" fmla="*/ 35105 h 39479"/>
                  <a:gd name="connsiteX5" fmla="*/ 41591 w 52344"/>
                  <a:gd name="connsiteY5" fmla="*/ 37572 h 39479"/>
                  <a:gd name="connsiteX6" fmla="*/ 52344 w 52344"/>
                  <a:gd name="connsiteY6" fmla="*/ 27723 h 3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44" h="39479">
                    <a:moveTo>
                      <a:pt x="52344" y="27723"/>
                    </a:moveTo>
                    <a:cubicBezTo>
                      <a:pt x="45268" y="18055"/>
                      <a:pt x="36123" y="9921"/>
                      <a:pt x="25693" y="4015"/>
                    </a:cubicBezTo>
                    <a:cubicBezTo>
                      <a:pt x="20493" y="1072"/>
                      <a:pt x="14226" y="-1357"/>
                      <a:pt x="8672" y="863"/>
                    </a:cubicBezTo>
                    <a:cubicBezTo>
                      <a:pt x="4958" y="2348"/>
                      <a:pt x="2243" y="5768"/>
                      <a:pt x="948" y="9549"/>
                    </a:cubicBezTo>
                    <a:cubicBezTo>
                      <a:pt x="-2329" y="19074"/>
                      <a:pt x="3262" y="30123"/>
                      <a:pt x="12025" y="35105"/>
                    </a:cubicBezTo>
                    <a:cubicBezTo>
                      <a:pt x="20779" y="40086"/>
                      <a:pt x="32018" y="40677"/>
                      <a:pt x="41591" y="37572"/>
                    </a:cubicBezTo>
                    <a:cubicBezTo>
                      <a:pt x="45363" y="36343"/>
                      <a:pt x="51544" y="31609"/>
                      <a:pt x="52344" y="27723"/>
                    </a:cubicBezTo>
                  </a:path>
                </a:pathLst>
              </a:custGeom>
              <a:solidFill>
                <a:srgbClr val="FFFFFF"/>
              </a:solidFill>
              <a:ln w="9525" cap="flat">
                <a:noFill/>
                <a:prstDash val="solid"/>
                <a:miter/>
              </a:ln>
            </p:spPr>
            <p:txBody>
              <a:bodyPr rtlCol="0" anchor="ctr"/>
              <a:lstStyle/>
              <a:p>
                <a:endParaRPr lang="en-US"/>
              </a:p>
            </p:txBody>
          </p:sp>
          <p:grpSp>
            <p:nvGrpSpPr>
              <p:cNvPr id="1113" name="Graphic 293">
                <a:extLst>
                  <a:ext uri="{FF2B5EF4-FFF2-40B4-BE49-F238E27FC236}">
                    <a16:creationId xmlns:a16="http://schemas.microsoft.com/office/drawing/2014/main" id="{C354041B-655D-1C0B-9F20-FA258E450DA5}"/>
                  </a:ext>
                </a:extLst>
              </p:cNvPr>
              <p:cNvGrpSpPr/>
              <p:nvPr/>
            </p:nvGrpSpPr>
            <p:grpSpPr>
              <a:xfrm>
                <a:off x="-9471008" y="-2890155"/>
                <a:ext cx="2975964" cy="2396904"/>
                <a:chOff x="-9471008" y="-2890155"/>
                <a:chExt cx="2975964" cy="2396904"/>
              </a:xfrm>
            </p:grpSpPr>
            <p:sp>
              <p:nvSpPr>
                <p:cNvPr id="1128" name="Freeform: Shape 748">
                  <a:extLst>
                    <a:ext uri="{FF2B5EF4-FFF2-40B4-BE49-F238E27FC236}">
                      <a16:creationId xmlns:a16="http://schemas.microsoft.com/office/drawing/2014/main" id="{FE050BA7-D777-C7A3-A64C-7D38799FF450}"/>
                    </a:ext>
                  </a:extLst>
                </p:cNvPr>
                <p:cNvSpPr/>
                <p:nvPr/>
              </p:nvSpPr>
              <p:spPr>
                <a:xfrm>
                  <a:off x="-7038037" y="-1395949"/>
                  <a:ext cx="435940" cy="818612"/>
                </a:xfrm>
                <a:custGeom>
                  <a:avLst/>
                  <a:gdLst>
                    <a:gd name="connsiteX0" fmla="*/ 73104 w 435940"/>
                    <a:gd name="connsiteY0" fmla="*/ 792385 h 818612"/>
                    <a:gd name="connsiteX1" fmla="*/ 435940 w 435940"/>
                    <a:gd name="connsiteY1" fmla="*/ 403298 h 818612"/>
                    <a:gd name="connsiteX2" fmla="*/ 399688 w 435940"/>
                    <a:gd name="connsiteY2" fmla="*/ 212255 h 818612"/>
                    <a:gd name="connsiteX3" fmla="*/ 393430 w 435940"/>
                    <a:gd name="connsiteY3" fmla="*/ 123654 h 818612"/>
                    <a:gd name="connsiteX4" fmla="*/ 306905 w 435940"/>
                    <a:gd name="connsiteY4" fmla="*/ 72247 h 818612"/>
                    <a:gd name="connsiteX5" fmla="*/ 289036 w 435940"/>
                    <a:gd name="connsiteY5" fmla="*/ 20317 h 818612"/>
                    <a:gd name="connsiteX6" fmla="*/ 101774 w 435940"/>
                    <a:gd name="connsiteY6" fmla="*/ 0 h 818612"/>
                    <a:gd name="connsiteX7" fmla="*/ 95993 w 435940"/>
                    <a:gd name="connsiteY7" fmla="*/ 67580 h 818612"/>
                    <a:gd name="connsiteX8" fmla="*/ 47587 w 435940"/>
                    <a:gd name="connsiteY8" fmla="*/ 166602 h 818612"/>
                    <a:gd name="connsiteX9" fmla="*/ 37433 w 435940"/>
                    <a:gd name="connsiteY9" fmla="*/ 416176 h 818612"/>
                    <a:gd name="connsiteX10" fmla="*/ 43777 w 435940"/>
                    <a:gd name="connsiteY10" fmla="*/ 531933 h 818612"/>
                    <a:gd name="connsiteX11" fmla="*/ 35671 w 435940"/>
                    <a:gd name="connsiteY11" fmla="*/ 556803 h 818612"/>
                    <a:gd name="connsiteX12" fmla="*/ 21850 w 435940"/>
                    <a:gd name="connsiteY12" fmla="*/ 599961 h 818612"/>
                    <a:gd name="connsiteX13" fmla="*/ 35157 w 435940"/>
                    <a:gd name="connsiteY13" fmla="*/ 662711 h 818612"/>
                    <a:gd name="connsiteX14" fmla="*/ 19059 w 435940"/>
                    <a:gd name="connsiteY14" fmla="*/ 712289 h 818612"/>
                    <a:gd name="connsiteX15" fmla="*/ 181 w 435940"/>
                    <a:gd name="connsiteY15" fmla="*/ 761124 h 818612"/>
                    <a:gd name="connsiteX16" fmla="*/ 20631 w 435940"/>
                    <a:gd name="connsiteY16" fmla="*/ 812654 h 818612"/>
                    <a:gd name="connsiteX17" fmla="*/ 68485 w 435940"/>
                    <a:gd name="connsiteY17" fmla="*/ 797328 h 818612"/>
                    <a:gd name="connsiteX18" fmla="*/ 68485 w 435940"/>
                    <a:gd name="connsiteY18" fmla="*/ 797347 h 818612"/>
                    <a:gd name="connsiteX19" fmla="*/ 72990 w 435940"/>
                    <a:gd name="connsiteY19" fmla="*/ 792518 h 818612"/>
                    <a:gd name="connsiteX20" fmla="*/ 73104 w 435940"/>
                    <a:gd name="connsiteY20" fmla="*/ 792385 h 818612"/>
                    <a:gd name="connsiteX21" fmla="*/ 73104 w 435940"/>
                    <a:gd name="connsiteY21" fmla="*/ 792385 h 8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5940" h="818612">
                      <a:moveTo>
                        <a:pt x="73104" y="792385"/>
                      </a:moveTo>
                      <a:lnTo>
                        <a:pt x="435940" y="403298"/>
                      </a:lnTo>
                      <a:lnTo>
                        <a:pt x="399688" y="212255"/>
                      </a:lnTo>
                      <a:lnTo>
                        <a:pt x="393430" y="123654"/>
                      </a:lnTo>
                      <a:lnTo>
                        <a:pt x="306905" y="72247"/>
                      </a:lnTo>
                      <a:lnTo>
                        <a:pt x="289036" y="20317"/>
                      </a:lnTo>
                      <a:lnTo>
                        <a:pt x="101774" y="0"/>
                      </a:lnTo>
                      <a:lnTo>
                        <a:pt x="95993" y="67580"/>
                      </a:lnTo>
                      <a:cubicBezTo>
                        <a:pt x="95993" y="67580"/>
                        <a:pt x="61817" y="101356"/>
                        <a:pt x="47587" y="166602"/>
                      </a:cubicBezTo>
                      <a:cubicBezTo>
                        <a:pt x="33347" y="231848"/>
                        <a:pt x="34423" y="334432"/>
                        <a:pt x="37433" y="416176"/>
                      </a:cubicBezTo>
                      <a:cubicBezTo>
                        <a:pt x="38224" y="437569"/>
                        <a:pt x="40815" y="483051"/>
                        <a:pt x="43777" y="531933"/>
                      </a:cubicBezTo>
                      <a:cubicBezTo>
                        <a:pt x="41662" y="540401"/>
                        <a:pt x="38957" y="548716"/>
                        <a:pt x="35671" y="556803"/>
                      </a:cubicBezTo>
                      <a:cubicBezTo>
                        <a:pt x="29947" y="570881"/>
                        <a:pt x="22374" y="584768"/>
                        <a:pt x="21850" y="599961"/>
                      </a:cubicBezTo>
                      <a:cubicBezTo>
                        <a:pt x="21098" y="621430"/>
                        <a:pt x="34576" y="641242"/>
                        <a:pt x="35157" y="662711"/>
                      </a:cubicBezTo>
                      <a:cubicBezTo>
                        <a:pt x="35633" y="680295"/>
                        <a:pt x="27451" y="696840"/>
                        <a:pt x="19059" y="712289"/>
                      </a:cubicBezTo>
                      <a:cubicBezTo>
                        <a:pt x="10668" y="727748"/>
                        <a:pt x="1648" y="743598"/>
                        <a:pt x="181" y="761124"/>
                      </a:cubicBezTo>
                      <a:cubicBezTo>
                        <a:pt x="-1276" y="778650"/>
                        <a:pt x="6115" y="802719"/>
                        <a:pt x="20631" y="812654"/>
                      </a:cubicBezTo>
                      <a:cubicBezTo>
                        <a:pt x="36785" y="823703"/>
                        <a:pt x="46996" y="819826"/>
                        <a:pt x="68485" y="797328"/>
                      </a:cubicBezTo>
                      <a:lnTo>
                        <a:pt x="68485" y="797347"/>
                      </a:lnTo>
                      <a:lnTo>
                        <a:pt x="72990" y="792518"/>
                      </a:lnTo>
                      <a:cubicBezTo>
                        <a:pt x="73028" y="792471"/>
                        <a:pt x="73066" y="792432"/>
                        <a:pt x="73104" y="792385"/>
                      </a:cubicBezTo>
                      <a:cubicBezTo>
                        <a:pt x="73104" y="792394"/>
                        <a:pt x="73104" y="792385"/>
                        <a:pt x="73104" y="792385"/>
                      </a:cubicBezTo>
                      <a:close/>
                    </a:path>
                  </a:pathLst>
                </a:custGeom>
                <a:solidFill>
                  <a:srgbClr val="3D8241"/>
                </a:solidFill>
                <a:ln w="9525" cap="flat">
                  <a:noFill/>
                  <a:prstDash val="solid"/>
                  <a:miter/>
                </a:ln>
              </p:spPr>
              <p:txBody>
                <a:bodyPr rtlCol="0" anchor="ctr"/>
                <a:lstStyle/>
                <a:p>
                  <a:endParaRPr lang="en-US"/>
                </a:p>
              </p:txBody>
            </p:sp>
            <p:grpSp>
              <p:nvGrpSpPr>
                <p:cNvPr id="1129" name="Graphic 293">
                  <a:extLst>
                    <a:ext uri="{FF2B5EF4-FFF2-40B4-BE49-F238E27FC236}">
                      <a16:creationId xmlns:a16="http://schemas.microsoft.com/office/drawing/2014/main" id="{C83ACB87-134E-BE37-9E49-A16B50655006}"/>
                    </a:ext>
                  </a:extLst>
                </p:cNvPr>
                <p:cNvGrpSpPr/>
                <p:nvPr/>
              </p:nvGrpSpPr>
              <p:grpSpPr>
                <a:xfrm>
                  <a:off x="-7051057" y="-1127020"/>
                  <a:ext cx="556013" cy="633769"/>
                  <a:chOff x="-7051057" y="-1127020"/>
                  <a:chExt cx="556013" cy="633769"/>
                </a:xfrm>
                <a:solidFill>
                  <a:srgbClr val="FF7441"/>
                </a:solidFill>
              </p:grpSpPr>
              <p:sp>
                <p:nvSpPr>
                  <p:cNvPr id="1151" name="Freeform: Shape 771">
                    <a:extLst>
                      <a:ext uri="{FF2B5EF4-FFF2-40B4-BE49-F238E27FC236}">
                        <a16:creationId xmlns:a16="http://schemas.microsoft.com/office/drawing/2014/main" id="{BD480D61-79A2-8010-0873-3C8F15402D0B}"/>
                      </a:ext>
                    </a:extLst>
                  </p:cNvPr>
                  <p:cNvSpPr/>
                  <p:nvPr/>
                </p:nvSpPr>
                <p:spPr>
                  <a:xfrm>
                    <a:off x="-6830000" y="-1127020"/>
                    <a:ext cx="334956" cy="334834"/>
                  </a:xfrm>
                  <a:custGeom>
                    <a:avLst/>
                    <a:gdLst>
                      <a:gd name="connsiteX0" fmla="*/ 181537 w 334956"/>
                      <a:gd name="connsiteY0" fmla="*/ 1648 h 334834"/>
                      <a:gd name="connsiteX1" fmla="*/ 182766 w 334956"/>
                      <a:gd name="connsiteY1" fmla="*/ 2715 h 334834"/>
                      <a:gd name="connsiteX2" fmla="*/ 182689 w 334956"/>
                      <a:gd name="connsiteY2" fmla="*/ 0 h 334834"/>
                      <a:gd name="connsiteX3" fmla="*/ 181537 w 334956"/>
                      <a:gd name="connsiteY3" fmla="*/ 1648 h 334834"/>
                      <a:gd name="connsiteX4" fmla="*/ 158848 w 334956"/>
                      <a:gd name="connsiteY4" fmla="*/ 6248 h 334834"/>
                      <a:gd name="connsiteX5" fmla="*/ 162458 w 334956"/>
                      <a:gd name="connsiteY5" fmla="*/ 6325 h 334834"/>
                      <a:gd name="connsiteX6" fmla="*/ 162544 w 334956"/>
                      <a:gd name="connsiteY6" fmla="*/ 5258 h 334834"/>
                      <a:gd name="connsiteX7" fmla="*/ 160411 w 334956"/>
                      <a:gd name="connsiteY7" fmla="*/ 3943 h 334834"/>
                      <a:gd name="connsiteX8" fmla="*/ 158848 w 334956"/>
                      <a:gd name="connsiteY8" fmla="*/ 6248 h 334834"/>
                      <a:gd name="connsiteX9" fmla="*/ 217361 w 334956"/>
                      <a:gd name="connsiteY9" fmla="*/ 5591 h 334834"/>
                      <a:gd name="connsiteX10" fmla="*/ 217942 w 334956"/>
                      <a:gd name="connsiteY10" fmla="*/ 6744 h 334834"/>
                      <a:gd name="connsiteX11" fmla="*/ 218599 w 334956"/>
                      <a:gd name="connsiteY11" fmla="*/ 6744 h 334834"/>
                      <a:gd name="connsiteX12" fmla="*/ 219342 w 334956"/>
                      <a:gd name="connsiteY12" fmla="*/ 6001 h 334834"/>
                      <a:gd name="connsiteX13" fmla="*/ 219342 w 334956"/>
                      <a:gd name="connsiteY13" fmla="*/ 5753 h 334834"/>
                      <a:gd name="connsiteX14" fmla="*/ 218599 w 334956"/>
                      <a:gd name="connsiteY14" fmla="*/ 4934 h 334834"/>
                      <a:gd name="connsiteX15" fmla="*/ 218018 w 334956"/>
                      <a:gd name="connsiteY15" fmla="*/ 4848 h 334834"/>
                      <a:gd name="connsiteX16" fmla="*/ 217361 w 334956"/>
                      <a:gd name="connsiteY16" fmla="*/ 5591 h 334834"/>
                      <a:gd name="connsiteX17" fmla="*/ 136579 w 334956"/>
                      <a:gd name="connsiteY17" fmla="*/ 10106 h 334834"/>
                      <a:gd name="connsiteX18" fmla="*/ 140275 w 334956"/>
                      <a:gd name="connsiteY18" fmla="*/ 11258 h 334834"/>
                      <a:gd name="connsiteX19" fmla="*/ 138303 w 334956"/>
                      <a:gd name="connsiteY19" fmla="*/ 8220 h 334834"/>
                      <a:gd name="connsiteX20" fmla="*/ 136579 w 334956"/>
                      <a:gd name="connsiteY20" fmla="*/ 10106 h 334834"/>
                      <a:gd name="connsiteX21" fmla="*/ 194110 w 334956"/>
                      <a:gd name="connsiteY21" fmla="*/ 9858 h 334834"/>
                      <a:gd name="connsiteX22" fmla="*/ 195834 w 334956"/>
                      <a:gd name="connsiteY22" fmla="*/ 12325 h 334834"/>
                      <a:gd name="connsiteX23" fmla="*/ 195672 w 334956"/>
                      <a:gd name="connsiteY23" fmla="*/ 8220 h 334834"/>
                      <a:gd name="connsiteX24" fmla="*/ 194110 w 334956"/>
                      <a:gd name="connsiteY24" fmla="*/ 9858 h 334834"/>
                      <a:gd name="connsiteX25" fmla="*/ 171593 w 334956"/>
                      <a:gd name="connsiteY25" fmla="*/ 13802 h 334834"/>
                      <a:gd name="connsiteX26" fmla="*/ 174384 w 334956"/>
                      <a:gd name="connsiteY26" fmla="*/ 17335 h 334834"/>
                      <a:gd name="connsiteX27" fmla="*/ 173565 w 334956"/>
                      <a:gd name="connsiteY27" fmla="*/ 12163 h 334834"/>
                      <a:gd name="connsiteX28" fmla="*/ 171593 w 334956"/>
                      <a:gd name="connsiteY28" fmla="*/ 13802 h 334834"/>
                      <a:gd name="connsiteX29" fmla="*/ 114472 w 334956"/>
                      <a:gd name="connsiteY29" fmla="*/ 14297 h 334834"/>
                      <a:gd name="connsiteX30" fmla="*/ 116853 w 334956"/>
                      <a:gd name="connsiteY30" fmla="*/ 16516 h 334834"/>
                      <a:gd name="connsiteX31" fmla="*/ 118339 w 334956"/>
                      <a:gd name="connsiteY31" fmla="*/ 14545 h 334834"/>
                      <a:gd name="connsiteX32" fmla="*/ 116119 w 334956"/>
                      <a:gd name="connsiteY32" fmla="*/ 12735 h 334834"/>
                      <a:gd name="connsiteX33" fmla="*/ 114472 w 334956"/>
                      <a:gd name="connsiteY33" fmla="*/ 14297 h 334834"/>
                      <a:gd name="connsiteX34" fmla="*/ 230181 w 334956"/>
                      <a:gd name="connsiteY34" fmla="*/ 14459 h 334834"/>
                      <a:gd name="connsiteX35" fmla="*/ 233134 w 334956"/>
                      <a:gd name="connsiteY35" fmla="*/ 14545 h 334834"/>
                      <a:gd name="connsiteX36" fmla="*/ 231496 w 334956"/>
                      <a:gd name="connsiteY36" fmla="*/ 13154 h 334834"/>
                      <a:gd name="connsiteX37" fmla="*/ 230181 w 334956"/>
                      <a:gd name="connsiteY37" fmla="*/ 14459 h 334834"/>
                      <a:gd name="connsiteX38" fmla="*/ 149400 w 334956"/>
                      <a:gd name="connsiteY38" fmla="*/ 17669 h 334834"/>
                      <a:gd name="connsiteX39" fmla="*/ 152524 w 334956"/>
                      <a:gd name="connsiteY39" fmla="*/ 22031 h 334834"/>
                      <a:gd name="connsiteX40" fmla="*/ 151457 w 334956"/>
                      <a:gd name="connsiteY40" fmla="*/ 16278 h 334834"/>
                      <a:gd name="connsiteX41" fmla="*/ 149400 w 334956"/>
                      <a:gd name="connsiteY41" fmla="*/ 17669 h 334834"/>
                      <a:gd name="connsiteX42" fmla="*/ 207093 w 334956"/>
                      <a:gd name="connsiteY42" fmla="*/ 18326 h 334834"/>
                      <a:gd name="connsiteX43" fmla="*/ 209969 w 334956"/>
                      <a:gd name="connsiteY43" fmla="*/ 21612 h 334834"/>
                      <a:gd name="connsiteX44" fmla="*/ 208902 w 334956"/>
                      <a:gd name="connsiteY44" fmla="*/ 16678 h 334834"/>
                      <a:gd name="connsiteX45" fmla="*/ 207093 w 334956"/>
                      <a:gd name="connsiteY45" fmla="*/ 18326 h 334834"/>
                      <a:gd name="connsiteX46" fmla="*/ 92783 w 334956"/>
                      <a:gd name="connsiteY46" fmla="*/ 18821 h 334834"/>
                      <a:gd name="connsiteX47" fmla="*/ 95660 w 334956"/>
                      <a:gd name="connsiteY47" fmla="*/ 18736 h 334834"/>
                      <a:gd name="connsiteX48" fmla="*/ 94840 w 334956"/>
                      <a:gd name="connsiteY48" fmla="*/ 17745 h 334834"/>
                      <a:gd name="connsiteX49" fmla="*/ 94012 w 334956"/>
                      <a:gd name="connsiteY49" fmla="*/ 17583 h 334834"/>
                      <a:gd name="connsiteX50" fmla="*/ 92783 w 334956"/>
                      <a:gd name="connsiteY50" fmla="*/ 18821 h 334834"/>
                      <a:gd name="connsiteX51" fmla="*/ 184156 w 334956"/>
                      <a:gd name="connsiteY51" fmla="*/ 23012 h 334834"/>
                      <a:gd name="connsiteX52" fmla="*/ 188176 w 334956"/>
                      <a:gd name="connsiteY52" fmla="*/ 26708 h 334834"/>
                      <a:gd name="connsiteX53" fmla="*/ 186614 w 334956"/>
                      <a:gd name="connsiteY53" fmla="*/ 20460 h 334834"/>
                      <a:gd name="connsiteX54" fmla="*/ 184156 w 334956"/>
                      <a:gd name="connsiteY54" fmla="*/ 23012 h 334834"/>
                      <a:gd name="connsiteX55" fmla="*/ 130331 w 334956"/>
                      <a:gd name="connsiteY55" fmla="*/ 26460 h 334834"/>
                      <a:gd name="connsiteX56" fmla="*/ 129264 w 334956"/>
                      <a:gd name="connsiteY56" fmla="*/ 20707 h 334834"/>
                      <a:gd name="connsiteX57" fmla="*/ 130331 w 334956"/>
                      <a:gd name="connsiteY57" fmla="*/ 26460 h 334834"/>
                      <a:gd name="connsiteX58" fmla="*/ 243249 w 334956"/>
                      <a:gd name="connsiteY58" fmla="*/ 23260 h 334834"/>
                      <a:gd name="connsiteX59" fmla="*/ 246697 w 334956"/>
                      <a:gd name="connsiteY59" fmla="*/ 23670 h 334834"/>
                      <a:gd name="connsiteX60" fmla="*/ 244802 w 334956"/>
                      <a:gd name="connsiteY60" fmla="*/ 21784 h 334834"/>
                      <a:gd name="connsiteX61" fmla="*/ 243249 w 334956"/>
                      <a:gd name="connsiteY61" fmla="*/ 23260 h 334834"/>
                      <a:gd name="connsiteX62" fmla="*/ 161725 w 334956"/>
                      <a:gd name="connsiteY62" fmla="*/ 27118 h 334834"/>
                      <a:gd name="connsiteX63" fmla="*/ 165830 w 334956"/>
                      <a:gd name="connsiteY63" fmla="*/ 31556 h 334834"/>
                      <a:gd name="connsiteX64" fmla="*/ 164763 w 334956"/>
                      <a:gd name="connsiteY64" fmla="*/ 24489 h 334834"/>
                      <a:gd name="connsiteX65" fmla="*/ 161725 w 334956"/>
                      <a:gd name="connsiteY65" fmla="*/ 27118 h 334834"/>
                      <a:gd name="connsiteX66" fmla="*/ 223438 w 334956"/>
                      <a:gd name="connsiteY66" fmla="*/ 30813 h 334834"/>
                      <a:gd name="connsiteX67" fmla="*/ 222371 w 334956"/>
                      <a:gd name="connsiteY67" fmla="*/ 25232 h 334834"/>
                      <a:gd name="connsiteX68" fmla="*/ 223438 w 334956"/>
                      <a:gd name="connsiteY68" fmla="*/ 30813 h 334834"/>
                      <a:gd name="connsiteX69" fmla="*/ 105023 w 334956"/>
                      <a:gd name="connsiteY69" fmla="*/ 27118 h 334834"/>
                      <a:gd name="connsiteX70" fmla="*/ 108061 w 334956"/>
                      <a:gd name="connsiteY70" fmla="*/ 30651 h 334834"/>
                      <a:gd name="connsiteX71" fmla="*/ 107080 w 334956"/>
                      <a:gd name="connsiteY71" fmla="*/ 25308 h 334834"/>
                      <a:gd name="connsiteX72" fmla="*/ 105023 w 334956"/>
                      <a:gd name="connsiteY72" fmla="*/ 27118 h 334834"/>
                      <a:gd name="connsiteX73" fmla="*/ 139379 w 334956"/>
                      <a:gd name="connsiteY73" fmla="*/ 31633 h 334834"/>
                      <a:gd name="connsiteX74" fmla="*/ 143818 w 334956"/>
                      <a:gd name="connsiteY74" fmla="*/ 36157 h 334834"/>
                      <a:gd name="connsiteX75" fmla="*/ 142256 w 334956"/>
                      <a:gd name="connsiteY75" fmla="*/ 28842 h 334834"/>
                      <a:gd name="connsiteX76" fmla="*/ 139379 w 334956"/>
                      <a:gd name="connsiteY76" fmla="*/ 31633 h 334834"/>
                      <a:gd name="connsiteX77" fmla="*/ 197148 w 334956"/>
                      <a:gd name="connsiteY77" fmla="*/ 31309 h 334834"/>
                      <a:gd name="connsiteX78" fmla="*/ 200758 w 334956"/>
                      <a:gd name="connsiteY78" fmla="*/ 36071 h 334834"/>
                      <a:gd name="connsiteX79" fmla="*/ 200263 w 334956"/>
                      <a:gd name="connsiteY79" fmla="*/ 28927 h 334834"/>
                      <a:gd name="connsiteX80" fmla="*/ 197148 w 334956"/>
                      <a:gd name="connsiteY80" fmla="*/ 31309 h 334834"/>
                      <a:gd name="connsiteX81" fmla="*/ 83248 w 334956"/>
                      <a:gd name="connsiteY81" fmla="*/ 31880 h 334834"/>
                      <a:gd name="connsiteX82" fmla="*/ 85715 w 334956"/>
                      <a:gd name="connsiteY82" fmla="*/ 34595 h 334834"/>
                      <a:gd name="connsiteX83" fmla="*/ 85135 w 334956"/>
                      <a:gd name="connsiteY83" fmla="*/ 30242 h 334834"/>
                      <a:gd name="connsiteX84" fmla="*/ 83248 w 334956"/>
                      <a:gd name="connsiteY84" fmla="*/ 31880 h 334834"/>
                      <a:gd name="connsiteX85" fmla="*/ 256394 w 334956"/>
                      <a:gd name="connsiteY85" fmla="*/ 32537 h 334834"/>
                      <a:gd name="connsiteX86" fmla="*/ 257785 w 334956"/>
                      <a:gd name="connsiteY86" fmla="*/ 34100 h 334834"/>
                      <a:gd name="connsiteX87" fmla="*/ 260004 w 334956"/>
                      <a:gd name="connsiteY87" fmla="*/ 32214 h 334834"/>
                      <a:gd name="connsiteX88" fmla="*/ 257785 w 334956"/>
                      <a:gd name="connsiteY88" fmla="*/ 30651 h 334834"/>
                      <a:gd name="connsiteX89" fmla="*/ 256394 w 334956"/>
                      <a:gd name="connsiteY89" fmla="*/ 32537 h 334834"/>
                      <a:gd name="connsiteX90" fmla="*/ 174460 w 334956"/>
                      <a:gd name="connsiteY90" fmla="*/ 35909 h 334834"/>
                      <a:gd name="connsiteX91" fmla="*/ 178899 w 334956"/>
                      <a:gd name="connsiteY91" fmla="*/ 41005 h 334834"/>
                      <a:gd name="connsiteX92" fmla="*/ 177908 w 334956"/>
                      <a:gd name="connsiteY92" fmla="*/ 32871 h 334834"/>
                      <a:gd name="connsiteX93" fmla="*/ 174460 w 334956"/>
                      <a:gd name="connsiteY93" fmla="*/ 35909 h 334834"/>
                      <a:gd name="connsiteX94" fmla="*/ 117348 w 334956"/>
                      <a:gd name="connsiteY94" fmla="*/ 36071 h 334834"/>
                      <a:gd name="connsiteX95" fmla="*/ 121130 w 334956"/>
                      <a:gd name="connsiteY95" fmla="*/ 40510 h 334834"/>
                      <a:gd name="connsiteX96" fmla="*/ 120310 w 334956"/>
                      <a:gd name="connsiteY96" fmla="*/ 33357 h 334834"/>
                      <a:gd name="connsiteX97" fmla="*/ 117348 w 334956"/>
                      <a:gd name="connsiteY97" fmla="*/ 36071 h 334834"/>
                      <a:gd name="connsiteX98" fmla="*/ 233296 w 334956"/>
                      <a:gd name="connsiteY98" fmla="*/ 35585 h 334834"/>
                      <a:gd name="connsiteX99" fmla="*/ 236830 w 334956"/>
                      <a:gd name="connsiteY99" fmla="*/ 39862 h 334834"/>
                      <a:gd name="connsiteX100" fmla="*/ 235353 w 334956"/>
                      <a:gd name="connsiteY100" fmla="*/ 33947 h 334834"/>
                      <a:gd name="connsiteX101" fmla="*/ 233296 w 334956"/>
                      <a:gd name="connsiteY101" fmla="*/ 35585 h 334834"/>
                      <a:gd name="connsiteX102" fmla="*/ 61884 w 334956"/>
                      <a:gd name="connsiteY102" fmla="*/ 36652 h 334834"/>
                      <a:gd name="connsiteX103" fmla="*/ 64351 w 334956"/>
                      <a:gd name="connsiteY103" fmla="*/ 37147 h 334834"/>
                      <a:gd name="connsiteX104" fmla="*/ 63446 w 334956"/>
                      <a:gd name="connsiteY104" fmla="*/ 35671 h 334834"/>
                      <a:gd name="connsiteX105" fmla="*/ 62865 w 334956"/>
                      <a:gd name="connsiteY105" fmla="*/ 35585 h 334834"/>
                      <a:gd name="connsiteX106" fmla="*/ 61884 w 334956"/>
                      <a:gd name="connsiteY106" fmla="*/ 36652 h 334834"/>
                      <a:gd name="connsiteX107" fmla="*/ 152276 w 334956"/>
                      <a:gd name="connsiteY107" fmla="*/ 39691 h 334834"/>
                      <a:gd name="connsiteX108" fmla="*/ 156543 w 334956"/>
                      <a:gd name="connsiteY108" fmla="*/ 45768 h 334834"/>
                      <a:gd name="connsiteX109" fmla="*/ 155886 w 334956"/>
                      <a:gd name="connsiteY109" fmla="*/ 37052 h 334834"/>
                      <a:gd name="connsiteX110" fmla="*/ 152276 w 334956"/>
                      <a:gd name="connsiteY110" fmla="*/ 39691 h 334834"/>
                      <a:gd name="connsiteX111" fmla="*/ 210045 w 334956"/>
                      <a:gd name="connsiteY111" fmla="*/ 40510 h 334834"/>
                      <a:gd name="connsiteX112" fmla="*/ 215065 w 334956"/>
                      <a:gd name="connsiteY112" fmla="*/ 45110 h 334834"/>
                      <a:gd name="connsiteX113" fmla="*/ 213255 w 334956"/>
                      <a:gd name="connsiteY113" fmla="*/ 37471 h 334834"/>
                      <a:gd name="connsiteX114" fmla="*/ 210045 w 334956"/>
                      <a:gd name="connsiteY114" fmla="*/ 40510 h 334834"/>
                      <a:gd name="connsiteX115" fmla="*/ 95488 w 334956"/>
                      <a:gd name="connsiteY115" fmla="*/ 40510 h 334834"/>
                      <a:gd name="connsiteX116" fmla="*/ 99270 w 334956"/>
                      <a:gd name="connsiteY116" fmla="*/ 44539 h 334834"/>
                      <a:gd name="connsiteX117" fmla="*/ 98450 w 334956"/>
                      <a:gd name="connsiteY117" fmla="*/ 38043 h 334834"/>
                      <a:gd name="connsiteX118" fmla="*/ 95488 w 334956"/>
                      <a:gd name="connsiteY118" fmla="*/ 40510 h 334834"/>
                      <a:gd name="connsiteX119" fmla="*/ 269872 w 334956"/>
                      <a:gd name="connsiteY119" fmla="*/ 40919 h 334834"/>
                      <a:gd name="connsiteX120" fmla="*/ 271263 w 334956"/>
                      <a:gd name="connsiteY120" fmla="*/ 42977 h 334834"/>
                      <a:gd name="connsiteX121" fmla="*/ 271263 w 334956"/>
                      <a:gd name="connsiteY121" fmla="*/ 39519 h 334834"/>
                      <a:gd name="connsiteX122" fmla="*/ 269872 w 334956"/>
                      <a:gd name="connsiteY122" fmla="*/ 40919 h 334834"/>
                      <a:gd name="connsiteX123" fmla="*/ 187452 w 334956"/>
                      <a:gd name="connsiteY123" fmla="*/ 44377 h 334834"/>
                      <a:gd name="connsiteX124" fmla="*/ 192138 w 334956"/>
                      <a:gd name="connsiteY124" fmla="*/ 50378 h 334834"/>
                      <a:gd name="connsiteX125" fmla="*/ 191071 w 334956"/>
                      <a:gd name="connsiteY125" fmla="*/ 41338 h 334834"/>
                      <a:gd name="connsiteX126" fmla="*/ 187452 w 334956"/>
                      <a:gd name="connsiteY126" fmla="*/ 44377 h 334834"/>
                      <a:gd name="connsiteX127" fmla="*/ 129921 w 334956"/>
                      <a:gd name="connsiteY127" fmla="*/ 44701 h 334834"/>
                      <a:gd name="connsiteX128" fmla="*/ 135017 w 334956"/>
                      <a:gd name="connsiteY128" fmla="*/ 50120 h 334834"/>
                      <a:gd name="connsiteX129" fmla="*/ 133455 w 334956"/>
                      <a:gd name="connsiteY129" fmla="*/ 41491 h 334834"/>
                      <a:gd name="connsiteX130" fmla="*/ 129921 w 334956"/>
                      <a:gd name="connsiteY130" fmla="*/ 44701 h 334834"/>
                      <a:gd name="connsiteX131" fmla="*/ 246450 w 334956"/>
                      <a:gd name="connsiteY131" fmla="*/ 44625 h 334834"/>
                      <a:gd name="connsiteX132" fmla="*/ 249898 w 334956"/>
                      <a:gd name="connsiteY132" fmla="*/ 48816 h 334834"/>
                      <a:gd name="connsiteX133" fmla="*/ 248583 w 334956"/>
                      <a:gd name="connsiteY133" fmla="*/ 42729 h 334834"/>
                      <a:gd name="connsiteX134" fmla="*/ 246450 w 334956"/>
                      <a:gd name="connsiteY134" fmla="*/ 44625 h 334834"/>
                      <a:gd name="connsiteX135" fmla="*/ 74124 w 334956"/>
                      <a:gd name="connsiteY135" fmla="*/ 44625 h 334834"/>
                      <a:gd name="connsiteX136" fmla="*/ 76838 w 334956"/>
                      <a:gd name="connsiteY136" fmla="*/ 48406 h 334834"/>
                      <a:gd name="connsiteX137" fmla="*/ 76257 w 334956"/>
                      <a:gd name="connsiteY137" fmla="*/ 43062 h 334834"/>
                      <a:gd name="connsiteX138" fmla="*/ 74124 w 334956"/>
                      <a:gd name="connsiteY138" fmla="*/ 44625 h 334834"/>
                      <a:gd name="connsiteX139" fmla="*/ 164763 w 334956"/>
                      <a:gd name="connsiteY139" fmla="*/ 49139 h 334834"/>
                      <a:gd name="connsiteX140" fmla="*/ 170431 w 334956"/>
                      <a:gd name="connsiteY140" fmla="*/ 55140 h 334834"/>
                      <a:gd name="connsiteX141" fmla="*/ 168955 w 334956"/>
                      <a:gd name="connsiteY141" fmla="*/ 45444 h 334834"/>
                      <a:gd name="connsiteX142" fmla="*/ 164763 w 334956"/>
                      <a:gd name="connsiteY142" fmla="*/ 49139 h 334834"/>
                      <a:gd name="connsiteX143" fmla="*/ 107985 w 334956"/>
                      <a:gd name="connsiteY143" fmla="*/ 49139 h 334834"/>
                      <a:gd name="connsiteX144" fmla="*/ 112509 w 334956"/>
                      <a:gd name="connsiteY144" fmla="*/ 54397 h 334834"/>
                      <a:gd name="connsiteX145" fmla="*/ 111443 w 334956"/>
                      <a:gd name="connsiteY145" fmla="*/ 46101 h 334834"/>
                      <a:gd name="connsiteX146" fmla="*/ 107985 w 334956"/>
                      <a:gd name="connsiteY146" fmla="*/ 49139 h 334834"/>
                      <a:gd name="connsiteX147" fmla="*/ 223361 w 334956"/>
                      <a:gd name="connsiteY147" fmla="*/ 48730 h 334834"/>
                      <a:gd name="connsiteX148" fmla="*/ 227390 w 334956"/>
                      <a:gd name="connsiteY148" fmla="*/ 54321 h 334834"/>
                      <a:gd name="connsiteX149" fmla="*/ 226895 w 334956"/>
                      <a:gd name="connsiteY149" fmla="*/ 46187 h 334834"/>
                      <a:gd name="connsiteX150" fmla="*/ 223361 w 334956"/>
                      <a:gd name="connsiteY150" fmla="*/ 48730 h 334834"/>
                      <a:gd name="connsiteX151" fmla="*/ 52597 w 334956"/>
                      <a:gd name="connsiteY151" fmla="*/ 49959 h 334834"/>
                      <a:gd name="connsiteX152" fmla="*/ 54159 w 334956"/>
                      <a:gd name="connsiteY152" fmla="*/ 51845 h 334834"/>
                      <a:gd name="connsiteX153" fmla="*/ 55969 w 334956"/>
                      <a:gd name="connsiteY153" fmla="*/ 50444 h 334834"/>
                      <a:gd name="connsiteX154" fmla="*/ 54073 w 334956"/>
                      <a:gd name="connsiteY154" fmla="*/ 48387 h 334834"/>
                      <a:gd name="connsiteX155" fmla="*/ 52597 w 334956"/>
                      <a:gd name="connsiteY155" fmla="*/ 49959 h 334834"/>
                      <a:gd name="connsiteX156" fmla="*/ 283350 w 334956"/>
                      <a:gd name="connsiteY156" fmla="*/ 49959 h 334834"/>
                      <a:gd name="connsiteX157" fmla="*/ 284417 w 334956"/>
                      <a:gd name="connsiteY157" fmla="*/ 51435 h 334834"/>
                      <a:gd name="connsiteX158" fmla="*/ 286303 w 334956"/>
                      <a:gd name="connsiteY158" fmla="*/ 50282 h 334834"/>
                      <a:gd name="connsiteX159" fmla="*/ 284579 w 334956"/>
                      <a:gd name="connsiteY159" fmla="*/ 48635 h 334834"/>
                      <a:gd name="connsiteX160" fmla="*/ 283350 w 334956"/>
                      <a:gd name="connsiteY160" fmla="*/ 49959 h 334834"/>
                      <a:gd name="connsiteX161" fmla="*/ 142742 w 334956"/>
                      <a:gd name="connsiteY161" fmla="*/ 52835 h 334834"/>
                      <a:gd name="connsiteX162" fmla="*/ 147999 w 334956"/>
                      <a:gd name="connsiteY162" fmla="*/ 59741 h 334834"/>
                      <a:gd name="connsiteX163" fmla="*/ 147256 w 334956"/>
                      <a:gd name="connsiteY163" fmla="*/ 49635 h 334834"/>
                      <a:gd name="connsiteX164" fmla="*/ 142742 w 334956"/>
                      <a:gd name="connsiteY164" fmla="*/ 52835 h 334834"/>
                      <a:gd name="connsiteX165" fmla="*/ 200349 w 334956"/>
                      <a:gd name="connsiteY165" fmla="*/ 53416 h 334834"/>
                      <a:gd name="connsiteX166" fmla="*/ 205445 w 334956"/>
                      <a:gd name="connsiteY166" fmla="*/ 59493 h 334834"/>
                      <a:gd name="connsiteX167" fmla="*/ 204702 w 334956"/>
                      <a:gd name="connsiteY167" fmla="*/ 49882 h 334834"/>
                      <a:gd name="connsiteX168" fmla="*/ 200349 w 334956"/>
                      <a:gd name="connsiteY168" fmla="*/ 53416 h 334834"/>
                      <a:gd name="connsiteX169" fmla="*/ 86287 w 334956"/>
                      <a:gd name="connsiteY169" fmla="*/ 53664 h 334834"/>
                      <a:gd name="connsiteX170" fmla="*/ 90392 w 334956"/>
                      <a:gd name="connsiteY170" fmla="*/ 58341 h 334834"/>
                      <a:gd name="connsiteX171" fmla="*/ 89325 w 334956"/>
                      <a:gd name="connsiteY171" fmla="*/ 50949 h 334834"/>
                      <a:gd name="connsiteX172" fmla="*/ 86287 w 334956"/>
                      <a:gd name="connsiteY172" fmla="*/ 53664 h 334834"/>
                      <a:gd name="connsiteX173" fmla="*/ 259680 w 334956"/>
                      <a:gd name="connsiteY173" fmla="*/ 53902 h 334834"/>
                      <a:gd name="connsiteX174" fmla="*/ 263547 w 334956"/>
                      <a:gd name="connsiteY174" fmla="*/ 57521 h 334834"/>
                      <a:gd name="connsiteX175" fmla="*/ 261909 w 334956"/>
                      <a:gd name="connsiteY175" fmla="*/ 51683 h 334834"/>
                      <a:gd name="connsiteX176" fmla="*/ 259680 w 334956"/>
                      <a:gd name="connsiteY176" fmla="*/ 53902 h 334834"/>
                      <a:gd name="connsiteX177" fmla="*/ 177832 w 334956"/>
                      <a:gd name="connsiteY177" fmla="*/ 57436 h 334834"/>
                      <a:gd name="connsiteX178" fmla="*/ 183747 w 334956"/>
                      <a:gd name="connsiteY178" fmla="*/ 64418 h 334834"/>
                      <a:gd name="connsiteX179" fmla="*/ 182518 w 334956"/>
                      <a:gd name="connsiteY179" fmla="*/ 53816 h 334834"/>
                      <a:gd name="connsiteX180" fmla="*/ 177832 w 334956"/>
                      <a:gd name="connsiteY180" fmla="*/ 57436 h 334834"/>
                      <a:gd name="connsiteX181" fmla="*/ 120558 w 334956"/>
                      <a:gd name="connsiteY181" fmla="*/ 57683 h 334834"/>
                      <a:gd name="connsiteX182" fmla="*/ 125902 w 334956"/>
                      <a:gd name="connsiteY182" fmla="*/ 64094 h 334834"/>
                      <a:gd name="connsiteX183" fmla="*/ 124501 w 334956"/>
                      <a:gd name="connsiteY183" fmla="*/ 54235 h 334834"/>
                      <a:gd name="connsiteX184" fmla="*/ 120558 w 334956"/>
                      <a:gd name="connsiteY184" fmla="*/ 57683 h 334834"/>
                      <a:gd name="connsiteX185" fmla="*/ 236420 w 334956"/>
                      <a:gd name="connsiteY185" fmla="*/ 58102 h 334834"/>
                      <a:gd name="connsiteX186" fmla="*/ 241516 w 334956"/>
                      <a:gd name="connsiteY186" fmla="*/ 63113 h 334834"/>
                      <a:gd name="connsiteX187" fmla="*/ 239878 w 334956"/>
                      <a:gd name="connsiteY187" fmla="*/ 54978 h 334834"/>
                      <a:gd name="connsiteX188" fmla="*/ 236420 w 334956"/>
                      <a:gd name="connsiteY188" fmla="*/ 58102 h 334834"/>
                      <a:gd name="connsiteX189" fmla="*/ 65008 w 334956"/>
                      <a:gd name="connsiteY189" fmla="*/ 57683 h 334834"/>
                      <a:gd name="connsiteX190" fmla="*/ 67971 w 334956"/>
                      <a:gd name="connsiteY190" fmla="*/ 62036 h 334834"/>
                      <a:gd name="connsiteX191" fmla="*/ 67313 w 334956"/>
                      <a:gd name="connsiteY191" fmla="*/ 56036 h 334834"/>
                      <a:gd name="connsiteX192" fmla="*/ 65008 w 334956"/>
                      <a:gd name="connsiteY192" fmla="*/ 57683 h 334834"/>
                      <a:gd name="connsiteX193" fmla="*/ 155972 w 334956"/>
                      <a:gd name="connsiteY193" fmla="*/ 60646 h 334834"/>
                      <a:gd name="connsiteX194" fmla="*/ 159506 w 334956"/>
                      <a:gd name="connsiteY194" fmla="*/ 69113 h 334834"/>
                      <a:gd name="connsiteX195" fmla="*/ 160325 w 334956"/>
                      <a:gd name="connsiteY195" fmla="*/ 58026 h 334834"/>
                      <a:gd name="connsiteX196" fmla="*/ 155972 w 334956"/>
                      <a:gd name="connsiteY196" fmla="*/ 60646 h 334834"/>
                      <a:gd name="connsiteX197" fmla="*/ 297313 w 334956"/>
                      <a:gd name="connsiteY197" fmla="*/ 58674 h 334834"/>
                      <a:gd name="connsiteX198" fmla="*/ 297313 w 334956"/>
                      <a:gd name="connsiteY198" fmla="*/ 59255 h 334834"/>
                      <a:gd name="connsiteX199" fmla="*/ 297723 w 334956"/>
                      <a:gd name="connsiteY199" fmla="*/ 59750 h 334834"/>
                      <a:gd name="connsiteX200" fmla="*/ 298380 w 334956"/>
                      <a:gd name="connsiteY200" fmla="*/ 59836 h 334834"/>
                      <a:gd name="connsiteX201" fmla="*/ 298875 w 334956"/>
                      <a:gd name="connsiteY201" fmla="*/ 59426 h 334834"/>
                      <a:gd name="connsiteX202" fmla="*/ 298952 w 334956"/>
                      <a:gd name="connsiteY202" fmla="*/ 58769 h 334834"/>
                      <a:gd name="connsiteX203" fmla="*/ 298380 w 334956"/>
                      <a:gd name="connsiteY203" fmla="*/ 58274 h 334834"/>
                      <a:gd name="connsiteX204" fmla="*/ 297799 w 334956"/>
                      <a:gd name="connsiteY204" fmla="*/ 58188 h 334834"/>
                      <a:gd name="connsiteX205" fmla="*/ 297313 w 334956"/>
                      <a:gd name="connsiteY205" fmla="*/ 58674 h 334834"/>
                      <a:gd name="connsiteX206" fmla="*/ 213417 w 334956"/>
                      <a:gd name="connsiteY206" fmla="*/ 62455 h 334834"/>
                      <a:gd name="connsiteX207" fmla="*/ 219085 w 334956"/>
                      <a:gd name="connsiteY207" fmla="*/ 68532 h 334834"/>
                      <a:gd name="connsiteX208" fmla="*/ 217522 w 334956"/>
                      <a:gd name="connsiteY208" fmla="*/ 58588 h 334834"/>
                      <a:gd name="connsiteX209" fmla="*/ 213417 w 334956"/>
                      <a:gd name="connsiteY209" fmla="*/ 62455 h 334834"/>
                      <a:gd name="connsiteX210" fmla="*/ 98612 w 334956"/>
                      <a:gd name="connsiteY210" fmla="*/ 62617 h 334834"/>
                      <a:gd name="connsiteX211" fmla="*/ 103622 w 334956"/>
                      <a:gd name="connsiteY211" fmla="*/ 68123 h 334834"/>
                      <a:gd name="connsiteX212" fmla="*/ 102556 w 334956"/>
                      <a:gd name="connsiteY212" fmla="*/ 58998 h 334834"/>
                      <a:gd name="connsiteX213" fmla="*/ 98612 w 334956"/>
                      <a:gd name="connsiteY213" fmla="*/ 62617 h 334834"/>
                      <a:gd name="connsiteX214" fmla="*/ 273244 w 334956"/>
                      <a:gd name="connsiteY214" fmla="*/ 62617 h 334834"/>
                      <a:gd name="connsiteX215" fmla="*/ 276616 w 334956"/>
                      <a:gd name="connsiteY215" fmla="*/ 66237 h 334834"/>
                      <a:gd name="connsiteX216" fmla="*/ 275301 w 334956"/>
                      <a:gd name="connsiteY216" fmla="*/ 60731 h 334834"/>
                      <a:gd name="connsiteX217" fmla="*/ 273244 w 334956"/>
                      <a:gd name="connsiteY217" fmla="*/ 62617 h 334834"/>
                      <a:gd name="connsiteX218" fmla="*/ 43472 w 334956"/>
                      <a:gd name="connsiteY218" fmla="*/ 63274 h 334834"/>
                      <a:gd name="connsiteX219" fmla="*/ 46025 w 334956"/>
                      <a:gd name="connsiteY219" fmla="*/ 65408 h 334834"/>
                      <a:gd name="connsiteX220" fmla="*/ 47425 w 334956"/>
                      <a:gd name="connsiteY220" fmla="*/ 63846 h 334834"/>
                      <a:gd name="connsiteX221" fmla="*/ 45120 w 334956"/>
                      <a:gd name="connsiteY221" fmla="*/ 61465 h 334834"/>
                      <a:gd name="connsiteX222" fmla="*/ 43472 w 334956"/>
                      <a:gd name="connsiteY222" fmla="*/ 63274 h 334834"/>
                      <a:gd name="connsiteX223" fmla="*/ 133293 w 334956"/>
                      <a:gd name="connsiteY223" fmla="*/ 66151 h 334834"/>
                      <a:gd name="connsiteX224" fmla="*/ 137398 w 334956"/>
                      <a:gd name="connsiteY224" fmla="*/ 73542 h 334834"/>
                      <a:gd name="connsiteX225" fmla="*/ 138141 w 334956"/>
                      <a:gd name="connsiteY225" fmla="*/ 62446 h 334834"/>
                      <a:gd name="connsiteX226" fmla="*/ 133293 w 334956"/>
                      <a:gd name="connsiteY226" fmla="*/ 66151 h 334834"/>
                      <a:gd name="connsiteX227" fmla="*/ 190814 w 334956"/>
                      <a:gd name="connsiteY227" fmla="*/ 66151 h 334834"/>
                      <a:gd name="connsiteX228" fmla="*/ 194843 w 334956"/>
                      <a:gd name="connsiteY228" fmla="*/ 73628 h 334834"/>
                      <a:gd name="connsiteX229" fmla="*/ 195424 w 334956"/>
                      <a:gd name="connsiteY229" fmla="*/ 62455 h 334834"/>
                      <a:gd name="connsiteX230" fmla="*/ 190814 w 334956"/>
                      <a:gd name="connsiteY230" fmla="*/ 66151 h 334834"/>
                      <a:gd name="connsiteX231" fmla="*/ 77248 w 334956"/>
                      <a:gd name="connsiteY231" fmla="*/ 66475 h 334834"/>
                      <a:gd name="connsiteX232" fmla="*/ 81439 w 334956"/>
                      <a:gd name="connsiteY232" fmla="*/ 71980 h 334834"/>
                      <a:gd name="connsiteX233" fmla="*/ 80696 w 334956"/>
                      <a:gd name="connsiteY233" fmla="*/ 63932 h 334834"/>
                      <a:gd name="connsiteX234" fmla="*/ 77248 w 334956"/>
                      <a:gd name="connsiteY234" fmla="*/ 66475 h 334834"/>
                      <a:gd name="connsiteX235" fmla="*/ 249822 w 334956"/>
                      <a:gd name="connsiteY235" fmla="*/ 66894 h 334834"/>
                      <a:gd name="connsiteX236" fmla="*/ 254260 w 334956"/>
                      <a:gd name="connsiteY236" fmla="*/ 71990 h 334834"/>
                      <a:gd name="connsiteX237" fmla="*/ 253355 w 334956"/>
                      <a:gd name="connsiteY237" fmla="*/ 63941 h 334834"/>
                      <a:gd name="connsiteX238" fmla="*/ 249822 w 334956"/>
                      <a:gd name="connsiteY238" fmla="*/ 66894 h 334834"/>
                      <a:gd name="connsiteX239" fmla="*/ 170269 w 334956"/>
                      <a:gd name="connsiteY239" fmla="*/ 67627 h 334834"/>
                      <a:gd name="connsiteX240" fmla="*/ 169774 w 334956"/>
                      <a:gd name="connsiteY240" fmla="*/ 78638 h 334834"/>
                      <a:gd name="connsiteX241" fmla="*/ 177832 w 334956"/>
                      <a:gd name="connsiteY241" fmla="*/ 77238 h 334834"/>
                      <a:gd name="connsiteX242" fmla="*/ 179718 w 334956"/>
                      <a:gd name="connsiteY242" fmla="*/ 75600 h 334834"/>
                      <a:gd name="connsiteX243" fmla="*/ 179794 w 334956"/>
                      <a:gd name="connsiteY243" fmla="*/ 72561 h 334834"/>
                      <a:gd name="connsiteX244" fmla="*/ 173793 w 334956"/>
                      <a:gd name="connsiteY244" fmla="*/ 66484 h 334834"/>
                      <a:gd name="connsiteX245" fmla="*/ 170269 w 334956"/>
                      <a:gd name="connsiteY245" fmla="*/ 67627 h 334834"/>
                      <a:gd name="connsiteX246" fmla="*/ 111185 w 334956"/>
                      <a:gd name="connsiteY246" fmla="*/ 71247 h 334834"/>
                      <a:gd name="connsiteX247" fmla="*/ 117510 w 334956"/>
                      <a:gd name="connsiteY247" fmla="*/ 77743 h 334834"/>
                      <a:gd name="connsiteX248" fmla="*/ 115453 w 334956"/>
                      <a:gd name="connsiteY248" fmla="*/ 67142 h 334834"/>
                      <a:gd name="connsiteX249" fmla="*/ 111185 w 334956"/>
                      <a:gd name="connsiteY249" fmla="*/ 71247 h 334834"/>
                      <a:gd name="connsiteX250" fmla="*/ 226648 w 334956"/>
                      <a:gd name="connsiteY250" fmla="*/ 71075 h 334834"/>
                      <a:gd name="connsiteX251" fmla="*/ 231820 w 334956"/>
                      <a:gd name="connsiteY251" fmla="*/ 77486 h 334834"/>
                      <a:gd name="connsiteX252" fmla="*/ 231077 w 334956"/>
                      <a:gd name="connsiteY252" fmla="*/ 67380 h 334834"/>
                      <a:gd name="connsiteX253" fmla="*/ 226648 w 334956"/>
                      <a:gd name="connsiteY253" fmla="*/ 71075 h 334834"/>
                      <a:gd name="connsiteX254" fmla="*/ 55721 w 334956"/>
                      <a:gd name="connsiteY254" fmla="*/ 71495 h 334834"/>
                      <a:gd name="connsiteX255" fmla="*/ 59169 w 334956"/>
                      <a:gd name="connsiteY255" fmla="*/ 75524 h 334834"/>
                      <a:gd name="connsiteX256" fmla="*/ 58179 w 334956"/>
                      <a:gd name="connsiteY256" fmla="*/ 69199 h 334834"/>
                      <a:gd name="connsiteX257" fmla="*/ 55721 w 334956"/>
                      <a:gd name="connsiteY257" fmla="*/ 71495 h 334834"/>
                      <a:gd name="connsiteX258" fmla="*/ 286884 w 334956"/>
                      <a:gd name="connsiteY258" fmla="*/ 71495 h 334834"/>
                      <a:gd name="connsiteX259" fmla="*/ 289760 w 334956"/>
                      <a:gd name="connsiteY259" fmla="*/ 74781 h 334834"/>
                      <a:gd name="connsiteX260" fmla="*/ 288693 w 334956"/>
                      <a:gd name="connsiteY260" fmla="*/ 69933 h 334834"/>
                      <a:gd name="connsiteX261" fmla="*/ 286884 w 334956"/>
                      <a:gd name="connsiteY261" fmla="*/ 71495 h 334834"/>
                      <a:gd name="connsiteX262" fmla="*/ 146037 w 334956"/>
                      <a:gd name="connsiteY262" fmla="*/ 74447 h 334834"/>
                      <a:gd name="connsiteX263" fmla="*/ 145456 w 334956"/>
                      <a:gd name="connsiteY263" fmla="*/ 83649 h 334834"/>
                      <a:gd name="connsiteX264" fmla="*/ 136417 w 334956"/>
                      <a:gd name="connsiteY264" fmla="*/ 84639 h 334834"/>
                      <a:gd name="connsiteX265" fmla="*/ 132883 w 334956"/>
                      <a:gd name="connsiteY265" fmla="*/ 76095 h 334834"/>
                      <a:gd name="connsiteX266" fmla="*/ 128445 w 334956"/>
                      <a:gd name="connsiteY266" fmla="*/ 75514 h 334834"/>
                      <a:gd name="connsiteX267" fmla="*/ 126397 w 334956"/>
                      <a:gd name="connsiteY267" fmla="*/ 76257 h 334834"/>
                      <a:gd name="connsiteX268" fmla="*/ 124015 w 334956"/>
                      <a:gd name="connsiteY268" fmla="*/ 79134 h 334834"/>
                      <a:gd name="connsiteX269" fmla="*/ 126644 w 334956"/>
                      <a:gd name="connsiteY269" fmla="*/ 87182 h 334834"/>
                      <a:gd name="connsiteX270" fmla="*/ 135436 w 334956"/>
                      <a:gd name="connsiteY270" fmla="*/ 86030 h 334834"/>
                      <a:gd name="connsiteX271" fmla="*/ 137246 w 334956"/>
                      <a:gd name="connsiteY271" fmla="*/ 90468 h 334834"/>
                      <a:gd name="connsiteX272" fmla="*/ 137655 w 334956"/>
                      <a:gd name="connsiteY272" fmla="*/ 93840 h 334834"/>
                      <a:gd name="connsiteX273" fmla="*/ 130588 w 334956"/>
                      <a:gd name="connsiteY273" fmla="*/ 98031 h 334834"/>
                      <a:gd name="connsiteX274" fmla="*/ 125168 w 334956"/>
                      <a:gd name="connsiteY274" fmla="*/ 89078 h 334834"/>
                      <a:gd name="connsiteX275" fmla="*/ 118834 w 334956"/>
                      <a:gd name="connsiteY275" fmla="*/ 89078 h 334834"/>
                      <a:gd name="connsiteX276" fmla="*/ 115957 w 334956"/>
                      <a:gd name="connsiteY276" fmla="*/ 90068 h 334834"/>
                      <a:gd name="connsiteX277" fmla="*/ 115634 w 334956"/>
                      <a:gd name="connsiteY277" fmla="*/ 99765 h 334834"/>
                      <a:gd name="connsiteX278" fmla="*/ 106509 w 334956"/>
                      <a:gd name="connsiteY278" fmla="*/ 103299 h 334834"/>
                      <a:gd name="connsiteX279" fmla="*/ 106756 w 334956"/>
                      <a:gd name="connsiteY279" fmla="*/ 111843 h 334834"/>
                      <a:gd name="connsiteX280" fmla="*/ 100184 w 334956"/>
                      <a:gd name="connsiteY280" fmla="*/ 115786 h 334834"/>
                      <a:gd name="connsiteX281" fmla="*/ 97060 w 334956"/>
                      <a:gd name="connsiteY281" fmla="*/ 116119 h 334834"/>
                      <a:gd name="connsiteX282" fmla="*/ 89487 w 334956"/>
                      <a:gd name="connsiteY282" fmla="*/ 106423 h 334834"/>
                      <a:gd name="connsiteX283" fmla="*/ 87687 w 334956"/>
                      <a:gd name="connsiteY283" fmla="*/ 106909 h 334834"/>
                      <a:gd name="connsiteX284" fmla="*/ 85392 w 334956"/>
                      <a:gd name="connsiteY284" fmla="*/ 108394 h 334834"/>
                      <a:gd name="connsiteX285" fmla="*/ 87859 w 334956"/>
                      <a:gd name="connsiteY285" fmla="*/ 118091 h 334834"/>
                      <a:gd name="connsiteX286" fmla="*/ 95336 w 334956"/>
                      <a:gd name="connsiteY286" fmla="*/ 116853 h 334834"/>
                      <a:gd name="connsiteX287" fmla="*/ 97060 w 334956"/>
                      <a:gd name="connsiteY287" fmla="*/ 120310 h 334834"/>
                      <a:gd name="connsiteX288" fmla="*/ 94917 w 334956"/>
                      <a:gd name="connsiteY288" fmla="*/ 128445 h 334834"/>
                      <a:gd name="connsiteX289" fmla="*/ 87849 w 334956"/>
                      <a:gd name="connsiteY289" fmla="*/ 130826 h 334834"/>
                      <a:gd name="connsiteX290" fmla="*/ 88097 w 334956"/>
                      <a:gd name="connsiteY290" fmla="*/ 132721 h 334834"/>
                      <a:gd name="connsiteX291" fmla="*/ 87773 w 334956"/>
                      <a:gd name="connsiteY291" fmla="*/ 141018 h 334834"/>
                      <a:gd name="connsiteX292" fmla="*/ 79391 w 334956"/>
                      <a:gd name="connsiteY292" fmla="*/ 144304 h 334834"/>
                      <a:gd name="connsiteX293" fmla="*/ 80620 w 334956"/>
                      <a:gd name="connsiteY293" fmla="*/ 154248 h 334834"/>
                      <a:gd name="connsiteX294" fmla="*/ 71009 w 334956"/>
                      <a:gd name="connsiteY294" fmla="*/ 163039 h 334834"/>
                      <a:gd name="connsiteX295" fmla="*/ 72076 w 334956"/>
                      <a:gd name="connsiteY295" fmla="*/ 165344 h 334834"/>
                      <a:gd name="connsiteX296" fmla="*/ 81858 w 334956"/>
                      <a:gd name="connsiteY296" fmla="*/ 166002 h 334834"/>
                      <a:gd name="connsiteX297" fmla="*/ 84649 w 334956"/>
                      <a:gd name="connsiteY297" fmla="*/ 173241 h 334834"/>
                      <a:gd name="connsiteX298" fmla="*/ 77095 w 334956"/>
                      <a:gd name="connsiteY298" fmla="*/ 178165 h 334834"/>
                      <a:gd name="connsiteX299" fmla="*/ 75781 w 334956"/>
                      <a:gd name="connsiteY299" fmla="*/ 186547 h 334834"/>
                      <a:gd name="connsiteX300" fmla="*/ 88106 w 334956"/>
                      <a:gd name="connsiteY300" fmla="*/ 190576 h 334834"/>
                      <a:gd name="connsiteX301" fmla="*/ 88021 w 334956"/>
                      <a:gd name="connsiteY301" fmla="*/ 198711 h 334834"/>
                      <a:gd name="connsiteX302" fmla="*/ 84896 w 334956"/>
                      <a:gd name="connsiteY302" fmla="*/ 199615 h 334834"/>
                      <a:gd name="connsiteX303" fmla="*/ 79724 w 334956"/>
                      <a:gd name="connsiteY303" fmla="*/ 206759 h 334834"/>
                      <a:gd name="connsiteX304" fmla="*/ 80543 w 334956"/>
                      <a:gd name="connsiteY304" fmla="*/ 208979 h 334834"/>
                      <a:gd name="connsiteX305" fmla="*/ 87935 w 334956"/>
                      <a:gd name="connsiteY305" fmla="*/ 210626 h 334834"/>
                      <a:gd name="connsiteX306" fmla="*/ 91221 w 334956"/>
                      <a:gd name="connsiteY306" fmla="*/ 210217 h 334834"/>
                      <a:gd name="connsiteX307" fmla="*/ 95164 w 334956"/>
                      <a:gd name="connsiteY307" fmla="*/ 220161 h 334834"/>
                      <a:gd name="connsiteX308" fmla="*/ 105518 w 334956"/>
                      <a:gd name="connsiteY308" fmla="*/ 221066 h 334834"/>
                      <a:gd name="connsiteX309" fmla="*/ 107080 w 334956"/>
                      <a:gd name="connsiteY309" fmla="*/ 228543 h 334834"/>
                      <a:gd name="connsiteX310" fmla="*/ 105851 w 334956"/>
                      <a:gd name="connsiteY310" fmla="*/ 230019 h 334834"/>
                      <a:gd name="connsiteX311" fmla="*/ 99031 w 334956"/>
                      <a:gd name="connsiteY311" fmla="*/ 231743 h 334834"/>
                      <a:gd name="connsiteX312" fmla="*/ 99355 w 334956"/>
                      <a:gd name="connsiteY312" fmla="*/ 240782 h 334834"/>
                      <a:gd name="connsiteX313" fmla="*/ 108966 w 334956"/>
                      <a:gd name="connsiteY313" fmla="*/ 238725 h 334834"/>
                      <a:gd name="connsiteX314" fmla="*/ 107899 w 334956"/>
                      <a:gd name="connsiteY314" fmla="*/ 230667 h 334834"/>
                      <a:gd name="connsiteX315" fmla="*/ 116443 w 334956"/>
                      <a:gd name="connsiteY315" fmla="*/ 228448 h 334834"/>
                      <a:gd name="connsiteX316" fmla="*/ 118910 w 334956"/>
                      <a:gd name="connsiteY316" fmla="*/ 230419 h 334834"/>
                      <a:gd name="connsiteX317" fmla="*/ 119815 w 334956"/>
                      <a:gd name="connsiteY317" fmla="*/ 238058 h 334834"/>
                      <a:gd name="connsiteX318" fmla="*/ 110452 w 334956"/>
                      <a:gd name="connsiteY318" fmla="*/ 244878 h 334834"/>
                      <a:gd name="connsiteX319" fmla="*/ 110938 w 334956"/>
                      <a:gd name="connsiteY319" fmla="*/ 247021 h 334834"/>
                      <a:gd name="connsiteX320" fmla="*/ 112252 w 334956"/>
                      <a:gd name="connsiteY320" fmla="*/ 249403 h 334834"/>
                      <a:gd name="connsiteX321" fmla="*/ 122272 w 334956"/>
                      <a:gd name="connsiteY321" fmla="*/ 247593 h 334834"/>
                      <a:gd name="connsiteX322" fmla="*/ 122358 w 334956"/>
                      <a:gd name="connsiteY322" fmla="*/ 238554 h 334834"/>
                      <a:gd name="connsiteX323" fmla="*/ 125397 w 334956"/>
                      <a:gd name="connsiteY323" fmla="*/ 237734 h 334834"/>
                      <a:gd name="connsiteX324" fmla="*/ 133207 w 334956"/>
                      <a:gd name="connsiteY324" fmla="*/ 243402 h 334834"/>
                      <a:gd name="connsiteX325" fmla="*/ 133617 w 334956"/>
                      <a:gd name="connsiteY325" fmla="*/ 246774 h 334834"/>
                      <a:gd name="connsiteX326" fmla="*/ 123835 w 334956"/>
                      <a:gd name="connsiteY326" fmla="*/ 254251 h 334834"/>
                      <a:gd name="connsiteX327" fmla="*/ 124492 w 334956"/>
                      <a:gd name="connsiteY327" fmla="*/ 256470 h 334834"/>
                      <a:gd name="connsiteX328" fmla="*/ 126464 w 334956"/>
                      <a:gd name="connsiteY328" fmla="*/ 258928 h 334834"/>
                      <a:gd name="connsiteX329" fmla="*/ 135503 w 334956"/>
                      <a:gd name="connsiteY329" fmla="*/ 255813 h 334834"/>
                      <a:gd name="connsiteX330" fmla="*/ 134512 w 334956"/>
                      <a:gd name="connsiteY330" fmla="*/ 248002 h 334834"/>
                      <a:gd name="connsiteX331" fmla="*/ 145685 w 334956"/>
                      <a:gd name="connsiteY331" fmla="*/ 248079 h 334834"/>
                      <a:gd name="connsiteX332" fmla="*/ 148314 w 334956"/>
                      <a:gd name="connsiteY332" fmla="*/ 255556 h 334834"/>
                      <a:gd name="connsiteX333" fmla="*/ 158172 w 334956"/>
                      <a:gd name="connsiteY333" fmla="*/ 254489 h 334834"/>
                      <a:gd name="connsiteX334" fmla="*/ 160220 w 334956"/>
                      <a:gd name="connsiteY334" fmla="*/ 262042 h 334834"/>
                      <a:gd name="connsiteX335" fmla="*/ 170412 w 334956"/>
                      <a:gd name="connsiteY335" fmla="*/ 261880 h 334834"/>
                      <a:gd name="connsiteX336" fmla="*/ 170002 w 334956"/>
                      <a:gd name="connsiteY336" fmla="*/ 253822 h 334834"/>
                      <a:gd name="connsiteX337" fmla="*/ 177479 w 334956"/>
                      <a:gd name="connsiteY337" fmla="*/ 250288 h 334834"/>
                      <a:gd name="connsiteX338" fmla="*/ 182242 w 334956"/>
                      <a:gd name="connsiteY338" fmla="*/ 257604 h 334834"/>
                      <a:gd name="connsiteX339" fmla="*/ 190624 w 334956"/>
                      <a:gd name="connsiteY339" fmla="*/ 259156 h 334834"/>
                      <a:gd name="connsiteX340" fmla="*/ 192510 w 334956"/>
                      <a:gd name="connsiteY340" fmla="*/ 248555 h 334834"/>
                      <a:gd name="connsiteX341" fmla="*/ 198015 w 334956"/>
                      <a:gd name="connsiteY341" fmla="*/ 246250 h 334834"/>
                      <a:gd name="connsiteX342" fmla="*/ 201635 w 334956"/>
                      <a:gd name="connsiteY342" fmla="*/ 245754 h 334834"/>
                      <a:gd name="connsiteX343" fmla="*/ 204264 w 334956"/>
                      <a:gd name="connsiteY343" fmla="*/ 252574 h 334834"/>
                      <a:gd name="connsiteX344" fmla="*/ 211331 w 334956"/>
                      <a:gd name="connsiteY344" fmla="*/ 255127 h 334834"/>
                      <a:gd name="connsiteX345" fmla="*/ 213627 w 334956"/>
                      <a:gd name="connsiteY345" fmla="*/ 253898 h 334834"/>
                      <a:gd name="connsiteX346" fmla="*/ 215265 w 334956"/>
                      <a:gd name="connsiteY346" fmla="*/ 251269 h 334834"/>
                      <a:gd name="connsiteX347" fmla="*/ 212970 w 334956"/>
                      <a:gd name="connsiteY347" fmla="*/ 243545 h 334834"/>
                      <a:gd name="connsiteX348" fmla="*/ 204835 w 334956"/>
                      <a:gd name="connsiteY348" fmla="*/ 244773 h 334834"/>
                      <a:gd name="connsiteX349" fmla="*/ 202540 w 334956"/>
                      <a:gd name="connsiteY349" fmla="*/ 235077 h 334834"/>
                      <a:gd name="connsiteX350" fmla="*/ 211903 w 334956"/>
                      <a:gd name="connsiteY350" fmla="*/ 234582 h 334834"/>
                      <a:gd name="connsiteX351" fmla="*/ 213541 w 334956"/>
                      <a:gd name="connsiteY351" fmla="*/ 241240 h 334834"/>
                      <a:gd name="connsiteX352" fmla="*/ 222990 w 334956"/>
                      <a:gd name="connsiteY352" fmla="*/ 240830 h 334834"/>
                      <a:gd name="connsiteX353" fmla="*/ 223561 w 334956"/>
                      <a:gd name="connsiteY353" fmla="*/ 230800 h 334834"/>
                      <a:gd name="connsiteX354" fmla="*/ 233258 w 334956"/>
                      <a:gd name="connsiteY354" fmla="*/ 226781 h 334834"/>
                      <a:gd name="connsiteX355" fmla="*/ 232848 w 334956"/>
                      <a:gd name="connsiteY355" fmla="*/ 217408 h 334834"/>
                      <a:gd name="connsiteX356" fmla="*/ 242297 w 334956"/>
                      <a:gd name="connsiteY356" fmla="*/ 213465 h 334834"/>
                      <a:gd name="connsiteX357" fmla="*/ 241716 w 334956"/>
                      <a:gd name="connsiteY357" fmla="*/ 204016 h 334834"/>
                      <a:gd name="connsiteX358" fmla="*/ 251003 w 334956"/>
                      <a:gd name="connsiteY358" fmla="*/ 199825 h 334834"/>
                      <a:gd name="connsiteX359" fmla="*/ 250260 w 334956"/>
                      <a:gd name="connsiteY359" fmla="*/ 190462 h 334834"/>
                      <a:gd name="connsiteX360" fmla="*/ 259547 w 334956"/>
                      <a:gd name="connsiteY360" fmla="*/ 186023 h 334834"/>
                      <a:gd name="connsiteX361" fmla="*/ 259461 w 334956"/>
                      <a:gd name="connsiteY361" fmla="*/ 182575 h 334834"/>
                      <a:gd name="connsiteX362" fmla="*/ 256908 w 334956"/>
                      <a:gd name="connsiteY362" fmla="*/ 177070 h 334834"/>
                      <a:gd name="connsiteX363" fmla="*/ 248117 w 334956"/>
                      <a:gd name="connsiteY363" fmla="*/ 177232 h 334834"/>
                      <a:gd name="connsiteX364" fmla="*/ 248117 w 334956"/>
                      <a:gd name="connsiteY364" fmla="*/ 167126 h 334834"/>
                      <a:gd name="connsiteX365" fmla="*/ 255594 w 334956"/>
                      <a:gd name="connsiteY365" fmla="*/ 164906 h 334834"/>
                      <a:gd name="connsiteX366" fmla="*/ 254280 w 334956"/>
                      <a:gd name="connsiteY366" fmla="*/ 155210 h 334834"/>
                      <a:gd name="connsiteX367" fmla="*/ 261185 w 334956"/>
                      <a:gd name="connsiteY367" fmla="*/ 152829 h 334834"/>
                      <a:gd name="connsiteX368" fmla="*/ 261347 w 334956"/>
                      <a:gd name="connsiteY368" fmla="*/ 142389 h 334834"/>
                      <a:gd name="connsiteX369" fmla="*/ 251984 w 334956"/>
                      <a:gd name="connsiteY369" fmla="*/ 142465 h 334834"/>
                      <a:gd name="connsiteX370" fmla="*/ 248860 w 334956"/>
                      <a:gd name="connsiteY370" fmla="*/ 132607 h 334834"/>
                      <a:gd name="connsiteX371" fmla="*/ 245488 w 334956"/>
                      <a:gd name="connsiteY371" fmla="*/ 132931 h 334834"/>
                      <a:gd name="connsiteX372" fmla="*/ 237763 w 334956"/>
                      <a:gd name="connsiteY372" fmla="*/ 130873 h 334834"/>
                      <a:gd name="connsiteX373" fmla="*/ 237106 w 334956"/>
                      <a:gd name="connsiteY373" fmla="*/ 128407 h 334834"/>
                      <a:gd name="connsiteX374" fmla="*/ 245402 w 334956"/>
                      <a:gd name="connsiteY374" fmla="*/ 121006 h 334834"/>
                      <a:gd name="connsiteX375" fmla="*/ 245564 w 334956"/>
                      <a:gd name="connsiteY375" fmla="*/ 113205 h 334834"/>
                      <a:gd name="connsiteX376" fmla="*/ 234305 w 334956"/>
                      <a:gd name="connsiteY376" fmla="*/ 111233 h 334834"/>
                      <a:gd name="connsiteX377" fmla="*/ 230934 w 334956"/>
                      <a:gd name="connsiteY377" fmla="*/ 101946 h 334834"/>
                      <a:gd name="connsiteX378" fmla="*/ 221323 w 334956"/>
                      <a:gd name="connsiteY378" fmla="*/ 102117 h 334834"/>
                      <a:gd name="connsiteX379" fmla="*/ 218199 w 334956"/>
                      <a:gd name="connsiteY379" fmla="*/ 93326 h 334834"/>
                      <a:gd name="connsiteX380" fmla="*/ 208255 w 334956"/>
                      <a:gd name="connsiteY380" fmla="*/ 93412 h 334834"/>
                      <a:gd name="connsiteX381" fmla="*/ 204311 w 334956"/>
                      <a:gd name="connsiteY381" fmla="*/ 84211 h 334834"/>
                      <a:gd name="connsiteX382" fmla="*/ 194939 w 334956"/>
                      <a:gd name="connsiteY382" fmla="*/ 84953 h 334834"/>
                      <a:gd name="connsiteX383" fmla="*/ 187785 w 334956"/>
                      <a:gd name="connsiteY383" fmla="*/ 75171 h 334834"/>
                      <a:gd name="connsiteX384" fmla="*/ 181289 w 334956"/>
                      <a:gd name="connsiteY384" fmla="*/ 77800 h 334834"/>
                      <a:gd name="connsiteX385" fmla="*/ 180470 w 334956"/>
                      <a:gd name="connsiteY385" fmla="*/ 87659 h 334834"/>
                      <a:gd name="connsiteX386" fmla="*/ 178003 w 334956"/>
                      <a:gd name="connsiteY386" fmla="*/ 88649 h 334834"/>
                      <a:gd name="connsiteX387" fmla="*/ 170279 w 334956"/>
                      <a:gd name="connsiteY387" fmla="*/ 82487 h 334834"/>
                      <a:gd name="connsiteX388" fmla="*/ 169459 w 334956"/>
                      <a:gd name="connsiteY388" fmla="*/ 79115 h 334834"/>
                      <a:gd name="connsiteX389" fmla="*/ 159430 w 334956"/>
                      <a:gd name="connsiteY389" fmla="*/ 80591 h 334834"/>
                      <a:gd name="connsiteX390" fmla="*/ 151952 w 334956"/>
                      <a:gd name="connsiteY390" fmla="*/ 70809 h 334834"/>
                      <a:gd name="connsiteX391" fmla="*/ 146037 w 334956"/>
                      <a:gd name="connsiteY391" fmla="*/ 74447 h 334834"/>
                      <a:gd name="connsiteX392" fmla="*/ 203968 w 334956"/>
                      <a:gd name="connsiteY392" fmla="*/ 74609 h 334834"/>
                      <a:gd name="connsiteX393" fmla="*/ 207331 w 334956"/>
                      <a:gd name="connsiteY393" fmla="*/ 82658 h 334834"/>
                      <a:gd name="connsiteX394" fmla="*/ 210455 w 334956"/>
                      <a:gd name="connsiteY394" fmla="*/ 82163 h 334834"/>
                      <a:gd name="connsiteX395" fmla="*/ 208893 w 334956"/>
                      <a:gd name="connsiteY395" fmla="*/ 71066 h 334834"/>
                      <a:gd name="connsiteX396" fmla="*/ 203968 w 334956"/>
                      <a:gd name="connsiteY396" fmla="*/ 74609 h 334834"/>
                      <a:gd name="connsiteX397" fmla="*/ 89573 w 334956"/>
                      <a:gd name="connsiteY397" fmla="*/ 75514 h 334834"/>
                      <a:gd name="connsiteX398" fmla="*/ 95250 w 334956"/>
                      <a:gd name="connsiteY398" fmla="*/ 81677 h 334834"/>
                      <a:gd name="connsiteX399" fmla="*/ 93354 w 334956"/>
                      <a:gd name="connsiteY399" fmla="*/ 71980 h 334834"/>
                      <a:gd name="connsiteX400" fmla="*/ 89573 w 334956"/>
                      <a:gd name="connsiteY400" fmla="*/ 75514 h 334834"/>
                      <a:gd name="connsiteX401" fmla="*/ 263376 w 334956"/>
                      <a:gd name="connsiteY401" fmla="*/ 75438 h 334834"/>
                      <a:gd name="connsiteX402" fmla="*/ 267653 w 334956"/>
                      <a:gd name="connsiteY402" fmla="*/ 80620 h 334834"/>
                      <a:gd name="connsiteX403" fmla="*/ 266833 w 334956"/>
                      <a:gd name="connsiteY403" fmla="*/ 72895 h 334834"/>
                      <a:gd name="connsiteX404" fmla="*/ 263376 w 334956"/>
                      <a:gd name="connsiteY404" fmla="*/ 75438 h 334834"/>
                      <a:gd name="connsiteX405" fmla="*/ 36243 w 334956"/>
                      <a:gd name="connsiteY405" fmla="*/ 78810 h 334834"/>
                      <a:gd name="connsiteX406" fmla="*/ 36243 w 334956"/>
                      <a:gd name="connsiteY406" fmla="*/ 74695 h 334834"/>
                      <a:gd name="connsiteX407" fmla="*/ 36243 w 334956"/>
                      <a:gd name="connsiteY407" fmla="*/ 78810 h 334834"/>
                      <a:gd name="connsiteX408" fmla="*/ 239878 w 334956"/>
                      <a:gd name="connsiteY408" fmla="*/ 80362 h 334834"/>
                      <a:gd name="connsiteX409" fmla="*/ 245793 w 334956"/>
                      <a:gd name="connsiteY409" fmla="*/ 86201 h 334834"/>
                      <a:gd name="connsiteX410" fmla="*/ 244069 w 334956"/>
                      <a:gd name="connsiteY410" fmla="*/ 76343 h 334834"/>
                      <a:gd name="connsiteX411" fmla="*/ 239878 w 334956"/>
                      <a:gd name="connsiteY411" fmla="*/ 80362 h 334834"/>
                      <a:gd name="connsiteX412" fmla="*/ 68047 w 334956"/>
                      <a:gd name="connsiteY412" fmla="*/ 80200 h 334834"/>
                      <a:gd name="connsiteX413" fmla="*/ 73057 w 334956"/>
                      <a:gd name="connsiteY413" fmla="*/ 85373 h 334834"/>
                      <a:gd name="connsiteX414" fmla="*/ 71495 w 334956"/>
                      <a:gd name="connsiteY414" fmla="*/ 77076 h 334834"/>
                      <a:gd name="connsiteX415" fmla="*/ 68047 w 334956"/>
                      <a:gd name="connsiteY415" fmla="*/ 80200 h 334834"/>
                      <a:gd name="connsiteX416" fmla="*/ 300599 w 334956"/>
                      <a:gd name="connsiteY416" fmla="*/ 80782 h 334834"/>
                      <a:gd name="connsiteX417" fmla="*/ 302162 w 334956"/>
                      <a:gd name="connsiteY417" fmla="*/ 83163 h 334834"/>
                      <a:gd name="connsiteX418" fmla="*/ 302323 w 334956"/>
                      <a:gd name="connsiteY418" fmla="*/ 79143 h 334834"/>
                      <a:gd name="connsiteX419" fmla="*/ 300599 w 334956"/>
                      <a:gd name="connsiteY419" fmla="*/ 80782 h 334834"/>
                      <a:gd name="connsiteX420" fmla="*/ 217199 w 334956"/>
                      <a:gd name="connsiteY420" fmla="*/ 83239 h 334834"/>
                      <a:gd name="connsiteX421" fmla="*/ 217275 w 334956"/>
                      <a:gd name="connsiteY421" fmla="*/ 86439 h 334834"/>
                      <a:gd name="connsiteX422" fmla="*/ 220647 w 334956"/>
                      <a:gd name="connsiteY422" fmla="*/ 91621 h 334834"/>
                      <a:gd name="connsiteX423" fmla="*/ 223771 w 334956"/>
                      <a:gd name="connsiteY423" fmla="*/ 91049 h 334834"/>
                      <a:gd name="connsiteX424" fmla="*/ 226400 w 334956"/>
                      <a:gd name="connsiteY424" fmla="*/ 90307 h 334834"/>
                      <a:gd name="connsiteX425" fmla="*/ 221799 w 334956"/>
                      <a:gd name="connsiteY425" fmla="*/ 79953 h 334834"/>
                      <a:gd name="connsiteX426" fmla="*/ 217199 w 334956"/>
                      <a:gd name="connsiteY426" fmla="*/ 83239 h 334834"/>
                      <a:gd name="connsiteX427" fmla="*/ 102146 w 334956"/>
                      <a:gd name="connsiteY427" fmla="*/ 84068 h 334834"/>
                      <a:gd name="connsiteX428" fmla="*/ 107652 w 334956"/>
                      <a:gd name="connsiteY428" fmla="*/ 91297 h 334834"/>
                      <a:gd name="connsiteX429" fmla="*/ 112662 w 334956"/>
                      <a:gd name="connsiteY429" fmla="*/ 88916 h 334834"/>
                      <a:gd name="connsiteX430" fmla="*/ 106832 w 334956"/>
                      <a:gd name="connsiteY430" fmla="*/ 80039 h 334834"/>
                      <a:gd name="connsiteX431" fmla="*/ 102146 w 334956"/>
                      <a:gd name="connsiteY431" fmla="*/ 84068 h 334834"/>
                      <a:gd name="connsiteX432" fmla="*/ 159506 w 334956"/>
                      <a:gd name="connsiteY432" fmla="*/ 86449 h 334834"/>
                      <a:gd name="connsiteX433" fmla="*/ 159839 w 334956"/>
                      <a:gd name="connsiteY433" fmla="*/ 89078 h 334834"/>
                      <a:gd name="connsiteX434" fmla="*/ 151867 w 334956"/>
                      <a:gd name="connsiteY434" fmla="*/ 93107 h 334834"/>
                      <a:gd name="connsiteX435" fmla="*/ 149323 w 334956"/>
                      <a:gd name="connsiteY435" fmla="*/ 91297 h 334834"/>
                      <a:gd name="connsiteX436" fmla="*/ 148990 w 334956"/>
                      <a:gd name="connsiteY436" fmla="*/ 83325 h 334834"/>
                      <a:gd name="connsiteX437" fmla="*/ 156220 w 334956"/>
                      <a:gd name="connsiteY437" fmla="*/ 81515 h 334834"/>
                      <a:gd name="connsiteX438" fmla="*/ 159506 w 334956"/>
                      <a:gd name="connsiteY438" fmla="*/ 86449 h 334834"/>
                      <a:gd name="connsiteX439" fmla="*/ 276854 w 334956"/>
                      <a:gd name="connsiteY439" fmla="*/ 84887 h 334834"/>
                      <a:gd name="connsiteX440" fmla="*/ 280635 w 334956"/>
                      <a:gd name="connsiteY440" fmla="*/ 89240 h 334834"/>
                      <a:gd name="connsiteX441" fmla="*/ 279892 w 334956"/>
                      <a:gd name="connsiteY441" fmla="*/ 82096 h 334834"/>
                      <a:gd name="connsiteX442" fmla="*/ 276854 w 334956"/>
                      <a:gd name="connsiteY442" fmla="*/ 84887 h 334834"/>
                      <a:gd name="connsiteX443" fmla="*/ 46844 w 334956"/>
                      <a:gd name="connsiteY443" fmla="*/ 84563 h 334834"/>
                      <a:gd name="connsiteX444" fmla="*/ 50702 w 334956"/>
                      <a:gd name="connsiteY444" fmla="*/ 88840 h 334834"/>
                      <a:gd name="connsiteX445" fmla="*/ 49311 w 334956"/>
                      <a:gd name="connsiteY445" fmla="*/ 82429 h 334834"/>
                      <a:gd name="connsiteX446" fmla="*/ 46844 w 334956"/>
                      <a:gd name="connsiteY446" fmla="*/ 84563 h 334834"/>
                      <a:gd name="connsiteX447" fmla="*/ 80458 w 334956"/>
                      <a:gd name="connsiteY447" fmla="*/ 88916 h 334834"/>
                      <a:gd name="connsiteX448" fmla="*/ 86868 w 334956"/>
                      <a:gd name="connsiteY448" fmla="*/ 95079 h 334834"/>
                      <a:gd name="connsiteX449" fmla="*/ 84649 w 334956"/>
                      <a:gd name="connsiteY449" fmla="*/ 85058 h 334834"/>
                      <a:gd name="connsiteX450" fmla="*/ 80458 w 334956"/>
                      <a:gd name="connsiteY450" fmla="*/ 88916 h 334834"/>
                      <a:gd name="connsiteX451" fmla="*/ 253517 w 334956"/>
                      <a:gd name="connsiteY451" fmla="*/ 88744 h 334834"/>
                      <a:gd name="connsiteX452" fmla="*/ 258775 w 334956"/>
                      <a:gd name="connsiteY452" fmla="*/ 94907 h 334834"/>
                      <a:gd name="connsiteX453" fmla="*/ 257708 w 334956"/>
                      <a:gd name="connsiteY453" fmla="*/ 85373 h 334834"/>
                      <a:gd name="connsiteX454" fmla="*/ 253517 w 334956"/>
                      <a:gd name="connsiteY454" fmla="*/ 88744 h 334834"/>
                      <a:gd name="connsiteX455" fmla="*/ 194843 w 334956"/>
                      <a:gd name="connsiteY455" fmla="*/ 90059 h 334834"/>
                      <a:gd name="connsiteX456" fmla="*/ 195339 w 334956"/>
                      <a:gd name="connsiteY456" fmla="*/ 93593 h 334834"/>
                      <a:gd name="connsiteX457" fmla="*/ 188681 w 334956"/>
                      <a:gd name="connsiteY457" fmla="*/ 97698 h 334834"/>
                      <a:gd name="connsiteX458" fmla="*/ 184737 w 334956"/>
                      <a:gd name="connsiteY458" fmla="*/ 88249 h 334834"/>
                      <a:gd name="connsiteX459" fmla="*/ 190729 w 334956"/>
                      <a:gd name="connsiteY459" fmla="*/ 86116 h 334834"/>
                      <a:gd name="connsiteX460" fmla="*/ 194843 w 334956"/>
                      <a:gd name="connsiteY460" fmla="*/ 90059 h 334834"/>
                      <a:gd name="connsiteX461" fmla="*/ 25727 w 334956"/>
                      <a:gd name="connsiteY461" fmla="*/ 89735 h 334834"/>
                      <a:gd name="connsiteX462" fmla="*/ 28194 w 334956"/>
                      <a:gd name="connsiteY462" fmla="*/ 92040 h 334834"/>
                      <a:gd name="connsiteX463" fmla="*/ 27289 w 334956"/>
                      <a:gd name="connsiteY463" fmla="*/ 88097 h 334834"/>
                      <a:gd name="connsiteX464" fmla="*/ 25727 w 334956"/>
                      <a:gd name="connsiteY464" fmla="*/ 89735 h 334834"/>
                      <a:gd name="connsiteX465" fmla="*/ 314573 w 334956"/>
                      <a:gd name="connsiteY465" fmla="*/ 90145 h 334834"/>
                      <a:gd name="connsiteX466" fmla="*/ 315725 w 334956"/>
                      <a:gd name="connsiteY466" fmla="*/ 91297 h 334834"/>
                      <a:gd name="connsiteX467" fmla="*/ 317125 w 334956"/>
                      <a:gd name="connsiteY467" fmla="*/ 90230 h 334834"/>
                      <a:gd name="connsiteX468" fmla="*/ 315725 w 334956"/>
                      <a:gd name="connsiteY468" fmla="*/ 88754 h 334834"/>
                      <a:gd name="connsiteX469" fmla="*/ 314573 w 334956"/>
                      <a:gd name="connsiteY469" fmla="*/ 90145 h 334834"/>
                      <a:gd name="connsiteX470" fmla="*/ 230505 w 334956"/>
                      <a:gd name="connsiteY470" fmla="*/ 92278 h 334834"/>
                      <a:gd name="connsiteX471" fmla="*/ 233791 w 334956"/>
                      <a:gd name="connsiteY471" fmla="*/ 100327 h 334834"/>
                      <a:gd name="connsiteX472" fmla="*/ 237077 w 334956"/>
                      <a:gd name="connsiteY472" fmla="*/ 99917 h 334834"/>
                      <a:gd name="connsiteX473" fmla="*/ 235515 w 334956"/>
                      <a:gd name="connsiteY473" fmla="*/ 88821 h 334834"/>
                      <a:gd name="connsiteX474" fmla="*/ 230505 w 334956"/>
                      <a:gd name="connsiteY474" fmla="*/ 92278 h 334834"/>
                      <a:gd name="connsiteX475" fmla="*/ 59169 w 334956"/>
                      <a:gd name="connsiteY475" fmla="*/ 93345 h 334834"/>
                      <a:gd name="connsiteX476" fmla="*/ 64427 w 334956"/>
                      <a:gd name="connsiteY476" fmla="*/ 98688 h 334834"/>
                      <a:gd name="connsiteX477" fmla="*/ 62455 w 334956"/>
                      <a:gd name="connsiteY477" fmla="*/ 90307 h 334834"/>
                      <a:gd name="connsiteX478" fmla="*/ 59169 w 334956"/>
                      <a:gd name="connsiteY478" fmla="*/ 93345 h 334834"/>
                      <a:gd name="connsiteX479" fmla="*/ 168135 w 334956"/>
                      <a:gd name="connsiteY479" fmla="*/ 101813 h 334834"/>
                      <a:gd name="connsiteX480" fmla="*/ 162211 w 334956"/>
                      <a:gd name="connsiteY480" fmla="*/ 94250 h 334834"/>
                      <a:gd name="connsiteX481" fmla="*/ 167059 w 334956"/>
                      <a:gd name="connsiteY481" fmla="*/ 90878 h 334834"/>
                      <a:gd name="connsiteX482" fmla="*/ 168135 w 334956"/>
                      <a:gd name="connsiteY482" fmla="*/ 101813 h 334834"/>
                      <a:gd name="connsiteX483" fmla="*/ 290579 w 334956"/>
                      <a:gd name="connsiteY483" fmla="*/ 93840 h 334834"/>
                      <a:gd name="connsiteX484" fmla="*/ 294027 w 334956"/>
                      <a:gd name="connsiteY484" fmla="*/ 97622 h 334834"/>
                      <a:gd name="connsiteX485" fmla="*/ 293446 w 334956"/>
                      <a:gd name="connsiteY485" fmla="*/ 91373 h 334834"/>
                      <a:gd name="connsiteX486" fmla="*/ 290579 w 334956"/>
                      <a:gd name="connsiteY486" fmla="*/ 93840 h 334834"/>
                      <a:gd name="connsiteX487" fmla="*/ 93193 w 334956"/>
                      <a:gd name="connsiteY487" fmla="*/ 96964 h 334834"/>
                      <a:gd name="connsiteX488" fmla="*/ 96974 w 334956"/>
                      <a:gd name="connsiteY488" fmla="*/ 104765 h 334834"/>
                      <a:gd name="connsiteX489" fmla="*/ 100422 w 334956"/>
                      <a:gd name="connsiteY489" fmla="*/ 104194 h 334834"/>
                      <a:gd name="connsiteX490" fmla="*/ 104613 w 334956"/>
                      <a:gd name="connsiteY490" fmla="*/ 102137 h 334834"/>
                      <a:gd name="connsiteX491" fmla="*/ 104365 w 334956"/>
                      <a:gd name="connsiteY491" fmla="*/ 99174 h 334834"/>
                      <a:gd name="connsiteX492" fmla="*/ 98365 w 334956"/>
                      <a:gd name="connsiteY492" fmla="*/ 93097 h 334834"/>
                      <a:gd name="connsiteX493" fmla="*/ 93193 w 334956"/>
                      <a:gd name="connsiteY493" fmla="*/ 96964 h 334834"/>
                      <a:gd name="connsiteX494" fmla="*/ 267081 w 334956"/>
                      <a:gd name="connsiteY494" fmla="*/ 97698 h 334834"/>
                      <a:gd name="connsiteX495" fmla="*/ 272253 w 334956"/>
                      <a:gd name="connsiteY495" fmla="*/ 103375 h 334834"/>
                      <a:gd name="connsiteX496" fmla="*/ 271024 w 334956"/>
                      <a:gd name="connsiteY496" fmla="*/ 94497 h 334834"/>
                      <a:gd name="connsiteX497" fmla="*/ 267081 w 334956"/>
                      <a:gd name="connsiteY497" fmla="*/ 97698 h 334834"/>
                      <a:gd name="connsiteX498" fmla="*/ 202159 w 334956"/>
                      <a:gd name="connsiteY498" fmla="*/ 106499 h 334834"/>
                      <a:gd name="connsiteX499" fmla="*/ 198053 w 334956"/>
                      <a:gd name="connsiteY499" fmla="*/ 97784 h 334834"/>
                      <a:gd name="connsiteX500" fmla="*/ 203311 w 334956"/>
                      <a:gd name="connsiteY500" fmla="*/ 95155 h 334834"/>
                      <a:gd name="connsiteX501" fmla="*/ 202159 w 334956"/>
                      <a:gd name="connsiteY501" fmla="*/ 106499 h 334834"/>
                      <a:gd name="connsiteX502" fmla="*/ 145456 w 334956"/>
                      <a:gd name="connsiteY502" fmla="*/ 106251 h 334834"/>
                      <a:gd name="connsiteX503" fmla="*/ 139789 w 334956"/>
                      <a:gd name="connsiteY503" fmla="*/ 99346 h 334834"/>
                      <a:gd name="connsiteX504" fmla="*/ 144389 w 334956"/>
                      <a:gd name="connsiteY504" fmla="*/ 95402 h 334834"/>
                      <a:gd name="connsiteX505" fmla="*/ 145456 w 334956"/>
                      <a:gd name="connsiteY505" fmla="*/ 106251 h 334834"/>
                      <a:gd name="connsiteX506" fmla="*/ 37976 w 334956"/>
                      <a:gd name="connsiteY506" fmla="*/ 98031 h 334834"/>
                      <a:gd name="connsiteX507" fmla="*/ 41348 w 334956"/>
                      <a:gd name="connsiteY507" fmla="*/ 102137 h 334834"/>
                      <a:gd name="connsiteX508" fmla="*/ 40767 w 334956"/>
                      <a:gd name="connsiteY508" fmla="*/ 95726 h 334834"/>
                      <a:gd name="connsiteX509" fmla="*/ 37976 w 334956"/>
                      <a:gd name="connsiteY509" fmla="*/ 98031 h 334834"/>
                      <a:gd name="connsiteX510" fmla="*/ 243821 w 334956"/>
                      <a:gd name="connsiteY510" fmla="*/ 101898 h 334834"/>
                      <a:gd name="connsiteX511" fmla="*/ 250393 w 334956"/>
                      <a:gd name="connsiteY511" fmla="*/ 108880 h 334834"/>
                      <a:gd name="connsiteX512" fmla="*/ 248250 w 334956"/>
                      <a:gd name="connsiteY512" fmla="*/ 97869 h 334834"/>
                      <a:gd name="connsiteX513" fmla="*/ 243821 w 334956"/>
                      <a:gd name="connsiteY513" fmla="*/ 101898 h 334834"/>
                      <a:gd name="connsiteX514" fmla="*/ 71581 w 334956"/>
                      <a:gd name="connsiteY514" fmla="*/ 102146 h 334834"/>
                      <a:gd name="connsiteX515" fmla="*/ 77162 w 334956"/>
                      <a:gd name="connsiteY515" fmla="*/ 108556 h 334834"/>
                      <a:gd name="connsiteX516" fmla="*/ 76257 w 334956"/>
                      <a:gd name="connsiteY516" fmla="*/ 98203 h 334834"/>
                      <a:gd name="connsiteX517" fmla="*/ 71581 w 334956"/>
                      <a:gd name="connsiteY517" fmla="*/ 102146 h 334834"/>
                      <a:gd name="connsiteX518" fmla="*/ 122282 w 334956"/>
                      <a:gd name="connsiteY518" fmla="*/ 111014 h 334834"/>
                      <a:gd name="connsiteX519" fmla="*/ 117358 w 334956"/>
                      <a:gd name="connsiteY519" fmla="*/ 105918 h 334834"/>
                      <a:gd name="connsiteX520" fmla="*/ 117767 w 334956"/>
                      <a:gd name="connsiteY520" fmla="*/ 101727 h 334834"/>
                      <a:gd name="connsiteX521" fmla="*/ 123435 w 334956"/>
                      <a:gd name="connsiteY521" fmla="*/ 99584 h 334834"/>
                      <a:gd name="connsiteX522" fmla="*/ 122282 w 334956"/>
                      <a:gd name="connsiteY522" fmla="*/ 111014 h 334834"/>
                      <a:gd name="connsiteX523" fmla="*/ 181366 w 334956"/>
                      <a:gd name="connsiteY523" fmla="*/ 110280 h 334834"/>
                      <a:gd name="connsiteX524" fmla="*/ 175784 w 334956"/>
                      <a:gd name="connsiteY524" fmla="*/ 103794 h 334834"/>
                      <a:gd name="connsiteX525" fmla="*/ 179975 w 334956"/>
                      <a:gd name="connsiteY525" fmla="*/ 100184 h 334834"/>
                      <a:gd name="connsiteX526" fmla="*/ 181366 w 334956"/>
                      <a:gd name="connsiteY526" fmla="*/ 110280 h 334834"/>
                      <a:gd name="connsiteX527" fmla="*/ 304552 w 334956"/>
                      <a:gd name="connsiteY527" fmla="*/ 102556 h 334834"/>
                      <a:gd name="connsiteX528" fmla="*/ 307267 w 334956"/>
                      <a:gd name="connsiteY528" fmla="*/ 105928 h 334834"/>
                      <a:gd name="connsiteX529" fmla="*/ 306448 w 334956"/>
                      <a:gd name="connsiteY529" fmla="*/ 100832 h 334834"/>
                      <a:gd name="connsiteX530" fmla="*/ 304552 w 334956"/>
                      <a:gd name="connsiteY530" fmla="*/ 102556 h 334834"/>
                      <a:gd name="connsiteX531" fmla="*/ 17098 w 334956"/>
                      <a:gd name="connsiteY531" fmla="*/ 103041 h 334834"/>
                      <a:gd name="connsiteX532" fmla="*/ 18660 w 334956"/>
                      <a:gd name="connsiteY532" fmla="*/ 105185 h 334834"/>
                      <a:gd name="connsiteX533" fmla="*/ 20717 w 334956"/>
                      <a:gd name="connsiteY533" fmla="*/ 103127 h 334834"/>
                      <a:gd name="connsiteX534" fmla="*/ 18660 w 334956"/>
                      <a:gd name="connsiteY534" fmla="*/ 101575 h 334834"/>
                      <a:gd name="connsiteX535" fmla="*/ 17098 w 334956"/>
                      <a:gd name="connsiteY535" fmla="*/ 103041 h 334834"/>
                      <a:gd name="connsiteX536" fmla="*/ 50302 w 334956"/>
                      <a:gd name="connsiteY536" fmla="*/ 106747 h 334834"/>
                      <a:gd name="connsiteX537" fmla="*/ 55474 w 334956"/>
                      <a:gd name="connsiteY537" fmla="*/ 111919 h 334834"/>
                      <a:gd name="connsiteX538" fmla="*/ 53750 w 334956"/>
                      <a:gd name="connsiteY538" fmla="*/ 103622 h 334834"/>
                      <a:gd name="connsiteX539" fmla="*/ 50302 w 334956"/>
                      <a:gd name="connsiteY539" fmla="*/ 106747 h 334834"/>
                      <a:gd name="connsiteX540" fmla="*/ 280797 w 334956"/>
                      <a:gd name="connsiteY540" fmla="*/ 106823 h 334834"/>
                      <a:gd name="connsiteX541" fmla="*/ 285398 w 334956"/>
                      <a:gd name="connsiteY541" fmla="*/ 111843 h 334834"/>
                      <a:gd name="connsiteX542" fmla="*/ 283998 w 334956"/>
                      <a:gd name="connsiteY542" fmla="*/ 103784 h 334834"/>
                      <a:gd name="connsiteX543" fmla="*/ 280797 w 334956"/>
                      <a:gd name="connsiteY543" fmla="*/ 106823 h 334834"/>
                      <a:gd name="connsiteX544" fmla="*/ 215960 w 334956"/>
                      <a:gd name="connsiteY544" fmla="*/ 115453 h 334834"/>
                      <a:gd name="connsiteX545" fmla="*/ 211360 w 334956"/>
                      <a:gd name="connsiteY545" fmla="*/ 106823 h 334834"/>
                      <a:gd name="connsiteX546" fmla="*/ 216618 w 334956"/>
                      <a:gd name="connsiteY546" fmla="*/ 104032 h 334834"/>
                      <a:gd name="connsiteX547" fmla="*/ 215960 w 334956"/>
                      <a:gd name="connsiteY547" fmla="*/ 115453 h 334834"/>
                      <a:gd name="connsiteX548" fmla="*/ 158687 w 334956"/>
                      <a:gd name="connsiteY548" fmla="*/ 114471 h 334834"/>
                      <a:gd name="connsiteX549" fmla="*/ 153762 w 334956"/>
                      <a:gd name="connsiteY549" fmla="*/ 108471 h 334834"/>
                      <a:gd name="connsiteX550" fmla="*/ 158039 w 334956"/>
                      <a:gd name="connsiteY550" fmla="*/ 104851 h 334834"/>
                      <a:gd name="connsiteX551" fmla="*/ 158687 w 334956"/>
                      <a:gd name="connsiteY551" fmla="*/ 114471 h 334834"/>
                      <a:gd name="connsiteX552" fmla="*/ 257461 w 334956"/>
                      <a:gd name="connsiteY552" fmla="*/ 110690 h 334834"/>
                      <a:gd name="connsiteX553" fmla="*/ 263128 w 334956"/>
                      <a:gd name="connsiteY553" fmla="*/ 117586 h 334834"/>
                      <a:gd name="connsiteX554" fmla="*/ 262223 w 334956"/>
                      <a:gd name="connsiteY554" fmla="*/ 106985 h 334834"/>
                      <a:gd name="connsiteX555" fmla="*/ 257461 w 334956"/>
                      <a:gd name="connsiteY555" fmla="*/ 110690 h 334834"/>
                      <a:gd name="connsiteX556" fmla="*/ 29346 w 334956"/>
                      <a:gd name="connsiteY556" fmla="*/ 111185 h 334834"/>
                      <a:gd name="connsiteX557" fmla="*/ 32633 w 334956"/>
                      <a:gd name="connsiteY557" fmla="*/ 115300 h 334834"/>
                      <a:gd name="connsiteX558" fmla="*/ 32137 w 334956"/>
                      <a:gd name="connsiteY558" fmla="*/ 109137 h 334834"/>
                      <a:gd name="connsiteX559" fmla="*/ 29346 w 334956"/>
                      <a:gd name="connsiteY559" fmla="*/ 111185 h 334834"/>
                      <a:gd name="connsiteX560" fmla="*/ 137074 w 334956"/>
                      <a:gd name="connsiteY560" fmla="*/ 119072 h 334834"/>
                      <a:gd name="connsiteX561" fmla="*/ 131236 w 334956"/>
                      <a:gd name="connsiteY561" fmla="*/ 112909 h 334834"/>
                      <a:gd name="connsiteX562" fmla="*/ 135350 w 334956"/>
                      <a:gd name="connsiteY562" fmla="*/ 109128 h 334834"/>
                      <a:gd name="connsiteX563" fmla="*/ 137074 w 334956"/>
                      <a:gd name="connsiteY563" fmla="*/ 119072 h 334834"/>
                      <a:gd name="connsiteX564" fmla="*/ 195091 w 334956"/>
                      <a:gd name="connsiteY564" fmla="*/ 118901 h 334834"/>
                      <a:gd name="connsiteX565" fmla="*/ 189338 w 334956"/>
                      <a:gd name="connsiteY565" fmla="*/ 112900 h 334834"/>
                      <a:gd name="connsiteX566" fmla="*/ 193529 w 334956"/>
                      <a:gd name="connsiteY566" fmla="*/ 109290 h 334834"/>
                      <a:gd name="connsiteX567" fmla="*/ 195091 w 334956"/>
                      <a:gd name="connsiteY567" fmla="*/ 118901 h 334834"/>
                      <a:gd name="connsiteX568" fmla="*/ 318516 w 334956"/>
                      <a:gd name="connsiteY568" fmla="*/ 111919 h 334834"/>
                      <a:gd name="connsiteX569" fmla="*/ 319916 w 334956"/>
                      <a:gd name="connsiteY569" fmla="*/ 113976 h 334834"/>
                      <a:gd name="connsiteX570" fmla="*/ 321964 w 334956"/>
                      <a:gd name="connsiteY570" fmla="*/ 111757 h 334834"/>
                      <a:gd name="connsiteX571" fmla="*/ 319992 w 334956"/>
                      <a:gd name="connsiteY571" fmla="*/ 110442 h 334834"/>
                      <a:gd name="connsiteX572" fmla="*/ 318516 w 334956"/>
                      <a:gd name="connsiteY572" fmla="*/ 111919 h 334834"/>
                      <a:gd name="connsiteX573" fmla="*/ 62951 w 334956"/>
                      <a:gd name="connsiteY573" fmla="*/ 114795 h 334834"/>
                      <a:gd name="connsiteX574" fmla="*/ 68123 w 334956"/>
                      <a:gd name="connsiteY574" fmla="*/ 121863 h 334834"/>
                      <a:gd name="connsiteX575" fmla="*/ 67628 w 334956"/>
                      <a:gd name="connsiteY575" fmla="*/ 111509 h 334834"/>
                      <a:gd name="connsiteX576" fmla="*/ 62951 w 334956"/>
                      <a:gd name="connsiteY576" fmla="*/ 114795 h 334834"/>
                      <a:gd name="connsiteX577" fmla="*/ 235030 w 334956"/>
                      <a:gd name="connsiteY577" fmla="*/ 118005 h 334834"/>
                      <a:gd name="connsiteX578" fmla="*/ 235363 w 334956"/>
                      <a:gd name="connsiteY578" fmla="*/ 120967 h 334834"/>
                      <a:gd name="connsiteX579" fmla="*/ 228705 w 334956"/>
                      <a:gd name="connsiteY579" fmla="*/ 124501 h 334834"/>
                      <a:gd name="connsiteX580" fmla="*/ 225257 w 334956"/>
                      <a:gd name="connsiteY580" fmla="*/ 114643 h 334834"/>
                      <a:gd name="connsiteX581" fmla="*/ 230762 w 334956"/>
                      <a:gd name="connsiteY581" fmla="*/ 112757 h 334834"/>
                      <a:gd name="connsiteX582" fmla="*/ 235030 w 334956"/>
                      <a:gd name="connsiteY582" fmla="*/ 118005 h 334834"/>
                      <a:gd name="connsiteX583" fmla="*/ 114881 w 334956"/>
                      <a:gd name="connsiteY583" fmla="*/ 124168 h 334834"/>
                      <a:gd name="connsiteX584" fmla="*/ 108633 w 334956"/>
                      <a:gd name="connsiteY584" fmla="*/ 116367 h 334834"/>
                      <a:gd name="connsiteX585" fmla="*/ 113814 w 334956"/>
                      <a:gd name="connsiteY585" fmla="*/ 113081 h 334834"/>
                      <a:gd name="connsiteX586" fmla="*/ 114881 w 334956"/>
                      <a:gd name="connsiteY586" fmla="*/ 124168 h 334834"/>
                      <a:gd name="connsiteX587" fmla="*/ 294608 w 334956"/>
                      <a:gd name="connsiteY587" fmla="*/ 115948 h 334834"/>
                      <a:gd name="connsiteX588" fmla="*/ 298552 w 334956"/>
                      <a:gd name="connsiteY588" fmla="*/ 120139 h 334834"/>
                      <a:gd name="connsiteX589" fmla="*/ 297561 w 334956"/>
                      <a:gd name="connsiteY589" fmla="*/ 113157 h 334834"/>
                      <a:gd name="connsiteX590" fmla="*/ 294608 w 334956"/>
                      <a:gd name="connsiteY590" fmla="*/ 115948 h 334834"/>
                      <a:gd name="connsiteX591" fmla="*/ 172984 w 334956"/>
                      <a:gd name="connsiteY591" fmla="*/ 122682 h 334834"/>
                      <a:gd name="connsiteX592" fmla="*/ 167640 w 334956"/>
                      <a:gd name="connsiteY592" fmla="*/ 117424 h 334834"/>
                      <a:gd name="connsiteX593" fmla="*/ 171012 w 334956"/>
                      <a:gd name="connsiteY593" fmla="*/ 114300 h 334834"/>
                      <a:gd name="connsiteX594" fmla="*/ 172984 w 334956"/>
                      <a:gd name="connsiteY594" fmla="*/ 122682 h 334834"/>
                      <a:gd name="connsiteX595" fmla="*/ 8554 w 334956"/>
                      <a:gd name="connsiteY595" fmla="*/ 116443 h 334834"/>
                      <a:gd name="connsiteX596" fmla="*/ 10116 w 334956"/>
                      <a:gd name="connsiteY596" fmla="*/ 118091 h 334834"/>
                      <a:gd name="connsiteX597" fmla="*/ 11268 w 334956"/>
                      <a:gd name="connsiteY597" fmla="*/ 117024 h 334834"/>
                      <a:gd name="connsiteX598" fmla="*/ 11344 w 334956"/>
                      <a:gd name="connsiteY598" fmla="*/ 116281 h 334834"/>
                      <a:gd name="connsiteX599" fmla="*/ 9792 w 334956"/>
                      <a:gd name="connsiteY599" fmla="*/ 115214 h 334834"/>
                      <a:gd name="connsiteX600" fmla="*/ 8554 w 334956"/>
                      <a:gd name="connsiteY600" fmla="*/ 116443 h 334834"/>
                      <a:gd name="connsiteX601" fmla="*/ 271101 w 334956"/>
                      <a:gd name="connsiteY601" fmla="*/ 119815 h 334834"/>
                      <a:gd name="connsiteX602" fmla="*/ 276520 w 334956"/>
                      <a:gd name="connsiteY602" fmla="*/ 125968 h 334834"/>
                      <a:gd name="connsiteX603" fmla="*/ 275130 w 334956"/>
                      <a:gd name="connsiteY603" fmla="*/ 116272 h 334834"/>
                      <a:gd name="connsiteX604" fmla="*/ 271101 w 334956"/>
                      <a:gd name="connsiteY604" fmla="*/ 119815 h 334834"/>
                      <a:gd name="connsiteX605" fmla="*/ 41662 w 334956"/>
                      <a:gd name="connsiteY605" fmla="*/ 119815 h 334834"/>
                      <a:gd name="connsiteX606" fmla="*/ 46187 w 334956"/>
                      <a:gd name="connsiteY606" fmla="*/ 125158 h 334834"/>
                      <a:gd name="connsiteX607" fmla="*/ 44958 w 334956"/>
                      <a:gd name="connsiteY607" fmla="*/ 117024 h 334834"/>
                      <a:gd name="connsiteX608" fmla="*/ 41662 w 334956"/>
                      <a:gd name="connsiteY608" fmla="*/ 119815 h 334834"/>
                      <a:gd name="connsiteX609" fmla="*/ 207826 w 334956"/>
                      <a:gd name="connsiteY609" fmla="*/ 127940 h 334834"/>
                      <a:gd name="connsiteX610" fmla="*/ 202730 w 334956"/>
                      <a:gd name="connsiteY610" fmla="*/ 121777 h 334834"/>
                      <a:gd name="connsiteX611" fmla="*/ 207083 w 334956"/>
                      <a:gd name="connsiteY611" fmla="*/ 118158 h 334834"/>
                      <a:gd name="connsiteX612" fmla="*/ 207826 w 334956"/>
                      <a:gd name="connsiteY612" fmla="*/ 127940 h 334834"/>
                      <a:gd name="connsiteX613" fmla="*/ 150143 w 334956"/>
                      <a:gd name="connsiteY613" fmla="*/ 127206 h 334834"/>
                      <a:gd name="connsiteX614" fmla="*/ 145456 w 334956"/>
                      <a:gd name="connsiteY614" fmla="*/ 121787 h 334834"/>
                      <a:gd name="connsiteX615" fmla="*/ 149323 w 334956"/>
                      <a:gd name="connsiteY615" fmla="*/ 118748 h 334834"/>
                      <a:gd name="connsiteX616" fmla="*/ 150143 w 334956"/>
                      <a:gd name="connsiteY616" fmla="*/ 127206 h 334834"/>
                      <a:gd name="connsiteX617" fmla="*/ 75943 w 334956"/>
                      <a:gd name="connsiteY617" fmla="*/ 122606 h 334834"/>
                      <a:gd name="connsiteX618" fmla="*/ 78895 w 334956"/>
                      <a:gd name="connsiteY618" fmla="*/ 131235 h 334834"/>
                      <a:gd name="connsiteX619" fmla="*/ 87030 w 334956"/>
                      <a:gd name="connsiteY619" fmla="*/ 129016 h 334834"/>
                      <a:gd name="connsiteX620" fmla="*/ 86620 w 334956"/>
                      <a:gd name="connsiteY620" fmla="*/ 125816 h 334834"/>
                      <a:gd name="connsiteX621" fmla="*/ 81277 w 334956"/>
                      <a:gd name="connsiteY621" fmla="*/ 119653 h 334834"/>
                      <a:gd name="connsiteX622" fmla="*/ 75943 w 334956"/>
                      <a:gd name="connsiteY622" fmla="*/ 122606 h 334834"/>
                      <a:gd name="connsiteX623" fmla="*/ 248831 w 334956"/>
                      <a:gd name="connsiteY623" fmla="*/ 121291 h 334834"/>
                      <a:gd name="connsiteX624" fmla="*/ 249822 w 334956"/>
                      <a:gd name="connsiteY624" fmla="*/ 131312 h 334834"/>
                      <a:gd name="connsiteX625" fmla="*/ 253603 w 334956"/>
                      <a:gd name="connsiteY625" fmla="*/ 131235 h 334834"/>
                      <a:gd name="connsiteX626" fmla="*/ 259194 w 334956"/>
                      <a:gd name="connsiteY626" fmla="*/ 128025 h 334834"/>
                      <a:gd name="connsiteX627" fmla="*/ 253689 w 334956"/>
                      <a:gd name="connsiteY627" fmla="*/ 119729 h 334834"/>
                      <a:gd name="connsiteX628" fmla="*/ 248831 w 334956"/>
                      <a:gd name="connsiteY628" fmla="*/ 121291 h 334834"/>
                      <a:gd name="connsiteX629" fmla="*/ 308905 w 334956"/>
                      <a:gd name="connsiteY629" fmla="*/ 124168 h 334834"/>
                      <a:gd name="connsiteX630" fmla="*/ 312106 w 334956"/>
                      <a:gd name="connsiteY630" fmla="*/ 128273 h 334834"/>
                      <a:gd name="connsiteX631" fmla="*/ 310953 w 334956"/>
                      <a:gd name="connsiteY631" fmla="*/ 122682 h 334834"/>
                      <a:gd name="connsiteX632" fmla="*/ 308905 w 334956"/>
                      <a:gd name="connsiteY632" fmla="*/ 124168 h 334834"/>
                      <a:gd name="connsiteX633" fmla="*/ 20717 w 334956"/>
                      <a:gd name="connsiteY633" fmla="*/ 124577 h 334834"/>
                      <a:gd name="connsiteX634" fmla="*/ 23756 w 334956"/>
                      <a:gd name="connsiteY634" fmla="*/ 128273 h 334834"/>
                      <a:gd name="connsiteX635" fmla="*/ 22765 w 334956"/>
                      <a:gd name="connsiteY635" fmla="*/ 122768 h 334834"/>
                      <a:gd name="connsiteX636" fmla="*/ 20717 w 334956"/>
                      <a:gd name="connsiteY636" fmla="*/ 124577 h 334834"/>
                      <a:gd name="connsiteX637" fmla="*/ 128607 w 334956"/>
                      <a:gd name="connsiteY637" fmla="*/ 132055 h 334834"/>
                      <a:gd name="connsiteX638" fmla="*/ 122520 w 334956"/>
                      <a:gd name="connsiteY638" fmla="*/ 126625 h 334834"/>
                      <a:gd name="connsiteX639" fmla="*/ 126302 w 334956"/>
                      <a:gd name="connsiteY639" fmla="*/ 122758 h 334834"/>
                      <a:gd name="connsiteX640" fmla="*/ 128607 w 334956"/>
                      <a:gd name="connsiteY640" fmla="*/ 132055 h 334834"/>
                      <a:gd name="connsiteX641" fmla="*/ 185395 w 334956"/>
                      <a:gd name="connsiteY641" fmla="*/ 131397 h 334834"/>
                      <a:gd name="connsiteX642" fmla="*/ 181451 w 334956"/>
                      <a:gd name="connsiteY642" fmla="*/ 126225 h 334834"/>
                      <a:gd name="connsiteX643" fmla="*/ 184823 w 334956"/>
                      <a:gd name="connsiteY643" fmla="*/ 123511 h 334834"/>
                      <a:gd name="connsiteX644" fmla="*/ 185395 w 334956"/>
                      <a:gd name="connsiteY644" fmla="*/ 131397 h 334834"/>
                      <a:gd name="connsiteX645" fmla="*/ 53997 w 334956"/>
                      <a:gd name="connsiteY645" fmla="*/ 128930 h 334834"/>
                      <a:gd name="connsiteX646" fmla="*/ 60246 w 334956"/>
                      <a:gd name="connsiteY646" fmla="*/ 134760 h 334834"/>
                      <a:gd name="connsiteX647" fmla="*/ 58026 w 334956"/>
                      <a:gd name="connsiteY647" fmla="*/ 125063 h 334834"/>
                      <a:gd name="connsiteX648" fmla="*/ 53997 w 334956"/>
                      <a:gd name="connsiteY648" fmla="*/ 128930 h 334834"/>
                      <a:gd name="connsiteX649" fmla="*/ 284988 w 334956"/>
                      <a:gd name="connsiteY649" fmla="*/ 128845 h 334834"/>
                      <a:gd name="connsiteX650" fmla="*/ 290246 w 334956"/>
                      <a:gd name="connsiteY650" fmla="*/ 134188 h 334834"/>
                      <a:gd name="connsiteX651" fmla="*/ 288436 w 334956"/>
                      <a:gd name="connsiteY651" fmla="*/ 125644 h 334834"/>
                      <a:gd name="connsiteX652" fmla="*/ 284988 w 334956"/>
                      <a:gd name="connsiteY652" fmla="*/ 128845 h 334834"/>
                      <a:gd name="connsiteX653" fmla="*/ 105680 w 334956"/>
                      <a:gd name="connsiteY653" fmla="*/ 137560 h 334834"/>
                      <a:gd name="connsiteX654" fmla="*/ 99603 w 334956"/>
                      <a:gd name="connsiteY654" fmla="*/ 130169 h 334834"/>
                      <a:gd name="connsiteX655" fmla="*/ 104451 w 334956"/>
                      <a:gd name="connsiteY655" fmla="*/ 126463 h 334834"/>
                      <a:gd name="connsiteX656" fmla="*/ 105680 w 334956"/>
                      <a:gd name="connsiteY656" fmla="*/ 137560 h 334834"/>
                      <a:gd name="connsiteX657" fmla="*/ 221552 w 334956"/>
                      <a:gd name="connsiteY657" fmla="*/ 137065 h 334834"/>
                      <a:gd name="connsiteX658" fmla="*/ 215884 w 334956"/>
                      <a:gd name="connsiteY658" fmla="*/ 130654 h 334834"/>
                      <a:gd name="connsiteX659" fmla="*/ 220075 w 334956"/>
                      <a:gd name="connsiteY659" fmla="*/ 126873 h 334834"/>
                      <a:gd name="connsiteX660" fmla="*/ 221552 w 334956"/>
                      <a:gd name="connsiteY660" fmla="*/ 137065 h 334834"/>
                      <a:gd name="connsiteX661" fmla="*/ 163201 w 334956"/>
                      <a:gd name="connsiteY661" fmla="*/ 135341 h 334834"/>
                      <a:gd name="connsiteX662" fmla="*/ 159506 w 334956"/>
                      <a:gd name="connsiteY662" fmla="*/ 130988 h 334834"/>
                      <a:gd name="connsiteX663" fmla="*/ 162382 w 334956"/>
                      <a:gd name="connsiteY663" fmla="*/ 128435 h 334834"/>
                      <a:gd name="connsiteX664" fmla="*/ 163201 w 334956"/>
                      <a:gd name="connsiteY664" fmla="*/ 135341 h 334834"/>
                      <a:gd name="connsiteX665" fmla="*/ 261652 w 334956"/>
                      <a:gd name="connsiteY665" fmla="*/ 132636 h 334834"/>
                      <a:gd name="connsiteX666" fmla="*/ 267491 w 334956"/>
                      <a:gd name="connsiteY666" fmla="*/ 139941 h 334834"/>
                      <a:gd name="connsiteX667" fmla="*/ 266338 w 334956"/>
                      <a:gd name="connsiteY667" fmla="*/ 128845 h 334834"/>
                      <a:gd name="connsiteX668" fmla="*/ 261652 w 334956"/>
                      <a:gd name="connsiteY668" fmla="*/ 132636 h 334834"/>
                      <a:gd name="connsiteX669" fmla="*/ 32956 w 334956"/>
                      <a:gd name="connsiteY669" fmla="*/ 133617 h 334834"/>
                      <a:gd name="connsiteX670" fmla="*/ 37147 w 334956"/>
                      <a:gd name="connsiteY670" fmla="*/ 138141 h 334834"/>
                      <a:gd name="connsiteX671" fmla="*/ 36328 w 334956"/>
                      <a:gd name="connsiteY671" fmla="*/ 130578 h 334834"/>
                      <a:gd name="connsiteX672" fmla="*/ 32956 w 334956"/>
                      <a:gd name="connsiteY672" fmla="*/ 133617 h 334834"/>
                      <a:gd name="connsiteX673" fmla="*/ 199368 w 334956"/>
                      <a:gd name="connsiteY673" fmla="*/ 140275 h 334834"/>
                      <a:gd name="connsiteX674" fmla="*/ 194767 w 334956"/>
                      <a:gd name="connsiteY674" fmla="*/ 135341 h 334834"/>
                      <a:gd name="connsiteX675" fmla="*/ 197968 w 334956"/>
                      <a:gd name="connsiteY675" fmla="*/ 132464 h 334834"/>
                      <a:gd name="connsiteX676" fmla="*/ 199368 w 334956"/>
                      <a:gd name="connsiteY676" fmla="*/ 140275 h 334834"/>
                      <a:gd name="connsiteX677" fmla="*/ 324517 w 334956"/>
                      <a:gd name="connsiteY677" fmla="*/ 136331 h 334834"/>
                      <a:gd name="connsiteX678" fmla="*/ 324193 w 334956"/>
                      <a:gd name="connsiteY678" fmla="*/ 132474 h 334834"/>
                      <a:gd name="connsiteX679" fmla="*/ 324517 w 334956"/>
                      <a:gd name="connsiteY679" fmla="*/ 136331 h 334834"/>
                      <a:gd name="connsiteX680" fmla="*/ 141351 w 334956"/>
                      <a:gd name="connsiteY680" fmla="*/ 140113 h 334834"/>
                      <a:gd name="connsiteX681" fmla="*/ 136827 w 334956"/>
                      <a:gd name="connsiteY681" fmla="*/ 135512 h 334834"/>
                      <a:gd name="connsiteX682" fmla="*/ 140198 w 334956"/>
                      <a:gd name="connsiteY682" fmla="*/ 132550 h 334834"/>
                      <a:gd name="connsiteX683" fmla="*/ 141351 w 334956"/>
                      <a:gd name="connsiteY683" fmla="*/ 140113 h 334834"/>
                      <a:gd name="connsiteX684" fmla="*/ 66732 w 334956"/>
                      <a:gd name="connsiteY684" fmla="*/ 136903 h 334834"/>
                      <a:gd name="connsiteX685" fmla="*/ 70838 w 334956"/>
                      <a:gd name="connsiteY685" fmla="*/ 144456 h 334834"/>
                      <a:gd name="connsiteX686" fmla="*/ 73790 w 334956"/>
                      <a:gd name="connsiteY686" fmla="*/ 144132 h 334834"/>
                      <a:gd name="connsiteX687" fmla="*/ 77572 w 334956"/>
                      <a:gd name="connsiteY687" fmla="*/ 138217 h 334834"/>
                      <a:gd name="connsiteX688" fmla="*/ 71733 w 334956"/>
                      <a:gd name="connsiteY688" fmla="*/ 133036 h 334834"/>
                      <a:gd name="connsiteX689" fmla="*/ 66732 w 334956"/>
                      <a:gd name="connsiteY689" fmla="*/ 136903 h 334834"/>
                      <a:gd name="connsiteX690" fmla="*/ 298961 w 334956"/>
                      <a:gd name="connsiteY690" fmla="*/ 137808 h 334834"/>
                      <a:gd name="connsiteX691" fmla="*/ 303238 w 334956"/>
                      <a:gd name="connsiteY691" fmla="*/ 142408 h 334834"/>
                      <a:gd name="connsiteX692" fmla="*/ 302333 w 334956"/>
                      <a:gd name="connsiteY692" fmla="*/ 135179 h 334834"/>
                      <a:gd name="connsiteX693" fmla="*/ 298961 w 334956"/>
                      <a:gd name="connsiteY693" fmla="*/ 137808 h 334834"/>
                      <a:gd name="connsiteX694" fmla="*/ 234858 w 334956"/>
                      <a:gd name="connsiteY694" fmla="*/ 146437 h 334834"/>
                      <a:gd name="connsiteX695" fmla="*/ 228781 w 334956"/>
                      <a:gd name="connsiteY695" fmla="*/ 139455 h 334834"/>
                      <a:gd name="connsiteX696" fmla="*/ 233629 w 334956"/>
                      <a:gd name="connsiteY696" fmla="*/ 135350 h 334834"/>
                      <a:gd name="connsiteX697" fmla="*/ 234858 w 334956"/>
                      <a:gd name="connsiteY697" fmla="*/ 146437 h 334834"/>
                      <a:gd name="connsiteX698" fmla="*/ 118748 w 334956"/>
                      <a:gd name="connsiteY698" fmla="*/ 145532 h 334834"/>
                      <a:gd name="connsiteX699" fmla="*/ 113652 w 334956"/>
                      <a:gd name="connsiteY699" fmla="*/ 139941 h 334834"/>
                      <a:gd name="connsiteX700" fmla="*/ 117843 w 334956"/>
                      <a:gd name="connsiteY700" fmla="*/ 136160 h 334834"/>
                      <a:gd name="connsiteX701" fmla="*/ 118748 w 334956"/>
                      <a:gd name="connsiteY701" fmla="*/ 145532 h 334834"/>
                      <a:gd name="connsiteX702" fmla="*/ 14964 w 334956"/>
                      <a:gd name="connsiteY702" fmla="*/ 141094 h 334834"/>
                      <a:gd name="connsiteX703" fmla="*/ 14392 w 334956"/>
                      <a:gd name="connsiteY703" fmla="*/ 136493 h 334834"/>
                      <a:gd name="connsiteX704" fmla="*/ 14964 w 334956"/>
                      <a:gd name="connsiteY704" fmla="*/ 141094 h 334834"/>
                      <a:gd name="connsiteX705" fmla="*/ 176927 w 334956"/>
                      <a:gd name="connsiteY705" fmla="*/ 143637 h 334834"/>
                      <a:gd name="connsiteX706" fmla="*/ 173641 w 334956"/>
                      <a:gd name="connsiteY706" fmla="*/ 139608 h 334834"/>
                      <a:gd name="connsiteX707" fmla="*/ 175860 w 334956"/>
                      <a:gd name="connsiteY707" fmla="*/ 137884 h 334834"/>
                      <a:gd name="connsiteX708" fmla="*/ 176927 w 334956"/>
                      <a:gd name="connsiteY708" fmla="*/ 143637 h 334834"/>
                      <a:gd name="connsiteX709" fmla="*/ 275454 w 334956"/>
                      <a:gd name="connsiteY709" fmla="*/ 141751 h 334834"/>
                      <a:gd name="connsiteX710" fmla="*/ 281121 w 334956"/>
                      <a:gd name="connsiteY710" fmla="*/ 148161 h 334834"/>
                      <a:gd name="connsiteX711" fmla="*/ 279397 w 334956"/>
                      <a:gd name="connsiteY711" fmla="*/ 138303 h 334834"/>
                      <a:gd name="connsiteX712" fmla="*/ 275454 w 334956"/>
                      <a:gd name="connsiteY712" fmla="*/ 141751 h 334834"/>
                      <a:gd name="connsiteX713" fmla="*/ 45453 w 334956"/>
                      <a:gd name="connsiteY713" fmla="*/ 142084 h 334834"/>
                      <a:gd name="connsiteX714" fmla="*/ 50711 w 334956"/>
                      <a:gd name="connsiteY714" fmla="*/ 147914 h 334834"/>
                      <a:gd name="connsiteX715" fmla="*/ 49321 w 334956"/>
                      <a:gd name="connsiteY715" fmla="*/ 138627 h 334834"/>
                      <a:gd name="connsiteX716" fmla="*/ 45453 w 334956"/>
                      <a:gd name="connsiteY716" fmla="*/ 142084 h 334834"/>
                      <a:gd name="connsiteX717" fmla="*/ 96641 w 334956"/>
                      <a:gd name="connsiteY717" fmla="*/ 151124 h 334834"/>
                      <a:gd name="connsiteX718" fmla="*/ 90811 w 334956"/>
                      <a:gd name="connsiteY718" fmla="*/ 146190 h 334834"/>
                      <a:gd name="connsiteX719" fmla="*/ 90564 w 334956"/>
                      <a:gd name="connsiteY719" fmla="*/ 143066 h 334834"/>
                      <a:gd name="connsiteX720" fmla="*/ 96069 w 334956"/>
                      <a:gd name="connsiteY720" fmla="*/ 139694 h 334834"/>
                      <a:gd name="connsiteX721" fmla="*/ 96641 w 334956"/>
                      <a:gd name="connsiteY721" fmla="*/ 151124 h 334834"/>
                      <a:gd name="connsiteX722" fmla="*/ 212512 w 334956"/>
                      <a:gd name="connsiteY722" fmla="*/ 149638 h 334834"/>
                      <a:gd name="connsiteX723" fmla="*/ 207826 w 334956"/>
                      <a:gd name="connsiteY723" fmla="*/ 143970 h 334834"/>
                      <a:gd name="connsiteX724" fmla="*/ 211274 w 334956"/>
                      <a:gd name="connsiteY724" fmla="*/ 141008 h 334834"/>
                      <a:gd name="connsiteX725" fmla="*/ 212512 w 334956"/>
                      <a:gd name="connsiteY725" fmla="*/ 149638 h 334834"/>
                      <a:gd name="connsiteX726" fmla="*/ 154496 w 334956"/>
                      <a:gd name="connsiteY726" fmla="*/ 147999 h 334834"/>
                      <a:gd name="connsiteX727" fmla="*/ 151295 w 334956"/>
                      <a:gd name="connsiteY727" fmla="*/ 144389 h 334834"/>
                      <a:gd name="connsiteX728" fmla="*/ 153429 w 334956"/>
                      <a:gd name="connsiteY728" fmla="*/ 142494 h 334834"/>
                      <a:gd name="connsiteX729" fmla="*/ 154496 w 334956"/>
                      <a:gd name="connsiteY729" fmla="*/ 147999 h 334834"/>
                      <a:gd name="connsiteX730" fmla="*/ 250965 w 334956"/>
                      <a:gd name="connsiteY730" fmla="*/ 143808 h 334834"/>
                      <a:gd name="connsiteX731" fmla="*/ 253346 w 334956"/>
                      <a:gd name="connsiteY731" fmla="*/ 153343 h 334834"/>
                      <a:gd name="connsiteX732" fmla="*/ 249069 w 334956"/>
                      <a:gd name="connsiteY732" fmla="*/ 155238 h 334834"/>
                      <a:gd name="connsiteX733" fmla="*/ 241840 w 334956"/>
                      <a:gd name="connsiteY733" fmla="*/ 151371 h 334834"/>
                      <a:gd name="connsiteX734" fmla="*/ 241516 w 334956"/>
                      <a:gd name="connsiteY734" fmla="*/ 148580 h 334834"/>
                      <a:gd name="connsiteX735" fmla="*/ 249403 w 334956"/>
                      <a:gd name="connsiteY735" fmla="*/ 143646 h 334834"/>
                      <a:gd name="connsiteX736" fmla="*/ 250965 w 334956"/>
                      <a:gd name="connsiteY736" fmla="*/ 143808 h 334834"/>
                      <a:gd name="connsiteX737" fmla="*/ 24498 w 334956"/>
                      <a:gd name="connsiteY737" fmla="*/ 146933 h 334834"/>
                      <a:gd name="connsiteX738" fmla="*/ 28527 w 334956"/>
                      <a:gd name="connsiteY738" fmla="*/ 151038 h 334834"/>
                      <a:gd name="connsiteX739" fmla="*/ 27461 w 334956"/>
                      <a:gd name="connsiteY739" fmla="*/ 144304 h 334834"/>
                      <a:gd name="connsiteX740" fmla="*/ 24498 w 334956"/>
                      <a:gd name="connsiteY740" fmla="*/ 146933 h 334834"/>
                      <a:gd name="connsiteX741" fmla="*/ 313258 w 334956"/>
                      <a:gd name="connsiteY741" fmla="*/ 146437 h 334834"/>
                      <a:gd name="connsiteX742" fmla="*/ 316382 w 334956"/>
                      <a:gd name="connsiteY742" fmla="*/ 150466 h 334834"/>
                      <a:gd name="connsiteX743" fmla="*/ 315392 w 334956"/>
                      <a:gd name="connsiteY743" fmla="*/ 144875 h 334834"/>
                      <a:gd name="connsiteX744" fmla="*/ 313258 w 334956"/>
                      <a:gd name="connsiteY744" fmla="*/ 146437 h 334834"/>
                      <a:gd name="connsiteX745" fmla="*/ 132312 w 334956"/>
                      <a:gd name="connsiteY745" fmla="*/ 153505 h 334834"/>
                      <a:gd name="connsiteX746" fmla="*/ 127949 w 334956"/>
                      <a:gd name="connsiteY746" fmla="*/ 148904 h 334834"/>
                      <a:gd name="connsiteX747" fmla="*/ 131398 w 334956"/>
                      <a:gd name="connsiteY747" fmla="*/ 146028 h 334834"/>
                      <a:gd name="connsiteX748" fmla="*/ 132312 w 334956"/>
                      <a:gd name="connsiteY748" fmla="*/ 153505 h 334834"/>
                      <a:gd name="connsiteX749" fmla="*/ 58026 w 334956"/>
                      <a:gd name="connsiteY749" fmla="*/ 150704 h 334834"/>
                      <a:gd name="connsiteX750" fmla="*/ 64275 w 334956"/>
                      <a:gd name="connsiteY750" fmla="*/ 157524 h 334834"/>
                      <a:gd name="connsiteX751" fmla="*/ 62379 w 334956"/>
                      <a:gd name="connsiteY751" fmla="*/ 146676 h 334834"/>
                      <a:gd name="connsiteX752" fmla="*/ 58026 w 334956"/>
                      <a:gd name="connsiteY752" fmla="*/ 150704 h 334834"/>
                      <a:gd name="connsiteX753" fmla="*/ 190329 w 334956"/>
                      <a:gd name="connsiteY753" fmla="*/ 152600 h 334834"/>
                      <a:gd name="connsiteX754" fmla="*/ 186957 w 334956"/>
                      <a:gd name="connsiteY754" fmla="*/ 148657 h 334834"/>
                      <a:gd name="connsiteX755" fmla="*/ 189090 w 334956"/>
                      <a:gd name="connsiteY755" fmla="*/ 146847 h 334834"/>
                      <a:gd name="connsiteX756" fmla="*/ 190329 w 334956"/>
                      <a:gd name="connsiteY756" fmla="*/ 152600 h 334834"/>
                      <a:gd name="connsiteX757" fmla="*/ 289341 w 334956"/>
                      <a:gd name="connsiteY757" fmla="*/ 151124 h 334834"/>
                      <a:gd name="connsiteX758" fmla="*/ 294275 w 334956"/>
                      <a:gd name="connsiteY758" fmla="*/ 156381 h 334834"/>
                      <a:gd name="connsiteX759" fmla="*/ 292875 w 334956"/>
                      <a:gd name="connsiteY759" fmla="*/ 147837 h 334834"/>
                      <a:gd name="connsiteX760" fmla="*/ 289341 w 334956"/>
                      <a:gd name="connsiteY760" fmla="*/ 151124 h 334834"/>
                      <a:gd name="connsiteX761" fmla="*/ 110280 w 334956"/>
                      <a:gd name="connsiteY761" fmla="*/ 159096 h 334834"/>
                      <a:gd name="connsiteX762" fmla="*/ 104689 w 334956"/>
                      <a:gd name="connsiteY762" fmla="*/ 152686 h 334834"/>
                      <a:gd name="connsiteX763" fmla="*/ 108718 w 334956"/>
                      <a:gd name="connsiteY763" fmla="*/ 149314 h 334834"/>
                      <a:gd name="connsiteX764" fmla="*/ 110280 w 334956"/>
                      <a:gd name="connsiteY764" fmla="*/ 159096 h 334834"/>
                      <a:gd name="connsiteX765" fmla="*/ 226724 w 334956"/>
                      <a:gd name="connsiteY765" fmla="*/ 158925 h 334834"/>
                      <a:gd name="connsiteX766" fmla="*/ 220561 w 334956"/>
                      <a:gd name="connsiteY766" fmla="*/ 153086 h 334834"/>
                      <a:gd name="connsiteX767" fmla="*/ 224504 w 334956"/>
                      <a:gd name="connsiteY767" fmla="*/ 149390 h 334834"/>
                      <a:gd name="connsiteX768" fmla="*/ 226724 w 334956"/>
                      <a:gd name="connsiteY768" fmla="*/ 158925 h 334834"/>
                      <a:gd name="connsiteX769" fmla="*/ 3867 w 334956"/>
                      <a:gd name="connsiteY769" fmla="*/ 151857 h 334834"/>
                      <a:gd name="connsiteX770" fmla="*/ 5258 w 334956"/>
                      <a:gd name="connsiteY770" fmla="*/ 153753 h 334834"/>
                      <a:gd name="connsiteX771" fmla="*/ 7230 w 334956"/>
                      <a:gd name="connsiteY771" fmla="*/ 152276 h 334834"/>
                      <a:gd name="connsiteX772" fmla="*/ 5258 w 334956"/>
                      <a:gd name="connsiteY772" fmla="*/ 150381 h 334834"/>
                      <a:gd name="connsiteX773" fmla="*/ 3867 w 334956"/>
                      <a:gd name="connsiteY773" fmla="*/ 151857 h 334834"/>
                      <a:gd name="connsiteX774" fmla="*/ 266167 w 334956"/>
                      <a:gd name="connsiteY774" fmla="*/ 154238 h 334834"/>
                      <a:gd name="connsiteX775" fmla="*/ 272006 w 334956"/>
                      <a:gd name="connsiteY775" fmla="*/ 162049 h 334834"/>
                      <a:gd name="connsiteX776" fmla="*/ 271015 w 334956"/>
                      <a:gd name="connsiteY776" fmla="*/ 150952 h 334834"/>
                      <a:gd name="connsiteX777" fmla="*/ 266167 w 334956"/>
                      <a:gd name="connsiteY777" fmla="*/ 154238 h 334834"/>
                      <a:gd name="connsiteX778" fmla="*/ 36986 w 334956"/>
                      <a:gd name="connsiteY778" fmla="*/ 155391 h 334834"/>
                      <a:gd name="connsiteX779" fmla="*/ 41510 w 334956"/>
                      <a:gd name="connsiteY779" fmla="*/ 160820 h 334834"/>
                      <a:gd name="connsiteX780" fmla="*/ 40443 w 334956"/>
                      <a:gd name="connsiteY780" fmla="*/ 152276 h 334834"/>
                      <a:gd name="connsiteX781" fmla="*/ 36986 w 334956"/>
                      <a:gd name="connsiteY781" fmla="*/ 155391 h 334834"/>
                      <a:gd name="connsiteX782" fmla="*/ 169040 w 334956"/>
                      <a:gd name="connsiteY782" fmla="*/ 154000 h 334834"/>
                      <a:gd name="connsiteX783" fmla="*/ 167726 w 334956"/>
                      <a:gd name="connsiteY783" fmla="*/ 155724 h 334834"/>
                      <a:gd name="connsiteX784" fmla="*/ 166907 w 334956"/>
                      <a:gd name="connsiteY784" fmla="*/ 155810 h 334834"/>
                      <a:gd name="connsiteX785" fmla="*/ 165668 w 334956"/>
                      <a:gd name="connsiteY785" fmla="*/ 154496 h 334834"/>
                      <a:gd name="connsiteX786" fmla="*/ 167154 w 334956"/>
                      <a:gd name="connsiteY786" fmla="*/ 152448 h 334834"/>
                      <a:gd name="connsiteX787" fmla="*/ 169040 w 334956"/>
                      <a:gd name="connsiteY787" fmla="*/ 154000 h 334834"/>
                      <a:gd name="connsiteX788" fmla="*/ 89906 w 334956"/>
                      <a:gd name="connsiteY788" fmla="*/ 164021 h 334834"/>
                      <a:gd name="connsiteX789" fmla="*/ 82506 w 334956"/>
                      <a:gd name="connsiteY789" fmla="*/ 162696 h 334834"/>
                      <a:gd name="connsiteX790" fmla="*/ 81934 w 334956"/>
                      <a:gd name="connsiteY790" fmla="*/ 159496 h 334834"/>
                      <a:gd name="connsiteX791" fmla="*/ 81029 w 334956"/>
                      <a:gd name="connsiteY791" fmla="*/ 154476 h 334834"/>
                      <a:gd name="connsiteX792" fmla="*/ 87935 w 334956"/>
                      <a:gd name="connsiteY792" fmla="*/ 152838 h 334834"/>
                      <a:gd name="connsiteX793" fmla="*/ 89906 w 334956"/>
                      <a:gd name="connsiteY793" fmla="*/ 164021 h 334834"/>
                      <a:gd name="connsiteX794" fmla="*/ 327308 w 334956"/>
                      <a:gd name="connsiteY794" fmla="*/ 156381 h 334834"/>
                      <a:gd name="connsiteX795" fmla="*/ 330918 w 334956"/>
                      <a:gd name="connsiteY795" fmla="*/ 156134 h 334834"/>
                      <a:gd name="connsiteX796" fmla="*/ 329022 w 334956"/>
                      <a:gd name="connsiteY796" fmla="*/ 154657 h 334834"/>
                      <a:gd name="connsiteX797" fmla="*/ 327308 w 334956"/>
                      <a:gd name="connsiteY797" fmla="*/ 156381 h 334834"/>
                      <a:gd name="connsiteX798" fmla="*/ 203797 w 334956"/>
                      <a:gd name="connsiteY798" fmla="*/ 162135 h 334834"/>
                      <a:gd name="connsiteX799" fmla="*/ 199606 w 334956"/>
                      <a:gd name="connsiteY799" fmla="*/ 158029 h 334834"/>
                      <a:gd name="connsiteX800" fmla="*/ 202397 w 334956"/>
                      <a:gd name="connsiteY800" fmla="*/ 155229 h 334834"/>
                      <a:gd name="connsiteX801" fmla="*/ 203797 w 334956"/>
                      <a:gd name="connsiteY801" fmla="*/ 162135 h 334834"/>
                      <a:gd name="connsiteX802" fmla="*/ 145294 w 334956"/>
                      <a:gd name="connsiteY802" fmla="*/ 161392 h 334834"/>
                      <a:gd name="connsiteX803" fmla="*/ 142418 w 334956"/>
                      <a:gd name="connsiteY803" fmla="*/ 157934 h 334834"/>
                      <a:gd name="connsiteX804" fmla="*/ 144723 w 334956"/>
                      <a:gd name="connsiteY804" fmla="*/ 155962 h 334834"/>
                      <a:gd name="connsiteX805" fmla="*/ 145294 w 334956"/>
                      <a:gd name="connsiteY805" fmla="*/ 161392 h 334834"/>
                      <a:gd name="connsiteX806" fmla="*/ 303476 w 334956"/>
                      <a:gd name="connsiteY806" fmla="*/ 159991 h 334834"/>
                      <a:gd name="connsiteX807" fmla="*/ 307581 w 334956"/>
                      <a:gd name="connsiteY807" fmla="*/ 164430 h 334834"/>
                      <a:gd name="connsiteX808" fmla="*/ 306267 w 334956"/>
                      <a:gd name="connsiteY808" fmla="*/ 157448 h 334834"/>
                      <a:gd name="connsiteX809" fmla="*/ 303476 w 334956"/>
                      <a:gd name="connsiteY809" fmla="*/ 159991 h 334834"/>
                      <a:gd name="connsiteX810" fmla="*/ 239058 w 334956"/>
                      <a:gd name="connsiteY810" fmla="*/ 168707 h 334834"/>
                      <a:gd name="connsiteX811" fmla="*/ 233467 w 334956"/>
                      <a:gd name="connsiteY811" fmla="*/ 161230 h 334834"/>
                      <a:gd name="connsiteX812" fmla="*/ 238401 w 334956"/>
                      <a:gd name="connsiteY812" fmla="*/ 157610 h 334834"/>
                      <a:gd name="connsiteX813" fmla="*/ 239058 w 334956"/>
                      <a:gd name="connsiteY813" fmla="*/ 168707 h 334834"/>
                      <a:gd name="connsiteX814" fmla="*/ 16116 w 334956"/>
                      <a:gd name="connsiteY814" fmla="*/ 160239 h 334834"/>
                      <a:gd name="connsiteX815" fmla="*/ 19317 w 334956"/>
                      <a:gd name="connsiteY815" fmla="*/ 163773 h 334834"/>
                      <a:gd name="connsiteX816" fmla="*/ 18583 w 334956"/>
                      <a:gd name="connsiteY816" fmla="*/ 158096 h 334834"/>
                      <a:gd name="connsiteX817" fmla="*/ 16116 w 334956"/>
                      <a:gd name="connsiteY817" fmla="*/ 160239 h 334834"/>
                      <a:gd name="connsiteX818" fmla="*/ 123349 w 334956"/>
                      <a:gd name="connsiteY818" fmla="*/ 167230 h 334834"/>
                      <a:gd name="connsiteX819" fmla="*/ 118748 w 334956"/>
                      <a:gd name="connsiteY819" fmla="*/ 162211 h 334834"/>
                      <a:gd name="connsiteX820" fmla="*/ 121949 w 334956"/>
                      <a:gd name="connsiteY820" fmla="*/ 159172 h 334834"/>
                      <a:gd name="connsiteX821" fmla="*/ 123349 w 334956"/>
                      <a:gd name="connsiteY821" fmla="*/ 167230 h 334834"/>
                      <a:gd name="connsiteX822" fmla="*/ 49549 w 334956"/>
                      <a:gd name="connsiteY822" fmla="*/ 164021 h 334834"/>
                      <a:gd name="connsiteX823" fmla="*/ 54816 w 334956"/>
                      <a:gd name="connsiteY823" fmla="*/ 170421 h 334834"/>
                      <a:gd name="connsiteX824" fmla="*/ 54073 w 334956"/>
                      <a:gd name="connsiteY824" fmla="*/ 160315 h 334834"/>
                      <a:gd name="connsiteX825" fmla="*/ 49549 w 334956"/>
                      <a:gd name="connsiteY825" fmla="*/ 164021 h 334834"/>
                      <a:gd name="connsiteX826" fmla="*/ 279892 w 334956"/>
                      <a:gd name="connsiteY826" fmla="*/ 164182 h 334834"/>
                      <a:gd name="connsiteX827" fmla="*/ 285312 w 334956"/>
                      <a:gd name="connsiteY827" fmla="*/ 170269 h 334834"/>
                      <a:gd name="connsiteX828" fmla="*/ 284083 w 334956"/>
                      <a:gd name="connsiteY828" fmla="*/ 160572 h 334834"/>
                      <a:gd name="connsiteX829" fmla="*/ 279892 w 334956"/>
                      <a:gd name="connsiteY829" fmla="*/ 164182 h 334834"/>
                      <a:gd name="connsiteX830" fmla="*/ 182594 w 334956"/>
                      <a:gd name="connsiteY830" fmla="*/ 162877 h 334834"/>
                      <a:gd name="connsiteX831" fmla="*/ 181032 w 334956"/>
                      <a:gd name="connsiteY831" fmla="*/ 164849 h 334834"/>
                      <a:gd name="connsiteX832" fmla="*/ 179061 w 334956"/>
                      <a:gd name="connsiteY832" fmla="*/ 163373 h 334834"/>
                      <a:gd name="connsiteX833" fmla="*/ 180385 w 334956"/>
                      <a:gd name="connsiteY833" fmla="*/ 161487 h 334834"/>
                      <a:gd name="connsiteX834" fmla="*/ 180785 w 334956"/>
                      <a:gd name="connsiteY834" fmla="*/ 161315 h 334834"/>
                      <a:gd name="connsiteX835" fmla="*/ 182594 w 334956"/>
                      <a:gd name="connsiteY835" fmla="*/ 162877 h 334834"/>
                      <a:gd name="connsiteX836" fmla="*/ 100994 w 334956"/>
                      <a:gd name="connsiteY836" fmla="*/ 172898 h 334834"/>
                      <a:gd name="connsiteX837" fmla="*/ 95326 w 334956"/>
                      <a:gd name="connsiteY837" fmla="*/ 166325 h 334834"/>
                      <a:gd name="connsiteX838" fmla="*/ 99841 w 334956"/>
                      <a:gd name="connsiteY838" fmla="*/ 162296 h 334834"/>
                      <a:gd name="connsiteX839" fmla="*/ 100994 w 334956"/>
                      <a:gd name="connsiteY839" fmla="*/ 172898 h 334834"/>
                      <a:gd name="connsiteX840" fmla="*/ 216618 w 334956"/>
                      <a:gd name="connsiteY840" fmla="*/ 171907 h 334834"/>
                      <a:gd name="connsiteX841" fmla="*/ 212265 w 334956"/>
                      <a:gd name="connsiteY841" fmla="*/ 166564 h 334834"/>
                      <a:gd name="connsiteX842" fmla="*/ 215713 w 334956"/>
                      <a:gd name="connsiteY842" fmla="*/ 163363 h 334834"/>
                      <a:gd name="connsiteX843" fmla="*/ 216618 w 334956"/>
                      <a:gd name="connsiteY843" fmla="*/ 171907 h 334834"/>
                      <a:gd name="connsiteX844" fmla="*/ 258689 w 334956"/>
                      <a:gd name="connsiteY844" fmla="*/ 164840 h 334834"/>
                      <a:gd name="connsiteX845" fmla="*/ 256718 w 334956"/>
                      <a:gd name="connsiteY845" fmla="*/ 165659 h 334834"/>
                      <a:gd name="connsiteX846" fmla="*/ 257042 w 334956"/>
                      <a:gd name="connsiteY846" fmla="*/ 169936 h 334834"/>
                      <a:gd name="connsiteX847" fmla="*/ 257785 w 334956"/>
                      <a:gd name="connsiteY847" fmla="*/ 173793 h 334834"/>
                      <a:gd name="connsiteX848" fmla="*/ 265509 w 334956"/>
                      <a:gd name="connsiteY848" fmla="*/ 174946 h 334834"/>
                      <a:gd name="connsiteX849" fmla="*/ 262795 w 334956"/>
                      <a:gd name="connsiteY849" fmla="*/ 164021 h 334834"/>
                      <a:gd name="connsiteX850" fmla="*/ 258689 w 334956"/>
                      <a:gd name="connsiteY850" fmla="*/ 164840 h 334834"/>
                      <a:gd name="connsiteX851" fmla="*/ 28603 w 334956"/>
                      <a:gd name="connsiteY851" fmla="*/ 168869 h 334834"/>
                      <a:gd name="connsiteX852" fmla="*/ 32956 w 334956"/>
                      <a:gd name="connsiteY852" fmla="*/ 173555 h 334834"/>
                      <a:gd name="connsiteX853" fmla="*/ 31804 w 334956"/>
                      <a:gd name="connsiteY853" fmla="*/ 166078 h 334834"/>
                      <a:gd name="connsiteX854" fmla="*/ 28603 w 334956"/>
                      <a:gd name="connsiteY854" fmla="*/ 168869 h 334834"/>
                      <a:gd name="connsiteX855" fmla="*/ 158601 w 334956"/>
                      <a:gd name="connsiteY855" fmla="*/ 166325 h 334834"/>
                      <a:gd name="connsiteX856" fmla="*/ 159668 w 334956"/>
                      <a:gd name="connsiteY856" fmla="*/ 167392 h 334834"/>
                      <a:gd name="connsiteX857" fmla="*/ 158515 w 334956"/>
                      <a:gd name="connsiteY857" fmla="*/ 168954 h 334834"/>
                      <a:gd name="connsiteX858" fmla="*/ 156953 w 334956"/>
                      <a:gd name="connsiteY858" fmla="*/ 167392 h 334834"/>
                      <a:gd name="connsiteX859" fmla="*/ 158105 w 334956"/>
                      <a:gd name="connsiteY859" fmla="*/ 166240 h 334834"/>
                      <a:gd name="connsiteX860" fmla="*/ 158601 w 334956"/>
                      <a:gd name="connsiteY860" fmla="*/ 166325 h 334834"/>
                      <a:gd name="connsiteX861" fmla="*/ 317773 w 334956"/>
                      <a:gd name="connsiteY861" fmla="*/ 168954 h 334834"/>
                      <a:gd name="connsiteX862" fmla="*/ 320812 w 334956"/>
                      <a:gd name="connsiteY862" fmla="*/ 172402 h 334834"/>
                      <a:gd name="connsiteX863" fmla="*/ 319583 w 334956"/>
                      <a:gd name="connsiteY863" fmla="*/ 167307 h 334834"/>
                      <a:gd name="connsiteX864" fmla="*/ 317773 w 334956"/>
                      <a:gd name="connsiteY864" fmla="*/ 168954 h 334834"/>
                      <a:gd name="connsiteX865" fmla="*/ 62379 w 334956"/>
                      <a:gd name="connsiteY865" fmla="*/ 172317 h 334834"/>
                      <a:gd name="connsiteX866" fmla="*/ 68456 w 334956"/>
                      <a:gd name="connsiteY866" fmla="*/ 179870 h 334834"/>
                      <a:gd name="connsiteX867" fmla="*/ 73057 w 334956"/>
                      <a:gd name="connsiteY867" fmla="*/ 173298 h 334834"/>
                      <a:gd name="connsiteX868" fmla="*/ 67304 w 334956"/>
                      <a:gd name="connsiteY868" fmla="*/ 168535 h 334834"/>
                      <a:gd name="connsiteX869" fmla="*/ 62379 w 334956"/>
                      <a:gd name="connsiteY869" fmla="*/ 172317 h 334834"/>
                      <a:gd name="connsiteX870" fmla="*/ 136750 w 334956"/>
                      <a:gd name="connsiteY870" fmla="*/ 175279 h 334834"/>
                      <a:gd name="connsiteX871" fmla="*/ 132969 w 334956"/>
                      <a:gd name="connsiteY871" fmla="*/ 171088 h 334834"/>
                      <a:gd name="connsiteX872" fmla="*/ 135436 w 334956"/>
                      <a:gd name="connsiteY872" fmla="*/ 168869 h 334834"/>
                      <a:gd name="connsiteX873" fmla="*/ 136750 w 334956"/>
                      <a:gd name="connsiteY873" fmla="*/ 175279 h 334834"/>
                      <a:gd name="connsiteX874" fmla="*/ 194434 w 334956"/>
                      <a:gd name="connsiteY874" fmla="*/ 174955 h 334834"/>
                      <a:gd name="connsiteX875" fmla="*/ 191471 w 334956"/>
                      <a:gd name="connsiteY875" fmla="*/ 171012 h 334834"/>
                      <a:gd name="connsiteX876" fmla="*/ 193615 w 334956"/>
                      <a:gd name="connsiteY876" fmla="*/ 169288 h 334834"/>
                      <a:gd name="connsiteX877" fmla="*/ 194434 w 334956"/>
                      <a:gd name="connsiteY877" fmla="*/ 174955 h 334834"/>
                      <a:gd name="connsiteX878" fmla="*/ 294113 w 334956"/>
                      <a:gd name="connsiteY878" fmla="*/ 173060 h 334834"/>
                      <a:gd name="connsiteX879" fmla="*/ 298466 w 334956"/>
                      <a:gd name="connsiteY879" fmla="*/ 178327 h 334834"/>
                      <a:gd name="connsiteX880" fmla="*/ 297647 w 334956"/>
                      <a:gd name="connsiteY880" fmla="*/ 170183 h 334834"/>
                      <a:gd name="connsiteX881" fmla="*/ 294113 w 334956"/>
                      <a:gd name="connsiteY881" fmla="*/ 173060 h 334834"/>
                      <a:gd name="connsiteX882" fmla="*/ 230010 w 334956"/>
                      <a:gd name="connsiteY882" fmla="*/ 181604 h 334834"/>
                      <a:gd name="connsiteX883" fmla="*/ 225000 w 334956"/>
                      <a:gd name="connsiteY883" fmla="*/ 174622 h 334834"/>
                      <a:gd name="connsiteX884" fmla="*/ 229524 w 334956"/>
                      <a:gd name="connsiteY884" fmla="*/ 171412 h 334834"/>
                      <a:gd name="connsiteX885" fmla="*/ 230010 w 334956"/>
                      <a:gd name="connsiteY885" fmla="*/ 181604 h 334834"/>
                      <a:gd name="connsiteX886" fmla="*/ 114395 w 334956"/>
                      <a:gd name="connsiteY886" fmla="*/ 181194 h 334834"/>
                      <a:gd name="connsiteX887" fmla="*/ 109385 w 334956"/>
                      <a:gd name="connsiteY887" fmla="*/ 175117 h 334834"/>
                      <a:gd name="connsiteX888" fmla="*/ 113405 w 334956"/>
                      <a:gd name="connsiteY888" fmla="*/ 171907 h 334834"/>
                      <a:gd name="connsiteX889" fmla="*/ 114395 w 334956"/>
                      <a:gd name="connsiteY889" fmla="*/ 181194 h 334834"/>
                      <a:gd name="connsiteX890" fmla="*/ 7811 w 334956"/>
                      <a:gd name="connsiteY890" fmla="*/ 173965 h 334834"/>
                      <a:gd name="connsiteX891" fmla="*/ 10192 w 334956"/>
                      <a:gd name="connsiteY891" fmla="*/ 176432 h 334834"/>
                      <a:gd name="connsiteX892" fmla="*/ 9458 w 334956"/>
                      <a:gd name="connsiteY892" fmla="*/ 172155 h 334834"/>
                      <a:gd name="connsiteX893" fmla="*/ 7811 w 334956"/>
                      <a:gd name="connsiteY893" fmla="*/ 173965 h 334834"/>
                      <a:gd name="connsiteX894" fmla="*/ 270605 w 334956"/>
                      <a:gd name="connsiteY894" fmla="*/ 177498 h 334834"/>
                      <a:gd name="connsiteX895" fmla="*/ 276197 w 334956"/>
                      <a:gd name="connsiteY895" fmla="*/ 183994 h 334834"/>
                      <a:gd name="connsiteX896" fmla="*/ 275206 w 334956"/>
                      <a:gd name="connsiteY896" fmla="*/ 173393 h 334834"/>
                      <a:gd name="connsiteX897" fmla="*/ 270605 w 334956"/>
                      <a:gd name="connsiteY897" fmla="*/ 177498 h 334834"/>
                      <a:gd name="connsiteX898" fmla="*/ 41338 w 334956"/>
                      <a:gd name="connsiteY898" fmla="*/ 177003 h 334834"/>
                      <a:gd name="connsiteX899" fmla="*/ 46272 w 334956"/>
                      <a:gd name="connsiteY899" fmla="*/ 183166 h 334834"/>
                      <a:gd name="connsiteX900" fmla="*/ 45453 w 334956"/>
                      <a:gd name="connsiteY900" fmla="*/ 174126 h 334834"/>
                      <a:gd name="connsiteX901" fmla="*/ 41338 w 334956"/>
                      <a:gd name="connsiteY901" fmla="*/ 177003 h 334834"/>
                      <a:gd name="connsiteX902" fmla="*/ 173403 w 334956"/>
                      <a:gd name="connsiteY902" fmla="*/ 176927 h 334834"/>
                      <a:gd name="connsiteX903" fmla="*/ 172250 w 334956"/>
                      <a:gd name="connsiteY903" fmla="*/ 177994 h 334834"/>
                      <a:gd name="connsiteX904" fmla="*/ 171507 w 334956"/>
                      <a:gd name="connsiteY904" fmla="*/ 178079 h 334834"/>
                      <a:gd name="connsiteX905" fmla="*/ 170440 w 334956"/>
                      <a:gd name="connsiteY905" fmla="*/ 176927 h 334834"/>
                      <a:gd name="connsiteX906" fmla="*/ 171755 w 334956"/>
                      <a:gd name="connsiteY906" fmla="*/ 175117 h 334834"/>
                      <a:gd name="connsiteX907" fmla="*/ 173403 w 334956"/>
                      <a:gd name="connsiteY907" fmla="*/ 176927 h 334834"/>
                      <a:gd name="connsiteX908" fmla="*/ 92535 w 334956"/>
                      <a:gd name="connsiteY908" fmla="*/ 186538 h 334834"/>
                      <a:gd name="connsiteX909" fmla="*/ 89745 w 334956"/>
                      <a:gd name="connsiteY909" fmla="*/ 186785 h 334834"/>
                      <a:gd name="connsiteX910" fmla="*/ 86954 w 334956"/>
                      <a:gd name="connsiteY910" fmla="*/ 184642 h 334834"/>
                      <a:gd name="connsiteX911" fmla="*/ 86458 w 334956"/>
                      <a:gd name="connsiteY911" fmla="*/ 177574 h 334834"/>
                      <a:gd name="connsiteX912" fmla="*/ 91640 w 334956"/>
                      <a:gd name="connsiteY912" fmla="*/ 175193 h 334834"/>
                      <a:gd name="connsiteX913" fmla="*/ 92535 w 334956"/>
                      <a:gd name="connsiteY913" fmla="*/ 186538 h 334834"/>
                      <a:gd name="connsiteX914" fmla="*/ 208236 w 334956"/>
                      <a:gd name="connsiteY914" fmla="*/ 184899 h 334834"/>
                      <a:gd name="connsiteX915" fmla="*/ 203711 w 334956"/>
                      <a:gd name="connsiteY915" fmla="*/ 180051 h 334834"/>
                      <a:gd name="connsiteX916" fmla="*/ 207083 w 334956"/>
                      <a:gd name="connsiteY916" fmla="*/ 177089 h 334834"/>
                      <a:gd name="connsiteX917" fmla="*/ 208236 w 334956"/>
                      <a:gd name="connsiteY917" fmla="*/ 184899 h 334834"/>
                      <a:gd name="connsiteX918" fmla="*/ 332327 w 334956"/>
                      <a:gd name="connsiteY918" fmla="*/ 178565 h 334834"/>
                      <a:gd name="connsiteX919" fmla="*/ 333642 w 334956"/>
                      <a:gd name="connsiteY919" fmla="*/ 180041 h 334834"/>
                      <a:gd name="connsiteX920" fmla="*/ 334956 w 334956"/>
                      <a:gd name="connsiteY920" fmla="*/ 178813 h 334834"/>
                      <a:gd name="connsiteX921" fmla="*/ 334051 w 334956"/>
                      <a:gd name="connsiteY921" fmla="*/ 177413 h 334834"/>
                      <a:gd name="connsiteX922" fmla="*/ 333308 w 334956"/>
                      <a:gd name="connsiteY922" fmla="*/ 177327 h 334834"/>
                      <a:gd name="connsiteX923" fmla="*/ 332327 w 334956"/>
                      <a:gd name="connsiteY923" fmla="*/ 178565 h 334834"/>
                      <a:gd name="connsiteX924" fmla="*/ 150143 w 334956"/>
                      <a:gd name="connsiteY924" fmla="*/ 183575 h 334834"/>
                      <a:gd name="connsiteX925" fmla="*/ 147018 w 334956"/>
                      <a:gd name="connsiteY925" fmla="*/ 180127 h 334834"/>
                      <a:gd name="connsiteX926" fmla="*/ 148819 w 334956"/>
                      <a:gd name="connsiteY926" fmla="*/ 178479 h 334834"/>
                      <a:gd name="connsiteX927" fmla="*/ 150143 w 334956"/>
                      <a:gd name="connsiteY927" fmla="*/ 183575 h 334834"/>
                      <a:gd name="connsiteX928" fmla="*/ 248421 w 334956"/>
                      <a:gd name="connsiteY928" fmla="*/ 184899 h 334834"/>
                      <a:gd name="connsiteX929" fmla="*/ 248669 w 334956"/>
                      <a:gd name="connsiteY929" fmla="*/ 188271 h 334834"/>
                      <a:gd name="connsiteX930" fmla="*/ 244640 w 334956"/>
                      <a:gd name="connsiteY930" fmla="*/ 190729 h 334834"/>
                      <a:gd name="connsiteX931" fmla="*/ 241602 w 334956"/>
                      <a:gd name="connsiteY931" fmla="*/ 191148 h 334834"/>
                      <a:gd name="connsiteX932" fmla="*/ 238230 w 334956"/>
                      <a:gd name="connsiteY932" fmla="*/ 182109 h 334834"/>
                      <a:gd name="connsiteX933" fmla="*/ 243326 w 334956"/>
                      <a:gd name="connsiteY933" fmla="*/ 179556 h 334834"/>
                      <a:gd name="connsiteX934" fmla="*/ 248421 w 334956"/>
                      <a:gd name="connsiteY934" fmla="*/ 184899 h 334834"/>
                      <a:gd name="connsiteX935" fmla="*/ 20384 w 334956"/>
                      <a:gd name="connsiteY935" fmla="*/ 182185 h 334834"/>
                      <a:gd name="connsiteX936" fmla="*/ 23756 w 334956"/>
                      <a:gd name="connsiteY936" fmla="*/ 186214 h 334834"/>
                      <a:gd name="connsiteX937" fmla="*/ 22927 w 334956"/>
                      <a:gd name="connsiteY937" fmla="*/ 179965 h 334834"/>
                      <a:gd name="connsiteX938" fmla="*/ 20384 w 334956"/>
                      <a:gd name="connsiteY938" fmla="*/ 182185 h 334834"/>
                      <a:gd name="connsiteX939" fmla="*/ 308324 w 334956"/>
                      <a:gd name="connsiteY939" fmla="*/ 182099 h 334834"/>
                      <a:gd name="connsiteX940" fmla="*/ 311944 w 334956"/>
                      <a:gd name="connsiteY940" fmla="*/ 186290 h 334834"/>
                      <a:gd name="connsiteX941" fmla="*/ 310715 w 334956"/>
                      <a:gd name="connsiteY941" fmla="*/ 179956 h 334834"/>
                      <a:gd name="connsiteX942" fmla="*/ 308324 w 334956"/>
                      <a:gd name="connsiteY942" fmla="*/ 182099 h 334834"/>
                      <a:gd name="connsiteX943" fmla="*/ 127702 w 334956"/>
                      <a:gd name="connsiteY943" fmla="*/ 189500 h 334834"/>
                      <a:gd name="connsiteX944" fmla="*/ 123263 w 334956"/>
                      <a:gd name="connsiteY944" fmla="*/ 184404 h 334834"/>
                      <a:gd name="connsiteX945" fmla="*/ 127130 w 334956"/>
                      <a:gd name="connsiteY945" fmla="*/ 181366 h 334834"/>
                      <a:gd name="connsiteX946" fmla="*/ 127702 w 334956"/>
                      <a:gd name="connsiteY946" fmla="*/ 189500 h 334834"/>
                      <a:gd name="connsiteX947" fmla="*/ 53826 w 334956"/>
                      <a:gd name="connsiteY947" fmla="*/ 186290 h 334834"/>
                      <a:gd name="connsiteX948" fmla="*/ 59493 w 334956"/>
                      <a:gd name="connsiteY948" fmla="*/ 192700 h 334834"/>
                      <a:gd name="connsiteX949" fmla="*/ 58264 w 334956"/>
                      <a:gd name="connsiteY949" fmla="*/ 182347 h 334834"/>
                      <a:gd name="connsiteX950" fmla="*/ 53826 w 334956"/>
                      <a:gd name="connsiteY950" fmla="*/ 186290 h 334834"/>
                      <a:gd name="connsiteX951" fmla="*/ 185566 w 334956"/>
                      <a:gd name="connsiteY951" fmla="*/ 188262 h 334834"/>
                      <a:gd name="connsiteX952" fmla="*/ 182689 w 334956"/>
                      <a:gd name="connsiteY952" fmla="*/ 184394 h 334834"/>
                      <a:gd name="connsiteX953" fmla="*/ 184747 w 334956"/>
                      <a:gd name="connsiteY953" fmla="*/ 182747 h 334834"/>
                      <a:gd name="connsiteX954" fmla="*/ 185566 w 334956"/>
                      <a:gd name="connsiteY954" fmla="*/ 188262 h 334834"/>
                      <a:gd name="connsiteX955" fmla="*/ 284750 w 334956"/>
                      <a:gd name="connsiteY955" fmla="*/ 186376 h 334834"/>
                      <a:gd name="connsiteX956" fmla="*/ 289760 w 334956"/>
                      <a:gd name="connsiteY956" fmla="*/ 192043 h 334834"/>
                      <a:gd name="connsiteX957" fmla="*/ 288770 w 334956"/>
                      <a:gd name="connsiteY957" fmla="*/ 183004 h 334834"/>
                      <a:gd name="connsiteX958" fmla="*/ 284750 w 334956"/>
                      <a:gd name="connsiteY958" fmla="*/ 186376 h 334834"/>
                      <a:gd name="connsiteX959" fmla="*/ 106013 w 334956"/>
                      <a:gd name="connsiteY959" fmla="*/ 195167 h 334834"/>
                      <a:gd name="connsiteX960" fmla="*/ 99851 w 334956"/>
                      <a:gd name="connsiteY960" fmla="*/ 188347 h 334834"/>
                      <a:gd name="connsiteX961" fmla="*/ 104451 w 334956"/>
                      <a:gd name="connsiteY961" fmla="*/ 184566 h 334834"/>
                      <a:gd name="connsiteX962" fmla="*/ 106013 w 334956"/>
                      <a:gd name="connsiteY962" fmla="*/ 195167 h 334834"/>
                      <a:gd name="connsiteX963" fmla="*/ 221714 w 334956"/>
                      <a:gd name="connsiteY963" fmla="*/ 194672 h 334834"/>
                      <a:gd name="connsiteX964" fmla="*/ 216208 w 334956"/>
                      <a:gd name="connsiteY964" fmla="*/ 188595 h 334834"/>
                      <a:gd name="connsiteX965" fmla="*/ 220151 w 334956"/>
                      <a:gd name="connsiteY965" fmla="*/ 185061 h 334834"/>
                      <a:gd name="connsiteX966" fmla="*/ 221714 w 334956"/>
                      <a:gd name="connsiteY966" fmla="*/ 194672 h 334834"/>
                      <a:gd name="connsiteX967" fmla="*/ 261490 w 334956"/>
                      <a:gd name="connsiteY967" fmla="*/ 189824 h 334834"/>
                      <a:gd name="connsiteX968" fmla="*/ 267576 w 334956"/>
                      <a:gd name="connsiteY968" fmla="*/ 197548 h 334834"/>
                      <a:gd name="connsiteX969" fmla="*/ 266510 w 334956"/>
                      <a:gd name="connsiteY969" fmla="*/ 186376 h 334834"/>
                      <a:gd name="connsiteX970" fmla="*/ 261490 w 334956"/>
                      <a:gd name="connsiteY970" fmla="*/ 189824 h 334834"/>
                      <a:gd name="connsiteX971" fmla="*/ 86 w 334956"/>
                      <a:gd name="connsiteY971" fmla="*/ 187281 h 334834"/>
                      <a:gd name="connsiteX972" fmla="*/ 0 w 334956"/>
                      <a:gd name="connsiteY972" fmla="*/ 187604 h 334834"/>
                      <a:gd name="connsiteX973" fmla="*/ 905 w 334956"/>
                      <a:gd name="connsiteY973" fmla="*/ 188595 h 334834"/>
                      <a:gd name="connsiteX974" fmla="*/ 2057 w 334956"/>
                      <a:gd name="connsiteY974" fmla="*/ 187852 h 334834"/>
                      <a:gd name="connsiteX975" fmla="*/ 2143 w 334956"/>
                      <a:gd name="connsiteY975" fmla="*/ 187281 h 334834"/>
                      <a:gd name="connsiteX976" fmla="*/ 1067 w 334956"/>
                      <a:gd name="connsiteY976" fmla="*/ 186461 h 334834"/>
                      <a:gd name="connsiteX977" fmla="*/ 86 w 334956"/>
                      <a:gd name="connsiteY977" fmla="*/ 187281 h 334834"/>
                      <a:gd name="connsiteX978" fmla="*/ 163373 w 334956"/>
                      <a:gd name="connsiteY978" fmla="*/ 192615 h 334834"/>
                      <a:gd name="connsiteX979" fmla="*/ 160334 w 334956"/>
                      <a:gd name="connsiteY979" fmla="*/ 189167 h 334834"/>
                      <a:gd name="connsiteX980" fmla="*/ 162306 w 334956"/>
                      <a:gd name="connsiteY980" fmla="*/ 187357 h 334834"/>
                      <a:gd name="connsiteX981" fmla="*/ 163373 w 334956"/>
                      <a:gd name="connsiteY981" fmla="*/ 192615 h 334834"/>
                      <a:gd name="connsiteX982" fmla="*/ 32880 w 334956"/>
                      <a:gd name="connsiteY982" fmla="*/ 190976 h 334834"/>
                      <a:gd name="connsiteX983" fmla="*/ 37567 w 334956"/>
                      <a:gd name="connsiteY983" fmla="*/ 195748 h 334834"/>
                      <a:gd name="connsiteX984" fmla="*/ 36004 w 334956"/>
                      <a:gd name="connsiteY984" fmla="*/ 188100 h 334834"/>
                      <a:gd name="connsiteX985" fmla="*/ 32880 w 334956"/>
                      <a:gd name="connsiteY985" fmla="*/ 190976 h 334834"/>
                      <a:gd name="connsiteX986" fmla="*/ 322631 w 334956"/>
                      <a:gd name="connsiteY986" fmla="*/ 191634 h 334834"/>
                      <a:gd name="connsiteX987" fmla="*/ 326241 w 334956"/>
                      <a:gd name="connsiteY987" fmla="*/ 193272 h 334834"/>
                      <a:gd name="connsiteX988" fmla="*/ 324269 w 334956"/>
                      <a:gd name="connsiteY988" fmla="*/ 189900 h 334834"/>
                      <a:gd name="connsiteX989" fmla="*/ 322631 w 334956"/>
                      <a:gd name="connsiteY989" fmla="*/ 191634 h 334834"/>
                      <a:gd name="connsiteX990" fmla="*/ 199196 w 334956"/>
                      <a:gd name="connsiteY990" fmla="*/ 198206 h 334834"/>
                      <a:gd name="connsiteX991" fmla="*/ 194920 w 334956"/>
                      <a:gd name="connsiteY991" fmla="*/ 193272 h 334834"/>
                      <a:gd name="connsiteX992" fmla="*/ 197882 w 334956"/>
                      <a:gd name="connsiteY992" fmla="*/ 190567 h 334834"/>
                      <a:gd name="connsiteX993" fmla="*/ 199196 w 334956"/>
                      <a:gd name="connsiteY993" fmla="*/ 198206 h 334834"/>
                      <a:gd name="connsiteX994" fmla="*/ 67304 w 334956"/>
                      <a:gd name="connsiteY994" fmla="*/ 193358 h 334834"/>
                      <a:gd name="connsiteX995" fmla="*/ 71333 w 334956"/>
                      <a:gd name="connsiteY995" fmla="*/ 202073 h 334834"/>
                      <a:gd name="connsiteX996" fmla="*/ 72152 w 334956"/>
                      <a:gd name="connsiteY996" fmla="*/ 190652 h 334834"/>
                      <a:gd name="connsiteX997" fmla="*/ 67304 w 334956"/>
                      <a:gd name="connsiteY997" fmla="*/ 193358 h 334834"/>
                      <a:gd name="connsiteX998" fmla="*/ 141427 w 334956"/>
                      <a:gd name="connsiteY998" fmla="*/ 197958 h 334834"/>
                      <a:gd name="connsiteX999" fmla="*/ 136989 w 334956"/>
                      <a:gd name="connsiteY999" fmla="*/ 193519 h 334834"/>
                      <a:gd name="connsiteX1000" fmla="*/ 139865 w 334956"/>
                      <a:gd name="connsiteY1000" fmla="*/ 190729 h 334834"/>
                      <a:gd name="connsiteX1001" fmla="*/ 141427 w 334956"/>
                      <a:gd name="connsiteY1001" fmla="*/ 197958 h 334834"/>
                      <a:gd name="connsiteX1002" fmla="*/ 299285 w 334956"/>
                      <a:gd name="connsiteY1002" fmla="*/ 194672 h 334834"/>
                      <a:gd name="connsiteX1003" fmla="*/ 303143 w 334956"/>
                      <a:gd name="connsiteY1003" fmla="*/ 199930 h 334834"/>
                      <a:gd name="connsiteX1004" fmla="*/ 301752 w 334956"/>
                      <a:gd name="connsiteY1004" fmla="*/ 192862 h 334834"/>
                      <a:gd name="connsiteX1005" fmla="*/ 299285 w 334956"/>
                      <a:gd name="connsiteY1005" fmla="*/ 194672 h 334834"/>
                      <a:gd name="connsiteX1006" fmla="*/ 233134 w 334956"/>
                      <a:gd name="connsiteY1006" fmla="*/ 204368 h 334834"/>
                      <a:gd name="connsiteX1007" fmla="*/ 229353 w 334956"/>
                      <a:gd name="connsiteY1007" fmla="*/ 195739 h 334834"/>
                      <a:gd name="connsiteX1008" fmla="*/ 233953 w 334956"/>
                      <a:gd name="connsiteY1008" fmla="*/ 193110 h 334834"/>
                      <a:gd name="connsiteX1009" fmla="*/ 233134 w 334956"/>
                      <a:gd name="connsiteY1009" fmla="*/ 204368 h 334834"/>
                      <a:gd name="connsiteX1010" fmla="*/ 119567 w 334956"/>
                      <a:gd name="connsiteY1010" fmla="*/ 203549 h 334834"/>
                      <a:gd name="connsiteX1011" fmla="*/ 113652 w 334956"/>
                      <a:gd name="connsiteY1011" fmla="*/ 197387 h 334834"/>
                      <a:gd name="connsiteX1012" fmla="*/ 117596 w 334956"/>
                      <a:gd name="connsiteY1012" fmla="*/ 193938 h 334834"/>
                      <a:gd name="connsiteX1013" fmla="*/ 119567 w 334956"/>
                      <a:gd name="connsiteY1013" fmla="*/ 203549 h 334834"/>
                      <a:gd name="connsiteX1014" fmla="*/ 12164 w 334956"/>
                      <a:gd name="connsiteY1014" fmla="*/ 195986 h 334834"/>
                      <a:gd name="connsiteX1015" fmla="*/ 15040 w 334956"/>
                      <a:gd name="connsiteY1015" fmla="*/ 198615 h 334834"/>
                      <a:gd name="connsiteX1016" fmla="*/ 13888 w 334956"/>
                      <a:gd name="connsiteY1016" fmla="*/ 194177 h 334834"/>
                      <a:gd name="connsiteX1017" fmla="*/ 12164 w 334956"/>
                      <a:gd name="connsiteY1017" fmla="*/ 195986 h 334834"/>
                      <a:gd name="connsiteX1018" fmla="*/ 177013 w 334956"/>
                      <a:gd name="connsiteY1018" fmla="*/ 202149 h 334834"/>
                      <a:gd name="connsiteX1019" fmla="*/ 173069 w 334956"/>
                      <a:gd name="connsiteY1019" fmla="*/ 197958 h 334834"/>
                      <a:gd name="connsiteX1020" fmla="*/ 176022 w 334956"/>
                      <a:gd name="connsiteY1020" fmla="*/ 195577 h 334834"/>
                      <a:gd name="connsiteX1021" fmla="*/ 177013 w 334956"/>
                      <a:gd name="connsiteY1021" fmla="*/ 202149 h 334834"/>
                      <a:gd name="connsiteX1022" fmla="*/ 275625 w 334956"/>
                      <a:gd name="connsiteY1022" fmla="*/ 199444 h 334834"/>
                      <a:gd name="connsiteX1023" fmla="*/ 280388 w 334956"/>
                      <a:gd name="connsiteY1023" fmla="*/ 205692 h 334834"/>
                      <a:gd name="connsiteX1024" fmla="*/ 279397 w 334956"/>
                      <a:gd name="connsiteY1024" fmla="*/ 195996 h 334834"/>
                      <a:gd name="connsiteX1025" fmla="*/ 275625 w 334956"/>
                      <a:gd name="connsiteY1025" fmla="*/ 199444 h 334834"/>
                      <a:gd name="connsiteX1026" fmla="*/ 45615 w 334956"/>
                      <a:gd name="connsiteY1026" fmla="*/ 199520 h 334834"/>
                      <a:gd name="connsiteX1027" fmla="*/ 50949 w 334956"/>
                      <a:gd name="connsiteY1027" fmla="*/ 205273 h 334834"/>
                      <a:gd name="connsiteX1028" fmla="*/ 49139 w 334956"/>
                      <a:gd name="connsiteY1028" fmla="*/ 196320 h 334834"/>
                      <a:gd name="connsiteX1029" fmla="*/ 45615 w 334956"/>
                      <a:gd name="connsiteY1029" fmla="*/ 199520 h 334834"/>
                      <a:gd name="connsiteX1030" fmla="*/ 101737 w 334956"/>
                      <a:gd name="connsiteY1030" fmla="*/ 205607 h 334834"/>
                      <a:gd name="connsiteX1031" fmla="*/ 96974 w 334956"/>
                      <a:gd name="connsiteY1031" fmla="*/ 208731 h 334834"/>
                      <a:gd name="connsiteX1032" fmla="*/ 92707 w 334956"/>
                      <a:gd name="connsiteY1032" fmla="*/ 209226 h 334834"/>
                      <a:gd name="connsiteX1033" fmla="*/ 90897 w 334956"/>
                      <a:gd name="connsiteY1033" fmla="*/ 199368 h 334834"/>
                      <a:gd name="connsiteX1034" fmla="*/ 96069 w 334956"/>
                      <a:gd name="connsiteY1034" fmla="*/ 197396 h 334834"/>
                      <a:gd name="connsiteX1035" fmla="*/ 101737 w 334956"/>
                      <a:gd name="connsiteY1035" fmla="*/ 205607 h 334834"/>
                      <a:gd name="connsiteX1036" fmla="*/ 212265 w 334956"/>
                      <a:gd name="connsiteY1036" fmla="*/ 208064 h 334834"/>
                      <a:gd name="connsiteX1037" fmla="*/ 207331 w 334956"/>
                      <a:gd name="connsiteY1037" fmla="*/ 201901 h 334834"/>
                      <a:gd name="connsiteX1038" fmla="*/ 211531 w 334956"/>
                      <a:gd name="connsiteY1038" fmla="*/ 198530 h 334834"/>
                      <a:gd name="connsiteX1039" fmla="*/ 212265 w 334956"/>
                      <a:gd name="connsiteY1039" fmla="*/ 208064 h 334834"/>
                      <a:gd name="connsiteX1040" fmla="*/ 252527 w 334956"/>
                      <a:gd name="connsiteY1040" fmla="*/ 201987 h 334834"/>
                      <a:gd name="connsiteX1041" fmla="*/ 252527 w 334956"/>
                      <a:gd name="connsiteY1041" fmla="*/ 204940 h 334834"/>
                      <a:gd name="connsiteX1042" fmla="*/ 257461 w 334956"/>
                      <a:gd name="connsiteY1042" fmla="*/ 211103 h 334834"/>
                      <a:gd name="connsiteX1043" fmla="*/ 258528 w 334956"/>
                      <a:gd name="connsiteY1043" fmla="*/ 199511 h 334834"/>
                      <a:gd name="connsiteX1044" fmla="*/ 252527 w 334956"/>
                      <a:gd name="connsiteY1044" fmla="*/ 201987 h 334834"/>
                      <a:gd name="connsiteX1045" fmla="*/ 154657 w 334956"/>
                      <a:gd name="connsiteY1045" fmla="*/ 206997 h 334834"/>
                      <a:gd name="connsiteX1046" fmla="*/ 150381 w 334956"/>
                      <a:gd name="connsiteY1046" fmla="*/ 202397 h 334834"/>
                      <a:gd name="connsiteX1047" fmla="*/ 153753 w 334956"/>
                      <a:gd name="connsiteY1047" fmla="*/ 199606 h 334834"/>
                      <a:gd name="connsiteX1048" fmla="*/ 154657 w 334956"/>
                      <a:gd name="connsiteY1048" fmla="*/ 206997 h 334834"/>
                      <a:gd name="connsiteX1049" fmla="*/ 24908 w 334956"/>
                      <a:gd name="connsiteY1049" fmla="*/ 204121 h 334834"/>
                      <a:gd name="connsiteX1050" fmla="*/ 28442 w 334956"/>
                      <a:gd name="connsiteY1050" fmla="*/ 208312 h 334834"/>
                      <a:gd name="connsiteX1051" fmla="*/ 27375 w 334956"/>
                      <a:gd name="connsiteY1051" fmla="*/ 202140 h 334834"/>
                      <a:gd name="connsiteX1052" fmla="*/ 24908 w 334956"/>
                      <a:gd name="connsiteY1052" fmla="*/ 204121 h 334834"/>
                      <a:gd name="connsiteX1053" fmla="*/ 313420 w 334956"/>
                      <a:gd name="connsiteY1053" fmla="*/ 204368 h 334834"/>
                      <a:gd name="connsiteX1054" fmla="*/ 316297 w 334956"/>
                      <a:gd name="connsiteY1054" fmla="*/ 207816 h 334834"/>
                      <a:gd name="connsiteX1055" fmla="*/ 315230 w 334956"/>
                      <a:gd name="connsiteY1055" fmla="*/ 202806 h 334834"/>
                      <a:gd name="connsiteX1056" fmla="*/ 313420 w 334956"/>
                      <a:gd name="connsiteY1056" fmla="*/ 204368 h 334834"/>
                      <a:gd name="connsiteX1057" fmla="*/ 132312 w 334956"/>
                      <a:gd name="connsiteY1057" fmla="*/ 212341 h 334834"/>
                      <a:gd name="connsiteX1058" fmla="*/ 127216 w 334956"/>
                      <a:gd name="connsiteY1058" fmla="*/ 206502 h 334834"/>
                      <a:gd name="connsiteX1059" fmla="*/ 131074 w 334956"/>
                      <a:gd name="connsiteY1059" fmla="*/ 203130 h 334834"/>
                      <a:gd name="connsiteX1060" fmla="*/ 132312 w 334956"/>
                      <a:gd name="connsiteY1060" fmla="*/ 212341 h 334834"/>
                      <a:gd name="connsiteX1061" fmla="*/ 190405 w 334956"/>
                      <a:gd name="connsiteY1061" fmla="*/ 211846 h 334834"/>
                      <a:gd name="connsiteX1062" fmla="*/ 185642 w 334956"/>
                      <a:gd name="connsiteY1062" fmla="*/ 206588 h 334834"/>
                      <a:gd name="connsiteX1063" fmla="*/ 189500 w 334956"/>
                      <a:gd name="connsiteY1063" fmla="*/ 203549 h 334834"/>
                      <a:gd name="connsiteX1064" fmla="*/ 190405 w 334956"/>
                      <a:gd name="connsiteY1064" fmla="*/ 211846 h 334834"/>
                      <a:gd name="connsiteX1065" fmla="*/ 58426 w 334956"/>
                      <a:gd name="connsiteY1065" fmla="*/ 208312 h 334834"/>
                      <a:gd name="connsiteX1066" fmla="*/ 64018 w 334956"/>
                      <a:gd name="connsiteY1066" fmla="*/ 214722 h 334834"/>
                      <a:gd name="connsiteX1067" fmla="*/ 62294 w 334956"/>
                      <a:gd name="connsiteY1067" fmla="*/ 204616 h 334834"/>
                      <a:gd name="connsiteX1068" fmla="*/ 58426 w 334956"/>
                      <a:gd name="connsiteY1068" fmla="*/ 208312 h 334834"/>
                      <a:gd name="connsiteX1069" fmla="*/ 289751 w 334956"/>
                      <a:gd name="connsiteY1069" fmla="*/ 208721 h 334834"/>
                      <a:gd name="connsiteX1070" fmla="*/ 294513 w 334956"/>
                      <a:gd name="connsiteY1070" fmla="*/ 213493 h 334834"/>
                      <a:gd name="connsiteX1071" fmla="*/ 292951 w 334956"/>
                      <a:gd name="connsiteY1071" fmla="*/ 205769 h 334834"/>
                      <a:gd name="connsiteX1072" fmla="*/ 289751 w 334956"/>
                      <a:gd name="connsiteY1072" fmla="*/ 208721 h 334834"/>
                      <a:gd name="connsiteX1073" fmla="*/ 109461 w 334956"/>
                      <a:gd name="connsiteY1073" fmla="*/ 217846 h 334834"/>
                      <a:gd name="connsiteX1074" fmla="*/ 103956 w 334956"/>
                      <a:gd name="connsiteY1074" fmla="*/ 210369 h 334834"/>
                      <a:gd name="connsiteX1075" fmla="*/ 108480 w 334956"/>
                      <a:gd name="connsiteY1075" fmla="*/ 206512 h 334834"/>
                      <a:gd name="connsiteX1076" fmla="*/ 109461 w 334956"/>
                      <a:gd name="connsiteY1076" fmla="*/ 217846 h 334834"/>
                      <a:gd name="connsiteX1077" fmla="*/ 225581 w 334956"/>
                      <a:gd name="connsiteY1077" fmla="*/ 217684 h 334834"/>
                      <a:gd name="connsiteX1078" fmla="*/ 219742 w 334956"/>
                      <a:gd name="connsiteY1078" fmla="*/ 210864 h 334834"/>
                      <a:gd name="connsiteX1079" fmla="*/ 224590 w 334956"/>
                      <a:gd name="connsiteY1079" fmla="*/ 206502 h 334834"/>
                      <a:gd name="connsiteX1080" fmla="*/ 225581 w 334956"/>
                      <a:gd name="connsiteY1080" fmla="*/ 217684 h 334834"/>
                      <a:gd name="connsiteX1081" fmla="*/ 167812 w 334956"/>
                      <a:gd name="connsiteY1081" fmla="*/ 216284 h 334834"/>
                      <a:gd name="connsiteX1082" fmla="*/ 163373 w 334956"/>
                      <a:gd name="connsiteY1082" fmla="*/ 211264 h 334834"/>
                      <a:gd name="connsiteX1083" fmla="*/ 166907 w 334956"/>
                      <a:gd name="connsiteY1083" fmla="*/ 208140 h 334834"/>
                      <a:gd name="connsiteX1084" fmla="*/ 167812 w 334956"/>
                      <a:gd name="connsiteY1084" fmla="*/ 216284 h 334834"/>
                      <a:gd name="connsiteX1085" fmla="*/ 4439 w 334956"/>
                      <a:gd name="connsiteY1085" fmla="*/ 209626 h 334834"/>
                      <a:gd name="connsiteX1086" fmla="*/ 5515 w 334956"/>
                      <a:gd name="connsiteY1086" fmla="*/ 210941 h 334834"/>
                      <a:gd name="connsiteX1087" fmla="*/ 6668 w 334956"/>
                      <a:gd name="connsiteY1087" fmla="*/ 209540 h 334834"/>
                      <a:gd name="connsiteX1088" fmla="*/ 5429 w 334956"/>
                      <a:gd name="connsiteY1088" fmla="*/ 208636 h 334834"/>
                      <a:gd name="connsiteX1089" fmla="*/ 4439 w 334956"/>
                      <a:gd name="connsiteY1089" fmla="*/ 209626 h 334834"/>
                      <a:gd name="connsiteX1090" fmla="*/ 266500 w 334956"/>
                      <a:gd name="connsiteY1090" fmla="*/ 212750 h 334834"/>
                      <a:gd name="connsiteX1091" fmla="*/ 272329 w 334956"/>
                      <a:gd name="connsiteY1091" fmla="*/ 219084 h 334834"/>
                      <a:gd name="connsiteX1092" fmla="*/ 270767 w 334956"/>
                      <a:gd name="connsiteY1092" fmla="*/ 209055 h 334834"/>
                      <a:gd name="connsiteX1093" fmla="*/ 266500 w 334956"/>
                      <a:gd name="connsiteY1093" fmla="*/ 212750 h 334834"/>
                      <a:gd name="connsiteX1094" fmla="*/ 37481 w 334956"/>
                      <a:gd name="connsiteY1094" fmla="*/ 212998 h 334834"/>
                      <a:gd name="connsiteX1095" fmla="*/ 41510 w 334956"/>
                      <a:gd name="connsiteY1095" fmla="*/ 217932 h 334834"/>
                      <a:gd name="connsiteX1096" fmla="*/ 40691 w 334956"/>
                      <a:gd name="connsiteY1096" fmla="*/ 210369 h 334834"/>
                      <a:gd name="connsiteX1097" fmla="*/ 37481 w 334956"/>
                      <a:gd name="connsiteY1097" fmla="*/ 212998 h 334834"/>
                      <a:gd name="connsiteX1098" fmla="*/ 203635 w 334956"/>
                      <a:gd name="connsiteY1098" fmla="*/ 221628 h 334834"/>
                      <a:gd name="connsiteX1099" fmla="*/ 198215 w 334956"/>
                      <a:gd name="connsiteY1099" fmla="*/ 215217 h 334834"/>
                      <a:gd name="connsiteX1100" fmla="*/ 202406 w 334956"/>
                      <a:gd name="connsiteY1100" fmla="*/ 211684 h 334834"/>
                      <a:gd name="connsiteX1101" fmla="*/ 203635 w 334956"/>
                      <a:gd name="connsiteY1101" fmla="*/ 221628 h 334834"/>
                      <a:gd name="connsiteX1102" fmla="*/ 146199 w 334956"/>
                      <a:gd name="connsiteY1102" fmla="*/ 221218 h 334834"/>
                      <a:gd name="connsiteX1103" fmla="*/ 140532 w 334956"/>
                      <a:gd name="connsiteY1103" fmla="*/ 215551 h 334834"/>
                      <a:gd name="connsiteX1104" fmla="*/ 144313 w 334956"/>
                      <a:gd name="connsiteY1104" fmla="*/ 212103 h 334834"/>
                      <a:gd name="connsiteX1105" fmla="*/ 146199 w 334956"/>
                      <a:gd name="connsiteY1105" fmla="*/ 221218 h 334834"/>
                      <a:gd name="connsiteX1106" fmla="*/ 243411 w 334956"/>
                      <a:gd name="connsiteY1106" fmla="*/ 214808 h 334834"/>
                      <a:gd name="connsiteX1107" fmla="*/ 243659 w 334956"/>
                      <a:gd name="connsiteY1107" fmla="*/ 218256 h 334834"/>
                      <a:gd name="connsiteX1108" fmla="*/ 247440 w 334956"/>
                      <a:gd name="connsiteY1108" fmla="*/ 224257 h 334834"/>
                      <a:gd name="connsiteX1109" fmla="*/ 249984 w 334956"/>
                      <a:gd name="connsiteY1109" fmla="*/ 212750 h 334834"/>
                      <a:gd name="connsiteX1110" fmla="*/ 243411 w 334956"/>
                      <a:gd name="connsiteY1110" fmla="*/ 214808 h 334834"/>
                      <a:gd name="connsiteX1111" fmla="*/ 71495 w 334956"/>
                      <a:gd name="connsiteY1111" fmla="*/ 216370 h 334834"/>
                      <a:gd name="connsiteX1112" fmla="*/ 77410 w 334956"/>
                      <a:gd name="connsiteY1112" fmla="*/ 223933 h 334834"/>
                      <a:gd name="connsiteX1113" fmla="*/ 76010 w 334956"/>
                      <a:gd name="connsiteY1113" fmla="*/ 212998 h 334834"/>
                      <a:gd name="connsiteX1114" fmla="*/ 71495 w 334956"/>
                      <a:gd name="connsiteY1114" fmla="*/ 216370 h 334834"/>
                      <a:gd name="connsiteX1115" fmla="*/ 328213 w 334956"/>
                      <a:gd name="connsiteY1115" fmla="*/ 213903 h 334834"/>
                      <a:gd name="connsiteX1116" fmla="*/ 328127 w 334956"/>
                      <a:gd name="connsiteY1116" fmla="*/ 214484 h 334834"/>
                      <a:gd name="connsiteX1117" fmla="*/ 329032 w 334956"/>
                      <a:gd name="connsiteY1117" fmla="*/ 215313 h 334834"/>
                      <a:gd name="connsiteX1118" fmla="*/ 329279 w 334956"/>
                      <a:gd name="connsiteY1118" fmla="*/ 215313 h 334834"/>
                      <a:gd name="connsiteX1119" fmla="*/ 330270 w 334956"/>
                      <a:gd name="connsiteY1119" fmla="*/ 214322 h 334834"/>
                      <a:gd name="connsiteX1120" fmla="*/ 329032 w 334956"/>
                      <a:gd name="connsiteY1120" fmla="*/ 213084 h 334834"/>
                      <a:gd name="connsiteX1121" fmla="*/ 328213 w 334956"/>
                      <a:gd name="connsiteY1121" fmla="*/ 213903 h 334834"/>
                      <a:gd name="connsiteX1122" fmla="*/ 123511 w 334956"/>
                      <a:gd name="connsiteY1122" fmla="*/ 226552 h 334834"/>
                      <a:gd name="connsiteX1123" fmla="*/ 117510 w 334956"/>
                      <a:gd name="connsiteY1123" fmla="*/ 219485 h 334834"/>
                      <a:gd name="connsiteX1124" fmla="*/ 122520 w 334956"/>
                      <a:gd name="connsiteY1124" fmla="*/ 215541 h 334834"/>
                      <a:gd name="connsiteX1125" fmla="*/ 123511 w 334956"/>
                      <a:gd name="connsiteY1125" fmla="*/ 226552 h 334834"/>
                      <a:gd name="connsiteX1126" fmla="*/ 304390 w 334956"/>
                      <a:gd name="connsiteY1126" fmla="*/ 217189 h 334834"/>
                      <a:gd name="connsiteX1127" fmla="*/ 307343 w 334956"/>
                      <a:gd name="connsiteY1127" fmla="*/ 221466 h 334834"/>
                      <a:gd name="connsiteX1128" fmla="*/ 306762 w 334956"/>
                      <a:gd name="connsiteY1128" fmla="*/ 215627 h 334834"/>
                      <a:gd name="connsiteX1129" fmla="*/ 304390 w 334956"/>
                      <a:gd name="connsiteY1129" fmla="*/ 217189 h 334834"/>
                      <a:gd name="connsiteX1130" fmla="*/ 17917 w 334956"/>
                      <a:gd name="connsiteY1130" fmla="*/ 220561 h 334834"/>
                      <a:gd name="connsiteX1131" fmla="*/ 21031 w 334956"/>
                      <a:gd name="connsiteY1131" fmla="*/ 218342 h 334834"/>
                      <a:gd name="connsiteX1132" fmla="*/ 18402 w 334956"/>
                      <a:gd name="connsiteY1132" fmla="*/ 216456 h 334834"/>
                      <a:gd name="connsiteX1133" fmla="*/ 17917 w 334956"/>
                      <a:gd name="connsiteY1133" fmla="*/ 220561 h 334834"/>
                      <a:gd name="connsiteX1134" fmla="*/ 181366 w 334956"/>
                      <a:gd name="connsiteY1134" fmla="*/ 225819 h 334834"/>
                      <a:gd name="connsiteX1135" fmla="*/ 176194 w 334956"/>
                      <a:gd name="connsiteY1135" fmla="*/ 219818 h 334834"/>
                      <a:gd name="connsiteX1136" fmla="*/ 179804 w 334956"/>
                      <a:gd name="connsiteY1136" fmla="*/ 216446 h 334834"/>
                      <a:gd name="connsiteX1137" fmla="*/ 181366 w 334956"/>
                      <a:gd name="connsiteY1137" fmla="*/ 225819 h 334834"/>
                      <a:gd name="connsiteX1138" fmla="*/ 50302 w 334956"/>
                      <a:gd name="connsiteY1138" fmla="*/ 221790 h 334834"/>
                      <a:gd name="connsiteX1139" fmla="*/ 55064 w 334956"/>
                      <a:gd name="connsiteY1139" fmla="*/ 227295 h 334834"/>
                      <a:gd name="connsiteX1140" fmla="*/ 53588 w 334956"/>
                      <a:gd name="connsiteY1140" fmla="*/ 218665 h 334834"/>
                      <a:gd name="connsiteX1141" fmla="*/ 50302 w 334956"/>
                      <a:gd name="connsiteY1141" fmla="*/ 221790 h 334834"/>
                      <a:gd name="connsiteX1142" fmla="*/ 280721 w 334956"/>
                      <a:gd name="connsiteY1142" fmla="*/ 221875 h 334834"/>
                      <a:gd name="connsiteX1143" fmla="*/ 285407 w 334956"/>
                      <a:gd name="connsiteY1143" fmla="*/ 227057 h 334834"/>
                      <a:gd name="connsiteX1144" fmla="*/ 284007 w 334956"/>
                      <a:gd name="connsiteY1144" fmla="*/ 218846 h 334834"/>
                      <a:gd name="connsiteX1145" fmla="*/ 280721 w 334956"/>
                      <a:gd name="connsiteY1145" fmla="*/ 221875 h 334834"/>
                      <a:gd name="connsiteX1146" fmla="*/ 220723 w 334956"/>
                      <a:gd name="connsiteY1146" fmla="*/ 221713 h 334834"/>
                      <a:gd name="connsiteX1147" fmla="*/ 220723 w 334956"/>
                      <a:gd name="connsiteY1147" fmla="*/ 229686 h 334834"/>
                      <a:gd name="connsiteX1148" fmla="*/ 218008 w 334956"/>
                      <a:gd name="connsiteY1148" fmla="*/ 230667 h 334834"/>
                      <a:gd name="connsiteX1149" fmla="*/ 214722 w 334956"/>
                      <a:gd name="connsiteY1149" fmla="*/ 231162 h 334834"/>
                      <a:gd name="connsiteX1150" fmla="*/ 211017 w 334956"/>
                      <a:gd name="connsiteY1150" fmla="*/ 223190 h 334834"/>
                      <a:gd name="connsiteX1151" fmla="*/ 215951 w 334956"/>
                      <a:gd name="connsiteY1151" fmla="*/ 219742 h 334834"/>
                      <a:gd name="connsiteX1152" fmla="*/ 220723 w 334956"/>
                      <a:gd name="connsiteY1152" fmla="*/ 221713 h 334834"/>
                      <a:gd name="connsiteX1153" fmla="*/ 158772 w 334956"/>
                      <a:gd name="connsiteY1153" fmla="*/ 230505 h 334834"/>
                      <a:gd name="connsiteX1154" fmla="*/ 153600 w 334956"/>
                      <a:gd name="connsiteY1154" fmla="*/ 224504 h 334834"/>
                      <a:gd name="connsiteX1155" fmla="*/ 158201 w 334956"/>
                      <a:gd name="connsiteY1155" fmla="*/ 220637 h 334834"/>
                      <a:gd name="connsiteX1156" fmla="*/ 158772 w 334956"/>
                      <a:gd name="connsiteY1156" fmla="*/ 230505 h 334834"/>
                      <a:gd name="connsiteX1157" fmla="*/ 85135 w 334956"/>
                      <a:gd name="connsiteY1157" fmla="*/ 224009 h 334834"/>
                      <a:gd name="connsiteX1158" fmla="*/ 89087 w 334956"/>
                      <a:gd name="connsiteY1158" fmla="*/ 233124 h 334834"/>
                      <a:gd name="connsiteX1159" fmla="*/ 95488 w 334956"/>
                      <a:gd name="connsiteY1159" fmla="*/ 229505 h 334834"/>
                      <a:gd name="connsiteX1160" fmla="*/ 95250 w 334956"/>
                      <a:gd name="connsiteY1160" fmla="*/ 226552 h 334834"/>
                      <a:gd name="connsiteX1161" fmla="*/ 90726 w 334956"/>
                      <a:gd name="connsiteY1161" fmla="*/ 221532 h 334834"/>
                      <a:gd name="connsiteX1162" fmla="*/ 85135 w 334956"/>
                      <a:gd name="connsiteY1162" fmla="*/ 224009 h 334834"/>
                      <a:gd name="connsiteX1163" fmla="*/ 257546 w 334956"/>
                      <a:gd name="connsiteY1163" fmla="*/ 226143 h 334834"/>
                      <a:gd name="connsiteX1164" fmla="*/ 263214 w 334956"/>
                      <a:gd name="connsiteY1164" fmla="*/ 232467 h 334834"/>
                      <a:gd name="connsiteX1165" fmla="*/ 262147 w 334956"/>
                      <a:gd name="connsiteY1165" fmla="*/ 222199 h 334834"/>
                      <a:gd name="connsiteX1166" fmla="*/ 257546 w 334956"/>
                      <a:gd name="connsiteY1166" fmla="*/ 226143 h 334834"/>
                      <a:gd name="connsiteX1167" fmla="*/ 29346 w 334956"/>
                      <a:gd name="connsiteY1167" fmla="*/ 226724 h 334834"/>
                      <a:gd name="connsiteX1168" fmla="*/ 32795 w 334956"/>
                      <a:gd name="connsiteY1168" fmla="*/ 230257 h 334834"/>
                      <a:gd name="connsiteX1169" fmla="*/ 32137 w 334956"/>
                      <a:gd name="connsiteY1169" fmla="*/ 224504 h 334834"/>
                      <a:gd name="connsiteX1170" fmla="*/ 29346 w 334956"/>
                      <a:gd name="connsiteY1170" fmla="*/ 226724 h 334834"/>
                      <a:gd name="connsiteX1171" fmla="*/ 136827 w 334956"/>
                      <a:gd name="connsiteY1171" fmla="*/ 235429 h 334834"/>
                      <a:gd name="connsiteX1172" fmla="*/ 130826 w 334956"/>
                      <a:gd name="connsiteY1172" fmla="*/ 228524 h 334834"/>
                      <a:gd name="connsiteX1173" fmla="*/ 135350 w 334956"/>
                      <a:gd name="connsiteY1173" fmla="*/ 224495 h 334834"/>
                      <a:gd name="connsiteX1174" fmla="*/ 136827 w 334956"/>
                      <a:gd name="connsiteY1174" fmla="*/ 235429 h 334834"/>
                      <a:gd name="connsiteX1175" fmla="*/ 195005 w 334956"/>
                      <a:gd name="connsiteY1175" fmla="*/ 235353 h 334834"/>
                      <a:gd name="connsiteX1176" fmla="*/ 188843 w 334956"/>
                      <a:gd name="connsiteY1176" fmla="*/ 228609 h 334834"/>
                      <a:gd name="connsiteX1177" fmla="*/ 193119 w 334956"/>
                      <a:gd name="connsiteY1177" fmla="*/ 224666 h 334834"/>
                      <a:gd name="connsiteX1178" fmla="*/ 195005 w 334956"/>
                      <a:gd name="connsiteY1178" fmla="*/ 235353 h 334834"/>
                      <a:gd name="connsiteX1179" fmla="*/ 318678 w 334956"/>
                      <a:gd name="connsiteY1179" fmla="*/ 227543 h 334834"/>
                      <a:gd name="connsiteX1180" fmla="*/ 320078 w 334956"/>
                      <a:gd name="connsiteY1180" fmla="*/ 229019 h 334834"/>
                      <a:gd name="connsiteX1181" fmla="*/ 321802 w 334956"/>
                      <a:gd name="connsiteY1181" fmla="*/ 227867 h 334834"/>
                      <a:gd name="connsiteX1182" fmla="*/ 320650 w 334956"/>
                      <a:gd name="connsiteY1182" fmla="*/ 225981 h 334834"/>
                      <a:gd name="connsiteX1183" fmla="*/ 319992 w 334956"/>
                      <a:gd name="connsiteY1183" fmla="*/ 225895 h 334834"/>
                      <a:gd name="connsiteX1184" fmla="*/ 318678 w 334956"/>
                      <a:gd name="connsiteY1184" fmla="*/ 227543 h 334834"/>
                      <a:gd name="connsiteX1185" fmla="*/ 234696 w 334956"/>
                      <a:gd name="connsiteY1185" fmla="*/ 228448 h 334834"/>
                      <a:gd name="connsiteX1186" fmla="*/ 234782 w 334956"/>
                      <a:gd name="connsiteY1186" fmla="*/ 231572 h 334834"/>
                      <a:gd name="connsiteX1187" fmla="*/ 239468 w 334956"/>
                      <a:gd name="connsiteY1187" fmla="*/ 237658 h 334834"/>
                      <a:gd name="connsiteX1188" fmla="*/ 241107 w 334956"/>
                      <a:gd name="connsiteY1188" fmla="*/ 226066 h 334834"/>
                      <a:gd name="connsiteX1189" fmla="*/ 234696 w 334956"/>
                      <a:gd name="connsiteY1189" fmla="*/ 228448 h 334834"/>
                      <a:gd name="connsiteX1190" fmla="*/ 63113 w 334956"/>
                      <a:gd name="connsiteY1190" fmla="*/ 230667 h 334834"/>
                      <a:gd name="connsiteX1191" fmla="*/ 68285 w 334956"/>
                      <a:gd name="connsiteY1191" fmla="*/ 236506 h 334834"/>
                      <a:gd name="connsiteX1192" fmla="*/ 67056 w 334956"/>
                      <a:gd name="connsiteY1192" fmla="*/ 227133 h 334834"/>
                      <a:gd name="connsiteX1193" fmla="*/ 63113 w 334956"/>
                      <a:gd name="connsiteY1193" fmla="*/ 230667 h 334834"/>
                      <a:gd name="connsiteX1194" fmla="*/ 295180 w 334956"/>
                      <a:gd name="connsiteY1194" fmla="*/ 230743 h 334834"/>
                      <a:gd name="connsiteX1195" fmla="*/ 298628 w 334956"/>
                      <a:gd name="connsiteY1195" fmla="*/ 234934 h 334834"/>
                      <a:gd name="connsiteX1196" fmla="*/ 297399 w 334956"/>
                      <a:gd name="connsiteY1196" fmla="*/ 228771 h 334834"/>
                      <a:gd name="connsiteX1197" fmla="*/ 295180 w 334956"/>
                      <a:gd name="connsiteY1197" fmla="*/ 230743 h 334834"/>
                      <a:gd name="connsiteX1198" fmla="*/ 172326 w 334956"/>
                      <a:gd name="connsiteY1198" fmla="*/ 239792 h 334834"/>
                      <a:gd name="connsiteX1199" fmla="*/ 166649 w 334956"/>
                      <a:gd name="connsiteY1199" fmla="*/ 232972 h 334834"/>
                      <a:gd name="connsiteX1200" fmla="*/ 171336 w 334956"/>
                      <a:gd name="connsiteY1200" fmla="*/ 229114 h 334834"/>
                      <a:gd name="connsiteX1201" fmla="*/ 172326 w 334956"/>
                      <a:gd name="connsiteY1201" fmla="*/ 239792 h 334834"/>
                      <a:gd name="connsiteX1202" fmla="*/ 271844 w 334956"/>
                      <a:gd name="connsiteY1202" fmla="*/ 235020 h 334834"/>
                      <a:gd name="connsiteX1203" fmla="*/ 276197 w 334956"/>
                      <a:gd name="connsiteY1203" fmla="*/ 240440 h 334834"/>
                      <a:gd name="connsiteX1204" fmla="*/ 275454 w 334956"/>
                      <a:gd name="connsiteY1204" fmla="*/ 232058 h 334834"/>
                      <a:gd name="connsiteX1205" fmla="*/ 271844 w 334956"/>
                      <a:gd name="connsiteY1205" fmla="*/ 235020 h 334834"/>
                      <a:gd name="connsiteX1206" fmla="*/ 42158 w 334956"/>
                      <a:gd name="connsiteY1206" fmla="*/ 235515 h 334834"/>
                      <a:gd name="connsiteX1207" fmla="*/ 46272 w 334956"/>
                      <a:gd name="connsiteY1207" fmla="*/ 239630 h 334834"/>
                      <a:gd name="connsiteX1208" fmla="*/ 44958 w 334956"/>
                      <a:gd name="connsiteY1208" fmla="*/ 232886 h 334834"/>
                      <a:gd name="connsiteX1209" fmla="*/ 42158 w 334956"/>
                      <a:gd name="connsiteY1209" fmla="*/ 235515 h 334834"/>
                      <a:gd name="connsiteX1210" fmla="*/ 150628 w 334956"/>
                      <a:gd name="connsiteY1210" fmla="*/ 244145 h 334834"/>
                      <a:gd name="connsiteX1211" fmla="*/ 148333 w 334956"/>
                      <a:gd name="connsiteY1211" fmla="*/ 244554 h 334834"/>
                      <a:gd name="connsiteX1212" fmla="*/ 144132 w 334956"/>
                      <a:gd name="connsiteY1212" fmla="*/ 236906 h 334834"/>
                      <a:gd name="connsiteX1213" fmla="*/ 149066 w 334956"/>
                      <a:gd name="connsiteY1213" fmla="*/ 233210 h 334834"/>
                      <a:gd name="connsiteX1214" fmla="*/ 150628 w 334956"/>
                      <a:gd name="connsiteY1214" fmla="*/ 244145 h 334834"/>
                      <a:gd name="connsiteX1215" fmla="*/ 76429 w 334956"/>
                      <a:gd name="connsiteY1215" fmla="*/ 238554 h 334834"/>
                      <a:gd name="connsiteX1216" fmla="*/ 81772 w 334956"/>
                      <a:gd name="connsiteY1216" fmla="*/ 245621 h 334834"/>
                      <a:gd name="connsiteX1217" fmla="*/ 80458 w 334956"/>
                      <a:gd name="connsiteY1217" fmla="*/ 235591 h 334834"/>
                      <a:gd name="connsiteX1218" fmla="*/ 76429 w 334956"/>
                      <a:gd name="connsiteY1218" fmla="*/ 238554 h 334834"/>
                      <a:gd name="connsiteX1219" fmla="*/ 248755 w 334956"/>
                      <a:gd name="connsiteY1219" fmla="*/ 239297 h 334834"/>
                      <a:gd name="connsiteX1220" fmla="*/ 254584 w 334956"/>
                      <a:gd name="connsiteY1220" fmla="*/ 245707 h 334834"/>
                      <a:gd name="connsiteX1221" fmla="*/ 252774 w 334956"/>
                      <a:gd name="connsiteY1221" fmla="*/ 235601 h 334834"/>
                      <a:gd name="connsiteX1222" fmla="*/ 248755 w 334956"/>
                      <a:gd name="connsiteY1222" fmla="*/ 239297 h 334834"/>
                      <a:gd name="connsiteX1223" fmla="*/ 190814 w 334956"/>
                      <a:gd name="connsiteY1223" fmla="*/ 242907 h 334834"/>
                      <a:gd name="connsiteX1224" fmla="*/ 190567 w 334956"/>
                      <a:gd name="connsiteY1224" fmla="*/ 246602 h 334834"/>
                      <a:gd name="connsiteX1225" fmla="*/ 186128 w 334956"/>
                      <a:gd name="connsiteY1225" fmla="*/ 248574 h 334834"/>
                      <a:gd name="connsiteX1226" fmla="*/ 182756 w 334956"/>
                      <a:gd name="connsiteY1226" fmla="*/ 249069 h 334834"/>
                      <a:gd name="connsiteX1227" fmla="*/ 179556 w 334956"/>
                      <a:gd name="connsiteY1227" fmla="*/ 241344 h 334834"/>
                      <a:gd name="connsiteX1228" fmla="*/ 184404 w 334956"/>
                      <a:gd name="connsiteY1228" fmla="*/ 237477 h 334834"/>
                      <a:gd name="connsiteX1229" fmla="*/ 190814 w 334956"/>
                      <a:gd name="connsiteY1229" fmla="*/ 242907 h 334834"/>
                      <a:gd name="connsiteX1230" fmla="*/ 309563 w 334956"/>
                      <a:gd name="connsiteY1230" fmla="*/ 240525 h 334834"/>
                      <a:gd name="connsiteX1231" fmla="*/ 311706 w 334956"/>
                      <a:gd name="connsiteY1231" fmla="*/ 242583 h 334834"/>
                      <a:gd name="connsiteX1232" fmla="*/ 313182 w 334956"/>
                      <a:gd name="connsiteY1232" fmla="*/ 240278 h 334834"/>
                      <a:gd name="connsiteX1233" fmla="*/ 311125 w 334956"/>
                      <a:gd name="connsiteY1233" fmla="*/ 238877 h 334834"/>
                      <a:gd name="connsiteX1234" fmla="*/ 309563 w 334956"/>
                      <a:gd name="connsiteY1234" fmla="*/ 240525 h 334834"/>
                      <a:gd name="connsiteX1235" fmla="*/ 21536 w 334956"/>
                      <a:gd name="connsiteY1235" fmla="*/ 240611 h 334834"/>
                      <a:gd name="connsiteX1236" fmla="*/ 23013 w 334956"/>
                      <a:gd name="connsiteY1236" fmla="*/ 242506 h 334834"/>
                      <a:gd name="connsiteX1237" fmla="*/ 25070 w 334956"/>
                      <a:gd name="connsiteY1237" fmla="*/ 240944 h 334834"/>
                      <a:gd name="connsiteX1238" fmla="*/ 23174 w 334956"/>
                      <a:gd name="connsiteY1238" fmla="*/ 238973 h 334834"/>
                      <a:gd name="connsiteX1239" fmla="*/ 21536 w 334956"/>
                      <a:gd name="connsiteY1239" fmla="*/ 240611 h 334834"/>
                      <a:gd name="connsiteX1240" fmla="*/ 226314 w 334956"/>
                      <a:gd name="connsiteY1240" fmla="*/ 242087 h 334834"/>
                      <a:gd name="connsiteX1241" fmla="*/ 225981 w 334956"/>
                      <a:gd name="connsiteY1241" fmla="*/ 245383 h 334834"/>
                      <a:gd name="connsiteX1242" fmla="*/ 231324 w 334956"/>
                      <a:gd name="connsiteY1242" fmla="*/ 250803 h 334834"/>
                      <a:gd name="connsiteX1243" fmla="*/ 231896 w 334956"/>
                      <a:gd name="connsiteY1243" fmla="*/ 239459 h 334834"/>
                      <a:gd name="connsiteX1244" fmla="*/ 226314 w 334956"/>
                      <a:gd name="connsiteY1244" fmla="*/ 242087 h 334834"/>
                      <a:gd name="connsiteX1245" fmla="*/ 55150 w 334956"/>
                      <a:gd name="connsiteY1245" fmla="*/ 243897 h 334834"/>
                      <a:gd name="connsiteX1246" fmla="*/ 59255 w 334956"/>
                      <a:gd name="connsiteY1246" fmla="*/ 248993 h 334834"/>
                      <a:gd name="connsiteX1247" fmla="*/ 58274 w 334956"/>
                      <a:gd name="connsiteY1247" fmla="*/ 241268 h 334834"/>
                      <a:gd name="connsiteX1248" fmla="*/ 55150 w 334956"/>
                      <a:gd name="connsiteY1248" fmla="*/ 243897 h 334834"/>
                      <a:gd name="connsiteX1249" fmla="*/ 168545 w 334956"/>
                      <a:gd name="connsiteY1249" fmla="*/ 247021 h 334834"/>
                      <a:gd name="connsiteX1250" fmla="*/ 168707 w 334956"/>
                      <a:gd name="connsiteY1250" fmla="*/ 250803 h 334834"/>
                      <a:gd name="connsiteX1251" fmla="*/ 166821 w 334956"/>
                      <a:gd name="connsiteY1251" fmla="*/ 252527 h 334834"/>
                      <a:gd name="connsiteX1252" fmla="*/ 158687 w 334956"/>
                      <a:gd name="connsiteY1252" fmla="*/ 253755 h 334834"/>
                      <a:gd name="connsiteX1253" fmla="*/ 159020 w 334956"/>
                      <a:gd name="connsiteY1253" fmla="*/ 243078 h 334834"/>
                      <a:gd name="connsiteX1254" fmla="*/ 162639 w 334956"/>
                      <a:gd name="connsiteY1254" fmla="*/ 241764 h 334834"/>
                      <a:gd name="connsiteX1255" fmla="*/ 168545 w 334956"/>
                      <a:gd name="connsiteY1255" fmla="*/ 247021 h 334834"/>
                      <a:gd name="connsiteX1256" fmla="*/ 286141 w 334956"/>
                      <a:gd name="connsiteY1256" fmla="*/ 244307 h 334834"/>
                      <a:gd name="connsiteX1257" fmla="*/ 289512 w 334956"/>
                      <a:gd name="connsiteY1257" fmla="*/ 248326 h 334834"/>
                      <a:gd name="connsiteX1258" fmla="*/ 289017 w 334956"/>
                      <a:gd name="connsiteY1258" fmla="*/ 241926 h 334834"/>
                      <a:gd name="connsiteX1259" fmla="*/ 286141 w 334956"/>
                      <a:gd name="connsiteY1259" fmla="*/ 244307 h 334834"/>
                      <a:gd name="connsiteX1260" fmla="*/ 89249 w 334956"/>
                      <a:gd name="connsiteY1260" fmla="*/ 248088 h 334834"/>
                      <a:gd name="connsiteX1261" fmla="*/ 94517 w 334956"/>
                      <a:gd name="connsiteY1261" fmla="*/ 254746 h 334834"/>
                      <a:gd name="connsiteX1262" fmla="*/ 93450 w 334956"/>
                      <a:gd name="connsiteY1262" fmla="*/ 244307 h 334834"/>
                      <a:gd name="connsiteX1263" fmla="*/ 89249 w 334956"/>
                      <a:gd name="connsiteY1263" fmla="*/ 248088 h 334834"/>
                      <a:gd name="connsiteX1264" fmla="*/ 262966 w 334956"/>
                      <a:gd name="connsiteY1264" fmla="*/ 248412 h 334834"/>
                      <a:gd name="connsiteX1265" fmla="*/ 267653 w 334956"/>
                      <a:gd name="connsiteY1265" fmla="*/ 253670 h 334834"/>
                      <a:gd name="connsiteX1266" fmla="*/ 266262 w 334956"/>
                      <a:gd name="connsiteY1266" fmla="*/ 245450 h 334834"/>
                      <a:gd name="connsiteX1267" fmla="*/ 262966 w 334956"/>
                      <a:gd name="connsiteY1267" fmla="*/ 248412 h 334834"/>
                      <a:gd name="connsiteX1268" fmla="*/ 34357 w 334956"/>
                      <a:gd name="connsiteY1268" fmla="*/ 248745 h 334834"/>
                      <a:gd name="connsiteX1269" fmla="*/ 36824 w 334956"/>
                      <a:gd name="connsiteY1269" fmla="*/ 251946 h 334834"/>
                      <a:gd name="connsiteX1270" fmla="*/ 36576 w 334956"/>
                      <a:gd name="connsiteY1270" fmla="*/ 247174 h 334834"/>
                      <a:gd name="connsiteX1271" fmla="*/ 34357 w 334956"/>
                      <a:gd name="connsiteY1271" fmla="*/ 248745 h 334834"/>
                      <a:gd name="connsiteX1272" fmla="*/ 240116 w 334956"/>
                      <a:gd name="connsiteY1272" fmla="*/ 252527 h 334834"/>
                      <a:gd name="connsiteX1273" fmla="*/ 245374 w 334956"/>
                      <a:gd name="connsiteY1273" fmla="*/ 258851 h 334834"/>
                      <a:gd name="connsiteX1274" fmla="*/ 244059 w 334956"/>
                      <a:gd name="connsiteY1274" fmla="*/ 249079 h 334834"/>
                      <a:gd name="connsiteX1275" fmla="*/ 240116 w 334956"/>
                      <a:gd name="connsiteY1275" fmla="*/ 252527 h 334834"/>
                      <a:gd name="connsiteX1276" fmla="*/ 68047 w 334956"/>
                      <a:gd name="connsiteY1276" fmla="*/ 253013 h 334834"/>
                      <a:gd name="connsiteX1277" fmla="*/ 72809 w 334956"/>
                      <a:gd name="connsiteY1277" fmla="*/ 258108 h 334834"/>
                      <a:gd name="connsiteX1278" fmla="*/ 71495 w 334956"/>
                      <a:gd name="connsiteY1278" fmla="*/ 249898 h 334834"/>
                      <a:gd name="connsiteX1279" fmla="*/ 68047 w 334956"/>
                      <a:gd name="connsiteY1279" fmla="*/ 253013 h 334834"/>
                      <a:gd name="connsiteX1280" fmla="*/ 303066 w 334956"/>
                      <a:gd name="connsiteY1280" fmla="*/ 255899 h 334834"/>
                      <a:gd name="connsiteX1281" fmla="*/ 304390 w 334956"/>
                      <a:gd name="connsiteY1281" fmla="*/ 253508 h 334834"/>
                      <a:gd name="connsiteX1282" fmla="*/ 302247 w 334956"/>
                      <a:gd name="connsiteY1282" fmla="*/ 252117 h 334834"/>
                      <a:gd name="connsiteX1283" fmla="*/ 303066 w 334956"/>
                      <a:gd name="connsiteY1283" fmla="*/ 255899 h 334834"/>
                      <a:gd name="connsiteX1284" fmla="*/ 217446 w 334956"/>
                      <a:gd name="connsiteY1284" fmla="*/ 256880 h 334834"/>
                      <a:gd name="connsiteX1285" fmla="*/ 223276 w 334956"/>
                      <a:gd name="connsiteY1285" fmla="*/ 263785 h 334834"/>
                      <a:gd name="connsiteX1286" fmla="*/ 222209 w 334956"/>
                      <a:gd name="connsiteY1286" fmla="*/ 252936 h 334834"/>
                      <a:gd name="connsiteX1287" fmla="*/ 217446 w 334956"/>
                      <a:gd name="connsiteY1287" fmla="*/ 256880 h 334834"/>
                      <a:gd name="connsiteX1288" fmla="*/ 102480 w 334956"/>
                      <a:gd name="connsiteY1288" fmla="*/ 257127 h 334834"/>
                      <a:gd name="connsiteX1289" fmla="*/ 108642 w 334956"/>
                      <a:gd name="connsiteY1289" fmla="*/ 263538 h 334834"/>
                      <a:gd name="connsiteX1290" fmla="*/ 106832 w 334956"/>
                      <a:gd name="connsiteY1290" fmla="*/ 253108 h 334834"/>
                      <a:gd name="connsiteX1291" fmla="*/ 102480 w 334956"/>
                      <a:gd name="connsiteY1291" fmla="*/ 257127 h 334834"/>
                      <a:gd name="connsiteX1292" fmla="*/ 277263 w 334956"/>
                      <a:gd name="connsiteY1292" fmla="*/ 257785 h 334834"/>
                      <a:gd name="connsiteX1293" fmla="*/ 281207 w 334956"/>
                      <a:gd name="connsiteY1293" fmla="*/ 261480 h 334834"/>
                      <a:gd name="connsiteX1294" fmla="*/ 279730 w 334956"/>
                      <a:gd name="connsiteY1294" fmla="*/ 255327 h 334834"/>
                      <a:gd name="connsiteX1295" fmla="*/ 277263 w 334956"/>
                      <a:gd name="connsiteY1295" fmla="*/ 257785 h 334834"/>
                      <a:gd name="connsiteX1296" fmla="*/ 50711 w 334956"/>
                      <a:gd name="connsiteY1296" fmla="*/ 261233 h 334834"/>
                      <a:gd name="connsiteX1297" fmla="*/ 49397 w 334956"/>
                      <a:gd name="connsiteY1297" fmla="*/ 255642 h 334834"/>
                      <a:gd name="connsiteX1298" fmla="*/ 50711 w 334956"/>
                      <a:gd name="connsiteY1298" fmla="*/ 261233 h 334834"/>
                      <a:gd name="connsiteX1299" fmla="*/ 138141 w 334956"/>
                      <a:gd name="connsiteY1299" fmla="*/ 259347 h 334834"/>
                      <a:gd name="connsiteX1300" fmla="*/ 142580 w 334956"/>
                      <a:gd name="connsiteY1300" fmla="*/ 268548 h 334834"/>
                      <a:gd name="connsiteX1301" fmla="*/ 143808 w 334956"/>
                      <a:gd name="connsiteY1301" fmla="*/ 257042 h 334834"/>
                      <a:gd name="connsiteX1302" fmla="*/ 138141 w 334956"/>
                      <a:gd name="connsiteY1302" fmla="*/ 259347 h 334834"/>
                      <a:gd name="connsiteX1303" fmla="*/ 195834 w 334956"/>
                      <a:gd name="connsiteY1303" fmla="*/ 259261 h 334834"/>
                      <a:gd name="connsiteX1304" fmla="*/ 199530 w 334956"/>
                      <a:gd name="connsiteY1304" fmla="*/ 268386 h 334834"/>
                      <a:gd name="connsiteX1305" fmla="*/ 200682 w 334956"/>
                      <a:gd name="connsiteY1305" fmla="*/ 257203 h 334834"/>
                      <a:gd name="connsiteX1306" fmla="*/ 195834 w 334956"/>
                      <a:gd name="connsiteY1306" fmla="*/ 259261 h 334834"/>
                      <a:gd name="connsiteX1307" fmla="*/ 81191 w 334956"/>
                      <a:gd name="connsiteY1307" fmla="*/ 261890 h 334834"/>
                      <a:gd name="connsiteX1308" fmla="*/ 86373 w 334956"/>
                      <a:gd name="connsiteY1308" fmla="*/ 267062 h 334834"/>
                      <a:gd name="connsiteX1309" fmla="*/ 84811 w 334956"/>
                      <a:gd name="connsiteY1309" fmla="*/ 258518 h 334834"/>
                      <a:gd name="connsiteX1310" fmla="*/ 81191 w 334956"/>
                      <a:gd name="connsiteY1310" fmla="*/ 261890 h 334834"/>
                      <a:gd name="connsiteX1311" fmla="*/ 254251 w 334956"/>
                      <a:gd name="connsiteY1311" fmla="*/ 261890 h 334834"/>
                      <a:gd name="connsiteX1312" fmla="*/ 258442 w 334956"/>
                      <a:gd name="connsiteY1312" fmla="*/ 266824 h 334834"/>
                      <a:gd name="connsiteX1313" fmla="*/ 257461 w 334956"/>
                      <a:gd name="connsiteY1313" fmla="*/ 258851 h 334834"/>
                      <a:gd name="connsiteX1314" fmla="*/ 254251 w 334956"/>
                      <a:gd name="connsiteY1314" fmla="*/ 261890 h 334834"/>
                      <a:gd name="connsiteX1315" fmla="*/ 173803 w 334956"/>
                      <a:gd name="connsiteY1315" fmla="*/ 263538 h 334834"/>
                      <a:gd name="connsiteX1316" fmla="*/ 177756 w 334956"/>
                      <a:gd name="connsiteY1316" fmla="*/ 272901 h 334834"/>
                      <a:gd name="connsiteX1317" fmla="*/ 178984 w 334956"/>
                      <a:gd name="connsiteY1317" fmla="*/ 261566 h 334834"/>
                      <a:gd name="connsiteX1318" fmla="*/ 173803 w 334956"/>
                      <a:gd name="connsiteY1318" fmla="*/ 263538 h 334834"/>
                      <a:gd name="connsiteX1319" fmla="*/ 115957 w 334956"/>
                      <a:gd name="connsiteY1319" fmla="*/ 265509 h 334834"/>
                      <a:gd name="connsiteX1320" fmla="*/ 121377 w 334956"/>
                      <a:gd name="connsiteY1320" fmla="*/ 272415 h 334834"/>
                      <a:gd name="connsiteX1321" fmla="*/ 120387 w 334956"/>
                      <a:gd name="connsiteY1321" fmla="*/ 261976 h 334834"/>
                      <a:gd name="connsiteX1322" fmla="*/ 115957 w 334956"/>
                      <a:gd name="connsiteY1322" fmla="*/ 265509 h 334834"/>
                      <a:gd name="connsiteX1323" fmla="*/ 27041 w 334956"/>
                      <a:gd name="connsiteY1323" fmla="*/ 262709 h 334834"/>
                      <a:gd name="connsiteX1324" fmla="*/ 27289 w 334956"/>
                      <a:gd name="connsiteY1324" fmla="*/ 263614 h 334834"/>
                      <a:gd name="connsiteX1325" fmla="*/ 27946 w 334956"/>
                      <a:gd name="connsiteY1325" fmla="*/ 263700 h 334834"/>
                      <a:gd name="connsiteX1326" fmla="*/ 28356 w 334956"/>
                      <a:gd name="connsiteY1326" fmla="*/ 262795 h 334834"/>
                      <a:gd name="connsiteX1327" fmla="*/ 27365 w 334956"/>
                      <a:gd name="connsiteY1327" fmla="*/ 262299 h 334834"/>
                      <a:gd name="connsiteX1328" fmla="*/ 27041 w 334956"/>
                      <a:gd name="connsiteY1328" fmla="*/ 262709 h 334834"/>
                      <a:gd name="connsiteX1329" fmla="*/ 231572 w 334956"/>
                      <a:gd name="connsiteY1329" fmla="*/ 265757 h 334834"/>
                      <a:gd name="connsiteX1330" fmla="*/ 236754 w 334956"/>
                      <a:gd name="connsiteY1330" fmla="*/ 271843 h 334834"/>
                      <a:gd name="connsiteX1331" fmla="*/ 235525 w 334956"/>
                      <a:gd name="connsiteY1331" fmla="*/ 262633 h 334834"/>
                      <a:gd name="connsiteX1332" fmla="*/ 231572 w 334956"/>
                      <a:gd name="connsiteY1332" fmla="*/ 265757 h 334834"/>
                      <a:gd name="connsiteX1333" fmla="*/ 60246 w 334956"/>
                      <a:gd name="connsiteY1333" fmla="*/ 266243 h 334834"/>
                      <a:gd name="connsiteX1334" fmla="*/ 63694 w 334956"/>
                      <a:gd name="connsiteY1334" fmla="*/ 270434 h 334834"/>
                      <a:gd name="connsiteX1335" fmla="*/ 62703 w 334956"/>
                      <a:gd name="connsiteY1335" fmla="*/ 264185 h 334834"/>
                      <a:gd name="connsiteX1336" fmla="*/ 60246 w 334956"/>
                      <a:gd name="connsiteY1336" fmla="*/ 266243 h 334834"/>
                      <a:gd name="connsiteX1337" fmla="*/ 291808 w 334956"/>
                      <a:gd name="connsiteY1337" fmla="*/ 267148 h 334834"/>
                      <a:gd name="connsiteX1338" fmla="*/ 293284 w 334956"/>
                      <a:gd name="connsiteY1338" fmla="*/ 269196 h 334834"/>
                      <a:gd name="connsiteX1339" fmla="*/ 295589 w 334956"/>
                      <a:gd name="connsiteY1339" fmla="*/ 267471 h 334834"/>
                      <a:gd name="connsiteX1340" fmla="*/ 293370 w 334956"/>
                      <a:gd name="connsiteY1340" fmla="*/ 265500 h 334834"/>
                      <a:gd name="connsiteX1341" fmla="*/ 291808 w 334956"/>
                      <a:gd name="connsiteY1341" fmla="*/ 267148 h 334834"/>
                      <a:gd name="connsiteX1342" fmla="*/ 151124 w 334956"/>
                      <a:gd name="connsiteY1342" fmla="*/ 269777 h 334834"/>
                      <a:gd name="connsiteX1343" fmla="*/ 156963 w 334956"/>
                      <a:gd name="connsiteY1343" fmla="*/ 277092 h 334834"/>
                      <a:gd name="connsiteX1344" fmla="*/ 156058 w 334956"/>
                      <a:gd name="connsiteY1344" fmla="*/ 266167 h 334834"/>
                      <a:gd name="connsiteX1345" fmla="*/ 151124 w 334956"/>
                      <a:gd name="connsiteY1345" fmla="*/ 269777 h 334834"/>
                      <a:gd name="connsiteX1346" fmla="*/ 209064 w 334956"/>
                      <a:gd name="connsiteY1346" fmla="*/ 270196 h 334834"/>
                      <a:gd name="connsiteX1347" fmla="*/ 214074 w 334956"/>
                      <a:gd name="connsiteY1347" fmla="*/ 276682 h 334834"/>
                      <a:gd name="connsiteX1348" fmla="*/ 213084 w 334956"/>
                      <a:gd name="connsiteY1348" fmla="*/ 266662 h 334834"/>
                      <a:gd name="connsiteX1349" fmla="*/ 209064 w 334956"/>
                      <a:gd name="connsiteY1349" fmla="*/ 270196 h 334834"/>
                      <a:gd name="connsiteX1350" fmla="*/ 94431 w 334956"/>
                      <a:gd name="connsiteY1350" fmla="*/ 270605 h 334834"/>
                      <a:gd name="connsiteX1351" fmla="*/ 99765 w 334956"/>
                      <a:gd name="connsiteY1351" fmla="*/ 275949 h 334834"/>
                      <a:gd name="connsiteX1352" fmla="*/ 98203 w 334956"/>
                      <a:gd name="connsiteY1352" fmla="*/ 267319 h 334834"/>
                      <a:gd name="connsiteX1353" fmla="*/ 94431 w 334956"/>
                      <a:gd name="connsiteY1353" fmla="*/ 270605 h 334834"/>
                      <a:gd name="connsiteX1354" fmla="*/ 268634 w 334956"/>
                      <a:gd name="connsiteY1354" fmla="*/ 270853 h 334834"/>
                      <a:gd name="connsiteX1355" fmla="*/ 271844 w 334956"/>
                      <a:gd name="connsiteY1355" fmla="*/ 274711 h 334834"/>
                      <a:gd name="connsiteX1356" fmla="*/ 271024 w 334956"/>
                      <a:gd name="connsiteY1356" fmla="*/ 268796 h 334834"/>
                      <a:gd name="connsiteX1357" fmla="*/ 268634 w 334956"/>
                      <a:gd name="connsiteY1357" fmla="*/ 270853 h 334834"/>
                      <a:gd name="connsiteX1358" fmla="*/ 39453 w 334956"/>
                      <a:gd name="connsiteY1358" fmla="*/ 271920 h 334834"/>
                      <a:gd name="connsiteX1359" fmla="*/ 40853 w 334956"/>
                      <a:gd name="connsiteY1359" fmla="*/ 273310 h 334834"/>
                      <a:gd name="connsiteX1360" fmla="*/ 42577 w 334956"/>
                      <a:gd name="connsiteY1360" fmla="*/ 271663 h 334834"/>
                      <a:gd name="connsiteX1361" fmla="*/ 40681 w 334956"/>
                      <a:gd name="connsiteY1361" fmla="*/ 270262 h 334834"/>
                      <a:gd name="connsiteX1362" fmla="*/ 39453 w 334956"/>
                      <a:gd name="connsiteY1362" fmla="*/ 271920 h 334834"/>
                      <a:gd name="connsiteX1363" fmla="*/ 186709 w 334956"/>
                      <a:gd name="connsiteY1363" fmla="*/ 274711 h 334834"/>
                      <a:gd name="connsiteX1364" fmla="*/ 192872 w 334956"/>
                      <a:gd name="connsiteY1364" fmla="*/ 281121 h 334834"/>
                      <a:gd name="connsiteX1365" fmla="*/ 190814 w 334956"/>
                      <a:gd name="connsiteY1365" fmla="*/ 270929 h 334834"/>
                      <a:gd name="connsiteX1366" fmla="*/ 186709 w 334956"/>
                      <a:gd name="connsiteY1366" fmla="*/ 274711 h 334834"/>
                      <a:gd name="connsiteX1367" fmla="*/ 129264 w 334956"/>
                      <a:gd name="connsiteY1367" fmla="*/ 274872 h 334834"/>
                      <a:gd name="connsiteX1368" fmla="*/ 134445 w 334956"/>
                      <a:gd name="connsiteY1368" fmla="*/ 281121 h 334834"/>
                      <a:gd name="connsiteX1369" fmla="*/ 133378 w 334956"/>
                      <a:gd name="connsiteY1369" fmla="*/ 271100 h 334834"/>
                      <a:gd name="connsiteX1370" fmla="*/ 129264 w 334956"/>
                      <a:gd name="connsiteY1370" fmla="*/ 274872 h 334834"/>
                      <a:gd name="connsiteX1371" fmla="*/ 245707 w 334956"/>
                      <a:gd name="connsiteY1371" fmla="*/ 275120 h 334834"/>
                      <a:gd name="connsiteX1372" fmla="*/ 249898 w 334956"/>
                      <a:gd name="connsiteY1372" fmla="*/ 279806 h 334834"/>
                      <a:gd name="connsiteX1373" fmla="*/ 248831 w 334956"/>
                      <a:gd name="connsiteY1373" fmla="*/ 272405 h 334834"/>
                      <a:gd name="connsiteX1374" fmla="*/ 245707 w 334956"/>
                      <a:gd name="connsiteY1374" fmla="*/ 275120 h 334834"/>
                      <a:gd name="connsiteX1375" fmla="*/ 73305 w 334956"/>
                      <a:gd name="connsiteY1375" fmla="*/ 275206 h 334834"/>
                      <a:gd name="connsiteX1376" fmla="*/ 77334 w 334956"/>
                      <a:gd name="connsiteY1376" fmla="*/ 279397 h 334834"/>
                      <a:gd name="connsiteX1377" fmla="*/ 75772 w 334956"/>
                      <a:gd name="connsiteY1377" fmla="*/ 272901 h 334834"/>
                      <a:gd name="connsiteX1378" fmla="*/ 73305 w 334956"/>
                      <a:gd name="connsiteY1378" fmla="*/ 275206 h 334834"/>
                      <a:gd name="connsiteX1379" fmla="*/ 164678 w 334956"/>
                      <a:gd name="connsiteY1379" fmla="*/ 279149 h 334834"/>
                      <a:gd name="connsiteX1380" fmla="*/ 169936 w 334956"/>
                      <a:gd name="connsiteY1380" fmla="*/ 285559 h 334834"/>
                      <a:gd name="connsiteX1381" fmla="*/ 169193 w 334956"/>
                      <a:gd name="connsiteY1381" fmla="*/ 275444 h 334834"/>
                      <a:gd name="connsiteX1382" fmla="*/ 164678 w 334956"/>
                      <a:gd name="connsiteY1382" fmla="*/ 279149 h 334834"/>
                      <a:gd name="connsiteX1383" fmla="*/ 107823 w 334956"/>
                      <a:gd name="connsiteY1383" fmla="*/ 279397 h 334834"/>
                      <a:gd name="connsiteX1384" fmla="*/ 112995 w 334956"/>
                      <a:gd name="connsiteY1384" fmla="*/ 284740 h 334834"/>
                      <a:gd name="connsiteX1385" fmla="*/ 111271 w 334956"/>
                      <a:gd name="connsiteY1385" fmla="*/ 276273 h 334834"/>
                      <a:gd name="connsiteX1386" fmla="*/ 107823 w 334956"/>
                      <a:gd name="connsiteY1386" fmla="*/ 279397 h 334834"/>
                      <a:gd name="connsiteX1387" fmla="*/ 223114 w 334956"/>
                      <a:gd name="connsiteY1387" fmla="*/ 279397 h 334834"/>
                      <a:gd name="connsiteX1388" fmla="*/ 227714 w 334956"/>
                      <a:gd name="connsiteY1388" fmla="*/ 284740 h 334834"/>
                      <a:gd name="connsiteX1389" fmla="*/ 226314 w 334956"/>
                      <a:gd name="connsiteY1389" fmla="*/ 276358 h 334834"/>
                      <a:gd name="connsiteX1390" fmla="*/ 223114 w 334956"/>
                      <a:gd name="connsiteY1390" fmla="*/ 279397 h 334834"/>
                      <a:gd name="connsiteX1391" fmla="*/ 53997 w 334956"/>
                      <a:gd name="connsiteY1391" fmla="*/ 282521 h 334834"/>
                      <a:gd name="connsiteX1392" fmla="*/ 56217 w 334956"/>
                      <a:gd name="connsiteY1392" fmla="*/ 280873 h 334834"/>
                      <a:gd name="connsiteX1393" fmla="*/ 53912 w 334956"/>
                      <a:gd name="connsiteY1393" fmla="*/ 278740 h 334834"/>
                      <a:gd name="connsiteX1394" fmla="*/ 53997 w 334956"/>
                      <a:gd name="connsiteY1394" fmla="*/ 282521 h 334834"/>
                      <a:gd name="connsiteX1395" fmla="*/ 283178 w 334956"/>
                      <a:gd name="connsiteY1395" fmla="*/ 280464 h 334834"/>
                      <a:gd name="connsiteX1396" fmla="*/ 284988 w 334956"/>
                      <a:gd name="connsiteY1396" fmla="*/ 282359 h 334834"/>
                      <a:gd name="connsiteX1397" fmla="*/ 286465 w 334956"/>
                      <a:gd name="connsiteY1397" fmla="*/ 280959 h 334834"/>
                      <a:gd name="connsiteX1398" fmla="*/ 284579 w 334956"/>
                      <a:gd name="connsiteY1398" fmla="*/ 278987 h 334834"/>
                      <a:gd name="connsiteX1399" fmla="*/ 283178 w 334956"/>
                      <a:gd name="connsiteY1399" fmla="*/ 280464 h 334834"/>
                      <a:gd name="connsiteX1400" fmla="*/ 142827 w 334956"/>
                      <a:gd name="connsiteY1400" fmla="*/ 283912 h 334834"/>
                      <a:gd name="connsiteX1401" fmla="*/ 148419 w 334956"/>
                      <a:gd name="connsiteY1401" fmla="*/ 289579 h 334834"/>
                      <a:gd name="connsiteX1402" fmla="*/ 146780 w 334956"/>
                      <a:gd name="connsiteY1402" fmla="*/ 280206 h 334834"/>
                      <a:gd name="connsiteX1403" fmla="*/ 142827 w 334956"/>
                      <a:gd name="connsiteY1403" fmla="*/ 283912 h 334834"/>
                      <a:gd name="connsiteX1404" fmla="*/ 200682 w 334956"/>
                      <a:gd name="connsiteY1404" fmla="*/ 283750 h 334834"/>
                      <a:gd name="connsiteX1405" fmla="*/ 205769 w 334956"/>
                      <a:gd name="connsiteY1405" fmla="*/ 289427 h 334834"/>
                      <a:gd name="connsiteX1406" fmla="*/ 204454 w 334956"/>
                      <a:gd name="connsiteY1406" fmla="*/ 280473 h 334834"/>
                      <a:gd name="connsiteX1407" fmla="*/ 200682 w 334956"/>
                      <a:gd name="connsiteY1407" fmla="*/ 283750 h 334834"/>
                      <a:gd name="connsiteX1408" fmla="*/ 86458 w 334956"/>
                      <a:gd name="connsiteY1408" fmla="*/ 284493 h 334834"/>
                      <a:gd name="connsiteX1409" fmla="*/ 90811 w 334956"/>
                      <a:gd name="connsiteY1409" fmla="*/ 288265 h 334834"/>
                      <a:gd name="connsiteX1410" fmla="*/ 89163 w 334956"/>
                      <a:gd name="connsiteY1410" fmla="*/ 281692 h 334834"/>
                      <a:gd name="connsiteX1411" fmla="*/ 86458 w 334956"/>
                      <a:gd name="connsiteY1411" fmla="*/ 284493 h 334834"/>
                      <a:gd name="connsiteX1412" fmla="*/ 260004 w 334956"/>
                      <a:gd name="connsiteY1412" fmla="*/ 284493 h 334834"/>
                      <a:gd name="connsiteX1413" fmla="*/ 263204 w 334956"/>
                      <a:gd name="connsiteY1413" fmla="*/ 287693 h 334834"/>
                      <a:gd name="connsiteX1414" fmla="*/ 261976 w 334956"/>
                      <a:gd name="connsiteY1414" fmla="*/ 282435 h 334834"/>
                      <a:gd name="connsiteX1415" fmla="*/ 260004 w 334956"/>
                      <a:gd name="connsiteY1415" fmla="*/ 284493 h 334834"/>
                      <a:gd name="connsiteX1416" fmla="*/ 178489 w 334956"/>
                      <a:gd name="connsiteY1416" fmla="*/ 288188 h 334834"/>
                      <a:gd name="connsiteX1417" fmla="*/ 183585 w 334956"/>
                      <a:gd name="connsiteY1417" fmla="*/ 293856 h 334834"/>
                      <a:gd name="connsiteX1418" fmla="*/ 182185 w 334956"/>
                      <a:gd name="connsiteY1418" fmla="*/ 284893 h 334834"/>
                      <a:gd name="connsiteX1419" fmla="*/ 178489 w 334956"/>
                      <a:gd name="connsiteY1419" fmla="*/ 288188 h 334834"/>
                      <a:gd name="connsiteX1420" fmla="*/ 121291 w 334956"/>
                      <a:gd name="connsiteY1420" fmla="*/ 288265 h 334834"/>
                      <a:gd name="connsiteX1421" fmla="*/ 125816 w 334956"/>
                      <a:gd name="connsiteY1421" fmla="*/ 293522 h 334834"/>
                      <a:gd name="connsiteX1422" fmla="*/ 124749 w 334956"/>
                      <a:gd name="connsiteY1422" fmla="*/ 285312 h 334834"/>
                      <a:gd name="connsiteX1423" fmla="*/ 121291 w 334956"/>
                      <a:gd name="connsiteY1423" fmla="*/ 288265 h 334834"/>
                      <a:gd name="connsiteX1424" fmla="*/ 237249 w 334956"/>
                      <a:gd name="connsiteY1424" fmla="*/ 288598 h 334834"/>
                      <a:gd name="connsiteX1425" fmla="*/ 241192 w 334956"/>
                      <a:gd name="connsiteY1425" fmla="*/ 292713 h 334834"/>
                      <a:gd name="connsiteX1426" fmla="*/ 239878 w 334956"/>
                      <a:gd name="connsiteY1426" fmla="*/ 286141 h 334834"/>
                      <a:gd name="connsiteX1427" fmla="*/ 237249 w 334956"/>
                      <a:gd name="connsiteY1427" fmla="*/ 288598 h 334834"/>
                      <a:gd name="connsiteX1428" fmla="*/ 65494 w 334956"/>
                      <a:gd name="connsiteY1428" fmla="*/ 289169 h 334834"/>
                      <a:gd name="connsiteX1429" fmla="*/ 67875 w 334956"/>
                      <a:gd name="connsiteY1429" fmla="*/ 291636 h 334834"/>
                      <a:gd name="connsiteX1430" fmla="*/ 67380 w 334956"/>
                      <a:gd name="connsiteY1430" fmla="*/ 287360 h 334834"/>
                      <a:gd name="connsiteX1431" fmla="*/ 65494 w 334956"/>
                      <a:gd name="connsiteY1431" fmla="*/ 289169 h 334834"/>
                      <a:gd name="connsiteX1432" fmla="*/ 156543 w 334956"/>
                      <a:gd name="connsiteY1432" fmla="*/ 292713 h 334834"/>
                      <a:gd name="connsiteX1433" fmla="*/ 161563 w 334956"/>
                      <a:gd name="connsiteY1433" fmla="*/ 298056 h 334834"/>
                      <a:gd name="connsiteX1434" fmla="*/ 160572 w 334956"/>
                      <a:gd name="connsiteY1434" fmla="*/ 289512 h 334834"/>
                      <a:gd name="connsiteX1435" fmla="*/ 156543 w 334956"/>
                      <a:gd name="connsiteY1435" fmla="*/ 292713 h 334834"/>
                      <a:gd name="connsiteX1436" fmla="*/ 214732 w 334956"/>
                      <a:gd name="connsiteY1436" fmla="*/ 292875 h 334834"/>
                      <a:gd name="connsiteX1437" fmla="*/ 219247 w 334956"/>
                      <a:gd name="connsiteY1437" fmla="*/ 297475 h 334834"/>
                      <a:gd name="connsiteX1438" fmla="*/ 217522 w 334956"/>
                      <a:gd name="connsiteY1438" fmla="*/ 290160 h 334834"/>
                      <a:gd name="connsiteX1439" fmla="*/ 214732 w 334956"/>
                      <a:gd name="connsiteY1439" fmla="*/ 292875 h 334834"/>
                      <a:gd name="connsiteX1440" fmla="*/ 99851 w 334956"/>
                      <a:gd name="connsiteY1440" fmla="*/ 293122 h 334834"/>
                      <a:gd name="connsiteX1441" fmla="*/ 103794 w 334956"/>
                      <a:gd name="connsiteY1441" fmla="*/ 297142 h 334834"/>
                      <a:gd name="connsiteX1442" fmla="*/ 102641 w 334956"/>
                      <a:gd name="connsiteY1442" fmla="*/ 290570 h 334834"/>
                      <a:gd name="connsiteX1443" fmla="*/ 99851 w 334956"/>
                      <a:gd name="connsiteY1443" fmla="*/ 293122 h 334834"/>
                      <a:gd name="connsiteX1444" fmla="*/ 274720 w 334956"/>
                      <a:gd name="connsiteY1444" fmla="*/ 294018 h 334834"/>
                      <a:gd name="connsiteX1445" fmla="*/ 275711 w 334956"/>
                      <a:gd name="connsiteY1445" fmla="*/ 295084 h 334834"/>
                      <a:gd name="connsiteX1446" fmla="*/ 276292 w 334956"/>
                      <a:gd name="connsiteY1446" fmla="*/ 295161 h 334834"/>
                      <a:gd name="connsiteX1447" fmla="*/ 277111 w 334956"/>
                      <a:gd name="connsiteY1447" fmla="*/ 294256 h 334834"/>
                      <a:gd name="connsiteX1448" fmla="*/ 276368 w 334956"/>
                      <a:gd name="connsiteY1448" fmla="*/ 292779 h 334834"/>
                      <a:gd name="connsiteX1449" fmla="*/ 275787 w 334956"/>
                      <a:gd name="connsiteY1449" fmla="*/ 292703 h 334834"/>
                      <a:gd name="connsiteX1450" fmla="*/ 274720 w 334956"/>
                      <a:gd name="connsiteY1450" fmla="*/ 294018 h 334834"/>
                      <a:gd name="connsiteX1451" fmla="*/ 192462 w 334956"/>
                      <a:gd name="connsiteY1451" fmla="*/ 297228 h 334834"/>
                      <a:gd name="connsiteX1452" fmla="*/ 196901 w 334956"/>
                      <a:gd name="connsiteY1452" fmla="*/ 302076 h 334834"/>
                      <a:gd name="connsiteX1453" fmla="*/ 195834 w 334956"/>
                      <a:gd name="connsiteY1453" fmla="*/ 294437 h 334834"/>
                      <a:gd name="connsiteX1454" fmla="*/ 192462 w 334956"/>
                      <a:gd name="connsiteY1454" fmla="*/ 297228 h 334834"/>
                      <a:gd name="connsiteX1455" fmla="*/ 134855 w 334956"/>
                      <a:gd name="connsiteY1455" fmla="*/ 297313 h 334834"/>
                      <a:gd name="connsiteX1456" fmla="*/ 138884 w 334956"/>
                      <a:gd name="connsiteY1456" fmla="*/ 302085 h 334834"/>
                      <a:gd name="connsiteX1457" fmla="*/ 137893 w 334956"/>
                      <a:gd name="connsiteY1457" fmla="*/ 294522 h 334834"/>
                      <a:gd name="connsiteX1458" fmla="*/ 134855 w 334956"/>
                      <a:gd name="connsiteY1458" fmla="*/ 297313 h 334834"/>
                      <a:gd name="connsiteX1459" fmla="*/ 78895 w 334956"/>
                      <a:gd name="connsiteY1459" fmla="*/ 297561 h 334834"/>
                      <a:gd name="connsiteX1460" fmla="*/ 81448 w 334956"/>
                      <a:gd name="connsiteY1460" fmla="*/ 300514 h 334834"/>
                      <a:gd name="connsiteX1461" fmla="*/ 80629 w 334956"/>
                      <a:gd name="connsiteY1461" fmla="*/ 296161 h 334834"/>
                      <a:gd name="connsiteX1462" fmla="*/ 78895 w 334956"/>
                      <a:gd name="connsiteY1462" fmla="*/ 297561 h 334834"/>
                      <a:gd name="connsiteX1463" fmla="*/ 251631 w 334956"/>
                      <a:gd name="connsiteY1463" fmla="*/ 297799 h 334834"/>
                      <a:gd name="connsiteX1464" fmla="*/ 254260 w 334956"/>
                      <a:gd name="connsiteY1464" fmla="*/ 300590 h 334834"/>
                      <a:gd name="connsiteX1465" fmla="*/ 253355 w 334956"/>
                      <a:gd name="connsiteY1465" fmla="*/ 296161 h 334834"/>
                      <a:gd name="connsiteX1466" fmla="*/ 251631 w 334956"/>
                      <a:gd name="connsiteY1466" fmla="*/ 297799 h 334834"/>
                      <a:gd name="connsiteX1467" fmla="*/ 170355 w 334956"/>
                      <a:gd name="connsiteY1467" fmla="*/ 301828 h 334834"/>
                      <a:gd name="connsiteX1468" fmla="*/ 174708 w 334956"/>
                      <a:gd name="connsiteY1468" fmla="*/ 306429 h 334834"/>
                      <a:gd name="connsiteX1469" fmla="*/ 173727 w 334956"/>
                      <a:gd name="connsiteY1469" fmla="*/ 298952 h 334834"/>
                      <a:gd name="connsiteX1470" fmla="*/ 170355 w 334956"/>
                      <a:gd name="connsiteY1470" fmla="*/ 301828 h 334834"/>
                      <a:gd name="connsiteX1471" fmla="*/ 113329 w 334956"/>
                      <a:gd name="connsiteY1471" fmla="*/ 302162 h 334834"/>
                      <a:gd name="connsiteX1472" fmla="*/ 117024 w 334956"/>
                      <a:gd name="connsiteY1472" fmla="*/ 305771 h 334834"/>
                      <a:gd name="connsiteX1473" fmla="*/ 116205 w 334956"/>
                      <a:gd name="connsiteY1473" fmla="*/ 299609 h 334834"/>
                      <a:gd name="connsiteX1474" fmla="*/ 113329 w 334956"/>
                      <a:gd name="connsiteY1474" fmla="*/ 302162 h 334834"/>
                      <a:gd name="connsiteX1475" fmla="*/ 228943 w 334956"/>
                      <a:gd name="connsiteY1475" fmla="*/ 301914 h 334834"/>
                      <a:gd name="connsiteX1476" fmla="*/ 232143 w 334956"/>
                      <a:gd name="connsiteY1476" fmla="*/ 305533 h 334834"/>
                      <a:gd name="connsiteX1477" fmla="*/ 230991 w 334956"/>
                      <a:gd name="connsiteY1477" fmla="*/ 300028 h 334834"/>
                      <a:gd name="connsiteX1478" fmla="*/ 228943 w 334956"/>
                      <a:gd name="connsiteY1478" fmla="*/ 301914 h 334834"/>
                      <a:gd name="connsiteX1479" fmla="*/ 148580 w 334956"/>
                      <a:gd name="connsiteY1479" fmla="*/ 306267 h 334834"/>
                      <a:gd name="connsiteX1480" fmla="*/ 152352 w 334956"/>
                      <a:gd name="connsiteY1480" fmla="*/ 310544 h 334834"/>
                      <a:gd name="connsiteX1481" fmla="*/ 151200 w 334956"/>
                      <a:gd name="connsiteY1481" fmla="*/ 303809 h 334834"/>
                      <a:gd name="connsiteX1482" fmla="*/ 148580 w 334956"/>
                      <a:gd name="connsiteY1482" fmla="*/ 306267 h 334834"/>
                      <a:gd name="connsiteX1483" fmla="*/ 206512 w 334956"/>
                      <a:gd name="connsiteY1483" fmla="*/ 306429 h 334834"/>
                      <a:gd name="connsiteX1484" fmla="*/ 209874 w 334956"/>
                      <a:gd name="connsiteY1484" fmla="*/ 310210 h 334834"/>
                      <a:gd name="connsiteX1485" fmla="*/ 209131 w 334956"/>
                      <a:gd name="connsiteY1485" fmla="*/ 304133 h 334834"/>
                      <a:gd name="connsiteX1486" fmla="*/ 206512 w 334956"/>
                      <a:gd name="connsiteY1486" fmla="*/ 306429 h 334834"/>
                      <a:gd name="connsiteX1487" fmla="*/ 92126 w 334956"/>
                      <a:gd name="connsiteY1487" fmla="*/ 306838 h 334834"/>
                      <a:gd name="connsiteX1488" fmla="*/ 94517 w 334956"/>
                      <a:gd name="connsiteY1488" fmla="*/ 309391 h 334834"/>
                      <a:gd name="connsiteX1489" fmla="*/ 93859 w 334956"/>
                      <a:gd name="connsiteY1489" fmla="*/ 305114 h 334834"/>
                      <a:gd name="connsiteX1490" fmla="*/ 92126 w 334956"/>
                      <a:gd name="connsiteY1490" fmla="*/ 306838 h 334834"/>
                      <a:gd name="connsiteX1491" fmla="*/ 184404 w 334956"/>
                      <a:gd name="connsiteY1491" fmla="*/ 310620 h 334834"/>
                      <a:gd name="connsiteX1492" fmla="*/ 187690 w 334956"/>
                      <a:gd name="connsiteY1492" fmla="*/ 314649 h 334834"/>
                      <a:gd name="connsiteX1493" fmla="*/ 186947 w 334956"/>
                      <a:gd name="connsiteY1493" fmla="*/ 308562 h 334834"/>
                      <a:gd name="connsiteX1494" fmla="*/ 184404 w 334956"/>
                      <a:gd name="connsiteY1494" fmla="*/ 310620 h 334834"/>
                      <a:gd name="connsiteX1495" fmla="*/ 127045 w 334956"/>
                      <a:gd name="connsiteY1495" fmla="*/ 310620 h 334834"/>
                      <a:gd name="connsiteX1496" fmla="*/ 130245 w 334956"/>
                      <a:gd name="connsiteY1496" fmla="*/ 314401 h 334834"/>
                      <a:gd name="connsiteX1497" fmla="*/ 129254 w 334956"/>
                      <a:gd name="connsiteY1497" fmla="*/ 308810 h 334834"/>
                      <a:gd name="connsiteX1498" fmla="*/ 127045 w 334956"/>
                      <a:gd name="connsiteY1498" fmla="*/ 310620 h 334834"/>
                      <a:gd name="connsiteX1499" fmla="*/ 243326 w 334956"/>
                      <a:gd name="connsiteY1499" fmla="*/ 311525 h 334834"/>
                      <a:gd name="connsiteX1500" fmla="*/ 244640 w 334956"/>
                      <a:gd name="connsiteY1500" fmla="*/ 313249 h 334834"/>
                      <a:gd name="connsiteX1501" fmla="*/ 246526 w 334956"/>
                      <a:gd name="connsiteY1501" fmla="*/ 311934 h 334834"/>
                      <a:gd name="connsiteX1502" fmla="*/ 244555 w 334956"/>
                      <a:gd name="connsiteY1502" fmla="*/ 310134 h 334834"/>
                      <a:gd name="connsiteX1503" fmla="*/ 243326 w 334956"/>
                      <a:gd name="connsiteY1503" fmla="*/ 311525 h 334834"/>
                      <a:gd name="connsiteX1504" fmla="*/ 162554 w 334956"/>
                      <a:gd name="connsiteY1504" fmla="*/ 314973 h 334834"/>
                      <a:gd name="connsiteX1505" fmla="*/ 165506 w 334956"/>
                      <a:gd name="connsiteY1505" fmla="*/ 318916 h 334834"/>
                      <a:gd name="connsiteX1506" fmla="*/ 164602 w 334956"/>
                      <a:gd name="connsiteY1506" fmla="*/ 313249 h 334834"/>
                      <a:gd name="connsiteX1507" fmla="*/ 162554 w 334956"/>
                      <a:gd name="connsiteY1507" fmla="*/ 314973 h 334834"/>
                      <a:gd name="connsiteX1508" fmla="*/ 220723 w 334956"/>
                      <a:gd name="connsiteY1508" fmla="*/ 315554 h 334834"/>
                      <a:gd name="connsiteX1509" fmla="*/ 223104 w 334956"/>
                      <a:gd name="connsiteY1509" fmla="*/ 318183 h 334834"/>
                      <a:gd name="connsiteX1510" fmla="*/ 222609 w 334956"/>
                      <a:gd name="connsiteY1510" fmla="*/ 313992 h 334834"/>
                      <a:gd name="connsiteX1511" fmla="*/ 220723 w 334956"/>
                      <a:gd name="connsiteY1511" fmla="*/ 315554 h 334834"/>
                      <a:gd name="connsiteX1512" fmla="*/ 105604 w 334956"/>
                      <a:gd name="connsiteY1512" fmla="*/ 315954 h 334834"/>
                      <a:gd name="connsiteX1513" fmla="*/ 108976 w 334956"/>
                      <a:gd name="connsiteY1513" fmla="*/ 317192 h 334834"/>
                      <a:gd name="connsiteX1514" fmla="*/ 107252 w 334956"/>
                      <a:gd name="connsiteY1514" fmla="*/ 314230 h 334834"/>
                      <a:gd name="connsiteX1515" fmla="*/ 105604 w 334956"/>
                      <a:gd name="connsiteY1515" fmla="*/ 315954 h 334834"/>
                      <a:gd name="connsiteX1516" fmla="*/ 140770 w 334956"/>
                      <a:gd name="connsiteY1516" fmla="*/ 319830 h 334834"/>
                      <a:gd name="connsiteX1517" fmla="*/ 143323 w 334956"/>
                      <a:gd name="connsiteY1517" fmla="*/ 322869 h 334834"/>
                      <a:gd name="connsiteX1518" fmla="*/ 142580 w 334956"/>
                      <a:gd name="connsiteY1518" fmla="*/ 318183 h 334834"/>
                      <a:gd name="connsiteX1519" fmla="*/ 140770 w 334956"/>
                      <a:gd name="connsiteY1519" fmla="*/ 319830 h 334834"/>
                      <a:gd name="connsiteX1520" fmla="*/ 200025 w 334956"/>
                      <a:gd name="connsiteY1520" fmla="*/ 322707 h 334834"/>
                      <a:gd name="connsiteX1521" fmla="*/ 202740 w 334956"/>
                      <a:gd name="connsiteY1521" fmla="*/ 319916 h 334834"/>
                      <a:gd name="connsiteX1522" fmla="*/ 200111 w 334956"/>
                      <a:gd name="connsiteY1522" fmla="*/ 318354 h 334834"/>
                      <a:gd name="connsiteX1523" fmla="*/ 200025 w 334956"/>
                      <a:gd name="connsiteY1523" fmla="*/ 322707 h 334834"/>
                      <a:gd name="connsiteX1524" fmla="*/ 177994 w 334956"/>
                      <a:gd name="connsiteY1524" fmla="*/ 327060 h 334834"/>
                      <a:gd name="connsiteX1525" fmla="*/ 178070 w 334956"/>
                      <a:gd name="connsiteY1525" fmla="*/ 322869 h 334834"/>
                      <a:gd name="connsiteX1526" fmla="*/ 177994 w 334956"/>
                      <a:gd name="connsiteY1526" fmla="*/ 327060 h 334834"/>
                      <a:gd name="connsiteX1527" fmla="*/ 119329 w 334956"/>
                      <a:gd name="connsiteY1527" fmla="*/ 324841 h 334834"/>
                      <a:gd name="connsiteX1528" fmla="*/ 120644 w 334956"/>
                      <a:gd name="connsiteY1528" fmla="*/ 326479 h 334834"/>
                      <a:gd name="connsiteX1529" fmla="*/ 122206 w 334956"/>
                      <a:gd name="connsiteY1529" fmla="*/ 325326 h 334834"/>
                      <a:gd name="connsiteX1530" fmla="*/ 122282 w 334956"/>
                      <a:gd name="connsiteY1530" fmla="*/ 324669 h 334834"/>
                      <a:gd name="connsiteX1531" fmla="*/ 120558 w 334956"/>
                      <a:gd name="connsiteY1531" fmla="*/ 323526 h 334834"/>
                      <a:gd name="connsiteX1532" fmla="*/ 119329 w 334956"/>
                      <a:gd name="connsiteY1532" fmla="*/ 324841 h 334834"/>
                      <a:gd name="connsiteX1533" fmla="*/ 154581 w 334956"/>
                      <a:gd name="connsiteY1533" fmla="*/ 329279 h 334834"/>
                      <a:gd name="connsiteX1534" fmla="*/ 156629 w 334956"/>
                      <a:gd name="connsiteY1534" fmla="*/ 331089 h 334834"/>
                      <a:gd name="connsiteX1535" fmla="*/ 157944 w 334956"/>
                      <a:gd name="connsiteY1535" fmla="*/ 329698 h 334834"/>
                      <a:gd name="connsiteX1536" fmla="*/ 155886 w 334956"/>
                      <a:gd name="connsiteY1536" fmla="*/ 327727 h 334834"/>
                      <a:gd name="connsiteX1537" fmla="*/ 154581 w 334956"/>
                      <a:gd name="connsiteY1537" fmla="*/ 329279 h 334834"/>
                      <a:gd name="connsiteX1538" fmla="*/ 213084 w 334956"/>
                      <a:gd name="connsiteY1538" fmla="*/ 329194 h 334834"/>
                      <a:gd name="connsiteX1539" fmla="*/ 213008 w 334956"/>
                      <a:gd name="connsiteY1539" fmla="*/ 329689 h 334834"/>
                      <a:gd name="connsiteX1540" fmla="*/ 213503 w 334956"/>
                      <a:gd name="connsiteY1540" fmla="*/ 330260 h 334834"/>
                      <a:gd name="connsiteX1541" fmla="*/ 214160 w 334956"/>
                      <a:gd name="connsiteY1541" fmla="*/ 330337 h 334834"/>
                      <a:gd name="connsiteX1542" fmla="*/ 214322 w 334956"/>
                      <a:gd name="connsiteY1542" fmla="*/ 330260 h 334834"/>
                      <a:gd name="connsiteX1543" fmla="*/ 214817 w 334956"/>
                      <a:gd name="connsiteY1543" fmla="*/ 329108 h 334834"/>
                      <a:gd name="connsiteX1544" fmla="*/ 213751 w 334956"/>
                      <a:gd name="connsiteY1544" fmla="*/ 328451 h 334834"/>
                      <a:gd name="connsiteX1545" fmla="*/ 213084 w 334956"/>
                      <a:gd name="connsiteY1545" fmla="*/ 329194 h 334834"/>
                      <a:gd name="connsiteX1546" fmla="*/ 190814 w 334956"/>
                      <a:gd name="connsiteY1546" fmla="*/ 333632 h 334834"/>
                      <a:gd name="connsiteX1547" fmla="*/ 190814 w 334956"/>
                      <a:gd name="connsiteY1547" fmla="*/ 334204 h 334834"/>
                      <a:gd name="connsiteX1548" fmla="*/ 191634 w 334956"/>
                      <a:gd name="connsiteY1548" fmla="*/ 334785 h 334834"/>
                      <a:gd name="connsiteX1549" fmla="*/ 191634 w 334956"/>
                      <a:gd name="connsiteY1549" fmla="*/ 332889 h 334834"/>
                      <a:gd name="connsiteX1550" fmla="*/ 190814 w 334956"/>
                      <a:gd name="connsiteY1550" fmla="*/ 333632 h 334834"/>
                      <a:gd name="connsiteX1551" fmla="*/ 133703 w 334956"/>
                      <a:gd name="connsiteY1551" fmla="*/ 334204 h 334834"/>
                      <a:gd name="connsiteX1552" fmla="*/ 133703 w 334956"/>
                      <a:gd name="connsiteY1552" fmla="*/ 334366 h 334834"/>
                      <a:gd name="connsiteX1553" fmla="*/ 134445 w 334956"/>
                      <a:gd name="connsiteY1553" fmla="*/ 334366 h 334834"/>
                      <a:gd name="connsiteX1554" fmla="*/ 134522 w 334956"/>
                      <a:gd name="connsiteY1554" fmla="*/ 333461 h 334834"/>
                      <a:gd name="connsiteX1555" fmla="*/ 133703 w 334956"/>
                      <a:gd name="connsiteY1555" fmla="*/ 333375 h 334834"/>
                      <a:gd name="connsiteX1556" fmla="*/ 133703 w 334956"/>
                      <a:gd name="connsiteY1556" fmla="*/ 334204 h 3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Lst>
                    <a:rect l="l" t="t" r="r" b="b"/>
                    <a:pathLst>
                      <a:path w="334956" h="334834">
                        <a:moveTo>
                          <a:pt x="181537" y="1648"/>
                        </a:moveTo>
                        <a:cubicBezTo>
                          <a:pt x="181937" y="2115"/>
                          <a:pt x="182166" y="2429"/>
                          <a:pt x="182766" y="2715"/>
                        </a:cubicBezTo>
                        <a:cubicBezTo>
                          <a:pt x="184575" y="2581"/>
                          <a:pt x="184595" y="48"/>
                          <a:pt x="182689" y="0"/>
                        </a:cubicBezTo>
                        <a:cubicBezTo>
                          <a:pt x="182061" y="410"/>
                          <a:pt x="181566" y="629"/>
                          <a:pt x="181537" y="1648"/>
                        </a:cubicBezTo>
                        <a:close/>
                        <a:moveTo>
                          <a:pt x="158848" y="6248"/>
                        </a:moveTo>
                        <a:cubicBezTo>
                          <a:pt x="159344" y="7934"/>
                          <a:pt x="161868" y="7963"/>
                          <a:pt x="162458" y="6325"/>
                        </a:cubicBezTo>
                        <a:cubicBezTo>
                          <a:pt x="162487" y="5972"/>
                          <a:pt x="162516" y="5610"/>
                          <a:pt x="162544" y="5258"/>
                        </a:cubicBezTo>
                        <a:cubicBezTo>
                          <a:pt x="161973" y="4582"/>
                          <a:pt x="161677" y="3943"/>
                          <a:pt x="160411" y="3943"/>
                        </a:cubicBezTo>
                        <a:cubicBezTo>
                          <a:pt x="159782" y="4315"/>
                          <a:pt x="158477" y="4953"/>
                          <a:pt x="158848" y="6248"/>
                        </a:cubicBezTo>
                        <a:close/>
                        <a:moveTo>
                          <a:pt x="217361" y="5591"/>
                        </a:moveTo>
                        <a:cubicBezTo>
                          <a:pt x="217399" y="6296"/>
                          <a:pt x="217618" y="6363"/>
                          <a:pt x="217942" y="6744"/>
                        </a:cubicBezTo>
                        <a:cubicBezTo>
                          <a:pt x="218161" y="6744"/>
                          <a:pt x="218380" y="6744"/>
                          <a:pt x="218599" y="6744"/>
                        </a:cubicBezTo>
                        <a:cubicBezTo>
                          <a:pt x="218847" y="6496"/>
                          <a:pt x="219094" y="6248"/>
                          <a:pt x="219342" y="6001"/>
                        </a:cubicBezTo>
                        <a:cubicBezTo>
                          <a:pt x="219342" y="5924"/>
                          <a:pt x="219342" y="5839"/>
                          <a:pt x="219342" y="5753"/>
                        </a:cubicBezTo>
                        <a:cubicBezTo>
                          <a:pt x="219142" y="5363"/>
                          <a:pt x="218999" y="5115"/>
                          <a:pt x="218599" y="4934"/>
                        </a:cubicBezTo>
                        <a:cubicBezTo>
                          <a:pt x="218408" y="4905"/>
                          <a:pt x="218218" y="4877"/>
                          <a:pt x="218018" y="4848"/>
                        </a:cubicBezTo>
                        <a:cubicBezTo>
                          <a:pt x="217799" y="5096"/>
                          <a:pt x="217580" y="5344"/>
                          <a:pt x="217361" y="5591"/>
                        </a:cubicBezTo>
                        <a:close/>
                        <a:moveTo>
                          <a:pt x="136579" y="10106"/>
                        </a:moveTo>
                        <a:cubicBezTo>
                          <a:pt x="136074" y="12230"/>
                          <a:pt x="139275" y="12687"/>
                          <a:pt x="140275" y="11258"/>
                        </a:cubicBezTo>
                        <a:cubicBezTo>
                          <a:pt x="141256" y="9868"/>
                          <a:pt x="139865" y="8172"/>
                          <a:pt x="138303" y="8220"/>
                        </a:cubicBezTo>
                        <a:cubicBezTo>
                          <a:pt x="137484" y="8658"/>
                          <a:pt x="136722" y="9001"/>
                          <a:pt x="136579" y="10106"/>
                        </a:cubicBezTo>
                        <a:close/>
                        <a:moveTo>
                          <a:pt x="194110" y="9858"/>
                        </a:moveTo>
                        <a:cubicBezTo>
                          <a:pt x="194081" y="11297"/>
                          <a:pt x="194872" y="11887"/>
                          <a:pt x="195834" y="12325"/>
                        </a:cubicBezTo>
                        <a:cubicBezTo>
                          <a:pt x="198939" y="12411"/>
                          <a:pt x="198834" y="8068"/>
                          <a:pt x="195672" y="8220"/>
                        </a:cubicBezTo>
                        <a:cubicBezTo>
                          <a:pt x="194929" y="8715"/>
                          <a:pt x="194501" y="9011"/>
                          <a:pt x="194110" y="9858"/>
                        </a:cubicBezTo>
                        <a:close/>
                        <a:moveTo>
                          <a:pt x="171593" y="13802"/>
                        </a:moveTo>
                        <a:cubicBezTo>
                          <a:pt x="170860" y="15478"/>
                          <a:pt x="172564" y="17717"/>
                          <a:pt x="174384" y="17335"/>
                        </a:cubicBezTo>
                        <a:cubicBezTo>
                          <a:pt x="177365" y="16716"/>
                          <a:pt x="177260" y="12001"/>
                          <a:pt x="173565" y="12163"/>
                        </a:cubicBezTo>
                        <a:cubicBezTo>
                          <a:pt x="172774" y="12544"/>
                          <a:pt x="171936" y="13011"/>
                          <a:pt x="171593" y="13802"/>
                        </a:cubicBezTo>
                        <a:close/>
                        <a:moveTo>
                          <a:pt x="114472" y="14297"/>
                        </a:moveTo>
                        <a:cubicBezTo>
                          <a:pt x="114414" y="15697"/>
                          <a:pt x="115434" y="16954"/>
                          <a:pt x="116853" y="16516"/>
                        </a:cubicBezTo>
                        <a:cubicBezTo>
                          <a:pt x="117596" y="16221"/>
                          <a:pt x="118243" y="15497"/>
                          <a:pt x="118339" y="14545"/>
                        </a:cubicBezTo>
                        <a:cubicBezTo>
                          <a:pt x="117958" y="13573"/>
                          <a:pt x="117424" y="12792"/>
                          <a:pt x="116119" y="12735"/>
                        </a:cubicBezTo>
                        <a:cubicBezTo>
                          <a:pt x="115376" y="13211"/>
                          <a:pt x="114881" y="13478"/>
                          <a:pt x="114472" y="14297"/>
                        </a:cubicBezTo>
                        <a:close/>
                        <a:moveTo>
                          <a:pt x="230181" y="14459"/>
                        </a:moveTo>
                        <a:cubicBezTo>
                          <a:pt x="230248" y="16526"/>
                          <a:pt x="232972" y="16593"/>
                          <a:pt x="233134" y="14545"/>
                        </a:cubicBezTo>
                        <a:cubicBezTo>
                          <a:pt x="232743" y="13840"/>
                          <a:pt x="232486" y="13259"/>
                          <a:pt x="231496" y="13154"/>
                        </a:cubicBezTo>
                        <a:cubicBezTo>
                          <a:pt x="230819" y="13573"/>
                          <a:pt x="230610" y="13802"/>
                          <a:pt x="230181" y="14459"/>
                        </a:cubicBezTo>
                        <a:close/>
                        <a:moveTo>
                          <a:pt x="149400" y="17669"/>
                        </a:moveTo>
                        <a:cubicBezTo>
                          <a:pt x="148076" y="19612"/>
                          <a:pt x="149971" y="22631"/>
                          <a:pt x="152524" y="22031"/>
                        </a:cubicBezTo>
                        <a:cubicBezTo>
                          <a:pt x="155696" y="21269"/>
                          <a:pt x="155210" y="16173"/>
                          <a:pt x="151457" y="16278"/>
                        </a:cubicBezTo>
                        <a:cubicBezTo>
                          <a:pt x="150609" y="16650"/>
                          <a:pt x="149885" y="16964"/>
                          <a:pt x="149400" y="17669"/>
                        </a:cubicBezTo>
                        <a:close/>
                        <a:moveTo>
                          <a:pt x="207093" y="18326"/>
                        </a:moveTo>
                        <a:cubicBezTo>
                          <a:pt x="206407" y="19964"/>
                          <a:pt x="208045" y="22088"/>
                          <a:pt x="209969" y="21612"/>
                        </a:cubicBezTo>
                        <a:cubicBezTo>
                          <a:pt x="212817" y="20907"/>
                          <a:pt x="212550" y="16507"/>
                          <a:pt x="208902" y="16678"/>
                        </a:cubicBezTo>
                        <a:cubicBezTo>
                          <a:pt x="208169" y="17107"/>
                          <a:pt x="207426" y="17526"/>
                          <a:pt x="207093" y="18326"/>
                        </a:cubicBezTo>
                        <a:close/>
                        <a:moveTo>
                          <a:pt x="92783" y="18821"/>
                        </a:moveTo>
                        <a:cubicBezTo>
                          <a:pt x="92697" y="21126"/>
                          <a:pt x="95745" y="21003"/>
                          <a:pt x="95660" y="18736"/>
                        </a:cubicBezTo>
                        <a:cubicBezTo>
                          <a:pt x="95383" y="18402"/>
                          <a:pt x="95107" y="18078"/>
                          <a:pt x="94840" y="17745"/>
                        </a:cubicBezTo>
                        <a:cubicBezTo>
                          <a:pt x="94564" y="17688"/>
                          <a:pt x="94288" y="17640"/>
                          <a:pt x="94012" y="17583"/>
                        </a:cubicBezTo>
                        <a:cubicBezTo>
                          <a:pt x="93488" y="17993"/>
                          <a:pt x="93098" y="18193"/>
                          <a:pt x="92783" y="18821"/>
                        </a:cubicBezTo>
                        <a:close/>
                        <a:moveTo>
                          <a:pt x="184156" y="23012"/>
                        </a:moveTo>
                        <a:cubicBezTo>
                          <a:pt x="183652" y="25222"/>
                          <a:pt x="186042" y="27413"/>
                          <a:pt x="188176" y="26708"/>
                        </a:cubicBezTo>
                        <a:cubicBezTo>
                          <a:pt x="191586" y="25584"/>
                          <a:pt x="190891" y="20298"/>
                          <a:pt x="186614" y="20460"/>
                        </a:cubicBezTo>
                        <a:cubicBezTo>
                          <a:pt x="185576" y="21079"/>
                          <a:pt x="184461" y="21679"/>
                          <a:pt x="184156" y="23012"/>
                        </a:cubicBezTo>
                        <a:close/>
                        <a:moveTo>
                          <a:pt x="130331" y="26460"/>
                        </a:moveTo>
                        <a:cubicBezTo>
                          <a:pt x="133483" y="25717"/>
                          <a:pt x="133112" y="20555"/>
                          <a:pt x="129264" y="20707"/>
                        </a:cubicBezTo>
                        <a:cubicBezTo>
                          <a:pt x="125378" y="22412"/>
                          <a:pt x="126854" y="27280"/>
                          <a:pt x="130331" y="26460"/>
                        </a:cubicBezTo>
                        <a:close/>
                        <a:moveTo>
                          <a:pt x="243249" y="23260"/>
                        </a:moveTo>
                        <a:cubicBezTo>
                          <a:pt x="243192" y="25851"/>
                          <a:pt x="246059" y="25460"/>
                          <a:pt x="246697" y="23670"/>
                        </a:cubicBezTo>
                        <a:cubicBezTo>
                          <a:pt x="246650" y="22593"/>
                          <a:pt x="245888" y="21831"/>
                          <a:pt x="244802" y="21784"/>
                        </a:cubicBezTo>
                        <a:cubicBezTo>
                          <a:pt x="244021" y="22203"/>
                          <a:pt x="243630" y="22431"/>
                          <a:pt x="243249" y="23260"/>
                        </a:cubicBezTo>
                        <a:close/>
                        <a:moveTo>
                          <a:pt x="161725" y="27118"/>
                        </a:moveTo>
                        <a:cubicBezTo>
                          <a:pt x="160954" y="29537"/>
                          <a:pt x="163316" y="32147"/>
                          <a:pt x="165830" y="31556"/>
                        </a:cubicBezTo>
                        <a:cubicBezTo>
                          <a:pt x="169802" y="30623"/>
                          <a:pt x="169354" y="24536"/>
                          <a:pt x="164763" y="24489"/>
                        </a:cubicBezTo>
                        <a:cubicBezTo>
                          <a:pt x="163335" y="25117"/>
                          <a:pt x="162211" y="25584"/>
                          <a:pt x="161725" y="27118"/>
                        </a:cubicBezTo>
                        <a:close/>
                        <a:moveTo>
                          <a:pt x="223438" y="30813"/>
                        </a:moveTo>
                        <a:cubicBezTo>
                          <a:pt x="226448" y="30061"/>
                          <a:pt x="226057" y="25089"/>
                          <a:pt x="222371" y="25232"/>
                        </a:cubicBezTo>
                        <a:cubicBezTo>
                          <a:pt x="218504" y="26908"/>
                          <a:pt x="219942" y="31690"/>
                          <a:pt x="223438" y="30813"/>
                        </a:cubicBezTo>
                        <a:close/>
                        <a:moveTo>
                          <a:pt x="105023" y="27118"/>
                        </a:moveTo>
                        <a:cubicBezTo>
                          <a:pt x="104308" y="29061"/>
                          <a:pt x="106109" y="31090"/>
                          <a:pt x="108061" y="30651"/>
                        </a:cubicBezTo>
                        <a:cubicBezTo>
                          <a:pt x="111100" y="29975"/>
                          <a:pt x="110604" y="25203"/>
                          <a:pt x="107080" y="25308"/>
                        </a:cubicBezTo>
                        <a:cubicBezTo>
                          <a:pt x="106213" y="25746"/>
                          <a:pt x="105366" y="26184"/>
                          <a:pt x="105023" y="27118"/>
                        </a:cubicBezTo>
                        <a:close/>
                        <a:moveTo>
                          <a:pt x="139379" y="31633"/>
                        </a:moveTo>
                        <a:cubicBezTo>
                          <a:pt x="138713" y="34109"/>
                          <a:pt x="141103" y="36814"/>
                          <a:pt x="143818" y="36157"/>
                        </a:cubicBezTo>
                        <a:cubicBezTo>
                          <a:pt x="147990" y="35147"/>
                          <a:pt x="147542" y="28661"/>
                          <a:pt x="142256" y="28842"/>
                        </a:cubicBezTo>
                        <a:cubicBezTo>
                          <a:pt x="140941" y="29489"/>
                          <a:pt x="139789" y="30128"/>
                          <a:pt x="139379" y="31633"/>
                        </a:cubicBezTo>
                        <a:close/>
                        <a:moveTo>
                          <a:pt x="197148" y="31309"/>
                        </a:moveTo>
                        <a:cubicBezTo>
                          <a:pt x="196291" y="33633"/>
                          <a:pt x="198453" y="36424"/>
                          <a:pt x="200758" y="36071"/>
                        </a:cubicBezTo>
                        <a:cubicBezTo>
                          <a:pt x="205330" y="35395"/>
                          <a:pt x="205121" y="28823"/>
                          <a:pt x="200263" y="28927"/>
                        </a:cubicBezTo>
                        <a:cubicBezTo>
                          <a:pt x="198825" y="29508"/>
                          <a:pt x="197682" y="29861"/>
                          <a:pt x="197148" y="31309"/>
                        </a:cubicBezTo>
                        <a:close/>
                        <a:moveTo>
                          <a:pt x="83248" y="31880"/>
                        </a:moveTo>
                        <a:cubicBezTo>
                          <a:pt x="82772" y="33176"/>
                          <a:pt x="84296" y="34938"/>
                          <a:pt x="85715" y="34595"/>
                        </a:cubicBezTo>
                        <a:cubicBezTo>
                          <a:pt x="88220" y="33985"/>
                          <a:pt x="87782" y="30480"/>
                          <a:pt x="85135" y="30242"/>
                        </a:cubicBezTo>
                        <a:cubicBezTo>
                          <a:pt x="84325" y="30623"/>
                          <a:pt x="83563" y="31023"/>
                          <a:pt x="83248" y="31880"/>
                        </a:cubicBezTo>
                        <a:close/>
                        <a:moveTo>
                          <a:pt x="256394" y="32537"/>
                        </a:moveTo>
                        <a:cubicBezTo>
                          <a:pt x="256775" y="33223"/>
                          <a:pt x="257032" y="33795"/>
                          <a:pt x="257785" y="34100"/>
                        </a:cubicBezTo>
                        <a:cubicBezTo>
                          <a:pt x="258956" y="34633"/>
                          <a:pt x="259994" y="33233"/>
                          <a:pt x="260004" y="32214"/>
                        </a:cubicBezTo>
                        <a:cubicBezTo>
                          <a:pt x="259632" y="31290"/>
                          <a:pt x="259128" y="30623"/>
                          <a:pt x="257785" y="30651"/>
                        </a:cubicBezTo>
                        <a:cubicBezTo>
                          <a:pt x="257127" y="31156"/>
                          <a:pt x="256508" y="31480"/>
                          <a:pt x="256394" y="32537"/>
                        </a:cubicBezTo>
                        <a:close/>
                        <a:moveTo>
                          <a:pt x="174460" y="35909"/>
                        </a:moveTo>
                        <a:cubicBezTo>
                          <a:pt x="173660" y="38624"/>
                          <a:pt x="176232" y="41491"/>
                          <a:pt x="178899" y="41005"/>
                        </a:cubicBezTo>
                        <a:cubicBezTo>
                          <a:pt x="183709" y="40138"/>
                          <a:pt x="183509" y="32728"/>
                          <a:pt x="177908" y="32871"/>
                        </a:cubicBezTo>
                        <a:cubicBezTo>
                          <a:pt x="176308" y="33585"/>
                          <a:pt x="174984" y="34157"/>
                          <a:pt x="174460" y="35909"/>
                        </a:cubicBezTo>
                        <a:close/>
                        <a:moveTo>
                          <a:pt x="117348" y="36071"/>
                        </a:moveTo>
                        <a:cubicBezTo>
                          <a:pt x="116662" y="38395"/>
                          <a:pt x="118920" y="40862"/>
                          <a:pt x="121130" y="40510"/>
                        </a:cubicBezTo>
                        <a:cubicBezTo>
                          <a:pt x="125663" y="39786"/>
                          <a:pt x="125473" y="33214"/>
                          <a:pt x="120310" y="33357"/>
                        </a:cubicBezTo>
                        <a:cubicBezTo>
                          <a:pt x="118910" y="33985"/>
                          <a:pt x="117805" y="34538"/>
                          <a:pt x="117348" y="36071"/>
                        </a:cubicBezTo>
                        <a:close/>
                        <a:moveTo>
                          <a:pt x="233296" y="35585"/>
                        </a:moveTo>
                        <a:cubicBezTo>
                          <a:pt x="232115" y="37824"/>
                          <a:pt x="234544" y="40472"/>
                          <a:pt x="236830" y="39862"/>
                        </a:cubicBezTo>
                        <a:cubicBezTo>
                          <a:pt x="240116" y="38986"/>
                          <a:pt x="239706" y="33766"/>
                          <a:pt x="235353" y="33947"/>
                        </a:cubicBezTo>
                        <a:cubicBezTo>
                          <a:pt x="234553" y="34395"/>
                          <a:pt x="233734" y="34776"/>
                          <a:pt x="233296" y="35585"/>
                        </a:cubicBezTo>
                        <a:close/>
                        <a:moveTo>
                          <a:pt x="61884" y="36652"/>
                        </a:moveTo>
                        <a:cubicBezTo>
                          <a:pt x="61979" y="38186"/>
                          <a:pt x="63865" y="38557"/>
                          <a:pt x="64351" y="37147"/>
                        </a:cubicBezTo>
                        <a:cubicBezTo>
                          <a:pt x="64665" y="36443"/>
                          <a:pt x="63951" y="35843"/>
                          <a:pt x="63446" y="35671"/>
                        </a:cubicBezTo>
                        <a:cubicBezTo>
                          <a:pt x="63246" y="35643"/>
                          <a:pt x="63065" y="35614"/>
                          <a:pt x="62865" y="35585"/>
                        </a:cubicBezTo>
                        <a:cubicBezTo>
                          <a:pt x="62474" y="35938"/>
                          <a:pt x="62217" y="36233"/>
                          <a:pt x="61884" y="36652"/>
                        </a:cubicBezTo>
                        <a:close/>
                        <a:moveTo>
                          <a:pt x="152276" y="39691"/>
                        </a:moveTo>
                        <a:cubicBezTo>
                          <a:pt x="151076" y="42548"/>
                          <a:pt x="153457" y="46234"/>
                          <a:pt x="156543" y="45768"/>
                        </a:cubicBezTo>
                        <a:cubicBezTo>
                          <a:pt x="162087" y="44939"/>
                          <a:pt x="161839" y="36966"/>
                          <a:pt x="155886" y="37052"/>
                        </a:cubicBezTo>
                        <a:cubicBezTo>
                          <a:pt x="154219" y="37748"/>
                          <a:pt x="152953" y="38062"/>
                          <a:pt x="152276" y="39691"/>
                        </a:cubicBezTo>
                        <a:close/>
                        <a:moveTo>
                          <a:pt x="210045" y="40510"/>
                        </a:moveTo>
                        <a:cubicBezTo>
                          <a:pt x="209264" y="43386"/>
                          <a:pt x="212284" y="46044"/>
                          <a:pt x="215065" y="45110"/>
                        </a:cubicBezTo>
                        <a:cubicBezTo>
                          <a:pt x="219103" y="43758"/>
                          <a:pt x="218456" y="37300"/>
                          <a:pt x="213255" y="37471"/>
                        </a:cubicBezTo>
                        <a:cubicBezTo>
                          <a:pt x="211798" y="38186"/>
                          <a:pt x="210503" y="38833"/>
                          <a:pt x="210045" y="40510"/>
                        </a:cubicBezTo>
                        <a:close/>
                        <a:moveTo>
                          <a:pt x="95488" y="40510"/>
                        </a:moveTo>
                        <a:cubicBezTo>
                          <a:pt x="94850" y="42663"/>
                          <a:pt x="96974" y="45034"/>
                          <a:pt x="99270" y="44539"/>
                        </a:cubicBezTo>
                        <a:cubicBezTo>
                          <a:pt x="102879" y="43767"/>
                          <a:pt x="102518" y="38100"/>
                          <a:pt x="98450" y="38043"/>
                        </a:cubicBezTo>
                        <a:cubicBezTo>
                          <a:pt x="97088" y="38633"/>
                          <a:pt x="95926" y="39043"/>
                          <a:pt x="95488" y="40510"/>
                        </a:cubicBezTo>
                        <a:close/>
                        <a:moveTo>
                          <a:pt x="269872" y="40919"/>
                        </a:moveTo>
                        <a:cubicBezTo>
                          <a:pt x="269853" y="42148"/>
                          <a:pt x="270453" y="42596"/>
                          <a:pt x="271263" y="42977"/>
                        </a:cubicBezTo>
                        <a:cubicBezTo>
                          <a:pt x="273806" y="43005"/>
                          <a:pt x="273834" y="39462"/>
                          <a:pt x="271263" y="39519"/>
                        </a:cubicBezTo>
                        <a:cubicBezTo>
                          <a:pt x="270615" y="39948"/>
                          <a:pt x="270224" y="40205"/>
                          <a:pt x="269872" y="40919"/>
                        </a:cubicBezTo>
                        <a:close/>
                        <a:moveTo>
                          <a:pt x="187452" y="44377"/>
                        </a:moveTo>
                        <a:cubicBezTo>
                          <a:pt x="186433" y="47330"/>
                          <a:pt x="189005" y="50911"/>
                          <a:pt x="192138" y="50378"/>
                        </a:cubicBezTo>
                        <a:cubicBezTo>
                          <a:pt x="197768" y="49425"/>
                          <a:pt x="197444" y="41148"/>
                          <a:pt x="191071" y="41338"/>
                        </a:cubicBezTo>
                        <a:cubicBezTo>
                          <a:pt x="189376" y="42081"/>
                          <a:pt x="188062" y="42596"/>
                          <a:pt x="187452" y="44377"/>
                        </a:cubicBezTo>
                        <a:close/>
                        <a:moveTo>
                          <a:pt x="129921" y="44701"/>
                        </a:moveTo>
                        <a:cubicBezTo>
                          <a:pt x="129026" y="47777"/>
                          <a:pt x="131855" y="50844"/>
                          <a:pt x="135017" y="50120"/>
                        </a:cubicBezTo>
                        <a:cubicBezTo>
                          <a:pt x="139989" y="48987"/>
                          <a:pt x="139598" y="41310"/>
                          <a:pt x="133455" y="41491"/>
                        </a:cubicBezTo>
                        <a:cubicBezTo>
                          <a:pt x="131816" y="42234"/>
                          <a:pt x="130455" y="42901"/>
                          <a:pt x="129921" y="44701"/>
                        </a:cubicBezTo>
                        <a:close/>
                        <a:moveTo>
                          <a:pt x="246450" y="44625"/>
                        </a:moveTo>
                        <a:cubicBezTo>
                          <a:pt x="245536" y="46787"/>
                          <a:pt x="247593" y="49339"/>
                          <a:pt x="249898" y="48816"/>
                        </a:cubicBezTo>
                        <a:cubicBezTo>
                          <a:pt x="253517" y="47987"/>
                          <a:pt x="253089" y="42558"/>
                          <a:pt x="248583" y="42729"/>
                        </a:cubicBezTo>
                        <a:cubicBezTo>
                          <a:pt x="247745" y="43234"/>
                          <a:pt x="246840" y="43691"/>
                          <a:pt x="246450" y="44625"/>
                        </a:cubicBezTo>
                        <a:close/>
                        <a:moveTo>
                          <a:pt x="74124" y="44625"/>
                        </a:moveTo>
                        <a:cubicBezTo>
                          <a:pt x="73133" y="46349"/>
                          <a:pt x="74943" y="48759"/>
                          <a:pt x="76838" y="48406"/>
                        </a:cubicBezTo>
                        <a:cubicBezTo>
                          <a:pt x="79915" y="47835"/>
                          <a:pt x="79715" y="43091"/>
                          <a:pt x="76257" y="43062"/>
                        </a:cubicBezTo>
                        <a:cubicBezTo>
                          <a:pt x="75352" y="43501"/>
                          <a:pt x="74609" y="43777"/>
                          <a:pt x="74124" y="44625"/>
                        </a:cubicBezTo>
                        <a:close/>
                        <a:moveTo>
                          <a:pt x="164763" y="49139"/>
                        </a:moveTo>
                        <a:cubicBezTo>
                          <a:pt x="163935" y="52340"/>
                          <a:pt x="167107" y="55836"/>
                          <a:pt x="170431" y="55140"/>
                        </a:cubicBezTo>
                        <a:cubicBezTo>
                          <a:pt x="176003" y="53978"/>
                          <a:pt x="175746" y="45263"/>
                          <a:pt x="168955" y="45444"/>
                        </a:cubicBezTo>
                        <a:cubicBezTo>
                          <a:pt x="166926" y="46282"/>
                          <a:pt x="165345" y="46911"/>
                          <a:pt x="164763" y="49139"/>
                        </a:cubicBezTo>
                        <a:close/>
                        <a:moveTo>
                          <a:pt x="107985" y="49139"/>
                        </a:moveTo>
                        <a:cubicBezTo>
                          <a:pt x="107185" y="51968"/>
                          <a:pt x="109747" y="54893"/>
                          <a:pt x="112509" y="54397"/>
                        </a:cubicBezTo>
                        <a:cubicBezTo>
                          <a:pt x="117538" y="53492"/>
                          <a:pt x="117272" y="45910"/>
                          <a:pt x="111443" y="46101"/>
                        </a:cubicBezTo>
                        <a:cubicBezTo>
                          <a:pt x="109833" y="46777"/>
                          <a:pt x="108480" y="47396"/>
                          <a:pt x="107985" y="49139"/>
                        </a:cubicBezTo>
                        <a:close/>
                        <a:moveTo>
                          <a:pt x="223361" y="48730"/>
                        </a:moveTo>
                        <a:cubicBezTo>
                          <a:pt x="222171" y="51454"/>
                          <a:pt x="224685" y="54712"/>
                          <a:pt x="227390" y="54321"/>
                        </a:cubicBezTo>
                        <a:cubicBezTo>
                          <a:pt x="232515" y="53569"/>
                          <a:pt x="232391" y="46263"/>
                          <a:pt x="226895" y="46187"/>
                        </a:cubicBezTo>
                        <a:cubicBezTo>
                          <a:pt x="225247" y="46825"/>
                          <a:pt x="224037" y="47177"/>
                          <a:pt x="223361" y="48730"/>
                        </a:cubicBezTo>
                        <a:close/>
                        <a:moveTo>
                          <a:pt x="52597" y="49959"/>
                        </a:moveTo>
                        <a:cubicBezTo>
                          <a:pt x="52664" y="51035"/>
                          <a:pt x="53340" y="51530"/>
                          <a:pt x="54159" y="51845"/>
                        </a:cubicBezTo>
                        <a:cubicBezTo>
                          <a:pt x="55169" y="51778"/>
                          <a:pt x="55636" y="51187"/>
                          <a:pt x="55969" y="50444"/>
                        </a:cubicBezTo>
                        <a:cubicBezTo>
                          <a:pt x="56007" y="49158"/>
                          <a:pt x="55226" y="48473"/>
                          <a:pt x="54073" y="48387"/>
                        </a:cubicBezTo>
                        <a:cubicBezTo>
                          <a:pt x="53359" y="48863"/>
                          <a:pt x="52940" y="49120"/>
                          <a:pt x="52597" y="49959"/>
                        </a:cubicBezTo>
                        <a:close/>
                        <a:moveTo>
                          <a:pt x="283350" y="49959"/>
                        </a:moveTo>
                        <a:cubicBezTo>
                          <a:pt x="283397" y="50721"/>
                          <a:pt x="283836" y="51206"/>
                          <a:pt x="284417" y="51435"/>
                        </a:cubicBezTo>
                        <a:cubicBezTo>
                          <a:pt x="285388" y="51864"/>
                          <a:pt x="285979" y="50825"/>
                          <a:pt x="286303" y="50282"/>
                        </a:cubicBezTo>
                        <a:cubicBezTo>
                          <a:pt x="286255" y="49311"/>
                          <a:pt x="285588" y="48663"/>
                          <a:pt x="284579" y="48635"/>
                        </a:cubicBezTo>
                        <a:cubicBezTo>
                          <a:pt x="284016" y="49073"/>
                          <a:pt x="283674" y="49282"/>
                          <a:pt x="283350" y="49959"/>
                        </a:cubicBezTo>
                        <a:close/>
                        <a:moveTo>
                          <a:pt x="142742" y="52835"/>
                        </a:moveTo>
                        <a:cubicBezTo>
                          <a:pt x="141303" y="56236"/>
                          <a:pt x="144351" y="60388"/>
                          <a:pt x="147999" y="59741"/>
                        </a:cubicBezTo>
                        <a:cubicBezTo>
                          <a:pt x="154019" y="58664"/>
                          <a:pt x="153762" y="49768"/>
                          <a:pt x="147256" y="49635"/>
                        </a:cubicBezTo>
                        <a:cubicBezTo>
                          <a:pt x="145123" y="50483"/>
                          <a:pt x="143608" y="50787"/>
                          <a:pt x="142742" y="52835"/>
                        </a:cubicBezTo>
                        <a:close/>
                        <a:moveTo>
                          <a:pt x="200349" y="53416"/>
                        </a:moveTo>
                        <a:cubicBezTo>
                          <a:pt x="199311" y="56540"/>
                          <a:pt x="202302" y="60036"/>
                          <a:pt x="205445" y="59493"/>
                        </a:cubicBezTo>
                        <a:cubicBezTo>
                          <a:pt x="211388" y="58474"/>
                          <a:pt x="211103" y="50006"/>
                          <a:pt x="204702" y="49882"/>
                        </a:cubicBezTo>
                        <a:cubicBezTo>
                          <a:pt x="202482" y="50749"/>
                          <a:pt x="201111" y="51140"/>
                          <a:pt x="200349" y="53416"/>
                        </a:cubicBezTo>
                        <a:close/>
                        <a:moveTo>
                          <a:pt x="86287" y="53664"/>
                        </a:moveTo>
                        <a:cubicBezTo>
                          <a:pt x="85525" y="56169"/>
                          <a:pt x="87859" y="58883"/>
                          <a:pt x="90392" y="58341"/>
                        </a:cubicBezTo>
                        <a:cubicBezTo>
                          <a:pt x="94555" y="57464"/>
                          <a:pt x="94412" y="50778"/>
                          <a:pt x="89325" y="50949"/>
                        </a:cubicBezTo>
                        <a:cubicBezTo>
                          <a:pt x="87935" y="51625"/>
                          <a:pt x="86763" y="52092"/>
                          <a:pt x="86287" y="53664"/>
                        </a:cubicBezTo>
                        <a:close/>
                        <a:moveTo>
                          <a:pt x="259680" y="53902"/>
                        </a:moveTo>
                        <a:cubicBezTo>
                          <a:pt x="259099" y="56169"/>
                          <a:pt x="261433" y="58255"/>
                          <a:pt x="263547" y="57521"/>
                        </a:cubicBezTo>
                        <a:cubicBezTo>
                          <a:pt x="266748" y="56407"/>
                          <a:pt x="266176" y="51511"/>
                          <a:pt x="261909" y="51683"/>
                        </a:cubicBezTo>
                        <a:cubicBezTo>
                          <a:pt x="261004" y="52226"/>
                          <a:pt x="259966" y="52807"/>
                          <a:pt x="259680" y="53902"/>
                        </a:cubicBezTo>
                        <a:close/>
                        <a:moveTo>
                          <a:pt x="177832" y="57436"/>
                        </a:moveTo>
                        <a:cubicBezTo>
                          <a:pt x="176527" y="61217"/>
                          <a:pt x="179670" y="65208"/>
                          <a:pt x="183747" y="64418"/>
                        </a:cubicBezTo>
                        <a:cubicBezTo>
                          <a:pt x="189862" y="63246"/>
                          <a:pt x="189471" y="53959"/>
                          <a:pt x="182518" y="53816"/>
                        </a:cubicBezTo>
                        <a:cubicBezTo>
                          <a:pt x="180261" y="54721"/>
                          <a:pt x="178622" y="55159"/>
                          <a:pt x="177832" y="57436"/>
                        </a:cubicBezTo>
                        <a:close/>
                        <a:moveTo>
                          <a:pt x="120558" y="57683"/>
                        </a:moveTo>
                        <a:cubicBezTo>
                          <a:pt x="119548" y="60922"/>
                          <a:pt x="122606" y="64703"/>
                          <a:pt x="125902" y="64094"/>
                        </a:cubicBezTo>
                        <a:cubicBezTo>
                          <a:pt x="131883" y="62989"/>
                          <a:pt x="131636" y="54045"/>
                          <a:pt x="124501" y="54235"/>
                        </a:cubicBezTo>
                        <a:cubicBezTo>
                          <a:pt x="122672" y="55074"/>
                          <a:pt x="121177" y="55693"/>
                          <a:pt x="120558" y="57683"/>
                        </a:cubicBezTo>
                        <a:close/>
                        <a:moveTo>
                          <a:pt x="236420" y="58102"/>
                        </a:moveTo>
                        <a:cubicBezTo>
                          <a:pt x="235553" y="61160"/>
                          <a:pt x="238525" y="63903"/>
                          <a:pt x="241516" y="63113"/>
                        </a:cubicBezTo>
                        <a:cubicBezTo>
                          <a:pt x="245974" y="61932"/>
                          <a:pt x="245336" y="54816"/>
                          <a:pt x="239878" y="54978"/>
                        </a:cubicBezTo>
                        <a:cubicBezTo>
                          <a:pt x="238239" y="55664"/>
                          <a:pt x="236934" y="56312"/>
                          <a:pt x="236420" y="58102"/>
                        </a:cubicBezTo>
                        <a:close/>
                        <a:moveTo>
                          <a:pt x="65008" y="57683"/>
                        </a:moveTo>
                        <a:cubicBezTo>
                          <a:pt x="63856" y="59617"/>
                          <a:pt x="65751" y="62446"/>
                          <a:pt x="67971" y="62036"/>
                        </a:cubicBezTo>
                        <a:cubicBezTo>
                          <a:pt x="71438" y="61408"/>
                          <a:pt x="71361" y="56007"/>
                          <a:pt x="67313" y="56036"/>
                        </a:cubicBezTo>
                        <a:cubicBezTo>
                          <a:pt x="66285" y="56483"/>
                          <a:pt x="65542" y="56788"/>
                          <a:pt x="65008" y="57683"/>
                        </a:cubicBezTo>
                        <a:close/>
                        <a:moveTo>
                          <a:pt x="155972" y="60646"/>
                        </a:moveTo>
                        <a:cubicBezTo>
                          <a:pt x="153829" y="64103"/>
                          <a:pt x="156248" y="68475"/>
                          <a:pt x="159506" y="69113"/>
                        </a:cubicBezTo>
                        <a:cubicBezTo>
                          <a:pt x="167592" y="70685"/>
                          <a:pt x="168783" y="57950"/>
                          <a:pt x="160325" y="58026"/>
                        </a:cubicBezTo>
                        <a:cubicBezTo>
                          <a:pt x="158353" y="58798"/>
                          <a:pt x="157010" y="58979"/>
                          <a:pt x="155972" y="60646"/>
                        </a:cubicBezTo>
                        <a:close/>
                        <a:moveTo>
                          <a:pt x="297313" y="58674"/>
                        </a:moveTo>
                        <a:cubicBezTo>
                          <a:pt x="297313" y="58864"/>
                          <a:pt x="297313" y="59055"/>
                          <a:pt x="297313" y="59255"/>
                        </a:cubicBezTo>
                        <a:cubicBezTo>
                          <a:pt x="297447" y="59417"/>
                          <a:pt x="297590" y="59579"/>
                          <a:pt x="297723" y="59750"/>
                        </a:cubicBezTo>
                        <a:cubicBezTo>
                          <a:pt x="297942" y="59779"/>
                          <a:pt x="298161" y="59807"/>
                          <a:pt x="298380" y="59836"/>
                        </a:cubicBezTo>
                        <a:cubicBezTo>
                          <a:pt x="298542" y="59703"/>
                          <a:pt x="298704" y="59560"/>
                          <a:pt x="298875" y="59426"/>
                        </a:cubicBezTo>
                        <a:cubicBezTo>
                          <a:pt x="298895" y="59207"/>
                          <a:pt x="298923" y="58988"/>
                          <a:pt x="298952" y="58769"/>
                        </a:cubicBezTo>
                        <a:cubicBezTo>
                          <a:pt x="298761" y="58607"/>
                          <a:pt x="298571" y="58436"/>
                          <a:pt x="298380" y="58274"/>
                        </a:cubicBezTo>
                        <a:cubicBezTo>
                          <a:pt x="298180" y="58245"/>
                          <a:pt x="297999" y="58217"/>
                          <a:pt x="297799" y="58188"/>
                        </a:cubicBezTo>
                        <a:cubicBezTo>
                          <a:pt x="297647" y="58341"/>
                          <a:pt x="297485" y="58512"/>
                          <a:pt x="297313" y="58674"/>
                        </a:cubicBezTo>
                        <a:close/>
                        <a:moveTo>
                          <a:pt x="213417" y="62455"/>
                        </a:moveTo>
                        <a:cubicBezTo>
                          <a:pt x="212522" y="65932"/>
                          <a:pt x="215589" y="69218"/>
                          <a:pt x="219085" y="68532"/>
                        </a:cubicBezTo>
                        <a:cubicBezTo>
                          <a:pt x="224904" y="67408"/>
                          <a:pt x="224476" y="58398"/>
                          <a:pt x="217522" y="58588"/>
                        </a:cubicBezTo>
                        <a:cubicBezTo>
                          <a:pt x="215560" y="59569"/>
                          <a:pt x="214008" y="60141"/>
                          <a:pt x="213417" y="62455"/>
                        </a:cubicBezTo>
                        <a:close/>
                        <a:moveTo>
                          <a:pt x="98612" y="62617"/>
                        </a:moveTo>
                        <a:cubicBezTo>
                          <a:pt x="97917" y="65541"/>
                          <a:pt x="100946" y="68590"/>
                          <a:pt x="103622" y="68123"/>
                        </a:cubicBezTo>
                        <a:cubicBezTo>
                          <a:pt x="109347" y="67123"/>
                          <a:pt x="109004" y="58826"/>
                          <a:pt x="102556" y="58998"/>
                        </a:cubicBezTo>
                        <a:cubicBezTo>
                          <a:pt x="100603" y="59826"/>
                          <a:pt x="99136" y="60417"/>
                          <a:pt x="98612" y="62617"/>
                        </a:cubicBezTo>
                        <a:close/>
                        <a:moveTo>
                          <a:pt x="273244" y="62617"/>
                        </a:moveTo>
                        <a:cubicBezTo>
                          <a:pt x="272425" y="64703"/>
                          <a:pt x="274739" y="66770"/>
                          <a:pt x="276616" y="66237"/>
                        </a:cubicBezTo>
                        <a:cubicBezTo>
                          <a:pt x="279730" y="65342"/>
                          <a:pt x="279263" y="60550"/>
                          <a:pt x="275301" y="60731"/>
                        </a:cubicBezTo>
                        <a:cubicBezTo>
                          <a:pt x="274453" y="61217"/>
                          <a:pt x="273606" y="61674"/>
                          <a:pt x="273244" y="62617"/>
                        </a:cubicBezTo>
                        <a:close/>
                        <a:moveTo>
                          <a:pt x="43472" y="63274"/>
                        </a:moveTo>
                        <a:cubicBezTo>
                          <a:pt x="43529" y="64637"/>
                          <a:pt x="44510" y="65475"/>
                          <a:pt x="46025" y="65408"/>
                        </a:cubicBezTo>
                        <a:cubicBezTo>
                          <a:pt x="46577" y="64856"/>
                          <a:pt x="47044" y="64618"/>
                          <a:pt x="47425" y="63846"/>
                        </a:cubicBezTo>
                        <a:cubicBezTo>
                          <a:pt x="47473" y="62341"/>
                          <a:pt x="46596" y="61436"/>
                          <a:pt x="45120" y="61465"/>
                        </a:cubicBezTo>
                        <a:cubicBezTo>
                          <a:pt x="44282" y="61989"/>
                          <a:pt x="43834" y="62255"/>
                          <a:pt x="43472" y="63274"/>
                        </a:cubicBezTo>
                        <a:close/>
                        <a:moveTo>
                          <a:pt x="133293" y="66151"/>
                        </a:moveTo>
                        <a:cubicBezTo>
                          <a:pt x="131893" y="69656"/>
                          <a:pt x="134664" y="73019"/>
                          <a:pt x="137398" y="73542"/>
                        </a:cubicBezTo>
                        <a:cubicBezTo>
                          <a:pt x="145609" y="75124"/>
                          <a:pt x="146714" y="62284"/>
                          <a:pt x="138141" y="62446"/>
                        </a:cubicBezTo>
                        <a:cubicBezTo>
                          <a:pt x="135731" y="63360"/>
                          <a:pt x="134217" y="63837"/>
                          <a:pt x="133293" y="66151"/>
                        </a:cubicBezTo>
                        <a:close/>
                        <a:moveTo>
                          <a:pt x="190814" y="66151"/>
                        </a:moveTo>
                        <a:cubicBezTo>
                          <a:pt x="189376" y="69685"/>
                          <a:pt x="192253" y="73133"/>
                          <a:pt x="194843" y="73628"/>
                        </a:cubicBezTo>
                        <a:cubicBezTo>
                          <a:pt x="202902" y="75162"/>
                          <a:pt x="204559" y="62236"/>
                          <a:pt x="195424" y="62455"/>
                        </a:cubicBezTo>
                        <a:cubicBezTo>
                          <a:pt x="193195" y="63360"/>
                          <a:pt x="191710" y="63970"/>
                          <a:pt x="190814" y="66151"/>
                        </a:cubicBezTo>
                        <a:close/>
                        <a:moveTo>
                          <a:pt x="77248" y="66475"/>
                        </a:moveTo>
                        <a:cubicBezTo>
                          <a:pt x="76152" y="69170"/>
                          <a:pt x="78572" y="72485"/>
                          <a:pt x="81439" y="71980"/>
                        </a:cubicBezTo>
                        <a:cubicBezTo>
                          <a:pt x="86116" y="71161"/>
                          <a:pt x="85963" y="64008"/>
                          <a:pt x="80696" y="63932"/>
                        </a:cubicBezTo>
                        <a:cubicBezTo>
                          <a:pt x="79134" y="64570"/>
                          <a:pt x="77867" y="64951"/>
                          <a:pt x="77248" y="66475"/>
                        </a:cubicBezTo>
                        <a:close/>
                        <a:moveTo>
                          <a:pt x="249822" y="66894"/>
                        </a:moveTo>
                        <a:cubicBezTo>
                          <a:pt x="248946" y="69713"/>
                          <a:pt x="251555" y="72504"/>
                          <a:pt x="254260" y="71990"/>
                        </a:cubicBezTo>
                        <a:cubicBezTo>
                          <a:pt x="258851" y="71114"/>
                          <a:pt x="258871" y="63779"/>
                          <a:pt x="253355" y="63941"/>
                        </a:cubicBezTo>
                        <a:cubicBezTo>
                          <a:pt x="251613" y="64618"/>
                          <a:pt x="250384" y="65084"/>
                          <a:pt x="249822" y="66894"/>
                        </a:cubicBezTo>
                        <a:close/>
                        <a:moveTo>
                          <a:pt x="170269" y="67627"/>
                        </a:moveTo>
                        <a:cubicBezTo>
                          <a:pt x="167126" y="69942"/>
                          <a:pt x="168307" y="75076"/>
                          <a:pt x="169774" y="78638"/>
                        </a:cubicBezTo>
                        <a:cubicBezTo>
                          <a:pt x="170869" y="78848"/>
                          <a:pt x="176584" y="77667"/>
                          <a:pt x="177832" y="77238"/>
                        </a:cubicBezTo>
                        <a:cubicBezTo>
                          <a:pt x="178489" y="77010"/>
                          <a:pt x="179432" y="76209"/>
                          <a:pt x="179718" y="75600"/>
                        </a:cubicBezTo>
                        <a:cubicBezTo>
                          <a:pt x="180080" y="74809"/>
                          <a:pt x="179975" y="73428"/>
                          <a:pt x="179794" y="72561"/>
                        </a:cubicBezTo>
                        <a:cubicBezTo>
                          <a:pt x="179079" y="68999"/>
                          <a:pt x="178041" y="66418"/>
                          <a:pt x="173793" y="66484"/>
                        </a:cubicBezTo>
                        <a:cubicBezTo>
                          <a:pt x="172564" y="67008"/>
                          <a:pt x="171250" y="66913"/>
                          <a:pt x="170269" y="67627"/>
                        </a:cubicBezTo>
                        <a:close/>
                        <a:moveTo>
                          <a:pt x="111185" y="71247"/>
                        </a:moveTo>
                        <a:cubicBezTo>
                          <a:pt x="110204" y="74943"/>
                          <a:pt x="113690" y="78600"/>
                          <a:pt x="117510" y="77743"/>
                        </a:cubicBezTo>
                        <a:cubicBezTo>
                          <a:pt x="123739" y="76333"/>
                          <a:pt x="123206" y="66951"/>
                          <a:pt x="115453" y="67142"/>
                        </a:cubicBezTo>
                        <a:cubicBezTo>
                          <a:pt x="113405" y="68161"/>
                          <a:pt x="111833" y="68837"/>
                          <a:pt x="111185" y="71247"/>
                        </a:cubicBezTo>
                        <a:close/>
                        <a:moveTo>
                          <a:pt x="226648" y="71075"/>
                        </a:moveTo>
                        <a:cubicBezTo>
                          <a:pt x="225647" y="74276"/>
                          <a:pt x="228895" y="77962"/>
                          <a:pt x="231820" y="77486"/>
                        </a:cubicBezTo>
                        <a:cubicBezTo>
                          <a:pt x="238249" y="76438"/>
                          <a:pt x="237963" y="67218"/>
                          <a:pt x="231077" y="67380"/>
                        </a:cubicBezTo>
                        <a:cubicBezTo>
                          <a:pt x="228943" y="68275"/>
                          <a:pt x="227352" y="68818"/>
                          <a:pt x="226648" y="71075"/>
                        </a:cubicBezTo>
                        <a:close/>
                        <a:moveTo>
                          <a:pt x="55721" y="71495"/>
                        </a:moveTo>
                        <a:cubicBezTo>
                          <a:pt x="55064" y="73571"/>
                          <a:pt x="57112" y="75905"/>
                          <a:pt x="59169" y="75524"/>
                        </a:cubicBezTo>
                        <a:cubicBezTo>
                          <a:pt x="62960" y="74819"/>
                          <a:pt x="62760" y="69018"/>
                          <a:pt x="58179" y="69199"/>
                        </a:cubicBezTo>
                        <a:cubicBezTo>
                          <a:pt x="57112" y="69790"/>
                          <a:pt x="56121" y="70228"/>
                          <a:pt x="55721" y="71495"/>
                        </a:cubicBezTo>
                        <a:close/>
                        <a:moveTo>
                          <a:pt x="286884" y="71495"/>
                        </a:moveTo>
                        <a:cubicBezTo>
                          <a:pt x="286141" y="73238"/>
                          <a:pt x="287998" y="75219"/>
                          <a:pt x="289760" y="74781"/>
                        </a:cubicBezTo>
                        <a:cubicBezTo>
                          <a:pt x="292532" y="74104"/>
                          <a:pt x="292237" y="69771"/>
                          <a:pt x="288693" y="69933"/>
                        </a:cubicBezTo>
                        <a:cubicBezTo>
                          <a:pt x="288007" y="70333"/>
                          <a:pt x="287198" y="70752"/>
                          <a:pt x="286884" y="71495"/>
                        </a:cubicBezTo>
                        <a:close/>
                        <a:moveTo>
                          <a:pt x="146037" y="74447"/>
                        </a:moveTo>
                        <a:cubicBezTo>
                          <a:pt x="145047" y="77686"/>
                          <a:pt x="148962" y="82182"/>
                          <a:pt x="145456" y="83649"/>
                        </a:cubicBezTo>
                        <a:cubicBezTo>
                          <a:pt x="144085" y="84220"/>
                          <a:pt x="137179" y="85649"/>
                          <a:pt x="136417" y="84639"/>
                        </a:cubicBezTo>
                        <a:cubicBezTo>
                          <a:pt x="134388" y="81934"/>
                          <a:pt x="136141" y="78086"/>
                          <a:pt x="132883" y="76095"/>
                        </a:cubicBezTo>
                        <a:cubicBezTo>
                          <a:pt x="131807" y="75438"/>
                          <a:pt x="130121" y="75152"/>
                          <a:pt x="128445" y="75514"/>
                        </a:cubicBezTo>
                        <a:cubicBezTo>
                          <a:pt x="127759" y="75762"/>
                          <a:pt x="127073" y="76009"/>
                          <a:pt x="126397" y="76257"/>
                        </a:cubicBezTo>
                        <a:cubicBezTo>
                          <a:pt x="125473" y="76819"/>
                          <a:pt x="124387" y="78057"/>
                          <a:pt x="124015" y="79134"/>
                        </a:cubicBezTo>
                        <a:cubicBezTo>
                          <a:pt x="123158" y="81610"/>
                          <a:pt x="124930" y="86639"/>
                          <a:pt x="126644" y="87182"/>
                        </a:cubicBezTo>
                        <a:cubicBezTo>
                          <a:pt x="129207" y="87982"/>
                          <a:pt x="132617" y="85306"/>
                          <a:pt x="135436" y="86030"/>
                        </a:cubicBezTo>
                        <a:cubicBezTo>
                          <a:pt x="136836" y="86706"/>
                          <a:pt x="136846" y="88754"/>
                          <a:pt x="137246" y="90468"/>
                        </a:cubicBezTo>
                        <a:cubicBezTo>
                          <a:pt x="137474" y="91450"/>
                          <a:pt x="137951" y="92650"/>
                          <a:pt x="137655" y="93840"/>
                        </a:cubicBezTo>
                        <a:cubicBezTo>
                          <a:pt x="137084" y="96202"/>
                          <a:pt x="133921" y="98584"/>
                          <a:pt x="130588" y="98031"/>
                        </a:cubicBezTo>
                        <a:cubicBezTo>
                          <a:pt x="124635" y="97060"/>
                          <a:pt x="127692" y="92297"/>
                          <a:pt x="125168" y="89078"/>
                        </a:cubicBezTo>
                        <a:cubicBezTo>
                          <a:pt x="123911" y="87478"/>
                          <a:pt x="120596" y="88668"/>
                          <a:pt x="118834" y="89078"/>
                        </a:cubicBezTo>
                        <a:cubicBezTo>
                          <a:pt x="117615" y="89364"/>
                          <a:pt x="116786" y="89440"/>
                          <a:pt x="115957" y="90068"/>
                        </a:cubicBezTo>
                        <a:cubicBezTo>
                          <a:pt x="112766" y="92469"/>
                          <a:pt x="116881" y="96698"/>
                          <a:pt x="115634" y="99765"/>
                        </a:cubicBezTo>
                        <a:cubicBezTo>
                          <a:pt x="114300" y="103013"/>
                          <a:pt x="108842" y="101336"/>
                          <a:pt x="106509" y="103299"/>
                        </a:cubicBezTo>
                        <a:cubicBezTo>
                          <a:pt x="104194" y="105251"/>
                          <a:pt x="107309" y="108899"/>
                          <a:pt x="106756" y="111843"/>
                        </a:cubicBezTo>
                        <a:cubicBezTo>
                          <a:pt x="106156" y="115052"/>
                          <a:pt x="103280" y="115033"/>
                          <a:pt x="100184" y="115786"/>
                        </a:cubicBezTo>
                        <a:cubicBezTo>
                          <a:pt x="99346" y="115986"/>
                          <a:pt x="98079" y="116396"/>
                          <a:pt x="97060" y="116119"/>
                        </a:cubicBezTo>
                        <a:cubicBezTo>
                          <a:pt x="93897" y="114471"/>
                          <a:pt x="97307" y="104994"/>
                          <a:pt x="89487" y="106423"/>
                        </a:cubicBezTo>
                        <a:cubicBezTo>
                          <a:pt x="88887" y="106585"/>
                          <a:pt x="88287" y="106747"/>
                          <a:pt x="87687" y="106909"/>
                        </a:cubicBezTo>
                        <a:cubicBezTo>
                          <a:pt x="86792" y="107242"/>
                          <a:pt x="85925" y="107699"/>
                          <a:pt x="85392" y="108394"/>
                        </a:cubicBezTo>
                        <a:cubicBezTo>
                          <a:pt x="83068" y="111366"/>
                          <a:pt x="84039" y="117291"/>
                          <a:pt x="87859" y="118091"/>
                        </a:cubicBezTo>
                        <a:cubicBezTo>
                          <a:pt x="89545" y="118443"/>
                          <a:pt x="93516" y="117110"/>
                          <a:pt x="95336" y="116853"/>
                        </a:cubicBezTo>
                        <a:cubicBezTo>
                          <a:pt x="96584" y="117710"/>
                          <a:pt x="96641" y="118567"/>
                          <a:pt x="97060" y="120310"/>
                        </a:cubicBezTo>
                        <a:cubicBezTo>
                          <a:pt x="97879" y="123730"/>
                          <a:pt x="98393" y="127349"/>
                          <a:pt x="94917" y="128445"/>
                        </a:cubicBezTo>
                        <a:cubicBezTo>
                          <a:pt x="92783" y="129111"/>
                          <a:pt x="88602" y="128816"/>
                          <a:pt x="87849" y="130826"/>
                        </a:cubicBezTo>
                        <a:cubicBezTo>
                          <a:pt x="87630" y="131416"/>
                          <a:pt x="87982" y="132217"/>
                          <a:pt x="88097" y="132721"/>
                        </a:cubicBezTo>
                        <a:cubicBezTo>
                          <a:pt x="88716" y="135369"/>
                          <a:pt x="89916" y="139408"/>
                          <a:pt x="87773" y="141018"/>
                        </a:cubicBezTo>
                        <a:cubicBezTo>
                          <a:pt x="85525" y="142713"/>
                          <a:pt x="80677" y="141665"/>
                          <a:pt x="79391" y="144304"/>
                        </a:cubicBezTo>
                        <a:cubicBezTo>
                          <a:pt x="78048" y="147047"/>
                          <a:pt x="81344" y="151552"/>
                          <a:pt x="80620" y="154248"/>
                        </a:cubicBezTo>
                        <a:cubicBezTo>
                          <a:pt x="75067" y="155343"/>
                          <a:pt x="69028" y="155486"/>
                          <a:pt x="71009" y="163039"/>
                        </a:cubicBezTo>
                        <a:cubicBezTo>
                          <a:pt x="71238" y="163906"/>
                          <a:pt x="71590" y="164716"/>
                          <a:pt x="72076" y="165344"/>
                        </a:cubicBezTo>
                        <a:cubicBezTo>
                          <a:pt x="74981" y="169107"/>
                          <a:pt x="78639" y="164811"/>
                          <a:pt x="81858" y="166002"/>
                        </a:cubicBezTo>
                        <a:cubicBezTo>
                          <a:pt x="83906" y="166764"/>
                          <a:pt x="84230" y="170898"/>
                          <a:pt x="84649" y="173241"/>
                        </a:cubicBezTo>
                        <a:cubicBezTo>
                          <a:pt x="85525" y="178051"/>
                          <a:pt x="79867" y="176851"/>
                          <a:pt x="77095" y="178165"/>
                        </a:cubicBezTo>
                        <a:cubicBezTo>
                          <a:pt x="74428" y="179432"/>
                          <a:pt x="74571" y="183604"/>
                          <a:pt x="75781" y="186547"/>
                        </a:cubicBezTo>
                        <a:cubicBezTo>
                          <a:pt x="78277" y="192653"/>
                          <a:pt x="86220" y="184709"/>
                          <a:pt x="88106" y="190576"/>
                        </a:cubicBezTo>
                        <a:cubicBezTo>
                          <a:pt x="88849" y="192881"/>
                          <a:pt x="89926" y="197282"/>
                          <a:pt x="88021" y="198711"/>
                        </a:cubicBezTo>
                        <a:cubicBezTo>
                          <a:pt x="87192" y="199330"/>
                          <a:pt x="86106" y="199330"/>
                          <a:pt x="84896" y="199615"/>
                        </a:cubicBezTo>
                        <a:cubicBezTo>
                          <a:pt x="80724" y="200616"/>
                          <a:pt x="78467" y="201397"/>
                          <a:pt x="79724" y="206759"/>
                        </a:cubicBezTo>
                        <a:cubicBezTo>
                          <a:pt x="80001" y="207502"/>
                          <a:pt x="80277" y="208236"/>
                          <a:pt x="80543" y="208979"/>
                        </a:cubicBezTo>
                        <a:cubicBezTo>
                          <a:pt x="82039" y="211388"/>
                          <a:pt x="84715" y="211341"/>
                          <a:pt x="87935" y="210626"/>
                        </a:cubicBezTo>
                        <a:cubicBezTo>
                          <a:pt x="88735" y="210455"/>
                          <a:pt x="90449" y="209731"/>
                          <a:pt x="91221" y="210217"/>
                        </a:cubicBezTo>
                        <a:cubicBezTo>
                          <a:pt x="93993" y="211950"/>
                          <a:pt x="92088" y="218637"/>
                          <a:pt x="95164" y="220161"/>
                        </a:cubicBezTo>
                        <a:cubicBezTo>
                          <a:pt x="98384" y="221751"/>
                          <a:pt x="102708" y="216827"/>
                          <a:pt x="105518" y="221066"/>
                        </a:cubicBezTo>
                        <a:cubicBezTo>
                          <a:pt x="106071" y="221894"/>
                          <a:pt x="107270" y="227219"/>
                          <a:pt x="107080" y="228543"/>
                        </a:cubicBezTo>
                        <a:cubicBezTo>
                          <a:pt x="106994" y="229143"/>
                          <a:pt x="106299" y="229772"/>
                          <a:pt x="105851" y="230019"/>
                        </a:cubicBezTo>
                        <a:cubicBezTo>
                          <a:pt x="103918" y="231115"/>
                          <a:pt x="100746" y="230486"/>
                          <a:pt x="99031" y="231743"/>
                        </a:cubicBezTo>
                        <a:cubicBezTo>
                          <a:pt x="96364" y="233705"/>
                          <a:pt x="97060" y="238954"/>
                          <a:pt x="99355" y="240782"/>
                        </a:cubicBezTo>
                        <a:cubicBezTo>
                          <a:pt x="102032" y="242916"/>
                          <a:pt x="108128" y="242173"/>
                          <a:pt x="108966" y="238725"/>
                        </a:cubicBezTo>
                        <a:cubicBezTo>
                          <a:pt x="109633" y="236010"/>
                          <a:pt x="107118" y="233220"/>
                          <a:pt x="107899" y="230667"/>
                        </a:cubicBezTo>
                        <a:cubicBezTo>
                          <a:pt x="108290" y="229391"/>
                          <a:pt x="114510" y="227762"/>
                          <a:pt x="116443" y="228448"/>
                        </a:cubicBezTo>
                        <a:cubicBezTo>
                          <a:pt x="117348" y="228762"/>
                          <a:pt x="118424" y="229657"/>
                          <a:pt x="118910" y="230419"/>
                        </a:cubicBezTo>
                        <a:cubicBezTo>
                          <a:pt x="119596" y="231477"/>
                          <a:pt x="120720" y="236830"/>
                          <a:pt x="119815" y="238058"/>
                        </a:cubicBezTo>
                        <a:cubicBezTo>
                          <a:pt x="117491" y="241221"/>
                          <a:pt x="109290" y="238115"/>
                          <a:pt x="110452" y="244878"/>
                        </a:cubicBezTo>
                        <a:cubicBezTo>
                          <a:pt x="110614" y="245593"/>
                          <a:pt x="110776" y="246307"/>
                          <a:pt x="110938" y="247021"/>
                        </a:cubicBezTo>
                        <a:cubicBezTo>
                          <a:pt x="111243" y="247993"/>
                          <a:pt x="111595" y="248803"/>
                          <a:pt x="112252" y="249403"/>
                        </a:cubicBezTo>
                        <a:cubicBezTo>
                          <a:pt x="114853" y="251774"/>
                          <a:pt x="121368" y="251346"/>
                          <a:pt x="122272" y="247593"/>
                        </a:cubicBezTo>
                        <a:cubicBezTo>
                          <a:pt x="123063" y="244354"/>
                          <a:pt x="119520" y="240506"/>
                          <a:pt x="122358" y="238554"/>
                        </a:cubicBezTo>
                        <a:cubicBezTo>
                          <a:pt x="123168" y="238001"/>
                          <a:pt x="124282" y="237982"/>
                          <a:pt x="125397" y="237734"/>
                        </a:cubicBezTo>
                        <a:cubicBezTo>
                          <a:pt x="131293" y="236420"/>
                          <a:pt x="132045" y="238239"/>
                          <a:pt x="133207" y="243402"/>
                        </a:cubicBezTo>
                        <a:cubicBezTo>
                          <a:pt x="133407" y="244297"/>
                          <a:pt x="133903" y="245726"/>
                          <a:pt x="133617" y="246774"/>
                        </a:cubicBezTo>
                        <a:cubicBezTo>
                          <a:pt x="131778" y="250288"/>
                          <a:pt x="122320" y="246355"/>
                          <a:pt x="123835" y="254251"/>
                        </a:cubicBezTo>
                        <a:cubicBezTo>
                          <a:pt x="124054" y="254984"/>
                          <a:pt x="124273" y="255727"/>
                          <a:pt x="124492" y="256470"/>
                        </a:cubicBezTo>
                        <a:cubicBezTo>
                          <a:pt x="124930" y="257537"/>
                          <a:pt x="125587" y="258328"/>
                          <a:pt x="126464" y="258928"/>
                        </a:cubicBezTo>
                        <a:cubicBezTo>
                          <a:pt x="129635" y="261147"/>
                          <a:pt x="134884" y="259004"/>
                          <a:pt x="135503" y="255813"/>
                        </a:cubicBezTo>
                        <a:cubicBezTo>
                          <a:pt x="136055" y="252974"/>
                          <a:pt x="134121" y="250603"/>
                          <a:pt x="134512" y="248002"/>
                        </a:cubicBezTo>
                        <a:cubicBezTo>
                          <a:pt x="137093" y="246364"/>
                          <a:pt x="144094" y="244516"/>
                          <a:pt x="145685" y="248079"/>
                        </a:cubicBezTo>
                        <a:cubicBezTo>
                          <a:pt x="146809" y="250603"/>
                          <a:pt x="146047" y="254222"/>
                          <a:pt x="148314" y="255556"/>
                        </a:cubicBezTo>
                        <a:cubicBezTo>
                          <a:pt x="150524" y="256861"/>
                          <a:pt x="155667" y="253965"/>
                          <a:pt x="158172" y="254489"/>
                        </a:cubicBezTo>
                        <a:cubicBezTo>
                          <a:pt x="159325" y="256508"/>
                          <a:pt x="158991" y="259985"/>
                          <a:pt x="160220" y="262042"/>
                        </a:cubicBezTo>
                        <a:cubicBezTo>
                          <a:pt x="162192" y="265328"/>
                          <a:pt x="168307" y="264738"/>
                          <a:pt x="170412" y="261880"/>
                        </a:cubicBezTo>
                        <a:cubicBezTo>
                          <a:pt x="172183" y="259480"/>
                          <a:pt x="169631" y="256527"/>
                          <a:pt x="170002" y="253822"/>
                        </a:cubicBezTo>
                        <a:cubicBezTo>
                          <a:pt x="170393" y="250984"/>
                          <a:pt x="174793" y="250784"/>
                          <a:pt x="177479" y="250288"/>
                        </a:cubicBezTo>
                        <a:cubicBezTo>
                          <a:pt x="182070" y="249441"/>
                          <a:pt x="181118" y="254851"/>
                          <a:pt x="182242" y="257604"/>
                        </a:cubicBezTo>
                        <a:cubicBezTo>
                          <a:pt x="183404" y="260452"/>
                          <a:pt x="187585" y="260452"/>
                          <a:pt x="190624" y="259156"/>
                        </a:cubicBezTo>
                        <a:cubicBezTo>
                          <a:pt x="196244" y="256775"/>
                          <a:pt x="190871" y="252136"/>
                          <a:pt x="192510" y="248555"/>
                        </a:cubicBezTo>
                        <a:cubicBezTo>
                          <a:pt x="193338" y="246736"/>
                          <a:pt x="195853" y="246774"/>
                          <a:pt x="198015" y="246250"/>
                        </a:cubicBezTo>
                        <a:cubicBezTo>
                          <a:pt x="198920" y="246031"/>
                          <a:pt x="200358" y="245412"/>
                          <a:pt x="201635" y="245754"/>
                        </a:cubicBezTo>
                        <a:cubicBezTo>
                          <a:pt x="203988" y="246393"/>
                          <a:pt x="203463" y="250326"/>
                          <a:pt x="204264" y="252574"/>
                        </a:cubicBezTo>
                        <a:cubicBezTo>
                          <a:pt x="205169" y="255118"/>
                          <a:pt x="208159" y="255994"/>
                          <a:pt x="211331" y="255127"/>
                        </a:cubicBezTo>
                        <a:cubicBezTo>
                          <a:pt x="212150" y="254899"/>
                          <a:pt x="213055" y="254413"/>
                          <a:pt x="213627" y="253898"/>
                        </a:cubicBezTo>
                        <a:cubicBezTo>
                          <a:pt x="214294" y="253298"/>
                          <a:pt x="215036" y="252270"/>
                          <a:pt x="215265" y="251269"/>
                        </a:cubicBezTo>
                        <a:cubicBezTo>
                          <a:pt x="215741" y="249269"/>
                          <a:pt x="214227" y="244088"/>
                          <a:pt x="212970" y="243545"/>
                        </a:cubicBezTo>
                        <a:cubicBezTo>
                          <a:pt x="210922" y="242649"/>
                          <a:pt x="207073" y="245088"/>
                          <a:pt x="204835" y="244773"/>
                        </a:cubicBezTo>
                        <a:cubicBezTo>
                          <a:pt x="201530" y="244307"/>
                          <a:pt x="200654" y="237515"/>
                          <a:pt x="202540" y="235077"/>
                        </a:cubicBezTo>
                        <a:cubicBezTo>
                          <a:pt x="204378" y="232696"/>
                          <a:pt x="209855" y="231838"/>
                          <a:pt x="211903" y="234582"/>
                        </a:cubicBezTo>
                        <a:cubicBezTo>
                          <a:pt x="213150" y="236249"/>
                          <a:pt x="212627" y="239182"/>
                          <a:pt x="213541" y="241240"/>
                        </a:cubicBezTo>
                        <a:cubicBezTo>
                          <a:pt x="214560" y="243507"/>
                          <a:pt x="221285" y="242068"/>
                          <a:pt x="222990" y="240830"/>
                        </a:cubicBezTo>
                        <a:cubicBezTo>
                          <a:pt x="226514" y="238268"/>
                          <a:pt x="222095" y="234020"/>
                          <a:pt x="223561" y="230800"/>
                        </a:cubicBezTo>
                        <a:cubicBezTo>
                          <a:pt x="224990" y="227695"/>
                          <a:pt x="231477" y="229495"/>
                          <a:pt x="233258" y="226781"/>
                        </a:cubicBezTo>
                        <a:cubicBezTo>
                          <a:pt x="234572" y="224780"/>
                          <a:pt x="231219" y="220066"/>
                          <a:pt x="232848" y="217408"/>
                        </a:cubicBezTo>
                        <a:cubicBezTo>
                          <a:pt x="234544" y="214646"/>
                          <a:pt x="241202" y="215770"/>
                          <a:pt x="242297" y="213465"/>
                        </a:cubicBezTo>
                        <a:cubicBezTo>
                          <a:pt x="243326" y="211293"/>
                          <a:pt x="240001" y="206702"/>
                          <a:pt x="241716" y="204016"/>
                        </a:cubicBezTo>
                        <a:cubicBezTo>
                          <a:pt x="243478" y="201263"/>
                          <a:pt x="249850" y="202625"/>
                          <a:pt x="251003" y="199825"/>
                        </a:cubicBezTo>
                        <a:cubicBezTo>
                          <a:pt x="252098" y="197187"/>
                          <a:pt x="248669" y="192738"/>
                          <a:pt x="250260" y="190462"/>
                        </a:cubicBezTo>
                        <a:cubicBezTo>
                          <a:pt x="252174" y="187728"/>
                          <a:pt x="258051" y="189719"/>
                          <a:pt x="259547" y="186023"/>
                        </a:cubicBezTo>
                        <a:cubicBezTo>
                          <a:pt x="259975" y="184956"/>
                          <a:pt x="259699" y="183585"/>
                          <a:pt x="259461" y="182575"/>
                        </a:cubicBezTo>
                        <a:cubicBezTo>
                          <a:pt x="258947" y="180327"/>
                          <a:pt x="258928" y="177775"/>
                          <a:pt x="256908" y="177070"/>
                        </a:cubicBezTo>
                        <a:cubicBezTo>
                          <a:pt x="254060" y="176070"/>
                          <a:pt x="250927" y="179327"/>
                          <a:pt x="248117" y="177232"/>
                        </a:cubicBezTo>
                        <a:cubicBezTo>
                          <a:pt x="245336" y="175155"/>
                          <a:pt x="245059" y="168983"/>
                          <a:pt x="248117" y="167126"/>
                        </a:cubicBezTo>
                        <a:cubicBezTo>
                          <a:pt x="250231" y="165840"/>
                          <a:pt x="253689" y="166230"/>
                          <a:pt x="255594" y="164906"/>
                        </a:cubicBezTo>
                        <a:cubicBezTo>
                          <a:pt x="256156" y="162468"/>
                          <a:pt x="253508" y="156953"/>
                          <a:pt x="254280" y="155210"/>
                        </a:cubicBezTo>
                        <a:cubicBezTo>
                          <a:pt x="255203" y="153124"/>
                          <a:pt x="258947" y="153629"/>
                          <a:pt x="261185" y="152829"/>
                        </a:cubicBezTo>
                        <a:cubicBezTo>
                          <a:pt x="265386" y="151314"/>
                          <a:pt x="264300" y="144437"/>
                          <a:pt x="261347" y="142389"/>
                        </a:cubicBezTo>
                        <a:cubicBezTo>
                          <a:pt x="258832" y="140637"/>
                          <a:pt x="253555" y="143961"/>
                          <a:pt x="251984" y="142465"/>
                        </a:cubicBezTo>
                        <a:cubicBezTo>
                          <a:pt x="249974" y="140570"/>
                          <a:pt x="251060" y="134160"/>
                          <a:pt x="248860" y="132607"/>
                        </a:cubicBezTo>
                        <a:cubicBezTo>
                          <a:pt x="248050" y="132036"/>
                          <a:pt x="246383" y="132721"/>
                          <a:pt x="245488" y="132931"/>
                        </a:cubicBezTo>
                        <a:cubicBezTo>
                          <a:pt x="242106" y="133712"/>
                          <a:pt x="239058" y="133617"/>
                          <a:pt x="237763" y="130873"/>
                        </a:cubicBezTo>
                        <a:cubicBezTo>
                          <a:pt x="237544" y="130054"/>
                          <a:pt x="237325" y="129235"/>
                          <a:pt x="237106" y="128407"/>
                        </a:cubicBezTo>
                        <a:cubicBezTo>
                          <a:pt x="235191" y="120653"/>
                          <a:pt x="242049" y="123520"/>
                          <a:pt x="245402" y="121006"/>
                        </a:cubicBezTo>
                        <a:cubicBezTo>
                          <a:pt x="247250" y="119624"/>
                          <a:pt x="246431" y="115310"/>
                          <a:pt x="245564" y="113205"/>
                        </a:cubicBezTo>
                        <a:cubicBezTo>
                          <a:pt x="243173" y="107366"/>
                          <a:pt x="237239" y="113490"/>
                          <a:pt x="234305" y="111233"/>
                        </a:cubicBezTo>
                        <a:cubicBezTo>
                          <a:pt x="231953" y="109423"/>
                          <a:pt x="233382" y="103718"/>
                          <a:pt x="230934" y="101946"/>
                        </a:cubicBezTo>
                        <a:cubicBezTo>
                          <a:pt x="228590" y="100251"/>
                          <a:pt x="223885" y="103984"/>
                          <a:pt x="221323" y="102117"/>
                        </a:cubicBezTo>
                        <a:cubicBezTo>
                          <a:pt x="218904" y="100346"/>
                          <a:pt x="220170" y="95526"/>
                          <a:pt x="218199" y="93326"/>
                        </a:cubicBezTo>
                        <a:cubicBezTo>
                          <a:pt x="216141" y="91021"/>
                          <a:pt x="210988" y="95050"/>
                          <a:pt x="208255" y="93412"/>
                        </a:cubicBezTo>
                        <a:cubicBezTo>
                          <a:pt x="205464" y="91735"/>
                          <a:pt x="206864" y="86058"/>
                          <a:pt x="204311" y="84211"/>
                        </a:cubicBezTo>
                        <a:cubicBezTo>
                          <a:pt x="202016" y="82553"/>
                          <a:pt x="197615" y="85954"/>
                          <a:pt x="194939" y="84953"/>
                        </a:cubicBezTo>
                        <a:cubicBezTo>
                          <a:pt x="191338" y="83610"/>
                          <a:pt x="194681" y="73981"/>
                          <a:pt x="187785" y="75171"/>
                        </a:cubicBezTo>
                        <a:cubicBezTo>
                          <a:pt x="185509" y="75562"/>
                          <a:pt x="182109" y="75914"/>
                          <a:pt x="181289" y="77800"/>
                        </a:cubicBezTo>
                        <a:cubicBezTo>
                          <a:pt x="179842" y="81153"/>
                          <a:pt x="184423" y="84620"/>
                          <a:pt x="180470" y="87659"/>
                        </a:cubicBezTo>
                        <a:cubicBezTo>
                          <a:pt x="179756" y="88201"/>
                          <a:pt x="179032" y="88382"/>
                          <a:pt x="178003" y="88649"/>
                        </a:cubicBezTo>
                        <a:cubicBezTo>
                          <a:pt x="171898" y="90202"/>
                          <a:pt x="171422" y="87182"/>
                          <a:pt x="170279" y="82487"/>
                        </a:cubicBezTo>
                        <a:cubicBezTo>
                          <a:pt x="170012" y="81362"/>
                          <a:pt x="169736" y="80239"/>
                          <a:pt x="169459" y="79115"/>
                        </a:cubicBezTo>
                        <a:cubicBezTo>
                          <a:pt x="166602" y="78581"/>
                          <a:pt x="162954" y="80620"/>
                          <a:pt x="159430" y="80591"/>
                        </a:cubicBezTo>
                        <a:cubicBezTo>
                          <a:pt x="155934" y="77467"/>
                          <a:pt x="159020" y="70761"/>
                          <a:pt x="151952" y="70809"/>
                        </a:cubicBezTo>
                        <a:cubicBezTo>
                          <a:pt x="149362" y="71990"/>
                          <a:pt x="146952" y="71447"/>
                          <a:pt x="146037" y="74447"/>
                        </a:cubicBezTo>
                        <a:close/>
                        <a:moveTo>
                          <a:pt x="203968" y="74609"/>
                        </a:moveTo>
                        <a:cubicBezTo>
                          <a:pt x="202720" y="77562"/>
                          <a:pt x="204987" y="82210"/>
                          <a:pt x="207331" y="82658"/>
                        </a:cubicBezTo>
                        <a:cubicBezTo>
                          <a:pt x="208464" y="82877"/>
                          <a:pt x="209607" y="82353"/>
                          <a:pt x="210455" y="82163"/>
                        </a:cubicBezTo>
                        <a:cubicBezTo>
                          <a:pt x="217970" y="80477"/>
                          <a:pt x="215989" y="71028"/>
                          <a:pt x="208893" y="71066"/>
                        </a:cubicBezTo>
                        <a:cubicBezTo>
                          <a:pt x="206664" y="71980"/>
                          <a:pt x="204864" y="72485"/>
                          <a:pt x="203968" y="74609"/>
                        </a:cubicBezTo>
                        <a:close/>
                        <a:moveTo>
                          <a:pt x="89573" y="75514"/>
                        </a:moveTo>
                        <a:cubicBezTo>
                          <a:pt x="88449" y="79038"/>
                          <a:pt x="91783" y="82448"/>
                          <a:pt x="95250" y="81677"/>
                        </a:cubicBezTo>
                        <a:cubicBezTo>
                          <a:pt x="100879" y="80420"/>
                          <a:pt x="100489" y="71790"/>
                          <a:pt x="93354" y="71980"/>
                        </a:cubicBezTo>
                        <a:cubicBezTo>
                          <a:pt x="91650" y="72847"/>
                          <a:pt x="90192" y="73600"/>
                          <a:pt x="89573" y="75514"/>
                        </a:cubicBezTo>
                        <a:close/>
                        <a:moveTo>
                          <a:pt x="263376" y="75438"/>
                        </a:moveTo>
                        <a:cubicBezTo>
                          <a:pt x="262319" y="78057"/>
                          <a:pt x="264690" y="81201"/>
                          <a:pt x="267653" y="80620"/>
                        </a:cubicBezTo>
                        <a:cubicBezTo>
                          <a:pt x="272006" y="79762"/>
                          <a:pt x="271720" y="72971"/>
                          <a:pt x="266833" y="72895"/>
                        </a:cubicBezTo>
                        <a:cubicBezTo>
                          <a:pt x="265205" y="73504"/>
                          <a:pt x="264005" y="73885"/>
                          <a:pt x="263376" y="75438"/>
                        </a:cubicBezTo>
                        <a:close/>
                        <a:moveTo>
                          <a:pt x="36243" y="78810"/>
                        </a:moveTo>
                        <a:cubicBezTo>
                          <a:pt x="39300" y="78915"/>
                          <a:pt x="39214" y="74628"/>
                          <a:pt x="36243" y="74695"/>
                        </a:cubicBezTo>
                        <a:cubicBezTo>
                          <a:pt x="34300" y="75857"/>
                          <a:pt x="33852" y="77724"/>
                          <a:pt x="36243" y="78810"/>
                        </a:cubicBezTo>
                        <a:close/>
                        <a:moveTo>
                          <a:pt x="239878" y="80362"/>
                        </a:moveTo>
                        <a:cubicBezTo>
                          <a:pt x="239106" y="83572"/>
                          <a:pt x="242564" y="86878"/>
                          <a:pt x="245793" y="86201"/>
                        </a:cubicBezTo>
                        <a:cubicBezTo>
                          <a:pt x="251384" y="85020"/>
                          <a:pt x="251117" y="76143"/>
                          <a:pt x="244069" y="76343"/>
                        </a:cubicBezTo>
                        <a:cubicBezTo>
                          <a:pt x="242049" y="77238"/>
                          <a:pt x="240430" y="78057"/>
                          <a:pt x="239878" y="80362"/>
                        </a:cubicBezTo>
                        <a:close/>
                        <a:moveTo>
                          <a:pt x="68047" y="80200"/>
                        </a:moveTo>
                        <a:cubicBezTo>
                          <a:pt x="67170" y="83296"/>
                          <a:pt x="70104" y="86096"/>
                          <a:pt x="73057" y="85373"/>
                        </a:cubicBezTo>
                        <a:cubicBezTo>
                          <a:pt x="77762" y="84230"/>
                          <a:pt x="77343" y="76895"/>
                          <a:pt x="71495" y="77076"/>
                        </a:cubicBezTo>
                        <a:cubicBezTo>
                          <a:pt x="69895" y="77800"/>
                          <a:pt x="68551" y="78419"/>
                          <a:pt x="68047" y="80200"/>
                        </a:cubicBezTo>
                        <a:close/>
                        <a:moveTo>
                          <a:pt x="300599" y="80782"/>
                        </a:moveTo>
                        <a:cubicBezTo>
                          <a:pt x="300571" y="82191"/>
                          <a:pt x="301238" y="82744"/>
                          <a:pt x="302162" y="83163"/>
                        </a:cubicBezTo>
                        <a:cubicBezTo>
                          <a:pt x="305133" y="83287"/>
                          <a:pt x="305162" y="79143"/>
                          <a:pt x="302323" y="79143"/>
                        </a:cubicBezTo>
                        <a:cubicBezTo>
                          <a:pt x="301485" y="79600"/>
                          <a:pt x="301028" y="79886"/>
                          <a:pt x="300599" y="80782"/>
                        </a:cubicBezTo>
                        <a:close/>
                        <a:moveTo>
                          <a:pt x="217199" y="83239"/>
                        </a:moveTo>
                        <a:cubicBezTo>
                          <a:pt x="216761" y="84239"/>
                          <a:pt x="217075" y="85496"/>
                          <a:pt x="217275" y="86439"/>
                        </a:cubicBezTo>
                        <a:cubicBezTo>
                          <a:pt x="217827" y="89002"/>
                          <a:pt x="217999" y="91183"/>
                          <a:pt x="220647" y="91621"/>
                        </a:cubicBezTo>
                        <a:cubicBezTo>
                          <a:pt x="221685" y="91430"/>
                          <a:pt x="222723" y="91240"/>
                          <a:pt x="223771" y="91049"/>
                        </a:cubicBezTo>
                        <a:cubicBezTo>
                          <a:pt x="224819" y="90811"/>
                          <a:pt x="225657" y="90802"/>
                          <a:pt x="226400" y="90307"/>
                        </a:cubicBezTo>
                        <a:cubicBezTo>
                          <a:pt x="231077" y="87192"/>
                          <a:pt x="228067" y="79819"/>
                          <a:pt x="221799" y="79953"/>
                        </a:cubicBezTo>
                        <a:cubicBezTo>
                          <a:pt x="219808" y="80810"/>
                          <a:pt x="218046" y="81324"/>
                          <a:pt x="217199" y="83239"/>
                        </a:cubicBezTo>
                        <a:close/>
                        <a:moveTo>
                          <a:pt x="102146" y="84068"/>
                        </a:moveTo>
                        <a:cubicBezTo>
                          <a:pt x="101070" y="87497"/>
                          <a:pt x="103918" y="91983"/>
                          <a:pt x="107652" y="91297"/>
                        </a:cubicBezTo>
                        <a:cubicBezTo>
                          <a:pt x="109737" y="90916"/>
                          <a:pt x="111709" y="90440"/>
                          <a:pt x="112662" y="88916"/>
                        </a:cubicBezTo>
                        <a:cubicBezTo>
                          <a:pt x="115291" y="84706"/>
                          <a:pt x="111300" y="79943"/>
                          <a:pt x="106832" y="80039"/>
                        </a:cubicBezTo>
                        <a:cubicBezTo>
                          <a:pt x="104613" y="81039"/>
                          <a:pt x="102908" y="81658"/>
                          <a:pt x="102146" y="84068"/>
                        </a:cubicBezTo>
                        <a:close/>
                        <a:moveTo>
                          <a:pt x="159506" y="86449"/>
                        </a:moveTo>
                        <a:cubicBezTo>
                          <a:pt x="159668" y="87154"/>
                          <a:pt x="160049" y="88068"/>
                          <a:pt x="159839" y="89078"/>
                        </a:cubicBezTo>
                        <a:cubicBezTo>
                          <a:pt x="159268" y="91849"/>
                          <a:pt x="155477" y="94497"/>
                          <a:pt x="151867" y="93107"/>
                        </a:cubicBezTo>
                        <a:cubicBezTo>
                          <a:pt x="150905" y="92735"/>
                          <a:pt x="149885" y="92069"/>
                          <a:pt x="149323" y="91297"/>
                        </a:cubicBezTo>
                        <a:cubicBezTo>
                          <a:pt x="148123" y="89649"/>
                          <a:pt x="147238" y="84677"/>
                          <a:pt x="148990" y="83325"/>
                        </a:cubicBezTo>
                        <a:cubicBezTo>
                          <a:pt x="150743" y="81982"/>
                          <a:pt x="154029" y="82410"/>
                          <a:pt x="156220" y="81515"/>
                        </a:cubicBezTo>
                        <a:cubicBezTo>
                          <a:pt x="158915" y="81867"/>
                          <a:pt x="158944" y="83953"/>
                          <a:pt x="159506" y="86449"/>
                        </a:cubicBezTo>
                        <a:close/>
                        <a:moveTo>
                          <a:pt x="276854" y="84887"/>
                        </a:moveTo>
                        <a:cubicBezTo>
                          <a:pt x="276215" y="87144"/>
                          <a:pt x="278435" y="89592"/>
                          <a:pt x="280635" y="89240"/>
                        </a:cubicBezTo>
                        <a:cubicBezTo>
                          <a:pt x="284826" y="88583"/>
                          <a:pt x="284864" y="81934"/>
                          <a:pt x="279892" y="82096"/>
                        </a:cubicBezTo>
                        <a:cubicBezTo>
                          <a:pt x="278482" y="82715"/>
                          <a:pt x="277292" y="83334"/>
                          <a:pt x="276854" y="84887"/>
                        </a:cubicBezTo>
                        <a:close/>
                        <a:moveTo>
                          <a:pt x="46844" y="84563"/>
                        </a:moveTo>
                        <a:cubicBezTo>
                          <a:pt x="45968" y="86897"/>
                          <a:pt x="48330" y="89459"/>
                          <a:pt x="50702" y="88840"/>
                        </a:cubicBezTo>
                        <a:cubicBezTo>
                          <a:pt x="54273" y="87897"/>
                          <a:pt x="53959" y="82248"/>
                          <a:pt x="49311" y="82429"/>
                        </a:cubicBezTo>
                        <a:cubicBezTo>
                          <a:pt x="48282" y="82925"/>
                          <a:pt x="47254" y="83458"/>
                          <a:pt x="46844" y="84563"/>
                        </a:cubicBezTo>
                        <a:close/>
                        <a:moveTo>
                          <a:pt x="80458" y="88916"/>
                        </a:moveTo>
                        <a:cubicBezTo>
                          <a:pt x="79420" y="92631"/>
                          <a:pt x="83344" y="96060"/>
                          <a:pt x="86868" y="95079"/>
                        </a:cubicBezTo>
                        <a:cubicBezTo>
                          <a:pt x="92412" y="93535"/>
                          <a:pt x="91573" y="84868"/>
                          <a:pt x="84649" y="85058"/>
                        </a:cubicBezTo>
                        <a:cubicBezTo>
                          <a:pt x="82610" y="85973"/>
                          <a:pt x="81096" y="86639"/>
                          <a:pt x="80458" y="88916"/>
                        </a:cubicBezTo>
                        <a:close/>
                        <a:moveTo>
                          <a:pt x="253517" y="88744"/>
                        </a:moveTo>
                        <a:cubicBezTo>
                          <a:pt x="252403" y="91973"/>
                          <a:pt x="255470" y="95536"/>
                          <a:pt x="258775" y="94907"/>
                        </a:cubicBezTo>
                        <a:cubicBezTo>
                          <a:pt x="264328" y="93850"/>
                          <a:pt x="264243" y="85211"/>
                          <a:pt x="257708" y="85373"/>
                        </a:cubicBezTo>
                        <a:cubicBezTo>
                          <a:pt x="255670" y="86182"/>
                          <a:pt x="254222" y="86696"/>
                          <a:pt x="253517" y="88744"/>
                        </a:cubicBezTo>
                        <a:close/>
                        <a:moveTo>
                          <a:pt x="194843" y="90059"/>
                        </a:moveTo>
                        <a:cubicBezTo>
                          <a:pt x="195063" y="91040"/>
                          <a:pt x="195606" y="92269"/>
                          <a:pt x="195339" y="93593"/>
                        </a:cubicBezTo>
                        <a:cubicBezTo>
                          <a:pt x="194872" y="95898"/>
                          <a:pt x="192034" y="98317"/>
                          <a:pt x="188681" y="97698"/>
                        </a:cubicBezTo>
                        <a:cubicBezTo>
                          <a:pt x="185118" y="97050"/>
                          <a:pt x="181908" y="91945"/>
                          <a:pt x="184737" y="88249"/>
                        </a:cubicBezTo>
                        <a:cubicBezTo>
                          <a:pt x="186042" y="86535"/>
                          <a:pt x="188643" y="87097"/>
                          <a:pt x="190729" y="86116"/>
                        </a:cubicBezTo>
                        <a:cubicBezTo>
                          <a:pt x="193900" y="86039"/>
                          <a:pt x="194281" y="87554"/>
                          <a:pt x="194843" y="90059"/>
                        </a:cubicBezTo>
                        <a:close/>
                        <a:moveTo>
                          <a:pt x="25727" y="89735"/>
                        </a:moveTo>
                        <a:cubicBezTo>
                          <a:pt x="25432" y="90916"/>
                          <a:pt x="26937" y="92402"/>
                          <a:pt x="28194" y="92040"/>
                        </a:cubicBezTo>
                        <a:cubicBezTo>
                          <a:pt x="30375" y="91402"/>
                          <a:pt x="30089" y="87944"/>
                          <a:pt x="27289" y="88097"/>
                        </a:cubicBezTo>
                        <a:cubicBezTo>
                          <a:pt x="26641" y="88487"/>
                          <a:pt x="25927" y="88916"/>
                          <a:pt x="25727" y="89735"/>
                        </a:cubicBezTo>
                        <a:close/>
                        <a:moveTo>
                          <a:pt x="314573" y="90145"/>
                        </a:moveTo>
                        <a:cubicBezTo>
                          <a:pt x="314954" y="90678"/>
                          <a:pt x="315182" y="90926"/>
                          <a:pt x="315725" y="91297"/>
                        </a:cubicBezTo>
                        <a:cubicBezTo>
                          <a:pt x="316573" y="91202"/>
                          <a:pt x="316754" y="90783"/>
                          <a:pt x="317125" y="90230"/>
                        </a:cubicBezTo>
                        <a:cubicBezTo>
                          <a:pt x="317078" y="89373"/>
                          <a:pt x="316544" y="88840"/>
                          <a:pt x="315725" y="88754"/>
                        </a:cubicBezTo>
                        <a:cubicBezTo>
                          <a:pt x="315144" y="89116"/>
                          <a:pt x="314716" y="89325"/>
                          <a:pt x="314573" y="90145"/>
                        </a:cubicBezTo>
                        <a:close/>
                        <a:moveTo>
                          <a:pt x="230505" y="92278"/>
                        </a:moveTo>
                        <a:cubicBezTo>
                          <a:pt x="229333" y="95231"/>
                          <a:pt x="231648" y="99870"/>
                          <a:pt x="233791" y="100327"/>
                        </a:cubicBezTo>
                        <a:cubicBezTo>
                          <a:pt x="234991" y="100584"/>
                          <a:pt x="236220" y="100108"/>
                          <a:pt x="237077" y="99917"/>
                        </a:cubicBezTo>
                        <a:cubicBezTo>
                          <a:pt x="244059" y="98336"/>
                          <a:pt x="242688" y="88687"/>
                          <a:pt x="235515" y="88821"/>
                        </a:cubicBezTo>
                        <a:cubicBezTo>
                          <a:pt x="233239" y="89706"/>
                          <a:pt x="231381" y="90087"/>
                          <a:pt x="230505" y="92278"/>
                        </a:cubicBezTo>
                        <a:close/>
                        <a:moveTo>
                          <a:pt x="59169" y="93345"/>
                        </a:moveTo>
                        <a:cubicBezTo>
                          <a:pt x="58245" y="96393"/>
                          <a:pt x="61141" y="99631"/>
                          <a:pt x="64427" y="98688"/>
                        </a:cubicBezTo>
                        <a:cubicBezTo>
                          <a:pt x="69094" y="97346"/>
                          <a:pt x="68475" y="90116"/>
                          <a:pt x="62455" y="90307"/>
                        </a:cubicBezTo>
                        <a:cubicBezTo>
                          <a:pt x="60960" y="91059"/>
                          <a:pt x="59693" y="91649"/>
                          <a:pt x="59169" y="93345"/>
                        </a:cubicBezTo>
                        <a:close/>
                        <a:moveTo>
                          <a:pt x="168135" y="101813"/>
                        </a:moveTo>
                        <a:cubicBezTo>
                          <a:pt x="164135" y="102584"/>
                          <a:pt x="160668" y="98041"/>
                          <a:pt x="162211" y="94250"/>
                        </a:cubicBezTo>
                        <a:cubicBezTo>
                          <a:pt x="163144" y="91973"/>
                          <a:pt x="164744" y="91840"/>
                          <a:pt x="167059" y="90878"/>
                        </a:cubicBezTo>
                        <a:cubicBezTo>
                          <a:pt x="174374" y="90726"/>
                          <a:pt x="174517" y="100574"/>
                          <a:pt x="168135" y="101813"/>
                        </a:cubicBezTo>
                        <a:close/>
                        <a:moveTo>
                          <a:pt x="290579" y="93840"/>
                        </a:moveTo>
                        <a:cubicBezTo>
                          <a:pt x="290055" y="95964"/>
                          <a:pt x="292037" y="98003"/>
                          <a:pt x="294027" y="97622"/>
                        </a:cubicBezTo>
                        <a:cubicBezTo>
                          <a:pt x="297599" y="96936"/>
                          <a:pt x="297523" y="91430"/>
                          <a:pt x="293446" y="91373"/>
                        </a:cubicBezTo>
                        <a:cubicBezTo>
                          <a:pt x="292075" y="91907"/>
                          <a:pt x="290941" y="92364"/>
                          <a:pt x="290579" y="93840"/>
                        </a:cubicBezTo>
                        <a:close/>
                        <a:moveTo>
                          <a:pt x="93193" y="96964"/>
                        </a:moveTo>
                        <a:cubicBezTo>
                          <a:pt x="91792" y="100403"/>
                          <a:pt x="94412" y="104308"/>
                          <a:pt x="96974" y="104765"/>
                        </a:cubicBezTo>
                        <a:cubicBezTo>
                          <a:pt x="98146" y="104975"/>
                          <a:pt x="99479" y="104423"/>
                          <a:pt x="100422" y="104194"/>
                        </a:cubicBezTo>
                        <a:cubicBezTo>
                          <a:pt x="102222" y="103756"/>
                          <a:pt x="103975" y="103680"/>
                          <a:pt x="104613" y="102137"/>
                        </a:cubicBezTo>
                        <a:cubicBezTo>
                          <a:pt x="104994" y="101222"/>
                          <a:pt x="104518" y="99870"/>
                          <a:pt x="104365" y="99174"/>
                        </a:cubicBezTo>
                        <a:cubicBezTo>
                          <a:pt x="103537" y="95441"/>
                          <a:pt x="102908" y="93021"/>
                          <a:pt x="98365" y="93097"/>
                        </a:cubicBezTo>
                        <a:cubicBezTo>
                          <a:pt x="95860" y="94164"/>
                          <a:pt x="94202" y="94478"/>
                          <a:pt x="93193" y="96964"/>
                        </a:cubicBezTo>
                        <a:close/>
                        <a:moveTo>
                          <a:pt x="267081" y="97698"/>
                        </a:moveTo>
                        <a:cubicBezTo>
                          <a:pt x="266062" y="100965"/>
                          <a:pt x="269043" y="104003"/>
                          <a:pt x="272253" y="103375"/>
                        </a:cubicBezTo>
                        <a:cubicBezTo>
                          <a:pt x="277349" y="102375"/>
                          <a:pt x="276940" y="94412"/>
                          <a:pt x="271024" y="94497"/>
                        </a:cubicBezTo>
                        <a:cubicBezTo>
                          <a:pt x="269148" y="95278"/>
                          <a:pt x="267691" y="95726"/>
                          <a:pt x="267081" y="97698"/>
                        </a:cubicBezTo>
                        <a:close/>
                        <a:moveTo>
                          <a:pt x="202159" y="106499"/>
                        </a:moveTo>
                        <a:cubicBezTo>
                          <a:pt x="198796" y="105880"/>
                          <a:pt x="195710" y="101632"/>
                          <a:pt x="198053" y="97784"/>
                        </a:cubicBezTo>
                        <a:cubicBezTo>
                          <a:pt x="199254" y="95812"/>
                          <a:pt x="201016" y="96107"/>
                          <a:pt x="203311" y="95155"/>
                        </a:cubicBezTo>
                        <a:cubicBezTo>
                          <a:pt x="211026" y="94974"/>
                          <a:pt x="209779" y="107909"/>
                          <a:pt x="202159" y="106499"/>
                        </a:cubicBezTo>
                        <a:close/>
                        <a:moveTo>
                          <a:pt x="145456" y="106251"/>
                        </a:moveTo>
                        <a:cubicBezTo>
                          <a:pt x="142046" y="106813"/>
                          <a:pt x="138836" y="102794"/>
                          <a:pt x="139789" y="99346"/>
                        </a:cubicBezTo>
                        <a:cubicBezTo>
                          <a:pt x="140456" y="96898"/>
                          <a:pt x="142189" y="96384"/>
                          <a:pt x="144389" y="95402"/>
                        </a:cubicBezTo>
                        <a:cubicBezTo>
                          <a:pt x="152305" y="95221"/>
                          <a:pt x="152295" y="105127"/>
                          <a:pt x="145456" y="106251"/>
                        </a:cubicBezTo>
                        <a:close/>
                        <a:moveTo>
                          <a:pt x="37976" y="98031"/>
                        </a:moveTo>
                        <a:cubicBezTo>
                          <a:pt x="37309" y="100136"/>
                          <a:pt x="39348" y="102470"/>
                          <a:pt x="41348" y="102137"/>
                        </a:cubicBezTo>
                        <a:cubicBezTo>
                          <a:pt x="45215" y="101498"/>
                          <a:pt x="45148" y="95764"/>
                          <a:pt x="40767" y="95726"/>
                        </a:cubicBezTo>
                        <a:cubicBezTo>
                          <a:pt x="39453" y="96298"/>
                          <a:pt x="38414" y="96641"/>
                          <a:pt x="37976" y="98031"/>
                        </a:cubicBezTo>
                        <a:close/>
                        <a:moveTo>
                          <a:pt x="243821" y="101898"/>
                        </a:moveTo>
                        <a:cubicBezTo>
                          <a:pt x="242649" y="106080"/>
                          <a:pt x="246431" y="109823"/>
                          <a:pt x="250393" y="108880"/>
                        </a:cubicBezTo>
                        <a:cubicBezTo>
                          <a:pt x="256870" y="107347"/>
                          <a:pt x="256061" y="97679"/>
                          <a:pt x="248250" y="97869"/>
                        </a:cubicBezTo>
                        <a:cubicBezTo>
                          <a:pt x="246221" y="98889"/>
                          <a:pt x="244488" y="99536"/>
                          <a:pt x="243821" y="101898"/>
                        </a:cubicBezTo>
                        <a:close/>
                        <a:moveTo>
                          <a:pt x="71581" y="102146"/>
                        </a:moveTo>
                        <a:cubicBezTo>
                          <a:pt x="70590" y="105356"/>
                          <a:pt x="73857" y="109128"/>
                          <a:pt x="77162" y="108556"/>
                        </a:cubicBezTo>
                        <a:cubicBezTo>
                          <a:pt x="83573" y="107442"/>
                          <a:pt x="83144" y="98136"/>
                          <a:pt x="76257" y="98203"/>
                        </a:cubicBezTo>
                        <a:cubicBezTo>
                          <a:pt x="73876" y="99146"/>
                          <a:pt x="72342" y="99641"/>
                          <a:pt x="71581" y="102146"/>
                        </a:cubicBezTo>
                        <a:close/>
                        <a:moveTo>
                          <a:pt x="122282" y="111014"/>
                        </a:moveTo>
                        <a:cubicBezTo>
                          <a:pt x="119034" y="110471"/>
                          <a:pt x="118158" y="108975"/>
                          <a:pt x="117358" y="105918"/>
                        </a:cubicBezTo>
                        <a:cubicBezTo>
                          <a:pt x="116977" y="104461"/>
                          <a:pt x="116967" y="102813"/>
                          <a:pt x="117767" y="101727"/>
                        </a:cubicBezTo>
                        <a:cubicBezTo>
                          <a:pt x="118996" y="100032"/>
                          <a:pt x="121330" y="100460"/>
                          <a:pt x="123435" y="99584"/>
                        </a:cubicBezTo>
                        <a:cubicBezTo>
                          <a:pt x="130693" y="99470"/>
                          <a:pt x="129730" y="112252"/>
                          <a:pt x="122282" y="111014"/>
                        </a:cubicBezTo>
                        <a:close/>
                        <a:moveTo>
                          <a:pt x="181366" y="110280"/>
                        </a:moveTo>
                        <a:cubicBezTo>
                          <a:pt x="177708" y="110947"/>
                          <a:pt x="174803" y="107232"/>
                          <a:pt x="175784" y="103794"/>
                        </a:cubicBezTo>
                        <a:cubicBezTo>
                          <a:pt x="176394" y="101622"/>
                          <a:pt x="177984" y="101022"/>
                          <a:pt x="179975" y="100184"/>
                        </a:cubicBezTo>
                        <a:cubicBezTo>
                          <a:pt x="187319" y="99993"/>
                          <a:pt x="187547" y="109166"/>
                          <a:pt x="181366" y="110280"/>
                        </a:cubicBezTo>
                        <a:close/>
                        <a:moveTo>
                          <a:pt x="304552" y="102556"/>
                        </a:moveTo>
                        <a:cubicBezTo>
                          <a:pt x="303895" y="104165"/>
                          <a:pt x="305429" y="106318"/>
                          <a:pt x="307267" y="105928"/>
                        </a:cubicBezTo>
                        <a:cubicBezTo>
                          <a:pt x="310210" y="105299"/>
                          <a:pt x="310144" y="100660"/>
                          <a:pt x="306448" y="100832"/>
                        </a:cubicBezTo>
                        <a:cubicBezTo>
                          <a:pt x="305629" y="101279"/>
                          <a:pt x="304905" y="101670"/>
                          <a:pt x="304552" y="102556"/>
                        </a:cubicBezTo>
                        <a:close/>
                        <a:moveTo>
                          <a:pt x="17098" y="103041"/>
                        </a:moveTo>
                        <a:cubicBezTo>
                          <a:pt x="17078" y="104308"/>
                          <a:pt x="17764" y="104832"/>
                          <a:pt x="18660" y="105185"/>
                        </a:cubicBezTo>
                        <a:cubicBezTo>
                          <a:pt x="19907" y="105137"/>
                          <a:pt x="20593" y="104318"/>
                          <a:pt x="20717" y="103127"/>
                        </a:cubicBezTo>
                        <a:cubicBezTo>
                          <a:pt x="20231" y="102356"/>
                          <a:pt x="19907" y="101594"/>
                          <a:pt x="18660" y="101575"/>
                        </a:cubicBezTo>
                        <a:cubicBezTo>
                          <a:pt x="17945" y="102022"/>
                          <a:pt x="17488" y="102260"/>
                          <a:pt x="17098" y="103041"/>
                        </a:cubicBezTo>
                        <a:close/>
                        <a:moveTo>
                          <a:pt x="50302" y="106747"/>
                        </a:moveTo>
                        <a:cubicBezTo>
                          <a:pt x="49359" y="109890"/>
                          <a:pt x="52397" y="112728"/>
                          <a:pt x="55474" y="111919"/>
                        </a:cubicBezTo>
                        <a:cubicBezTo>
                          <a:pt x="60198" y="110690"/>
                          <a:pt x="59541" y="103451"/>
                          <a:pt x="53750" y="103622"/>
                        </a:cubicBezTo>
                        <a:cubicBezTo>
                          <a:pt x="52073" y="104365"/>
                          <a:pt x="50845" y="104918"/>
                          <a:pt x="50302" y="106747"/>
                        </a:cubicBezTo>
                        <a:close/>
                        <a:moveTo>
                          <a:pt x="280797" y="106823"/>
                        </a:moveTo>
                        <a:cubicBezTo>
                          <a:pt x="279997" y="109585"/>
                          <a:pt x="282588" y="112424"/>
                          <a:pt x="285398" y="111843"/>
                        </a:cubicBezTo>
                        <a:cubicBezTo>
                          <a:pt x="290103" y="110861"/>
                          <a:pt x="289884" y="103594"/>
                          <a:pt x="283998" y="103784"/>
                        </a:cubicBezTo>
                        <a:cubicBezTo>
                          <a:pt x="282531" y="104518"/>
                          <a:pt x="281292" y="105146"/>
                          <a:pt x="280797" y="106823"/>
                        </a:cubicBezTo>
                        <a:close/>
                        <a:moveTo>
                          <a:pt x="215960" y="115453"/>
                        </a:moveTo>
                        <a:cubicBezTo>
                          <a:pt x="212360" y="114881"/>
                          <a:pt x="208931" y="110880"/>
                          <a:pt x="211360" y="106823"/>
                        </a:cubicBezTo>
                        <a:cubicBezTo>
                          <a:pt x="212731" y="104527"/>
                          <a:pt x="214113" y="105070"/>
                          <a:pt x="216618" y="104032"/>
                        </a:cubicBezTo>
                        <a:cubicBezTo>
                          <a:pt x="224314" y="103861"/>
                          <a:pt x="223085" y="116586"/>
                          <a:pt x="215960" y="115453"/>
                        </a:cubicBezTo>
                        <a:close/>
                        <a:moveTo>
                          <a:pt x="158687" y="114471"/>
                        </a:moveTo>
                        <a:cubicBezTo>
                          <a:pt x="155686" y="114919"/>
                          <a:pt x="152829" y="111709"/>
                          <a:pt x="153762" y="108471"/>
                        </a:cubicBezTo>
                        <a:cubicBezTo>
                          <a:pt x="154429" y="106137"/>
                          <a:pt x="155838" y="105727"/>
                          <a:pt x="158039" y="104851"/>
                        </a:cubicBezTo>
                        <a:cubicBezTo>
                          <a:pt x="164554" y="104746"/>
                          <a:pt x="164907" y="113538"/>
                          <a:pt x="158687" y="114471"/>
                        </a:cubicBezTo>
                        <a:close/>
                        <a:moveTo>
                          <a:pt x="257461" y="110690"/>
                        </a:moveTo>
                        <a:cubicBezTo>
                          <a:pt x="256270" y="114119"/>
                          <a:pt x="259566" y="118253"/>
                          <a:pt x="263128" y="117586"/>
                        </a:cubicBezTo>
                        <a:cubicBezTo>
                          <a:pt x="269453" y="116405"/>
                          <a:pt x="269196" y="106880"/>
                          <a:pt x="262223" y="106985"/>
                        </a:cubicBezTo>
                        <a:cubicBezTo>
                          <a:pt x="259890" y="107899"/>
                          <a:pt x="258270" y="108337"/>
                          <a:pt x="257461" y="110690"/>
                        </a:cubicBezTo>
                        <a:close/>
                        <a:moveTo>
                          <a:pt x="29346" y="111185"/>
                        </a:moveTo>
                        <a:cubicBezTo>
                          <a:pt x="28565" y="113233"/>
                          <a:pt x="30461" y="115700"/>
                          <a:pt x="32633" y="115300"/>
                        </a:cubicBezTo>
                        <a:cubicBezTo>
                          <a:pt x="36195" y="114633"/>
                          <a:pt x="35852" y="109509"/>
                          <a:pt x="32137" y="109137"/>
                        </a:cubicBezTo>
                        <a:cubicBezTo>
                          <a:pt x="30880" y="109614"/>
                          <a:pt x="29804" y="109966"/>
                          <a:pt x="29346" y="111185"/>
                        </a:cubicBezTo>
                        <a:close/>
                        <a:moveTo>
                          <a:pt x="137074" y="119072"/>
                        </a:moveTo>
                        <a:cubicBezTo>
                          <a:pt x="133693" y="119805"/>
                          <a:pt x="130178" y="116567"/>
                          <a:pt x="131236" y="112909"/>
                        </a:cubicBezTo>
                        <a:cubicBezTo>
                          <a:pt x="131874" y="110709"/>
                          <a:pt x="133369" y="110033"/>
                          <a:pt x="135350" y="109128"/>
                        </a:cubicBezTo>
                        <a:cubicBezTo>
                          <a:pt x="142447" y="108956"/>
                          <a:pt x="142923" y="117805"/>
                          <a:pt x="137074" y="119072"/>
                        </a:cubicBezTo>
                        <a:close/>
                        <a:moveTo>
                          <a:pt x="195091" y="118901"/>
                        </a:moveTo>
                        <a:cubicBezTo>
                          <a:pt x="191653" y="119739"/>
                          <a:pt x="188366" y="116434"/>
                          <a:pt x="189338" y="112900"/>
                        </a:cubicBezTo>
                        <a:cubicBezTo>
                          <a:pt x="189938" y="110699"/>
                          <a:pt x="191510" y="110128"/>
                          <a:pt x="193529" y="109290"/>
                        </a:cubicBezTo>
                        <a:cubicBezTo>
                          <a:pt x="200158" y="109137"/>
                          <a:pt x="200578" y="117567"/>
                          <a:pt x="195091" y="118901"/>
                        </a:cubicBezTo>
                        <a:close/>
                        <a:moveTo>
                          <a:pt x="318516" y="111919"/>
                        </a:moveTo>
                        <a:cubicBezTo>
                          <a:pt x="318506" y="113090"/>
                          <a:pt x="319126" y="113605"/>
                          <a:pt x="319916" y="113976"/>
                        </a:cubicBezTo>
                        <a:cubicBezTo>
                          <a:pt x="321097" y="114024"/>
                          <a:pt x="322545" y="113024"/>
                          <a:pt x="321964" y="111757"/>
                        </a:cubicBezTo>
                        <a:cubicBezTo>
                          <a:pt x="321707" y="111004"/>
                          <a:pt x="321040" y="110433"/>
                          <a:pt x="319992" y="110442"/>
                        </a:cubicBezTo>
                        <a:cubicBezTo>
                          <a:pt x="319345" y="110890"/>
                          <a:pt x="318878" y="111195"/>
                          <a:pt x="318516" y="111919"/>
                        </a:cubicBezTo>
                        <a:close/>
                        <a:moveTo>
                          <a:pt x="62951" y="114795"/>
                        </a:moveTo>
                        <a:cubicBezTo>
                          <a:pt x="61608" y="118139"/>
                          <a:pt x="64684" y="122425"/>
                          <a:pt x="68123" y="121863"/>
                        </a:cubicBezTo>
                        <a:cubicBezTo>
                          <a:pt x="74476" y="120825"/>
                          <a:pt x="74295" y="111642"/>
                          <a:pt x="67628" y="111509"/>
                        </a:cubicBezTo>
                        <a:cubicBezTo>
                          <a:pt x="65408" y="112395"/>
                          <a:pt x="63827" y="112633"/>
                          <a:pt x="62951" y="114795"/>
                        </a:cubicBezTo>
                        <a:close/>
                        <a:moveTo>
                          <a:pt x="235030" y="118005"/>
                        </a:moveTo>
                        <a:cubicBezTo>
                          <a:pt x="235230" y="118824"/>
                          <a:pt x="235648" y="119901"/>
                          <a:pt x="235363" y="120967"/>
                        </a:cubicBezTo>
                        <a:cubicBezTo>
                          <a:pt x="234810" y="122977"/>
                          <a:pt x="231715" y="125063"/>
                          <a:pt x="228705" y="124501"/>
                        </a:cubicBezTo>
                        <a:cubicBezTo>
                          <a:pt x="224638" y="123739"/>
                          <a:pt x="222095" y="118167"/>
                          <a:pt x="225257" y="114643"/>
                        </a:cubicBezTo>
                        <a:cubicBezTo>
                          <a:pt x="226543" y="113214"/>
                          <a:pt x="228829" y="113595"/>
                          <a:pt x="230762" y="112757"/>
                        </a:cubicBezTo>
                        <a:cubicBezTo>
                          <a:pt x="234544" y="112652"/>
                          <a:pt x="234325" y="115033"/>
                          <a:pt x="235030" y="118005"/>
                        </a:cubicBezTo>
                        <a:close/>
                        <a:moveTo>
                          <a:pt x="114881" y="124168"/>
                        </a:moveTo>
                        <a:cubicBezTo>
                          <a:pt x="110738" y="125111"/>
                          <a:pt x="107061" y="120282"/>
                          <a:pt x="108633" y="116367"/>
                        </a:cubicBezTo>
                        <a:cubicBezTo>
                          <a:pt x="109709" y="113690"/>
                          <a:pt x="111223" y="114138"/>
                          <a:pt x="113814" y="113081"/>
                        </a:cubicBezTo>
                        <a:cubicBezTo>
                          <a:pt x="120968" y="112947"/>
                          <a:pt x="121053" y="122768"/>
                          <a:pt x="114881" y="124168"/>
                        </a:cubicBezTo>
                        <a:close/>
                        <a:moveTo>
                          <a:pt x="294608" y="115948"/>
                        </a:moveTo>
                        <a:cubicBezTo>
                          <a:pt x="294027" y="118300"/>
                          <a:pt x="296361" y="120558"/>
                          <a:pt x="298552" y="120139"/>
                        </a:cubicBezTo>
                        <a:cubicBezTo>
                          <a:pt x="302590" y="119367"/>
                          <a:pt x="302333" y="112995"/>
                          <a:pt x="297561" y="113157"/>
                        </a:cubicBezTo>
                        <a:cubicBezTo>
                          <a:pt x="296218" y="113748"/>
                          <a:pt x="294980" y="114424"/>
                          <a:pt x="294608" y="115948"/>
                        </a:cubicBezTo>
                        <a:close/>
                        <a:moveTo>
                          <a:pt x="172984" y="122682"/>
                        </a:moveTo>
                        <a:cubicBezTo>
                          <a:pt x="169774" y="123615"/>
                          <a:pt x="166678" y="120625"/>
                          <a:pt x="167640" y="117424"/>
                        </a:cubicBezTo>
                        <a:cubicBezTo>
                          <a:pt x="168154" y="115700"/>
                          <a:pt x="169440" y="115014"/>
                          <a:pt x="171012" y="114300"/>
                        </a:cubicBezTo>
                        <a:cubicBezTo>
                          <a:pt x="176936" y="114138"/>
                          <a:pt x="177660" y="121329"/>
                          <a:pt x="172984" y="122682"/>
                        </a:cubicBezTo>
                        <a:close/>
                        <a:moveTo>
                          <a:pt x="8554" y="116443"/>
                        </a:moveTo>
                        <a:cubicBezTo>
                          <a:pt x="8639" y="117386"/>
                          <a:pt x="9230" y="117948"/>
                          <a:pt x="10116" y="118091"/>
                        </a:cubicBezTo>
                        <a:cubicBezTo>
                          <a:pt x="10639" y="117834"/>
                          <a:pt x="11039" y="117586"/>
                          <a:pt x="11268" y="117024"/>
                        </a:cubicBezTo>
                        <a:cubicBezTo>
                          <a:pt x="11297" y="116776"/>
                          <a:pt x="11325" y="116529"/>
                          <a:pt x="11344" y="116281"/>
                        </a:cubicBezTo>
                        <a:cubicBezTo>
                          <a:pt x="10916" y="115767"/>
                          <a:pt x="10697" y="115281"/>
                          <a:pt x="9792" y="115214"/>
                        </a:cubicBezTo>
                        <a:cubicBezTo>
                          <a:pt x="9201" y="115605"/>
                          <a:pt x="8973" y="115900"/>
                          <a:pt x="8554" y="116443"/>
                        </a:cubicBezTo>
                        <a:close/>
                        <a:moveTo>
                          <a:pt x="271101" y="119815"/>
                        </a:moveTo>
                        <a:cubicBezTo>
                          <a:pt x="270110" y="123063"/>
                          <a:pt x="273425" y="126568"/>
                          <a:pt x="276520" y="125968"/>
                        </a:cubicBezTo>
                        <a:cubicBezTo>
                          <a:pt x="282254" y="124882"/>
                          <a:pt x="281959" y="116081"/>
                          <a:pt x="275130" y="116272"/>
                        </a:cubicBezTo>
                        <a:cubicBezTo>
                          <a:pt x="273253" y="117110"/>
                          <a:pt x="271729" y="117777"/>
                          <a:pt x="271101" y="119815"/>
                        </a:cubicBezTo>
                        <a:close/>
                        <a:moveTo>
                          <a:pt x="41662" y="119815"/>
                        </a:moveTo>
                        <a:cubicBezTo>
                          <a:pt x="40767" y="122606"/>
                          <a:pt x="43167" y="125778"/>
                          <a:pt x="46187" y="125158"/>
                        </a:cubicBezTo>
                        <a:cubicBezTo>
                          <a:pt x="50873" y="124177"/>
                          <a:pt x="50559" y="116843"/>
                          <a:pt x="44958" y="117024"/>
                        </a:cubicBezTo>
                        <a:cubicBezTo>
                          <a:pt x="43501" y="117738"/>
                          <a:pt x="42186" y="118186"/>
                          <a:pt x="41662" y="119815"/>
                        </a:cubicBezTo>
                        <a:close/>
                        <a:moveTo>
                          <a:pt x="207826" y="127940"/>
                        </a:moveTo>
                        <a:cubicBezTo>
                          <a:pt x="204778" y="128454"/>
                          <a:pt x="201835" y="124806"/>
                          <a:pt x="202730" y="121777"/>
                        </a:cubicBezTo>
                        <a:cubicBezTo>
                          <a:pt x="203425" y="119415"/>
                          <a:pt x="204854" y="119034"/>
                          <a:pt x="207083" y="118158"/>
                        </a:cubicBezTo>
                        <a:cubicBezTo>
                          <a:pt x="213751" y="118053"/>
                          <a:pt x="213951" y="126911"/>
                          <a:pt x="207826" y="127940"/>
                        </a:cubicBezTo>
                        <a:close/>
                        <a:moveTo>
                          <a:pt x="150143" y="127206"/>
                        </a:moveTo>
                        <a:cubicBezTo>
                          <a:pt x="147009" y="127825"/>
                          <a:pt x="144628" y="124654"/>
                          <a:pt x="145456" y="121787"/>
                        </a:cubicBezTo>
                        <a:cubicBezTo>
                          <a:pt x="145999" y="119910"/>
                          <a:pt x="147523" y="119434"/>
                          <a:pt x="149323" y="118748"/>
                        </a:cubicBezTo>
                        <a:cubicBezTo>
                          <a:pt x="154829" y="119120"/>
                          <a:pt x="155048" y="126235"/>
                          <a:pt x="150143" y="127206"/>
                        </a:cubicBezTo>
                        <a:close/>
                        <a:moveTo>
                          <a:pt x="75943" y="122606"/>
                        </a:moveTo>
                        <a:cubicBezTo>
                          <a:pt x="73962" y="125825"/>
                          <a:pt x="76086" y="130454"/>
                          <a:pt x="78895" y="131235"/>
                        </a:cubicBezTo>
                        <a:cubicBezTo>
                          <a:pt x="80820" y="131769"/>
                          <a:pt x="86668" y="130178"/>
                          <a:pt x="87030" y="129016"/>
                        </a:cubicBezTo>
                        <a:cubicBezTo>
                          <a:pt x="87373" y="127921"/>
                          <a:pt x="86792" y="126568"/>
                          <a:pt x="86620" y="125816"/>
                        </a:cubicBezTo>
                        <a:cubicBezTo>
                          <a:pt x="85820" y="122234"/>
                          <a:pt x="85658" y="119605"/>
                          <a:pt x="81277" y="119653"/>
                        </a:cubicBezTo>
                        <a:cubicBezTo>
                          <a:pt x="78515" y="120710"/>
                          <a:pt x="77476" y="120091"/>
                          <a:pt x="75943" y="122606"/>
                        </a:cubicBezTo>
                        <a:close/>
                        <a:moveTo>
                          <a:pt x="248831" y="121291"/>
                        </a:moveTo>
                        <a:cubicBezTo>
                          <a:pt x="246488" y="123177"/>
                          <a:pt x="249060" y="129330"/>
                          <a:pt x="249822" y="131312"/>
                        </a:cubicBezTo>
                        <a:cubicBezTo>
                          <a:pt x="250841" y="131921"/>
                          <a:pt x="252394" y="131502"/>
                          <a:pt x="253603" y="131235"/>
                        </a:cubicBezTo>
                        <a:cubicBezTo>
                          <a:pt x="256384" y="130607"/>
                          <a:pt x="258175" y="130369"/>
                          <a:pt x="259194" y="128025"/>
                        </a:cubicBezTo>
                        <a:cubicBezTo>
                          <a:pt x="261014" y="123806"/>
                          <a:pt x="257756" y="119634"/>
                          <a:pt x="253689" y="119729"/>
                        </a:cubicBezTo>
                        <a:cubicBezTo>
                          <a:pt x="251955" y="120482"/>
                          <a:pt x="250136" y="120244"/>
                          <a:pt x="248831" y="121291"/>
                        </a:cubicBezTo>
                        <a:close/>
                        <a:moveTo>
                          <a:pt x="308905" y="124168"/>
                        </a:moveTo>
                        <a:cubicBezTo>
                          <a:pt x="307648" y="126149"/>
                          <a:pt x="309667" y="128883"/>
                          <a:pt x="312106" y="128273"/>
                        </a:cubicBezTo>
                        <a:cubicBezTo>
                          <a:pt x="315192" y="127511"/>
                          <a:pt x="314668" y="122701"/>
                          <a:pt x="310953" y="122682"/>
                        </a:cubicBezTo>
                        <a:cubicBezTo>
                          <a:pt x="310106" y="123092"/>
                          <a:pt x="309382" y="123406"/>
                          <a:pt x="308905" y="124168"/>
                        </a:cubicBezTo>
                        <a:close/>
                        <a:moveTo>
                          <a:pt x="20717" y="124577"/>
                        </a:moveTo>
                        <a:cubicBezTo>
                          <a:pt x="19945" y="126501"/>
                          <a:pt x="21898" y="128664"/>
                          <a:pt x="23756" y="128273"/>
                        </a:cubicBezTo>
                        <a:cubicBezTo>
                          <a:pt x="26946" y="127606"/>
                          <a:pt x="26661" y="122606"/>
                          <a:pt x="22765" y="122768"/>
                        </a:cubicBezTo>
                        <a:cubicBezTo>
                          <a:pt x="21927" y="123196"/>
                          <a:pt x="21069" y="123692"/>
                          <a:pt x="20717" y="124577"/>
                        </a:cubicBezTo>
                        <a:close/>
                        <a:moveTo>
                          <a:pt x="128607" y="132055"/>
                        </a:moveTo>
                        <a:cubicBezTo>
                          <a:pt x="125301" y="133026"/>
                          <a:pt x="121729" y="130245"/>
                          <a:pt x="122520" y="126625"/>
                        </a:cubicBezTo>
                        <a:cubicBezTo>
                          <a:pt x="123015" y="124358"/>
                          <a:pt x="124520" y="123758"/>
                          <a:pt x="126302" y="122758"/>
                        </a:cubicBezTo>
                        <a:cubicBezTo>
                          <a:pt x="132902" y="122596"/>
                          <a:pt x="133693" y="130550"/>
                          <a:pt x="128607" y="132055"/>
                        </a:cubicBezTo>
                        <a:close/>
                        <a:moveTo>
                          <a:pt x="185395" y="131397"/>
                        </a:moveTo>
                        <a:cubicBezTo>
                          <a:pt x="182861" y="131778"/>
                          <a:pt x="180547" y="128816"/>
                          <a:pt x="181451" y="126225"/>
                        </a:cubicBezTo>
                        <a:cubicBezTo>
                          <a:pt x="182013" y="124616"/>
                          <a:pt x="183223" y="124139"/>
                          <a:pt x="184823" y="123511"/>
                        </a:cubicBezTo>
                        <a:cubicBezTo>
                          <a:pt x="190262" y="123530"/>
                          <a:pt x="190481" y="130635"/>
                          <a:pt x="185395" y="131397"/>
                        </a:cubicBezTo>
                        <a:close/>
                        <a:moveTo>
                          <a:pt x="53997" y="128930"/>
                        </a:moveTo>
                        <a:cubicBezTo>
                          <a:pt x="53045" y="132636"/>
                          <a:pt x="56702" y="135674"/>
                          <a:pt x="60246" y="134760"/>
                        </a:cubicBezTo>
                        <a:cubicBezTo>
                          <a:pt x="65665" y="133359"/>
                          <a:pt x="64941" y="124873"/>
                          <a:pt x="58026" y="125063"/>
                        </a:cubicBezTo>
                        <a:cubicBezTo>
                          <a:pt x="56074" y="126035"/>
                          <a:pt x="54588" y="126644"/>
                          <a:pt x="53997" y="128930"/>
                        </a:cubicBezTo>
                        <a:close/>
                        <a:moveTo>
                          <a:pt x="284988" y="128845"/>
                        </a:moveTo>
                        <a:cubicBezTo>
                          <a:pt x="284045" y="131921"/>
                          <a:pt x="286969" y="135093"/>
                          <a:pt x="290246" y="134188"/>
                        </a:cubicBezTo>
                        <a:cubicBezTo>
                          <a:pt x="294942" y="132902"/>
                          <a:pt x="294294" y="125473"/>
                          <a:pt x="288436" y="125644"/>
                        </a:cubicBezTo>
                        <a:cubicBezTo>
                          <a:pt x="286845" y="126435"/>
                          <a:pt x="285540" y="127035"/>
                          <a:pt x="284988" y="128845"/>
                        </a:cubicBezTo>
                        <a:close/>
                        <a:moveTo>
                          <a:pt x="105680" y="137560"/>
                        </a:moveTo>
                        <a:cubicBezTo>
                          <a:pt x="101956" y="138284"/>
                          <a:pt x="98517" y="134026"/>
                          <a:pt x="99603" y="130169"/>
                        </a:cubicBezTo>
                        <a:cubicBezTo>
                          <a:pt x="100308" y="127635"/>
                          <a:pt x="102118" y="127435"/>
                          <a:pt x="104451" y="126463"/>
                        </a:cubicBezTo>
                        <a:cubicBezTo>
                          <a:pt x="112195" y="126292"/>
                          <a:pt x="112233" y="136293"/>
                          <a:pt x="105680" y="137560"/>
                        </a:cubicBezTo>
                        <a:close/>
                        <a:moveTo>
                          <a:pt x="221552" y="137065"/>
                        </a:moveTo>
                        <a:cubicBezTo>
                          <a:pt x="218199" y="137722"/>
                          <a:pt x="214894" y="134121"/>
                          <a:pt x="215884" y="130654"/>
                        </a:cubicBezTo>
                        <a:cubicBezTo>
                          <a:pt x="216541" y="128359"/>
                          <a:pt x="217980" y="127768"/>
                          <a:pt x="220075" y="126873"/>
                        </a:cubicBezTo>
                        <a:cubicBezTo>
                          <a:pt x="227419" y="126702"/>
                          <a:pt x="227647" y="135884"/>
                          <a:pt x="221552" y="137065"/>
                        </a:cubicBezTo>
                        <a:close/>
                        <a:moveTo>
                          <a:pt x="163201" y="135341"/>
                        </a:moveTo>
                        <a:cubicBezTo>
                          <a:pt x="160954" y="135741"/>
                          <a:pt x="158915" y="133226"/>
                          <a:pt x="159506" y="130988"/>
                        </a:cubicBezTo>
                        <a:cubicBezTo>
                          <a:pt x="159887" y="129569"/>
                          <a:pt x="161144" y="129035"/>
                          <a:pt x="162382" y="128435"/>
                        </a:cubicBezTo>
                        <a:cubicBezTo>
                          <a:pt x="167278" y="128283"/>
                          <a:pt x="167345" y="134607"/>
                          <a:pt x="163201" y="135341"/>
                        </a:cubicBezTo>
                        <a:close/>
                        <a:moveTo>
                          <a:pt x="261652" y="132636"/>
                        </a:moveTo>
                        <a:cubicBezTo>
                          <a:pt x="260366" y="136350"/>
                          <a:pt x="263795" y="140580"/>
                          <a:pt x="267491" y="139941"/>
                        </a:cubicBezTo>
                        <a:cubicBezTo>
                          <a:pt x="274453" y="138741"/>
                          <a:pt x="273920" y="128664"/>
                          <a:pt x="266338" y="128845"/>
                        </a:cubicBezTo>
                        <a:cubicBezTo>
                          <a:pt x="264157" y="129759"/>
                          <a:pt x="262423" y="130388"/>
                          <a:pt x="261652" y="132636"/>
                        </a:cubicBezTo>
                        <a:close/>
                        <a:moveTo>
                          <a:pt x="32956" y="133617"/>
                        </a:moveTo>
                        <a:cubicBezTo>
                          <a:pt x="32328" y="136026"/>
                          <a:pt x="34642" y="138608"/>
                          <a:pt x="37147" y="138141"/>
                        </a:cubicBezTo>
                        <a:cubicBezTo>
                          <a:pt x="41729" y="137274"/>
                          <a:pt x="41329" y="130483"/>
                          <a:pt x="36328" y="130578"/>
                        </a:cubicBezTo>
                        <a:cubicBezTo>
                          <a:pt x="34709" y="131245"/>
                          <a:pt x="33423" y="131836"/>
                          <a:pt x="32956" y="133617"/>
                        </a:cubicBezTo>
                        <a:close/>
                        <a:moveTo>
                          <a:pt x="199368" y="140275"/>
                        </a:moveTo>
                        <a:cubicBezTo>
                          <a:pt x="196453" y="140970"/>
                          <a:pt x="193986" y="138113"/>
                          <a:pt x="194767" y="135341"/>
                        </a:cubicBezTo>
                        <a:cubicBezTo>
                          <a:pt x="195244" y="133645"/>
                          <a:pt x="196425" y="133140"/>
                          <a:pt x="197968" y="132464"/>
                        </a:cubicBezTo>
                        <a:cubicBezTo>
                          <a:pt x="203578" y="132340"/>
                          <a:pt x="203816" y="139208"/>
                          <a:pt x="199368" y="140275"/>
                        </a:cubicBezTo>
                        <a:close/>
                        <a:moveTo>
                          <a:pt x="324517" y="136331"/>
                        </a:moveTo>
                        <a:cubicBezTo>
                          <a:pt x="327250" y="136246"/>
                          <a:pt x="327260" y="132312"/>
                          <a:pt x="324193" y="132474"/>
                        </a:cubicBezTo>
                        <a:cubicBezTo>
                          <a:pt x="322269" y="133912"/>
                          <a:pt x="322355" y="135198"/>
                          <a:pt x="324517" y="136331"/>
                        </a:cubicBezTo>
                        <a:close/>
                        <a:moveTo>
                          <a:pt x="141351" y="140113"/>
                        </a:moveTo>
                        <a:cubicBezTo>
                          <a:pt x="138560" y="140722"/>
                          <a:pt x="136160" y="138074"/>
                          <a:pt x="136827" y="135512"/>
                        </a:cubicBezTo>
                        <a:cubicBezTo>
                          <a:pt x="137284" y="133750"/>
                          <a:pt x="138570" y="133198"/>
                          <a:pt x="140198" y="132550"/>
                        </a:cubicBezTo>
                        <a:cubicBezTo>
                          <a:pt x="145256" y="132559"/>
                          <a:pt x="145666" y="139170"/>
                          <a:pt x="141351" y="140113"/>
                        </a:cubicBezTo>
                        <a:close/>
                        <a:moveTo>
                          <a:pt x="66732" y="136903"/>
                        </a:moveTo>
                        <a:cubicBezTo>
                          <a:pt x="65322" y="140446"/>
                          <a:pt x="68142" y="143894"/>
                          <a:pt x="70838" y="144456"/>
                        </a:cubicBezTo>
                        <a:cubicBezTo>
                          <a:pt x="71895" y="144675"/>
                          <a:pt x="73047" y="144313"/>
                          <a:pt x="73790" y="144132"/>
                        </a:cubicBezTo>
                        <a:cubicBezTo>
                          <a:pt x="76876" y="143370"/>
                          <a:pt x="78391" y="141894"/>
                          <a:pt x="77572" y="138217"/>
                        </a:cubicBezTo>
                        <a:cubicBezTo>
                          <a:pt x="76838" y="134931"/>
                          <a:pt x="75743" y="132959"/>
                          <a:pt x="71733" y="133036"/>
                        </a:cubicBezTo>
                        <a:cubicBezTo>
                          <a:pt x="69361" y="134036"/>
                          <a:pt x="67675" y="134541"/>
                          <a:pt x="66732" y="136903"/>
                        </a:cubicBezTo>
                        <a:close/>
                        <a:moveTo>
                          <a:pt x="298961" y="137808"/>
                        </a:moveTo>
                        <a:cubicBezTo>
                          <a:pt x="298209" y="140351"/>
                          <a:pt x="300542" y="143046"/>
                          <a:pt x="303238" y="142408"/>
                        </a:cubicBezTo>
                        <a:cubicBezTo>
                          <a:pt x="307115" y="141484"/>
                          <a:pt x="306877" y="135245"/>
                          <a:pt x="302333" y="135179"/>
                        </a:cubicBezTo>
                        <a:cubicBezTo>
                          <a:pt x="300695" y="135807"/>
                          <a:pt x="299466" y="136103"/>
                          <a:pt x="298961" y="137808"/>
                        </a:cubicBezTo>
                        <a:close/>
                        <a:moveTo>
                          <a:pt x="234858" y="146437"/>
                        </a:moveTo>
                        <a:cubicBezTo>
                          <a:pt x="231362" y="147104"/>
                          <a:pt x="227724" y="143075"/>
                          <a:pt x="228781" y="139455"/>
                        </a:cubicBezTo>
                        <a:cubicBezTo>
                          <a:pt x="229533" y="136865"/>
                          <a:pt x="231219" y="136360"/>
                          <a:pt x="233629" y="135350"/>
                        </a:cubicBezTo>
                        <a:cubicBezTo>
                          <a:pt x="241202" y="135198"/>
                          <a:pt x="241487" y="145171"/>
                          <a:pt x="234858" y="146437"/>
                        </a:cubicBezTo>
                        <a:close/>
                        <a:moveTo>
                          <a:pt x="118748" y="145532"/>
                        </a:moveTo>
                        <a:cubicBezTo>
                          <a:pt x="115786" y="146028"/>
                          <a:pt x="112938" y="143123"/>
                          <a:pt x="113652" y="139941"/>
                        </a:cubicBezTo>
                        <a:cubicBezTo>
                          <a:pt x="114176" y="137627"/>
                          <a:pt x="115786" y="137017"/>
                          <a:pt x="117843" y="136160"/>
                        </a:cubicBezTo>
                        <a:cubicBezTo>
                          <a:pt x="124311" y="136046"/>
                          <a:pt x="124616" y="144542"/>
                          <a:pt x="118748" y="145532"/>
                        </a:cubicBezTo>
                        <a:close/>
                        <a:moveTo>
                          <a:pt x="14964" y="141094"/>
                        </a:moveTo>
                        <a:cubicBezTo>
                          <a:pt x="17516" y="140418"/>
                          <a:pt x="17098" y="136779"/>
                          <a:pt x="14392" y="136493"/>
                        </a:cubicBezTo>
                        <a:cubicBezTo>
                          <a:pt x="10859" y="137913"/>
                          <a:pt x="12316" y="141799"/>
                          <a:pt x="14964" y="141094"/>
                        </a:cubicBezTo>
                        <a:close/>
                        <a:moveTo>
                          <a:pt x="176927" y="143637"/>
                        </a:moveTo>
                        <a:cubicBezTo>
                          <a:pt x="174612" y="144170"/>
                          <a:pt x="172679" y="141570"/>
                          <a:pt x="173641" y="139608"/>
                        </a:cubicBezTo>
                        <a:cubicBezTo>
                          <a:pt x="174079" y="138722"/>
                          <a:pt x="174955" y="138322"/>
                          <a:pt x="175860" y="137884"/>
                        </a:cubicBezTo>
                        <a:cubicBezTo>
                          <a:pt x="179680" y="137770"/>
                          <a:pt x="180184" y="142894"/>
                          <a:pt x="176927" y="143637"/>
                        </a:cubicBezTo>
                        <a:close/>
                        <a:moveTo>
                          <a:pt x="275454" y="141751"/>
                        </a:moveTo>
                        <a:cubicBezTo>
                          <a:pt x="274225" y="145294"/>
                          <a:pt x="277492" y="148885"/>
                          <a:pt x="281121" y="148161"/>
                        </a:cubicBezTo>
                        <a:cubicBezTo>
                          <a:pt x="286979" y="146980"/>
                          <a:pt x="286483" y="138103"/>
                          <a:pt x="279397" y="138303"/>
                        </a:cubicBezTo>
                        <a:cubicBezTo>
                          <a:pt x="277616" y="139189"/>
                          <a:pt x="276130" y="139798"/>
                          <a:pt x="275454" y="141751"/>
                        </a:cubicBezTo>
                        <a:close/>
                        <a:moveTo>
                          <a:pt x="45453" y="142084"/>
                        </a:moveTo>
                        <a:cubicBezTo>
                          <a:pt x="44558" y="145123"/>
                          <a:pt x="47692" y="148485"/>
                          <a:pt x="50711" y="147914"/>
                        </a:cubicBezTo>
                        <a:cubicBezTo>
                          <a:pt x="56321" y="146866"/>
                          <a:pt x="55988" y="138446"/>
                          <a:pt x="49321" y="138627"/>
                        </a:cubicBezTo>
                        <a:cubicBezTo>
                          <a:pt x="47501" y="139389"/>
                          <a:pt x="46025" y="140132"/>
                          <a:pt x="45453" y="142084"/>
                        </a:cubicBezTo>
                        <a:close/>
                        <a:moveTo>
                          <a:pt x="96641" y="151124"/>
                        </a:moveTo>
                        <a:cubicBezTo>
                          <a:pt x="92964" y="151790"/>
                          <a:pt x="91440" y="148876"/>
                          <a:pt x="90811" y="146190"/>
                        </a:cubicBezTo>
                        <a:cubicBezTo>
                          <a:pt x="90602" y="145304"/>
                          <a:pt x="90183" y="144104"/>
                          <a:pt x="90564" y="143066"/>
                        </a:cubicBezTo>
                        <a:cubicBezTo>
                          <a:pt x="91516" y="140475"/>
                          <a:pt x="93516" y="140741"/>
                          <a:pt x="96069" y="139694"/>
                        </a:cubicBezTo>
                        <a:cubicBezTo>
                          <a:pt x="103527" y="139618"/>
                          <a:pt x="103404" y="149895"/>
                          <a:pt x="96641" y="151124"/>
                        </a:cubicBezTo>
                        <a:close/>
                        <a:moveTo>
                          <a:pt x="212512" y="149638"/>
                        </a:moveTo>
                        <a:cubicBezTo>
                          <a:pt x="209360" y="150247"/>
                          <a:pt x="206969" y="146923"/>
                          <a:pt x="207826" y="143970"/>
                        </a:cubicBezTo>
                        <a:cubicBezTo>
                          <a:pt x="208312" y="142275"/>
                          <a:pt x="209731" y="141713"/>
                          <a:pt x="211274" y="141008"/>
                        </a:cubicBezTo>
                        <a:cubicBezTo>
                          <a:pt x="217532" y="140837"/>
                          <a:pt x="217675" y="148628"/>
                          <a:pt x="212512" y="149638"/>
                        </a:cubicBezTo>
                        <a:close/>
                        <a:moveTo>
                          <a:pt x="154496" y="147999"/>
                        </a:moveTo>
                        <a:cubicBezTo>
                          <a:pt x="152448" y="148514"/>
                          <a:pt x="150571" y="146371"/>
                          <a:pt x="151295" y="144389"/>
                        </a:cubicBezTo>
                        <a:cubicBezTo>
                          <a:pt x="151619" y="143485"/>
                          <a:pt x="152600" y="142932"/>
                          <a:pt x="153429" y="142494"/>
                        </a:cubicBezTo>
                        <a:cubicBezTo>
                          <a:pt x="157239" y="142342"/>
                          <a:pt x="157582" y="147228"/>
                          <a:pt x="154496" y="147999"/>
                        </a:cubicBezTo>
                        <a:close/>
                        <a:moveTo>
                          <a:pt x="250965" y="143808"/>
                        </a:moveTo>
                        <a:cubicBezTo>
                          <a:pt x="252403" y="144637"/>
                          <a:pt x="253470" y="151000"/>
                          <a:pt x="253346" y="153343"/>
                        </a:cubicBezTo>
                        <a:cubicBezTo>
                          <a:pt x="252165" y="154619"/>
                          <a:pt x="251155" y="154734"/>
                          <a:pt x="249069" y="155238"/>
                        </a:cubicBezTo>
                        <a:cubicBezTo>
                          <a:pt x="245126" y="156201"/>
                          <a:pt x="242802" y="154800"/>
                          <a:pt x="241840" y="151371"/>
                        </a:cubicBezTo>
                        <a:cubicBezTo>
                          <a:pt x="241649" y="150666"/>
                          <a:pt x="241325" y="149609"/>
                          <a:pt x="241516" y="148580"/>
                        </a:cubicBezTo>
                        <a:cubicBezTo>
                          <a:pt x="242383" y="143866"/>
                          <a:pt x="245631" y="145199"/>
                          <a:pt x="249403" y="143646"/>
                        </a:cubicBezTo>
                        <a:cubicBezTo>
                          <a:pt x="249927" y="143694"/>
                          <a:pt x="250450" y="143751"/>
                          <a:pt x="250965" y="143808"/>
                        </a:cubicBezTo>
                        <a:close/>
                        <a:moveTo>
                          <a:pt x="24498" y="146933"/>
                        </a:moveTo>
                        <a:cubicBezTo>
                          <a:pt x="23908" y="149333"/>
                          <a:pt x="26108" y="151609"/>
                          <a:pt x="28527" y="151038"/>
                        </a:cubicBezTo>
                        <a:cubicBezTo>
                          <a:pt x="32290" y="150152"/>
                          <a:pt x="31928" y="144351"/>
                          <a:pt x="27461" y="144304"/>
                        </a:cubicBezTo>
                        <a:cubicBezTo>
                          <a:pt x="26060" y="144904"/>
                          <a:pt x="24879" y="145361"/>
                          <a:pt x="24498" y="146933"/>
                        </a:cubicBezTo>
                        <a:close/>
                        <a:moveTo>
                          <a:pt x="313258" y="146437"/>
                        </a:moveTo>
                        <a:cubicBezTo>
                          <a:pt x="312125" y="148428"/>
                          <a:pt x="314144" y="150952"/>
                          <a:pt x="316382" y="150466"/>
                        </a:cubicBezTo>
                        <a:cubicBezTo>
                          <a:pt x="319621" y="149762"/>
                          <a:pt x="319221" y="144770"/>
                          <a:pt x="315392" y="144875"/>
                        </a:cubicBezTo>
                        <a:cubicBezTo>
                          <a:pt x="314487" y="145313"/>
                          <a:pt x="313744" y="145590"/>
                          <a:pt x="313258" y="146437"/>
                        </a:cubicBezTo>
                        <a:close/>
                        <a:moveTo>
                          <a:pt x="132312" y="153505"/>
                        </a:moveTo>
                        <a:cubicBezTo>
                          <a:pt x="129664" y="154038"/>
                          <a:pt x="127311" y="151419"/>
                          <a:pt x="127949" y="148904"/>
                        </a:cubicBezTo>
                        <a:cubicBezTo>
                          <a:pt x="128407" y="147133"/>
                          <a:pt x="129759" y="146666"/>
                          <a:pt x="131398" y="146028"/>
                        </a:cubicBezTo>
                        <a:cubicBezTo>
                          <a:pt x="136284" y="145990"/>
                          <a:pt x="136398" y="152667"/>
                          <a:pt x="132312" y="153505"/>
                        </a:cubicBezTo>
                        <a:close/>
                        <a:moveTo>
                          <a:pt x="58026" y="150704"/>
                        </a:moveTo>
                        <a:cubicBezTo>
                          <a:pt x="56864" y="154496"/>
                          <a:pt x="60531" y="158305"/>
                          <a:pt x="64275" y="157524"/>
                        </a:cubicBezTo>
                        <a:cubicBezTo>
                          <a:pt x="70799" y="156172"/>
                          <a:pt x="70237" y="146485"/>
                          <a:pt x="62379" y="146676"/>
                        </a:cubicBezTo>
                        <a:cubicBezTo>
                          <a:pt x="60312" y="147714"/>
                          <a:pt x="58741" y="148361"/>
                          <a:pt x="58026" y="150704"/>
                        </a:cubicBezTo>
                        <a:close/>
                        <a:moveTo>
                          <a:pt x="190329" y="152600"/>
                        </a:moveTo>
                        <a:cubicBezTo>
                          <a:pt x="188033" y="153162"/>
                          <a:pt x="186109" y="150714"/>
                          <a:pt x="186957" y="148657"/>
                        </a:cubicBezTo>
                        <a:cubicBezTo>
                          <a:pt x="187347" y="147704"/>
                          <a:pt x="188214" y="147333"/>
                          <a:pt x="189090" y="146847"/>
                        </a:cubicBezTo>
                        <a:cubicBezTo>
                          <a:pt x="193195" y="146676"/>
                          <a:pt x="193605" y="151790"/>
                          <a:pt x="190329" y="152600"/>
                        </a:cubicBezTo>
                        <a:close/>
                        <a:moveTo>
                          <a:pt x="289341" y="151124"/>
                        </a:moveTo>
                        <a:cubicBezTo>
                          <a:pt x="288569" y="154067"/>
                          <a:pt x="291246" y="156953"/>
                          <a:pt x="294275" y="156381"/>
                        </a:cubicBezTo>
                        <a:cubicBezTo>
                          <a:pt x="299342" y="155419"/>
                          <a:pt x="298990" y="147647"/>
                          <a:pt x="292875" y="147837"/>
                        </a:cubicBezTo>
                        <a:cubicBezTo>
                          <a:pt x="291236" y="148571"/>
                          <a:pt x="289836" y="149266"/>
                          <a:pt x="289341" y="151124"/>
                        </a:cubicBezTo>
                        <a:close/>
                        <a:moveTo>
                          <a:pt x="110280" y="159096"/>
                        </a:moveTo>
                        <a:cubicBezTo>
                          <a:pt x="106489" y="159839"/>
                          <a:pt x="103461" y="156143"/>
                          <a:pt x="104689" y="152686"/>
                        </a:cubicBezTo>
                        <a:cubicBezTo>
                          <a:pt x="105404" y="150695"/>
                          <a:pt x="106832" y="150171"/>
                          <a:pt x="108718" y="149314"/>
                        </a:cubicBezTo>
                        <a:cubicBezTo>
                          <a:pt x="115500" y="149152"/>
                          <a:pt x="116062" y="157953"/>
                          <a:pt x="110280" y="159096"/>
                        </a:cubicBezTo>
                        <a:close/>
                        <a:moveTo>
                          <a:pt x="226724" y="158925"/>
                        </a:moveTo>
                        <a:cubicBezTo>
                          <a:pt x="223152" y="159963"/>
                          <a:pt x="219608" y="156810"/>
                          <a:pt x="220561" y="153086"/>
                        </a:cubicBezTo>
                        <a:cubicBezTo>
                          <a:pt x="221113" y="150933"/>
                          <a:pt x="222618" y="150247"/>
                          <a:pt x="224504" y="149390"/>
                        </a:cubicBezTo>
                        <a:cubicBezTo>
                          <a:pt x="231105" y="149228"/>
                          <a:pt x="231972" y="157401"/>
                          <a:pt x="226724" y="158925"/>
                        </a:cubicBezTo>
                        <a:close/>
                        <a:moveTo>
                          <a:pt x="3867" y="151857"/>
                        </a:moveTo>
                        <a:cubicBezTo>
                          <a:pt x="3877" y="152962"/>
                          <a:pt x="4505" y="153400"/>
                          <a:pt x="5258" y="153753"/>
                        </a:cubicBezTo>
                        <a:cubicBezTo>
                          <a:pt x="6448" y="153753"/>
                          <a:pt x="6868" y="153086"/>
                          <a:pt x="7230" y="152276"/>
                        </a:cubicBezTo>
                        <a:cubicBezTo>
                          <a:pt x="7201" y="151181"/>
                          <a:pt x="6382" y="150381"/>
                          <a:pt x="5258" y="150381"/>
                        </a:cubicBezTo>
                        <a:cubicBezTo>
                          <a:pt x="4601" y="150809"/>
                          <a:pt x="4201" y="151086"/>
                          <a:pt x="3867" y="151857"/>
                        </a:cubicBezTo>
                        <a:close/>
                        <a:moveTo>
                          <a:pt x="266167" y="154238"/>
                        </a:moveTo>
                        <a:cubicBezTo>
                          <a:pt x="264528" y="157953"/>
                          <a:pt x="267976" y="162744"/>
                          <a:pt x="272006" y="162049"/>
                        </a:cubicBezTo>
                        <a:cubicBezTo>
                          <a:pt x="278787" y="160868"/>
                          <a:pt x="278311" y="150876"/>
                          <a:pt x="271015" y="150952"/>
                        </a:cubicBezTo>
                        <a:cubicBezTo>
                          <a:pt x="268824" y="151829"/>
                          <a:pt x="267091" y="152162"/>
                          <a:pt x="266167" y="154238"/>
                        </a:cubicBezTo>
                        <a:close/>
                        <a:moveTo>
                          <a:pt x="36986" y="155391"/>
                        </a:moveTo>
                        <a:cubicBezTo>
                          <a:pt x="36128" y="158305"/>
                          <a:pt x="38729" y="161296"/>
                          <a:pt x="41510" y="160820"/>
                        </a:cubicBezTo>
                        <a:cubicBezTo>
                          <a:pt x="46920" y="159896"/>
                          <a:pt x="46587" y="152086"/>
                          <a:pt x="40443" y="152276"/>
                        </a:cubicBezTo>
                        <a:cubicBezTo>
                          <a:pt x="38891" y="153038"/>
                          <a:pt x="37500" y="153638"/>
                          <a:pt x="36986" y="155391"/>
                        </a:cubicBezTo>
                        <a:close/>
                        <a:moveTo>
                          <a:pt x="169040" y="154000"/>
                        </a:moveTo>
                        <a:cubicBezTo>
                          <a:pt x="168973" y="154867"/>
                          <a:pt x="168402" y="155467"/>
                          <a:pt x="167726" y="155724"/>
                        </a:cubicBezTo>
                        <a:cubicBezTo>
                          <a:pt x="167450" y="155753"/>
                          <a:pt x="167173" y="155781"/>
                          <a:pt x="166907" y="155810"/>
                        </a:cubicBezTo>
                        <a:cubicBezTo>
                          <a:pt x="166411" y="155381"/>
                          <a:pt x="165992" y="155115"/>
                          <a:pt x="165668" y="154496"/>
                        </a:cubicBezTo>
                        <a:cubicBezTo>
                          <a:pt x="165659" y="153191"/>
                          <a:pt x="166326" y="152895"/>
                          <a:pt x="167154" y="152448"/>
                        </a:cubicBezTo>
                        <a:cubicBezTo>
                          <a:pt x="168221" y="152495"/>
                          <a:pt x="168726" y="153171"/>
                          <a:pt x="169040" y="154000"/>
                        </a:cubicBezTo>
                        <a:close/>
                        <a:moveTo>
                          <a:pt x="89906" y="164021"/>
                        </a:moveTo>
                        <a:cubicBezTo>
                          <a:pt x="87268" y="165078"/>
                          <a:pt x="83487" y="165135"/>
                          <a:pt x="82506" y="162696"/>
                        </a:cubicBezTo>
                        <a:cubicBezTo>
                          <a:pt x="82315" y="161630"/>
                          <a:pt x="82125" y="160563"/>
                          <a:pt x="81934" y="159496"/>
                        </a:cubicBezTo>
                        <a:cubicBezTo>
                          <a:pt x="81572" y="157972"/>
                          <a:pt x="80896" y="156096"/>
                          <a:pt x="81029" y="154476"/>
                        </a:cubicBezTo>
                        <a:cubicBezTo>
                          <a:pt x="83030" y="153524"/>
                          <a:pt x="85792" y="153753"/>
                          <a:pt x="87935" y="152838"/>
                        </a:cubicBezTo>
                        <a:cubicBezTo>
                          <a:pt x="94097" y="152733"/>
                          <a:pt x="94574" y="162144"/>
                          <a:pt x="89906" y="164021"/>
                        </a:cubicBezTo>
                        <a:close/>
                        <a:moveTo>
                          <a:pt x="327308" y="156381"/>
                        </a:moveTo>
                        <a:cubicBezTo>
                          <a:pt x="327384" y="159210"/>
                          <a:pt x="331623" y="158477"/>
                          <a:pt x="330918" y="156134"/>
                        </a:cubicBezTo>
                        <a:cubicBezTo>
                          <a:pt x="330622" y="155362"/>
                          <a:pt x="330003" y="154753"/>
                          <a:pt x="329022" y="154657"/>
                        </a:cubicBezTo>
                        <a:cubicBezTo>
                          <a:pt x="328165" y="155134"/>
                          <a:pt x="327698" y="155410"/>
                          <a:pt x="327308" y="156381"/>
                        </a:cubicBezTo>
                        <a:close/>
                        <a:moveTo>
                          <a:pt x="203797" y="162135"/>
                        </a:moveTo>
                        <a:cubicBezTo>
                          <a:pt x="201330" y="162735"/>
                          <a:pt x="199063" y="160411"/>
                          <a:pt x="199606" y="158029"/>
                        </a:cubicBezTo>
                        <a:cubicBezTo>
                          <a:pt x="199968" y="156439"/>
                          <a:pt x="201139" y="155924"/>
                          <a:pt x="202397" y="155229"/>
                        </a:cubicBezTo>
                        <a:cubicBezTo>
                          <a:pt x="207531" y="155057"/>
                          <a:pt x="207731" y="161172"/>
                          <a:pt x="203797" y="162135"/>
                        </a:cubicBezTo>
                        <a:close/>
                        <a:moveTo>
                          <a:pt x="145294" y="161392"/>
                        </a:moveTo>
                        <a:cubicBezTo>
                          <a:pt x="143580" y="161734"/>
                          <a:pt x="141827" y="159677"/>
                          <a:pt x="142418" y="157934"/>
                        </a:cubicBezTo>
                        <a:cubicBezTo>
                          <a:pt x="142780" y="156886"/>
                          <a:pt x="143723" y="156420"/>
                          <a:pt x="144723" y="155962"/>
                        </a:cubicBezTo>
                        <a:cubicBezTo>
                          <a:pt x="148304" y="156019"/>
                          <a:pt x="148380" y="160782"/>
                          <a:pt x="145294" y="161392"/>
                        </a:cubicBezTo>
                        <a:close/>
                        <a:moveTo>
                          <a:pt x="303476" y="159991"/>
                        </a:moveTo>
                        <a:cubicBezTo>
                          <a:pt x="302714" y="162420"/>
                          <a:pt x="305067" y="165011"/>
                          <a:pt x="307581" y="164430"/>
                        </a:cubicBezTo>
                        <a:cubicBezTo>
                          <a:pt x="311620" y="163497"/>
                          <a:pt x="311125" y="157286"/>
                          <a:pt x="306267" y="157448"/>
                        </a:cubicBezTo>
                        <a:cubicBezTo>
                          <a:pt x="305038" y="158058"/>
                          <a:pt x="303914" y="158610"/>
                          <a:pt x="303476" y="159991"/>
                        </a:cubicBezTo>
                        <a:close/>
                        <a:moveTo>
                          <a:pt x="239058" y="168707"/>
                        </a:moveTo>
                        <a:cubicBezTo>
                          <a:pt x="235382" y="169288"/>
                          <a:pt x="232029" y="164830"/>
                          <a:pt x="233467" y="161230"/>
                        </a:cubicBezTo>
                        <a:cubicBezTo>
                          <a:pt x="234420" y="158839"/>
                          <a:pt x="235915" y="158544"/>
                          <a:pt x="238401" y="157610"/>
                        </a:cubicBezTo>
                        <a:cubicBezTo>
                          <a:pt x="245554" y="157629"/>
                          <a:pt x="245974" y="167621"/>
                          <a:pt x="239058" y="168707"/>
                        </a:cubicBezTo>
                        <a:close/>
                        <a:moveTo>
                          <a:pt x="16116" y="160239"/>
                        </a:moveTo>
                        <a:cubicBezTo>
                          <a:pt x="15507" y="162077"/>
                          <a:pt x="17450" y="164125"/>
                          <a:pt x="19317" y="163773"/>
                        </a:cubicBezTo>
                        <a:cubicBezTo>
                          <a:pt x="22641" y="163125"/>
                          <a:pt x="22270" y="158115"/>
                          <a:pt x="18583" y="158096"/>
                        </a:cubicBezTo>
                        <a:cubicBezTo>
                          <a:pt x="17507" y="158620"/>
                          <a:pt x="16497" y="159077"/>
                          <a:pt x="16116" y="160239"/>
                        </a:cubicBezTo>
                        <a:close/>
                        <a:moveTo>
                          <a:pt x="123349" y="167230"/>
                        </a:moveTo>
                        <a:cubicBezTo>
                          <a:pt x="120539" y="167783"/>
                          <a:pt x="118043" y="164944"/>
                          <a:pt x="118748" y="162211"/>
                        </a:cubicBezTo>
                        <a:cubicBezTo>
                          <a:pt x="119186" y="160496"/>
                          <a:pt x="120444" y="159858"/>
                          <a:pt x="121949" y="159172"/>
                        </a:cubicBezTo>
                        <a:cubicBezTo>
                          <a:pt x="128016" y="158991"/>
                          <a:pt x="128121" y="166287"/>
                          <a:pt x="123349" y="167230"/>
                        </a:cubicBezTo>
                        <a:close/>
                        <a:moveTo>
                          <a:pt x="49549" y="164021"/>
                        </a:moveTo>
                        <a:cubicBezTo>
                          <a:pt x="48606" y="167335"/>
                          <a:pt x="51435" y="170983"/>
                          <a:pt x="54816" y="170421"/>
                        </a:cubicBezTo>
                        <a:cubicBezTo>
                          <a:pt x="61255" y="169374"/>
                          <a:pt x="60912" y="160239"/>
                          <a:pt x="54073" y="160315"/>
                        </a:cubicBezTo>
                        <a:cubicBezTo>
                          <a:pt x="51854" y="161201"/>
                          <a:pt x="50235" y="161658"/>
                          <a:pt x="49549" y="164021"/>
                        </a:cubicBezTo>
                        <a:close/>
                        <a:moveTo>
                          <a:pt x="279892" y="164182"/>
                        </a:moveTo>
                        <a:cubicBezTo>
                          <a:pt x="278920" y="167364"/>
                          <a:pt x="282283" y="170821"/>
                          <a:pt x="285312" y="170269"/>
                        </a:cubicBezTo>
                        <a:cubicBezTo>
                          <a:pt x="291094" y="169221"/>
                          <a:pt x="290932" y="160392"/>
                          <a:pt x="284083" y="160572"/>
                        </a:cubicBezTo>
                        <a:cubicBezTo>
                          <a:pt x="282026" y="161430"/>
                          <a:pt x="280568" y="161992"/>
                          <a:pt x="279892" y="164182"/>
                        </a:cubicBezTo>
                        <a:close/>
                        <a:moveTo>
                          <a:pt x="182594" y="162877"/>
                        </a:moveTo>
                        <a:cubicBezTo>
                          <a:pt x="182585" y="164030"/>
                          <a:pt x="181880" y="164525"/>
                          <a:pt x="181032" y="164849"/>
                        </a:cubicBezTo>
                        <a:cubicBezTo>
                          <a:pt x="179908" y="164830"/>
                          <a:pt x="179422" y="164144"/>
                          <a:pt x="179061" y="163373"/>
                        </a:cubicBezTo>
                        <a:cubicBezTo>
                          <a:pt x="179070" y="162354"/>
                          <a:pt x="179632" y="161763"/>
                          <a:pt x="180385" y="161487"/>
                        </a:cubicBezTo>
                        <a:cubicBezTo>
                          <a:pt x="180518" y="161430"/>
                          <a:pt x="180651" y="161373"/>
                          <a:pt x="180785" y="161315"/>
                        </a:cubicBezTo>
                        <a:cubicBezTo>
                          <a:pt x="181746" y="161611"/>
                          <a:pt x="182204" y="162039"/>
                          <a:pt x="182594" y="162877"/>
                        </a:cubicBezTo>
                        <a:close/>
                        <a:moveTo>
                          <a:pt x="100994" y="172898"/>
                        </a:moveTo>
                        <a:cubicBezTo>
                          <a:pt x="97660" y="173450"/>
                          <a:pt x="94393" y="169793"/>
                          <a:pt x="95326" y="166325"/>
                        </a:cubicBezTo>
                        <a:cubicBezTo>
                          <a:pt x="95974" y="163897"/>
                          <a:pt x="97631" y="163220"/>
                          <a:pt x="99841" y="162296"/>
                        </a:cubicBezTo>
                        <a:cubicBezTo>
                          <a:pt x="107366" y="162144"/>
                          <a:pt x="107709" y="171774"/>
                          <a:pt x="100994" y="172898"/>
                        </a:cubicBezTo>
                        <a:close/>
                        <a:moveTo>
                          <a:pt x="216618" y="171907"/>
                        </a:moveTo>
                        <a:cubicBezTo>
                          <a:pt x="213998" y="172326"/>
                          <a:pt x="211455" y="169345"/>
                          <a:pt x="212265" y="166564"/>
                        </a:cubicBezTo>
                        <a:cubicBezTo>
                          <a:pt x="212788" y="164763"/>
                          <a:pt x="214084" y="164097"/>
                          <a:pt x="215713" y="163363"/>
                        </a:cubicBezTo>
                        <a:cubicBezTo>
                          <a:pt x="222018" y="163182"/>
                          <a:pt x="222142" y="171031"/>
                          <a:pt x="216618" y="171907"/>
                        </a:cubicBezTo>
                        <a:close/>
                        <a:moveTo>
                          <a:pt x="258689" y="164840"/>
                        </a:moveTo>
                        <a:cubicBezTo>
                          <a:pt x="258032" y="165116"/>
                          <a:pt x="257375" y="165392"/>
                          <a:pt x="256718" y="165659"/>
                        </a:cubicBezTo>
                        <a:cubicBezTo>
                          <a:pt x="256051" y="166821"/>
                          <a:pt x="256765" y="168659"/>
                          <a:pt x="257042" y="169936"/>
                        </a:cubicBezTo>
                        <a:cubicBezTo>
                          <a:pt x="257289" y="171221"/>
                          <a:pt x="257537" y="172507"/>
                          <a:pt x="257785" y="173793"/>
                        </a:cubicBezTo>
                        <a:cubicBezTo>
                          <a:pt x="258813" y="176393"/>
                          <a:pt x="262947" y="176079"/>
                          <a:pt x="265509" y="174946"/>
                        </a:cubicBezTo>
                        <a:cubicBezTo>
                          <a:pt x="270272" y="172841"/>
                          <a:pt x="269091" y="163887"/>
                          <a:pt x="262795" y="164021"/>
                        </a:cubicBezTo>
                        <a:cubicBezTo>
                          <a:pt x="261433" y="164297"/>
                          <a:pt x="260061" y="164563"/>
                          <a:pt x="258689" y="164840"/>
                        </a:cubicBezTo>
                        <a:close/>
                        <a:moveTo>
                          <a:pt x="28603" y="168869"/>
                        </a:moveTo>
                        <a:cubicBezTo>
                          <a:pt x="27804" y="171469"/>
                          <a:pt x="30271" y="174174"/>
                          <a:pt x="32956" y="173555"/>
                        </a:cubicBezTo>
                        <a:cubicBezTo>
                          <a:pt x="37090" y="172603"/>
                          <a:pt x="36814" y="165916"/>
                          <a:pt x="31804" y="166078"/>
                        </a:cubicBezTo>
                        <a:cubicBezTo>
                          <a:pt x="30299" y="166735"/>
                          <a:pt x="29108" y="167249"/>
                          <a:pt x="28603" y="168869"/>
                        </a:cubicBezTo>
                        <a:close/>
                        <a:moveTo>
                          <a:pt x="158601" y="166325"/>
                        </a:moveTo>
                        <a:cubicBezTo>
                          <a:pt x="159144" y="166516"/>
                          <a:pt x="159420" y="166907"/>
                          <a:pt x="159668" y="167392"/>
                        </a:cubicBezTo>
                        <a:cubicBezTo>
                          <a:pt x="159611" y="168250"/>
                          <a:pt x="159144" y="168659"/>
                          <a:pt x="158515" y="168954"/>
                        </a:cubicBezTo>
                        <a:cubicBezTo>
                          <a:pt x="157620" y="168907"/>
                          <a:pt x="157001" y="168288"/>
                          <a:pt x="156953" y="167392"/>
                        </a:cubicBezTo>
                        <a:cubicBezTo>
                          <a:pt x="157344" y="166954"/>
                          <a:pt x="157658" y="166611"/>
                          <a:pt x="158105" y="166240"/>
                        </a:cubicBezTo>
                        <a:cubicBezTo>
                          <a:pt x="158277" y="166268"/>
                          <a:pt x="158439" y="166297"/>
                          <a:pt x="158601" y="166325"/>
                        </a:cubicBezTo>
                        <a:close/>
                        <a:moveTo>
                          <a:pt x="317773" y="168954"/>
                        </a:moveTo>
                        <a:cubicBezTo>
                          <a:pt x="317049" y="170774"/>
                          <a:pt x="318935" y="172869"/>
                          <a:pt x="320812" y="172402"/>
                        </a:cubicBezTo>
                        <a:cubicBezTo>
                          <a:pt x="323783" y="171679"/>
                          <a:pt x="323326" y="167135"/>
                          <a:pt x="319583" y="167307"/>
                        </a:cubicBezTo>
                        <a:cubicBezTo>
                          <a:pt x="318878" y="167735"/>
                          <a:pt x="318097" y="168154"/>
                          <a:pt x="317773" y="168954"/>
                        </a:cubicBezTo>
                        <a:close/>
                        <a:moveTo>
                          <a:pt x="62379" y="172317"/>
                        </a:moveTo>
                        <a:cubicBezTo>
                          <a:pt x="60855" y="176222"/>
                          <a:pt x="64218" y="180613"/>
                          <a:pt x="68456" y="179870"/>
                        </a:cubicBezTo>
                        <a:cubicBezTo>
                          <a:pt x="71980" y="179260"/>
                          <a:pt x="73924" y="177346"/>
                          <a:pt x="73057" y="173298"/>
                        </a:cubicBezTo>
                        <a:cubicBezTo>
                          <a:pt x="72362" y="170021"/>
                          <a:pt x="71323" y="168450"/>
                          <a:pt x="67304" y="168535"/>
                        </a:cubicBezTo>
                        <a:cubicBezTo>
                          <a:pt x="64865" y="169564"/>
                          <a:pt x="63332" y="169878"/>
                          <a:pt x="62379" y="172317"/>
                        </a:cubicBezTo>
                        <a:close/>
                        <a:moveTo>
                          <a:pt x="136750" y="175279"/>
                        </a:moveTo>
                        <a:cubicBezTo>
                          <a:pt x="134407" y="175850"/>
                          <a:pt x="132188" y="173345"/>
                          <a:pt x="132969" y="171088"/>
                        </a:cubicBezTo>
                        <a:cubicBezTo>
                          <a:pt x="133350" y="169993"/>
                          <a:pt x="134436" y="169383"/>
                          <a:pt x="135436" y="168869"/>
                        </a:cubicBezTo>
                        <a:cubicBezTo>
                          <a:pt x="140122" y="168697"/>
                          <a:pt x="140446" y="174393"/>
                          <a:pt x="136750" y="175279"/>
                        </a:cubicBezTo>
                        <a:close/>
                        <a:moveTo>
                          <a:pt x="194434" y="174955"/>
                        </a:moveTo>
                        <a:cubicBezTo>
                          <a:pt x="192538" y="175279"/>
                          <a:pt x="190557" y="172945"/>
                          <a:pt x="191471" y="171012"/>
                        </a:cubicBezTo>
                        <a:cubicBezTo>
                          <a:pt x="191881" y="170155"/>
                          <a:pt x="192757" y="169726"/>
                          <a:pt x="193615" y="169288"/>
                        </a:cubicBezTo>
                        <a:cubicBezTo>
                          <a:pt x="197768" y="169116"/>
                          <a:pt x="197863" y="174355"/>
                          <a:pt x="194434" y="174955"/>
                        </a:cubicBezTo>
                        <a:close/>
                        <a:moveTo>
                          <a:pt x="294113" y="173060"/>
                        </a:moveTo>
                        <a:cubicBezTo>
                          <a:pt x="293246" y="175784"/>
                          <a:pt x="295656" y="178813"/>
                          <a:pt x="298466" y="178327"/>
                        </a:cubicBezTo>
                        <a:cubicBezTo>
                          <a:pt x="303219" y="177498"/>
                          <a:pt x="303114" y="170097"/>
                          <a:pt x="297647" y="170183"/>
                        </a:cubicBezTo>
                        <a:cubicBezTo>
                          <a:pt x="295951" y="170879"/>
                          <a:pt x="294675" y="171288"/>
                          <a:pt x="294113" y="173060"/>
                        </a:cubicBezTo>
                        <a:close/>
                        <a:moveTo>
                          <a:pt x="230010" y="181604"/>
                        </a:moveTo>
                        <a:cubicBezTo>
                          <a:pt x="226466" y="182118"/>
                          <a:pt x="223618" y="178022"/>
                          <a:pt x="225000" y="174622"/>
                        </a:cubicBezTo>
                        <a:cubicBezTo>
                          <a:pt x="225847" y="172526"/>
                          <a:pt x="227352" y="172269"/>
                          <a:pt x="229524" y="171412"/>
                        </a:cubicBezTo>
                        <a:cubicBezTo>
                          <a:pt x="236258" y="171421"/>
                          <a:pt x="236496" y="180670"/>
                          <a:pt x="230010" y="181604"/>
                        </a:cubicBezTo>
                        <a:close/>
                        <a:moveTo>
                          <a:pt x="114395" y="181194"/>
                        </a:moveTo>
                        <a:cubicBezTo>
                          <a:pt x="111214" y="181766"/>
                          <a:pt x="108261" y="178308"/>
                          <a:pt x="109385" y="175117"/>
                        </a:cubicBezTo>
                        <a:cubicBezTo>
                          <a:pt x="110061" y="173164"/>
                          <a:pt x="111509" y="172698"/>
                          <a:pt x="113405" y="171907"/>
                        </a:cubicBezTo>
                        <a:cubicBezTo>
                          <a:pt x="119739" y="171793"/>
                          <a:pt x="119948" y="180203"/>
                          <a:pt x="114395" y="181194"/>
                        </a:cubicBezTo>
                        <a:close/>
                        <a:moveTo>
                          <a:pt x="7811" y="173965"/>
                        </a:moveTo>
                        <a:cubicBezTo>
                          <a:pt x="7515" y="175193"/>
                          <a:pt x="9011" y="176660"/>
                          <a:pt x="10192" y="176432"/>
                        </a:cubicBezTo>
                        <a:cubicBezTo>
                          <a:pt x="12763" y="175936"/>
                          <a:pt x="12725" y="171983"/>
                          <a:pt x="9458" y="172155"/>
                        </a:cubicBezTo>
                        <a:cubicBezTo>
                          <a:pt x="8801" y="172622"/>
                          <a:pt x="8030" y="173069"/>
                          <a:pt x="7811" y="173965"/>
                        </a:cubicBezTo>
                        <a:close/>
                        <a:moveTo>
                          <a:pt x="270605" y="177498"/>
                        </a:moveTo>
                        <a:cubicBezTo>
                          <a:pt x="269729" y="180813"/>
                          <a:pt x="273072" y="184490"/>
                          <a:pt x="276197" y="183994"/>
                        </a:cubicBezTo>
                        <a:cubicBezTo>
                          <a:pt x="282959" y="182909"/>
                          <a:pt x="282588" y="173231"/>
                          <a:pt x="275206" y="173393"/>
                        </a:cubicBezTo>
                        <a:cubicBezTo>
                          <a:pt x="272863" y="174327"/>
                          <a:pt x="271282" y="174955"/>
                          <a:pt x="270605" y="177498"/>
                        </a:cubicBezTo>
                        <a:close/>
                        <a:moveTo>
                          <a:pt x="41338" y="177003"/>
                        </a:moveTo>
                        <a:cubicBezTo>
                          <a:pt x="40053" y="180089"/>
                          <a:pt x="42729" y="183852"/>
                          <a:pt x="46272" y="183166"/>
                        </a:cubicBezTo>
                        <a:cubicBezTo>
                          <a:pt x="51540" y="182147"/>
                          <a:pt x="51254" y="174231"/>
                          <a:pt x="45453" y="174126"/>
                        </a:cubicBezTo>
                        <a:cubicBezTo>
                          <a:pt x="43491" y="174898"/>
                          <a:pt x="42120" y="175127"/>
                          <a:pt x="41338" y="177003"/>
                        </a:cubicBezTo>
                        <a:close/>
                        <a:moveTo>
                          <a:pt x="173403" y="176927"/>
                        </a:moveTo>
                        <a:cubicBezTo>
                          <a:pt x="173031" y="177355"/>
                          <a:pt x="172822" y="177765"/>
                          <a:pt x="172250" y="177994"/>
                        </a:cubicBezTo>
                        <a:cubicBezTo>
                          <a:pt x="172003" y="178022"/>
                          <a:pt x="171755" y="178051"/>
                          <a:pt x="171507" y="178079"/>
                        </a:cubicBezTo>
                        <a:cubicBezTo>
                          <a:pt x="171117" y="177670"/>
                          <a:pt x="170755" y="177432"/>
                          <a:pt x="170440" y="176927"/>
                        </a:cubicBezTo>
                        <a:cubicBezTo>
                          <a:pt x="170364" y="175908"/>
                          <a:pt x="171022" y="175565"/>
                          <a:pt x="171755" y="175117"/>
                        </a:cubicBezTo>
                        <a:cubicBezTo>
                          <a:pt x="172688" y="175241"/>
                          <a:pt x="173374" y="175879"/>
                          <a:pt x="173403" y="176927"/>
                        </a:cubicBezTo>
                        <a:close/>
                        <a:moveTo>
                          <a:pt x="92535" y="186538"/>
                        </a:moveTo>
                        <a:cubicBezTo>
                          <a:pt x="91754" y="186738"/>
                          <a:pt x="90735" y="187023"/>
                          <a:pt x="89745" y="186785"/>
                        </a:cubicBezTo>
                        <a:cubicBezTo>
                          <a:pt x="88592" y="186500"/>
                          <a:pt x="87439" y="185595"/>
                          <a:pt x="86954" y="184642"/>
                        </a:cubicBezTo>
                        <a:cubicBezTo>
                          <a:pt x="86249" y="183271"/>
                          <a:pt x="85611" y="178899"/>
                          <a:pt x="86458" y="177574"/>
                        </a:cubicBezTo>
                        <a:cubicBezTo>
                          <a:pt x="87621" y="175765"/>
                          <a:pt x="89468" y="176070"/>
                          <a:pt x="91640" y="175193"/>
                        </a:cubicBezTo>
                        <a:cubicBezTo>
                          <a:pt x="98593" y="175069"/>
                          <a:pt x="99746" y="184737"/>
                          <a:pt x="92535" y="186538"/>
                        </a:cubicBezTo>
                        <a:close/>
                        <a:moveTo>
                          <a:pt x="208236" y="184899"/>
                        </a:moveTo>
                        <a:cubicBezTo>
                          <a:pt x="205473" y="185557"/>
                          <a:pt x="203073" y="182604"/>
                          <a:pt x="203711" y="180051"/>
                        </a:cubicBezTo>
                        <a:cubicBezTo>
                          <a:pt x="204159" y="178289"/>
                          <a:pt x="205502" y="177784"/>
                          <a:pt x="207083" y="177089"/>
                        </a:cubicBezTo>
                        <a:cubicBezTo>
                          <a:pt x="212341" y="177051"/>
                          <a:pt x="212655" y="183842"/>
                          <a:pt x="208236" y="184899"/>
                        </a:cubicBezTo>
                        <a:close/>
                        <a:moveTo>
                          <a:pt x="332327" y="178565"/>
                        </a:moveTo>
                        <a:cubicBezTo>
                          <a:pt x="332108" y="179251"/>
                          <a:pt x="333061" y="179842"/>
                          <a:pt x="333642" y="180041"/>
                        </a:cubicBezTo>
                        <a:cubicBezTo>
                          <a:pt x="334328" y="179765"/>
                          <a:pt x="334642" y="179451"/>
                          <a:pt x="334956" y="178813"/>
                        </a:cubicBezTo>
                        <a:cubicBezTo>
                          <a:pt x="334880" y="178013"/>
                          <a:pt x="334499" y="177813"/>
                          <a:pt x="334051" y="177413"/>
                        </a:cubicBezTo>
                        <a:cubicBezTo>
                          <a:pt x="333804" y="177384"/>
                          <a:pt x="333556" y="177365"/>
                          <a:pt x="333308" y="177327"/>
                        </a:cubicBezTo>
                        <a:cubicBezTo>
                          <a:pt x="332851" y="177698"/>
                          <a:pt x="332470" y="177879"/>
                          <a:pt x="332327" y="178565"/>
                        </a:cubicBezTo>
                        <a:close/>
                        <a:moveTo>
                          <a:pt x="150143" y="183575"/>
                        </a:moveTo>
                        <a:cubicBezTo>
                          <a:pt x="148199" y="184156"/>
                          <a:pt x="146256" y="181985"/>
                          <a:pt x="147018" y="180127"/>
                        </a:cubicBezTo>
                        <a:cubicBezTo>
                          <a:pt x="147342" y="179346"/>
                          <a:pt x="148123" y="178908"/>
                          <a:pt x="148819" y="178479"/>
                        </a:cubicBezTo>
                        <a:cubicBezTo>
                          <a:pt x="152419" y="178327"/>
                          <a:pt x="152991" y="182737"/>
                          <a:pt x="150143" y="183575"/>
                        </a:cubicBezTo>
                        <a:close/>
                        <a:moveTo>
                          <a:pt x="248421" y="184899"/>
                        </a:moveTo>
                        <a:cubicBezTo>
                          <a:pt x="248660" y="185814"/>
                          <a:pt x="249088" y="187204"/>
                          <a:pt x="248669" y="188271"/>
                        </a:cubicBezTo>
                        <a:cubicBezTo>
                          <a:pt x="248003" y="189967"/>
                          <a:pt x="246602" y="190252"/>
                          <a:pt x="244640" y="190729"/>
                        </a:cubicBezTo>
                        <a:cubicBezTo>
                          <a:pt x="243821" y="190929"/>
                          <a:pt x="242745" y="191357"/>
                          <a:pt x="241602" y="191148"/>
                        </a:cubicBezTo>
                        <a:cubicBezTo>
                          <a:pt x="238135" y="190500"/>
                          <a:pt x="235887" y="185538"/>
                          <a:pt x="238230" y="182109"/>
                        </a:cubicBezTo>
                        <a:cubicBezTo>
                          <a:pt x="239487" y="180270"/>
                          <a:pt x="240983" y="180423"/>
                          <a:pt x="243326" y="179556"/>
                        </a:cubicBezTo>
                        <a:cubicBezTo>
                          <a:pt x="247202" y="179556"/>
                          <a:pt x="247602" y="181737"/>
                          <a:pt x="248421" y="184899"/>
                        </a:cubicBezTo>
                        <a:close/>
                        <a:moveTo>
                          <a:pt x="20384" y="182185"/>
                        </a:moveTo>
                        <a:cubicBezTo>
                          <a:pt x="19593" y="184347"/>
                          <a:pt x="21660" y="186614"/>
                          <a:pt x="23756" y="186214"/>
                        </a:cubicBezTo>
                        <a:cubicBezTo>
                          <a:pt x="27375" y="185518"/>
                          <a:pt x="27232" y="179822"/>
                          <a:pt x="22927" y="179965"/>
                        </a:cubicBezTo>
                        <a:cubicBezTo>
                          <a:pt x="21812" y="180470"/>
                          <a:pt x="20812" y="181013"/>
                          <a:pt x="20384" y="182185"/>
                        </a:cubicBezTo>
                        <a:close/>
                        <a:moveTo>
                          <a:pt x="308324" y="182099"/>
                        </a:moveTo>
                        <a:cubicBezTo>
                          <a:pt x="307448" y="184242"/>
                          <a:pt x="309658" y="186757"/>
                          <a:pt x="311944" y="186290"/>
                        </a:cubicBezTo>
                        <a:cubicBezTo>
                          <a:pt x="315659" y="185509"/>
                          <a:pt x="315182" y="179784"/>
                          <a:pt x="310715" y="179956"/>
                        </a:cubicBezTo>
                        <a:cubicBezTo>
                          <a:pt x="309706" y="180480"/>
                          <a:pt x="308763" y="181042"/>
                          <a:pt x="308324" y="182099"/>
                        </a:cubicBezTo>
                        <a:close/>
                        <a:moveTo>
                          <a:pt x="127702" y="189500"/>
                        </a:moveTo>
                        <a:cubicBezTo>
                          <a:pt x="125016" y="189995"/>
                          <a:pt x="122482" y="187157"/>
                          <a:pt x="123263" y="184404"/>
                        </a:cubicBezTo>
                        <a:cubicBezTo>
                          <a:pt x="123815" y="182461"/>
                          <a:pt x="125254" y="182051"/>
                          <a:pt x="127130" y="181366"/>
                        </a:cubicBezTo>
                        <a:cubicBezTo>
                          <a:pt x="132188" y="181708"/>
                          <a:pt x="132340" y="188643"/>
                          <a:pt x="127702" y="189500"/>
                        </a:cubicBezTo>
                        <a:close/>
                        <a:moveTo>
                          <a:pt x="53826" y="186290"/>
                        </a:moveTo>
                        <a:cubicBezTo>
                          <a:pt x="52835" y="189614"/>
                          <a:pt x="56302" y="193272"/>
                          <a:pt x="59493" y="192700"/>
                        </a:cubicBezTo>
                        <a:cubicBezTo>
                          <a:pt x="65837" y="191567"/>
                          <a:pt x="65570" y="182156"/>
                          <a:pt x="58264" y="182347"/>
                        </a:cubicBezTo>
                        <a:cubicBezTo>
                          <a:pt x="56055" y="183328"/>
                          <a:pt x="54550" y="183861"/>
                          <a:pt x="53826" y="186290"/>
                        </a:cubicBezTo>
                        <a:close/>
                        <a:moveTo>
                          <a:pt x="185566" y="188262"/>
                        </a:moveTo>
                        <a:cubicBezTo>
                          <a:pt x="183690" y="188614"/>
                          <a:pt x="181766" y="186271"/>
                          <a:pt x="182689" y="184394"/>
                        </a:cubicBezTo>
                        <a:cubicBezTo>
                          <a:pt x="183090" y="183585"/>
                          <a:pt x="183918" y="183166"/>
                          <a:pt x="184747" y="182747"/>
                        </a:cubicBezTo>
                        <a:cubicBezTo>
                          <a:pt x="188700" y="182604"/>
                          <a:pt x="188843" y="187642"/>
                          <a:pt x="185566" y="188262"/>
                        </a:cubicBezTo>
                        <a:close/>
                        <a:moveTo>
                          <a:pt x="284750" y="186376"/>
                        </a:moveTo>
                        <a:cubicBezTo>
                          <a:pt x="283836" y="189357"/>
                          <a:pt x="286579" y="192653"/>
                          <a:pt x="289760" y="192043"/>
                        </a:cubicBezTo>
                        <a:cubicBezTo>
                          <a:pt x="295142" y="191014"/>
                          <a:pt x="294818" y="183118"/>
                          <a:pt x="288770" y="183004"/>
                        </a:cubicBezTo>
                        <a:cubicBezTo>
                          <a:pt x="286750" y="183794"/>
                          <a:pt x="285379" y="184261"/>
                          <a:pt x="284750" y="186376"/>
                        </a:cubicBezTo>
                        <a:close/>
                        <a:moveTo>
                          <a:pt x="106013" y="195167"/>
                        </a:moveTo>
                        <a:cubicBezTo>
                          <a:pt x="102070" y="196072"/>
                          <a:pt x="98822" y="192005"/>
                          <a:pt x="99851" y="188347"/>
                        </a:cubicBezTo>
                        <a:cubicBezTo>
                          <a:pt x="100517" y="185995"/>
                          <a:pt x="102260" y="185452"/>
                          <a:pt x="104451" y="184566"/>
                        </a:cubicBezTo>
                        <a:cubicBezTo>
                          <a:pt x="111557" y="184433"/>
                          <a:pt x="111995" y="193786"/>
                          <a:pt x="106013" y="195167"/>
                        </a:cubicBezTo>
                        <a:close/>
                        <a:moveTo>
                          <a:pt x="221714" y="194672"/>
                        </a:moveTo>
                        <a:cubicBezTo>
                          <a:pt x="218227" y="195491"/>
                          <a:pt x="215303" y="191795"/>
                          <a:pt x="216208" y="188595"/>
                        </a:cubicBezTo>
                        <a:cubicBezTo>
                          <a:pt x="216780" y="186538"/>
                          <a:pt x="218304" y="185899"/>
                          <a:pt x="220151" y="185061"/>
                        </a:cubicBezTo>
                        <a:cubicBezTo>
                          <a:pt x="226838" y="184899"/>
                          <a:pt x="227305" y="193358"/>
                          <a:pt x="221714" y="194672"/>
                        </a:cubicBezTo>
                        <a:close/>
                        <a:moveTo>
                          <a:pt x="261490" y="189824"/>
                        </a:moveTo>
                        <a:cubicBezTo>
                          <a:pt x="260128" y="193586"/>
                          <a:pt x="263728" y="198234"/>
                          <a:pt x="267576" y="197548"/>
                        </a:cubicBezTo>
                        <a:cubicBezTo>
                          <a:pt x="274453" y="196329"/>
                          <a:pt x="274101" y="186185"/>
                          <a:pt x="266510" y="186376"/>
                        </a:cubicBezTo>
                        <a:cubicBezTo>
                          <a:pt x="264185" y="187338"/>
                          <a:pt x="262337" y="187471"/>
                          <a:pt x="261490" y="189824"/>
                        </a:cubicBezTo>
                        <a:close/>
                        <a:moveTo>
                          <a:pt x="86" y="187281"/>
                        </a:moveTo>
                        <a:cubicBezTo>
                          <a:pt x="57" y="187395"/>
                          <a:pt x="38" y="187500"/>
                          <a:pt x="0" y="187604"/>
                        </a:cubicBezTo>
                        <a:cubicBezTo>
                          <a:pt x="238" y="188071"/>
                          <a:pt x="476" y="188328"/>
                          <a:pt x="905" y="188595"/>
                        </a:cubicBezTo>
                        <a:cubicBezTo>
                          <a:pt x="1581" y="188576"/>
                          <a:pt x="1857" y="188328"/>
                          <a:pt x="2057" y="187852"/>
                        </a:cubicBezTo>
                        <a:cubicBezTo>
                          <a:pt x="2086" y="187662"/>
                          <a:pt x="2115" y="187471"/>
                          <a:pt x="2143" y="187281"/>
                        </a:cubicBezTo>
                        <a:cubicBezTo>
                          <a:pt x="1810" y="186919"/>
                          <a:pt x="1610" y="186633"/>
                          <a:pt x="1067" y="186461"/>
                        </a:cubicBezTo>
                        <a:cubicBezTo>
                          <a:pt x="743" y="186728"/>
                          <a:pt x="419" y="187004"/>
                          <a:pt x="86" y="187281"/>
                        </a:cubicBezTo>
                        <a:close/>
                        <a:moveTo>
                          <a:pt x="163373" y="192615"/>
                        </a:moveTo>
                        <a:cubicBezTo>
                          <a:pt x="161487" y="193043"/>
                          <a:pt x="159715" y="190995"/>
                          <a:pt x="160334" y="189167"/>
                        </a:cubicBezTo>
                        <a:cubicBezTo>
                          <a:pt x="160639" y="188281"/>
                          <a:pt x="161525" y="187795"/>
                          <a:pt x="162306" y="187357"/>
                        </a:cubicBezTo>
                        <a:cubicBezTo>
                          <a:pt x="165964" y="187214"/>
                          <a:pt x="166392" y="191929"/>
                          <a:pt x="163373" y="192615"/>
                        </a:cubicBezTo>
                        <a:close/>
                        <a:moveTo>
                          <a:pt x="32880" y="190976"/>
                        </a:moveTo>
                        <a:cubicBezTo>
                          <a:pt x="31995" y="193805"/>
                          <a:pt x="34890" y="196386"/>
                          <a:pt x="37567" y="195748"/>
                        </a:cubicBezTo>
                        <a:cubicBezTo>
                          <a:pt x="41901" y="194710"/>
                          <a:pt x="41481" y="187919"/>
                          <a:pt x="36004" y="188100"/>
                        </a:cubicBezTo>
                        <a:cubicBezTo>
                          <a:pt x="34633" y="188862"/>
                          <a:pt x="33376" y="189376"/>
                          <a:pt x="32880" y="190976"/>
                        </a:cubicBezTo>
                        <a:close/>
                        <a:moveTo>
                          <a:pt x="322631" y="191634"/>
                        </a:moveTo>
                        <a:cubicBezTo>
                          <a:pt x="322536" y="193719"/>
                          <a:pt x="325012" y="194843"/>
                          <a:pt x="326241" y="193272"/>
                        </a:cubicBezTo>
                        <a:cubicBezTo>
                          <a:pt x="327403" y="191805"/>
                          <a:pt x="326241" y="189805"/>
                          <a:pt x="324269" y="189900"/>
                        </a:cubicBezTo>
                        <a:cubicBezTo>
                          <a:pt x="323488" y="190414"/>
                          <a:pt x="323040" y="190757"/>
                          <a:pt x="322631" y="191634"/>
                        </a:cubicBezTo>
                        <a:close/>
                        <a:moveTo>
                          <a:pt x="199196" y="198206"/>
                        </a:moveTo>
                        <a:cubicBezTo>
                          <a:pt x="196453" y="198749"/>
                          <a:pt x="194091" y="196034"/>
                          <a:pt x="194920" y="193272"/>
                        </a:cubicBezTo>
                        <a:cubicBezTo>
                          <a:pt x="195377" y="191767"/>
                          <a:pt x="196558" y="191233"/>
                          <a:pt x="197882" y="190567"/>
                        </a:cubicBezTo>
                        <a:cubicBezTo>
                          <a:pt x="203473" y="190395"/>
                          <a:pt x="203749" y="197301"/>
                          <a:pt x="199196" y="198206"/>
                        </a:cubicBezTo>
                        <a:close/>
                        <a:moveTo>
                          <a:pt x="67304" y="193358"/>
                        </a:moveTo>
                        <a:cubicBezTo>
                          <a:pt x="64970" y="197129"/>
                          <a:pt x="67885" y="201435"/>
                          <a:pt x="71333" y="202073"/>
                        </a:cubicBezTo>
                        <a:cubicBezTo>
                          <a:pt x="79400" y="203559"/>
                          <a:pt x="80124" y="190481"/>
                          <a:pt x="72152" y="190652"/>
                        </a:cubicBezTo>
                        <a:cubicBezTo>
                          <a:pt x="69952" y="191529"/>
                          <a:pt x="68456" y="191500"/>
                          <a:pt x="67304" y="193358"/>
                        </a:cubicBezTo>
                        <a:close/>
                        <a:moveTo>
                          <a:pt x="141427" y="197958"/>
                        </a:moveTo>
                        <a:cubicBezTo>
                          <a:pt x="138798" y="198663"/>
                          <a:pt x="136322" y="196139"/>
                          <a:pt x="136989" y="193519"/>
                        </a:cubicBezTo>
                        <a:cubicBezTo>
                          <a:pt x="137389" y="191967"/>
                          <a:pt x="138541" y="191376"/>
                          <a:pt x="139865" y="190729"/>
                        </a:cubicBezTo>
                        <a:cubicBezTo>
                          <a:pt x="144952" y="190567"/>
                          <a:pt x="145637" y="196834"/>
                          <a:pt x="141427" y="197958"/>
                        </a:cubicBezTo>
                        <a:close/>
                        <a:moveTo>
                          <a:pt x="299285" y="194672"/>
                        </a:moveTo>
                        <a:cubicBezTo>
                          <a:pt x="297723" y="197253"/>
                          <a:pt x="300352" y="200558"/>
                          <a:pt x="303143" y="199930"/>
                        </a:cubicBezTo>
                        <a:cubicBezTo>
                          <a:pt x="307381" y="198977"/>
                          <a:pt x="307039" y="192672"/>
                          <a:pt x="301752" y="192862"/>
                        </a:cubicBezTo>
                        <a:cubicBezTo>
                          <a:pt x="300714" y="193338"/>
                          <a:pt x="299847" y="193748"/>
                          <a:pt x="299285" y="194672"/>
                        </a:cubicBezTo>
                        <a:close/>
                        <a:moveTo>
                          <a:pt x="233134" y="204368"/>
                        </a:moveTo>
                        <a:cubicBezTo>
                          <a:pt x="229800" y="203749"/>
                          <a:pt x="227028" y="199349"/>
                          <a:pt x="229353" y="195739"/>
                        </a:cubicBezTo>
                        <a:cubicBezTo>
                          <a:pt x="230457" y="194024"/>
                          <a:pt x="231838" y="193900"/>
                          <a:pt x="233953" y="193110"/>
                        </a:cubicBezTo>
                        <a:cubicBezTo>
                          <a:pt x="241964" y="193138"/>
                          <a:pt x="241468" y="205911"/>
                          <a:pt x="233134" y="204368"/>
                        </a:cubicBezTo>
                        <a:close/>
                        <a:moveTo>
                          <a:pt x="119567" y="203549"/>
                        </a:moveTo>
                        <a:cubicBezTo>
                          <a:pt x="115767" y="204568"/>
                          <a:pt x="112576" y="201016"/>
                          <a:pt x="113652" y="197387"/>
                        </a:cubicBezTo>
                        <a:cubicBezTo>
                          <a:pt x="114252" y="195339"/>
                          <a:pt x="115748" y="194777"/>
                          <a:pt x="117596" y="193938"/>
                        </a:cubicBezTo>
                        <a:cubicBezTo>
                          <a:pt x="124254" y="193777"/>
                          <a:pt x="124901" y="202111"/>
                          <a:pt x="119567" y="203549"/>
                        </a:cubicBezTo>
                        <a:close/>
                        <a:moveTo>
                          <a:pt x="12164" y="195986"/>
                        </a:moveTo>
                        <a:cubicBezTo>
                          <a:pt x="11744" y="197606"/>
                          <a:pt x="13659" y="199015"/>
                          <a:pt x="15040" y="198615"/>
                        </a:cubicBezTo>
                        <a:cubicBezTo>
                          <a:pt x="17602" y="197882"/>
                          <a:pt x="17002" y="194024"/>
                          <a:pt x="13888" y="194177"/>
                        </a:cubicBezTo>
                        <a:cubicBezTo>
                          <a:pt x="13211" y="194672"/>
                          <a:pt x="12411" y="195063"/>
                          <a:pt x="12164" y="195986"/>
                        </a:cubicBezTo>
                        <a:close/>
                        <a:moveTo>
                          <a:pt x="177013" y="202149"/>
                        </a:moveTo>
                        <a:cubicBezTo>
                          <a:pt x="174508" y="202768"/>
                          <a:pt x="172421" y="200292"/>
                          <a:pt x="173069" y="197958"/>
                        </a:cubicBezTo>
                        <a:cubicBezTo>
                          <a:pt x="173469" y="196501"/>
                          <a:pt x="174660" y="196139"/>
                          <a:pt x="176022" y="195577"/>
                        </a:cubicBezTo>
                        <a:cubicBezTo>
                          <a:pt x="180222" y="195529"/>
                          <a:pt x="180499" y="201292"/>
                          <a:pt x="177013" y="202149"/>
                        </a:cubicBezTo>
                        <a:close/>
                        <a:moveTo>
                          <a:pt x="275625" y="199444"/>
                        </a:moveTo>
                        <a:cubicBezTo>
                          <a:pt x="274711" y="202463"/>
                          <a:pt x="277559" y="206083"/>
                          <a:pt x="280388" y="205692"/>
                        </a:cubicBezTo>
                        <a:cubicBezTo>
                          <a:pt x="286760" y="204797"/>
                          <a:pt x="286617" y="195786"/>
                          <a:pt x="279397" y="195996"/>
                        </a:cubicBezTo>
                        <a:cubicBezTo>
                          <a:pt x="277644" y="196872"/>
                          <a:pt x="276225" y="197444"/>
                          <a:pt x="275625" y="199444"/>
                        </a:cubicBezTo>
                        <a:close/>
                        <a:moveTo>
                          <a:pt x="45615" y="199520"/>
                        </a:moveTo>
                        <a:cubicBezTo>
                          <a:pt x="44682" y="202663"/>
                          <a:pt x="47425" y="206092"/>
                          <a:pt x="50949" y="205273"/>
                        </a:cubicBezTo>
                        <a:cubicBezTo>
                          <a:pt x="56188" y="204064"/>
                          <a:pt x="55645" y="196129"/>
                          <a:pt x="49139" y="196320"/>
                        </a:cubicBezTo>
                        <a:cubicBezTo>
                          <a:pt x="47587" y="197101"/>
                          <a:pt x="46139" y="197739"/>
                          <a:pt x="45615" y="199520"/>
                        </a:cubicBezTo>
                        <a:close/>
                        <a:moveTo>
                          <a:pt x="101737" y="205607"/>
                        </a:moveTo>
                        <a:cubicBezTo>
                          <a:pt x="100870" y="207750"/>
                          <a:pt x="99460" y="208121"/>
                          <a:pt x="96974" y="208731"/>
                        </a:cubicBezTo>
                        <a:cubicBezTo>
                          <a:pt x="95831" y="209007"/>
                          <a:pt x="94136" y="209636"/>
                          <a:pt x="92707" y="209226"/>
                        </a:cubicBezTo>
                        <a:cubicBezTo>
                          <a:pt x="91192" y="208493"/>
                          <a:pt x="89678" y="200958"/>
                          <a:pt x="90897" y="199368"/>
                        </a:cubicBezTo>
                        <a:cubicBezTo>
                          <a:pt x="92059" y="197853"/>
                          <a:pt x="94126" y="198187"/>
                          <a:pt x="96069" y="197396"/>
                        </a:cubicBezTo>
                        <a:cubicBezTo>
                          <a:pt x="100051" y="197291"/>
                          <a:pt x="103442" y="201425"/>
                          <a:pt x="101737" y="205607"/>
                        </a:cubicBezTo>
                        <a:close/>
                        <a:moveTo>
                          <a:pt x="212265" y="208064"/>
                        </a:moveTo>
                        <a:cubicBezTo>
                          <a:pt x="209036" y="208607"/>
                          <a:pt x="206426" y="205064"/>
                          <a:pt x="207331" y="201901"/>
                        </a:cubicBezTo>
                        <a:cubicBezTo>
                          <a:pt x="207940" y="199796"/>
                          <a:pt x="209522" y="199320"/>
                          <a:pt x="211531" y="198530"/>
                        </a:cubicBezTo>
                        <a:cubicBezTo>
                          <a:pt x="218104" y="198415"/>
                          <a:pt x="218322" y="207045"/>
                          <a:pt x="212265" y="208064"/>
                        </a:cubicBezTo>
                        <a:close/>
                        <a:moveTo>
                          <a:pt x="252527" y="201987"/>
                        </a:moveTo>
                        <a:cubicBezTo>
                          <a:pt x="252079" y="202768"/>
                          <a:pt x="252356" y="204149"/>
                          <a:pt x="252527" y="204940"/>
                        </a:cubicBezTo>
                        <a:cubicBezTo>
                          <a:pt x="253337" y="208531"/>
                          <a:pt x="253670" y="210541"/>
                          <a:pt x="257461" y="211103"/>
                        </a:cubicBezTo>
                        <a:cubicBezTo>
                          <a:pt x="265071" y="212226"/>
                          <a:pt x="266110" y="199349"/>
                          <a:pt x="258528" y="199511"/>
                        </a:cubicBezTo>
                        <a:cubicBezTo>
                          <a:pt x="256204" y="200463"/>
                          <a:pt x="253708" y="199949"/>
                          <a:pt x="252527" y="201987"/>
                        </a:cubicBezTo>
                        <a:close/>
                        <a:moveTo>
                          <a:pt x="154657" y="206997"/>
                        </a:moveTo>
                        <a:cubicBezTo>
                          <a:pt x="151990" y="207597"/>
                          <a:pt x="149695" y="204911"/>
                          <a:pt x="150381" y="202397"/>
                        </a:cubicBezTo>
                        <a:cubicBezTo>
                          <a:pt x="150857" y="200654"/>
                          <a:pt x="152095" y="200225"/>
                          <a:pt x="153753" y="199606"/>
                        </a:cubicBezTo>
                        <a:cubicBezTo>
                          <a:pt x="158477" y="199911"/>
                          <a:pt x="158820" y="206064"/>
                          <a:pt x="154657" y="206997"/>
                        </a:cubicBezTo>
                        <a:close/>
                        <a:moveTo>
                          <a:pt x="24908" y="204121"/>
                        </a:moveTo>
                        <a:cubicBezTo>
                          <a:pt x="23889" y="206407"/>
                          <a:pt x="26051" y="208817"/>
                          <a:pt x="28442" y="208312"/>
                        </a:cubicBezTo>
                        <a:cubicBezTo>
                          <a:pt x="31928" y="207569"/>
                          <a:pt x="31490" y="202006"/>
                          <a:pt x="27375" y="202140"/>
                        </a:cubicBezTo>
                        <a:cubicBezTo>
                          <a:pt x="26318" y="202635"/>
                          <a:pt x="25365" y="203083"/>
                          <a:pt x="24908" y="204121"/>
                        </a:cubicBezTo>
                        <a:close/>
                        <a:moveTo>
                          <a:pt x="313420" y="204368"/>
                        </a:moveTo>
                        <a:cubicBezTo>
                          <a:pt x="312611" y="206007"/>
                          <a:pt x="314449" y="208255"/>
                          <a:pt x="316297" y="207816"/>
                        </a:cubicBezTo>
                        <a:cubicBezTo>
                          <a:pt x="319231" y="207121"/>
                          <a:pt x="318897" y="202635"/>
                          <a:pt x="315230" y="202806"/>
                        </a:cubicBezTo>
                        <a:cubicBezTo>
                          <a:pt x="314535" y="203216"/>
                          <a:pt x="313782" y="203644"/>
                          <a:pt x="313420" y="204368"/>
                        </a:cubicBezTo>
                        <a:close/>
                        <a:moveTo>
                          <a:pt x="132312" y="212341"/>
                        </a:moveTo>
                        <a:cubicBezTo>
                          <a:pt x="128921" y="212960"/>
                          <a:pt x="126387" y="209664"/>
                          <a:pt x="127216" y="206502"/>
                        </a:cubicBezTo>
                        <a:cubicBezTo>
                          <a:pt x="127749" y="204473"/>
                          <a:pt x="129226" y="203902"/>
                          <a:pt x="131074" y="203130"/>
                        </a:cubicBezTo>
                        <a:cubicBezTo>
                          <a:pt x="137579" y="202987"/>
                          <a:pt x="137893" y="211312"/>
                          <a:pt x="132312" y="212341"/>
                        </a:cubicBezTo>
                        <a:close/>
                        <a:moveTo>
                          <a:pt x="190405" y="211846"/>
                        </a:moveTo>
                        <a:cubicBezTo>
                          <a:pt x="187347" y="212455"/>
                          <a:pt x="184766" y="209636"/>
                          <a:pt x="185642" y="206588"/>
                        </a:cubicBezTo>
                        <a:cubicBezTo>
                          <a:pt x="186176" y="204711"/>
                          <a:pt x="187709" y="204235"/>
                          <a:pt x="189500" y="203549"/>
                        </a:cubicBezTo>
                        <a:cubicBezTo>
                          <a:pt x="194739" y="203911"/>
                          <a:pt x="195215" y="210893"/>
                          <a:pt x="190405" y="211846"/>
                        </a:cubicBezTo>
                        <a:close/>
                        <a:moveTo>
                          <a:pt x="58426" y="208312"/>
                        </a:moveTo>
                        <a:cubicBezTo>
                          <a:pt x="57369" y="211788"/>
                          <a:pt x="60408" y="215398"/>
                          <a:pt x="64018" y="214722"/>
                        </a:cubicBezTo>
                        <a:cubicBezTo>
                          <a:pt x="70161" y="213579"/>
                          <a:pt x="69895" y="204416"/>
                          <a:pt x="62294" y="204616"/>
                        </a:cubicBezTo>
                        <a:cubicBezTo>
                          <a:pt x="60522" y="205511"/>
                          <a:pt x="59046" y="206293"/>
                          <a:pt x="58426" y="208312"/>
                        </a:cubicBezTo>
                        <a:close/>
                        <a:moveTo>
                          <a:pt x="289751" y="208721"/>
                        </a:moveTo>
                        <a:cubicBezTo>
                          <a:pt x="288950" y="211550"/>
                          <a:pt x="291722" y="214227"/>
                          <a:pt x="294513" y="213493"/>
                        </a:cubicBezTo>
                        <a:cubicBezTo>
                          <a:pt x="298895" y="212341"/>
                          <a:pt x="298295" y="205607"/>
                          <a:pt x="292951" y="205769"/>
                        </a:cubicBezTo>
                        <a:cubicBezTo>
                          <a:pt x="291484" y="206492"/>
                          <a:pt x="290236" y="207035"/>
                          <a:pt x="289751" y="208721"/>
                        </a:cubicBezTo>
                        <a:close/>
                        <a:moveTo>
                          <a:pt x="109461" y="217846"/>
                        </a:moveTo>
                        <a:cubicBezTo>
                          <a:pt x="105861" y="218494"/>
                          <a:pt x="102984" y="213903"/>
                          <a:pt x="103956" y="210369"/>
                        </a:cubicBezTo>
                        <a:cubicBezTo>
                          <a:pt x="104565" y="208150"/>
                          <a:pt x="106480" y="207416"/>
                          <a:pt x="108480" y="206512"/>
                        </a:cubicBezTo>
                        <a:cubicBezTo>
                          <a:pt x="116805" y="206321"/>
                          <a:pt x="117491" y="216408"/>
                          <a:pt x="109461" y="217846"/>
                        </a:cubicBezTo>
                        <a:close/>
                        <a:moveTo>
                          <a:pt x="225581" y="217684"/>
                        </a:moveTo>
                        <a:cubicBezTo>
                          <a:pt x="222037" y="218313"/>
                          <a:pt x="218875" y="214389"/>
                          <a:pt x="219742" y="210864"/>
                        </a:cubicBezTo>
                        <a:cubicBezTo>
                          <a:pt x="220399" y="208207"/>
                          <a:pt x="222256" y="207550"/>
                          <a:pt x="224590" y="206502"/>
                        </a:cubicBezTo>
                        <a:cubicBezTo>
                          <a:pt x="231924" y="206350"/>
                          <a:pt x="233658" y="216246"/>
                          <a:pt x="225581" y="217684"/>
                        </a:cubicBezTo>
                        <a:close/>
                        <a:moveTo>
                          <a:pt x="167812" y="216284"/>
                        </a:moveTo>
                        <a:cubicBezTo>
                          <a:pt x="165097" y="216770"/>
                          <a:pt x="162687" y="213960"/>
                          <a:pt x="163373" y="211264"/>
                        </a:cubicBezTo>
                        <a:cubicBezTo>
                          <a:pt x="163859" y="209379"/>
                          <a:pt x="165192" y="208855"/>
                          <a:pt x="166907" y="208140"/>
                        </a:cubicBezTo>
                        <a:cubicBezTo>
                          <a:pt x="172488" y="208036"/>
                          <a:pt x="172841" y="215370"/>
                          <a:pt x="167812" y="216284"/>
                        </a:cubicBezTo>
                        <a:close/>
                        <a:moveTo>
                          <a:pt x="4439" y="209626"/>
                        </a:moveTo>
                        <a:cubicBezTo>
                          <a:pt x="4524" y="210436"/>
                          <a:pt x="4972" y="210607"/>
                          <a:pt x="5515" y="210941"/>
                        </a:cubicBezTo>
                        <a:cubicBezTo>
                          <a:pt x="6172" y="210684"/>
                          <a:pt x="6610" y="210417"/>
                          <a:pt x="6668" y="209540"/>
                        </a:cubicBezTo>
                        <a:cubicBezTo>
                          <a:pt x="6296" y="209102"/>
                          <a:pt x="6172" y="208731"/>
                          <a:pt x="5429" y="208636"/>
                        </a:cubicBezTo>
                        <a:cubicBezTo>
                          <a:pt x="4972" y="208959"/>
                          <a:pt x="4706" y="209102"/>
                          <a:pt x="4439" y="209626"/>
                        </a:cubicBezTo>
                        <a:close/>
                        <a:moveTo>
                          <a:pt x="266500" y="212750"/>
                        </a:moveTo>
                        <a:cubicBezTo>
                          <a:pt x="265509" y="216017"/>
                          <a:pt x="268796" y="219818"/>
                          <a:pt x="272329" y="219084"/>
                        </a:cubicBezTo>
                        <a:cubicBezTo>
                          <a:pt x="278063" y="217884"/>
                          <a:pt x="277673" y="208874"/>
                          <a:pt x="270767" y="209055"/>
                        </a:cubicBezTo>
                        <a:cubicBezTo>
                          <a:pt x="268719" y="209921"/>
                          <a:pt x="267167" y="210550"/>
                          <a:pt x="266500" y="212750"/>
                        </a:cubicBezTo>
                        <a:close/>
                        <a:moveTo>
                          <a:pt x="37481" y="212998"/>
                        </a:moveTo>
                        <a:cubicBezTo>
                          <a:pt x="36690" y="215484"/>
                          <a:pt x="38891" y="218389"/>
                          <a:pt x="41510" y="217932"/>
                        </a:cubicBezTo>
                        <a:cubicBezTo>
                          <a:pt x="45891" y="217160"/>
                          <a:pt x="45968" y="210207"/>
                          <a:pt x="40691" y="210369"/>
                        </a:cubicBezTo>
                        <a:cubicBezTo>
                          <a:pt x="39186" y="210988"/>
                          <a:pt x="37976" y="211436"/>
                          <a:pt x="37481" y="212998"/>
                        </a:cubicBezTo>
                        <a:close/>
                        <a:moveTo>
                          <a:pt x="203635" y="221628"/>
                        </a:moveTo>
                        <a:cubicBezTo>
                          <a:pt x="200044" y="222285"/>
                          <a:pt x="197244" y="218656"/>
                          <a:pt x="198215" y="215217"/>
                        </a:cubicBezTo>
                        <a:cubicBezTo>
                          <a:pt x="198825" y="213046"/>
                          <a:pt x="200454" y="212569"/>
                          <a:pt x="202406" y="211684"/>
                        </a:cubicBezTo>
                        <a:cubicBezTo>
                          <a:pt x="209398" y="211512"/>
                          <a:pt x="209645" y="220523"/>
                          <a:pt x="203635" y="221628"/>
                        </a:cubicBezTo>
                        <a:close/>
                        <a:moveTo>
                          <a:pt x="146199" y="221218"/>
                        </a:moveTo>
                        <a:cubicBezTo>
                          <a:pt x="142837" y="222066"/>
                          <a:pt x="139579" y="219027"/>
                          <a:pt x="140532" y="215551"/>
                        </a:cubicBezTo>
                        <a:cubicBezTo>
                          <a:pt x="141084" y="213541"/>
                          <a:pt x="142523" y="212922"/>
                          <a:pt x="144313" y="212103"/>
                        </a:cubicBezTo>
                        <a:cubicBezTo>
                          <a:pt x="150828" y="211922"/>
                          <a:pt x="151286" y="219942"/>
                          <a:pt x="146199" y="221218"/>
                        </a:cubicBezTo>
                        <a:close/>
                        <a:moveTo>
                          <a:pt x="243411" y="214808"/>
                        </a:moveTo>
                        <a:cubicBezTo>
                          <a:pt x="242821" y="215665"/>
                          <a:pt x="243488" y="217503"/>
                          <a:pt x="243659" y="218256"/>
                        </a:cubicBezTo>
                        <a:cubicBezTo>
                          <a:pt x="244354" y="221342"/>
                          <a:pt x="244469" y="223495"/>
                          <a:pt x="247440" y="224257"/>
                        </a:cubicBezTo>
                        <a:cubicBezTo>
                          <a:pt x="256213" y="226495"/>
                          <a:pt x="257680" y="212627"/>
                          <a:pt x="249984" y="212750"/>
                        </a:cubicBezTo>
                        <a:cubicBezTo>
                          <a:pt x="247974" y="213598"/>
                          <a:pt x="244555" y="213122"/>
                          <a:pt x="243411" y="214808"/>
                        </a:cubicBezTo>
                        <a:close/>
                        <a:moveTo>
                          <a:pt x="71495" y="216370"/>
                        </a:moveTo>
                        <a:cubicBezTo>
                          <a:pt x="69875" y="220170"/>
                          <a:pt x="73085" y="224714"/>
                          <a:pt x="77410" y="223933"/>
                        </a:cubicBezTo>
                        <a:cubicBezTo>
                          <a:pt x="84011" y="222752"/>
                          <a:pt x="83534" y="212817"/>
                          <a:pt x="76010" y="212998"/>
                        </a:cubicBezTo>
                        <a:cubicBezTo>
                          <a:pt x="73952" y="213836"/>
                          <a:pt x="72352" y="214370"/>
                          <a:pt x="71495" y="216370"/>
                        </a:cubicBezTo>
                        <a:close/>
                        <a:moveTo>
                          <a:pt x="328213" y="213903"/>
                        </a:moveTo>
                        <a:cubicBezTo>
                          <a:pt x="328193" y="214093"/>
                          <a:pt x="328155" y="214284"/>
                          <a:pt x="328127" y="214484"/>
                        </a:cubicBezTo>
                        <a:cubicBezTo>
                          <a:pt x="328432" y="214760"/>
                          <a:pt x="328727" y="215036"/>
                          <a:pt x="329032" y="215313"/>
                        </a:cubicBezTo>
                        <a:cubicBezTo>
                          <a:pt x="329117" y="215313"/>
                          <a:pt x="329203" y="215313"/>
                          <a:pt x="329279" y="215313"/>
                        </a:cubicBezTo>
                        <a:cubicBezTo>
                          <a:pt x="329775" y="215065"/>
                          <a:pt x="330022" y="214827"/>
                          <a:pt x="330270" y="214322"/>
                        </a:cubicBezTo>
                        <a:cubicBezTo>
                          <a:pt x="330194" y="213570"/>
                          <a:pt x="329765" y="213189"/>
                          <a:pt x="329032" y="213084"/>
                        </a:cubicBezTo>
                        <a:cubicBezTo>
                          <a:pt x="328660" y="213360"/>
                          <a:pt x="328403" y="213427"/>
                          <a:pt x="328213" y="213903"/>
                        </a:cubicBezTo>
                        <a:close/>
                        <a:moveTo>
                          <a:pt x="123511" y="226552"/>
                        </a:moveTo>
                        <a:cubicBezTo>
                          <a:pt x="119739" y="227238"/>
                          <a:pt x="116396" y="223142"/>
                          <a:pt x="117510" y="219485"/>
                        </a:cubicBezTo>
                        <a:cubicBezTo>
                          <a:pt x="118291" y="216894"/>
                          <a:pt x="120005" y="216494"/>
                          <a:pt x="122520" y="215541"/>
                        </a:cubicBezTo>
                        <a:cubicBezTo>
                          <a:pt x="129692" y="215570"/>
                          <a:pt x="130035" y="225362"/>
                          <a:pt x="123511" y="226552"/>
                        </a:cubicBezTo>
                        <a:close/>
                        <a:moveTo>
                          <a:pt x="304390" y="217189"/>
                        </a:moveTo>
                        <a:cubicBezTo>
                          <a:pt x="303181" y="219094"/>
                          <a:pt x="305162" y="221856"/>
                          <a:pt x="307343" y="221466"/>
                        </a:cubicBezTo>
                        <a:cubicBezTo>
                          <a:pt x="310705" y="220856"/>
                          <a:pt x="310401" y="215684"/>
                          <a:pt x="306762" y="215627"/>
                        </a:cubicBezTo>
                        <a:cubicBezTo>
                          <a:pt x="305667" y="216046"/>
                          <a:pt x="304952" y="216294"/>
                          <a:pt x="304390" y="217189"/>
                        </a:cubicBezTo>
                        <a:close/>
                        <a:moveTo>
                          <a:pt x="17917" y="220561"/>
                        </a:moveTo>
                        <a:cubicBezTo>
                          <a:pt x="19498" y="221475"/>
                          <a:pt x="20964" y="219799"/>
                          <a:pt x="21031" y="218342"/>
                        </a:cubicBezTo>
                        <a:cubicBezTo>
                          <a:pt x="20450" y="217227"/>
                          <a:pt x="20164" y="216408"/>
                          <a:pt x="18402" y="216456"/>
                        </a:cubicBezTo>
                        <a:cubicBezTo>
                          <a:pt x="16898" y="217360"/>
                          <a:pt x="15907" y="219389"/>
                          <a:pt x="17917" y="220561"/>
                        </a:cubicBezTo>
                        <a:close/>
                        <a:moveTo>
                          <a:pt x="181366" y="225819"/>
                        </a:moveTo>
                        <a:cubicBezTo>
                          <a:pt x="178080" y="226457"/>
                          <a:pt x="175260" y="223152"/>
                          <a:pt x="176194" y="219818"/>
                        </a:cubicBezTo>
                        <a:cubicBezTo>
                          <a:pt x="176727" y="217903"/>
                          <a:pt x="178222" y="217341"/>
                          <a:pt x="179804" y="216446"/>
                        </a:cubicBezTo>
                        <a:cubicBezTo>
                          <a:pt x="186814" y="216265"/>
                          <a:pt x="187033" y="224714"/>
                          <a:pt x="181366" y="225819"/>
                        </a:cubicBezTo>
                        <a:close/>
                        <a:moveTo>
                          <a:pt x="50302" y="221790"/>
                        </a:moveTo>
                        <a:cubicBezTo>
                          <a:pt x="49416" y="224704"/>
                          <a:pt x="51968" y="227943"/>
                          <a:pt x="55064" y="227295"/>
                        </a:cubicBezTo>
                        <a:cubicBezTo>
                          <a:pt x="60188" y="226247"/>
                          <a:pt x="59998" y="218475"/>
                          <a:pt x="53588" y="218665"/>
                        </a:cubicBezTo>
                        <a:cubicBezTo>
                          <a:pt x="52092" y="219437"/>
                          <a:pt x="50816" y="220075"/>
                          <a:pt x="50302" y="221790"/>
                        </a:cubicBezTo>
                        <a:close/>
                        <a:moveTo>
                          <a:pt x="280721" y="221875"/>
                        </a:moveTo>
                        <a:cubicBezTo>
                          <a:pt x="279892" y="224800"/>
                          <a:pt x="282473" y="227619"/>
                          <a:pt x="285407" y="227057"/>
                        </a:cubicBezTo>
                        <a:cubicBezTo>
                          <a:pt x="290313" y="226114"/>
                          <a:pt x="289903" y="218656"/>
                          <a:pt x="284007" y="218846"/>
                        </a:cubicBezTo>
                        <a:cubicBezTo>
                          <a:pt x="282502" y="219570"/>
                          <a:pt x="281197" y="220161"/>
                          <a:pt x="280721" y="221875"/>
                        </a:cubicBezTo>
                        <a:close/>
                        <a:moveTo>
                          <a:pt x="220723" y="221713"/>
                        </a:moveTo>
                        <a:cubicBezTo>
                          <a:pt x="222199" y="223609"/>
                          <a:pt x="222723" y="228124"/>
                          <a:pt x="220723" y="229686"/>
                        </a:cubicBezTo>
                        <a:cubicBezTo>
                          <a:pt x="219942" y="230295"/>
                          <a:pt x="219189" y="230381"/>
                          <a:pt x="218008" y="230667"/>
                        </a:cubicBezTo>
                        <a:cubicBezTo>
                          <a:pt x="217103" y="230886"/>
                          <a:pt x="215941" y="231391"/>
                          <a:pt x="214722" y="231162"/>
                        </a:cubicBezTo>
                        <a:cubicBezTo>
                          <a:pt x="211884" y="230629"/>
                          <a:pt x="209531" y="226685"/>
                          <a:pt x="211017" y="223190"/>
                        </a:cubicBezTo>
                        <a:cubicBezTo>
                          <a:pt x="211969" y="220970"/>
                          <a:pt x="213617" y="220656"/>
                          <a:pt x="215951" y="219742"/>
                        </a:cubicBezTo>
                        <a:cubicBezTo>
                          <a:pt x="218094" y="219704"/>
                          <a:pt x="219799" y="220513"/>
                          <a:pt x="220723" y="221713"/>
                        </a:cubicBezTo>
                        <a:close/>
                        <a:moveTo>
                          <a:pt x="158772" y="230505"/>
                        </a:moveTo>
                        <a:cubicBezTo>
                          <a:pt x="155924" y="230943"/>
                          <a:pt x="152819" y="227524"/>
                          <a:pt x="153600" y="224504"/>
                        </a:cubicBezTo>
                        <a:cubicBezTo>
                          <a:pt x="154248" y="221999"/>
                          <a:pt x="155867" y="221532"/>
                          <a:pt x="158201" y="220637"/>
                        </a:cubicBezTo>
                        <a:cubicBezTo>
                          <a:pt x="164763" y="220704"/>
                          <a:pt x="164935" y="229543"/>
                          <a:pt x="158772" y="230505"/>
                        </a:cubicBezTo>
                        <a:close/>
                        <a:moveTo>
                          <a:pt x="85135" y="224009"/>
                        </a:moveTo>
                        <a:cubicBezTo>
                          <a:pt x="82363" y="227857"/>
                          <a:pt x="85373" y="232448"/>
                          <a:pt x="89087" y="233124"/>
                        </a:cubicBezTo>
                        <a:cubicBezTo>
                          <a:pt x="92078" y="233677"/>
                          <a:pt x="94917" y="231458"/>
                          <a:pt x="95488" y="229505"/>
                        </a:cubicBezTo>
                        <a:cubicBezTo>
                          <a:pt x="95783" y="228505"/>
                          <a:pt x="95412" y="227343"/>
                          <a:pt x="95250" y="226552"/>
                        </a:cubicBezTo>
                        <a:cubicBezTo>
                          <a:pt x="94631" y="223666"/>
                          <a:pt x="94279" y="221475"/>
                          <a:pt x="90726" y="221532"/>
                        </a:cubicBezTo>
                        <a:cubicBezTo>
                          <a:pt x="88364" y="222533"/>
                          <a:pt x="86506" y="222123"/>
                          <a:pt x="85135" y="224009"/>
                        </a:cubicBezTo>
                        <a:close/>
                        <a:moveTo>
                          <a:pt x="257546" y="226143"/>
                        </a:moveTo>
                        <a:cubicBezTo>
                          <a:pt x="256689" y="229467"/>
                          <a:pt x="259956" y="233086"/>
                          <a:pt x="263214" y="232467"/>
                        </a:cubicBezTo>
                        <a:cubicBezTo>
                          <a:pt x="269310" y="231315"/>
                          <a:pt x="268910" y="222123"/>
                          <a:pt x="262147" y="222199"/>
                        </a:cubicBezTo>
                        <a:cubicBezTo>
                          <a:pt x="259852" y="223104"/>
                          <a:pt x="258185" y="223666"/>
                          <a:pt x="257546" y="226143"/>
                        </a:cubicBezTo>
                        <a:close/>
                        <a:moveTo>
                          <a:pt x="29346" y="226724"/>
                        </a:moveTo>
                        <a:cubicBezTo>
                          <a:pt x="28804" y="228543"/>
                          <a:pt x="30737" y="230743"/>
                          <a:pt x="32795" y="230257"/>
                        </a:cubicBezTo>
                        <a:cubicBezTo>
                          <a:pt x="35986" y="229505"/>
                          <a:pt x="35557" y="224838"/>
                          <a:pt x="32137" y="224504"/>
                        </a:cubicBezTo>
                        <a:cubicBezTo>
                          <a:pt x="30852" y="224990"/>
                          <a:pt x="29737" y="225390"/>
                          <a:pt x="29346" y="226724"/>
                        </a:cubicBezTo>
                        <a:close/>
                        <a:moveTo>
                          <a:pt x="136827" y="235429"/>
                        </a:moveTo>
                        <a:cubicBezTo>
                          <a:pt x="132864" y="236153"/>
                          <a:pt x="129740" y="232248"/>
                          <a:pt x="130826" y="228524"/>
                        </a:cubicBezTo>
                        <a:cubicBezTo>
                          <a:pt x="131540" y="226085"/>
                          <a:pt x="133160" y="225485"/>
                          <a:pt x="135350" y="224495"/>
                        </a:cubicBezTo>
                        <a:cubicBezTo>
                          <a:pt x="143142" y="224323"/>
                          <a:pt x="143656" y="234191"/>
                          <a:pt x="136827" y="235429"/>
                        </a:cubicBezTo>
                        <a:close/>
                        <a:moveTo>
                          <a:pt x="195005" y="235353"/>
                        </a:moveTo>
                        <a:cubicBezTo>
                          <a:pt x="191243" y="236144"/>
                          <a:pt x="187881" y="232134"/>
                          <a:pt x="188843" y="228609"/>
                        </a:cubicBezTo>
                        <a:cubicBezTo>
                          <a:pt x="189481" y="226276"/>
                          <a:pt x="191081" y="225657"/>
                          <a:pt x="193119" y="224666"/>
                        </a:cubicBezTo>
                        <a:cubicBezTo>
                          <a:pt x="200987" y="224485"/>
                          <a:pt x="201311" y="234020"/>
                          <a:pt x="195005" y="235353"/>
                        </a:cubicBezTo>
                        <a:close/>
                        <a:moveTo>
                          <a:pt x="318678" y="227543"/>
                        </a:moveTo>
                        <a:cubicBezTo>
                          <a:pt x="319021" y="228257"/>
                          <a:pt x="319373" y="228676"/>
                          <a:pt x="320078" y="229019"/>
                        </a:cubicBezTo>
                        <a:cubicBezTo>
                          <a:pt x="321031" y="229019"/>
                          <a:pt x="321555" y="228552"/>
                          <a:pt x="321802" y="227867"/>
                        </a:cubicBezTo>
                        <a:cubicBezTo>
                          <a:pt x="322212" y="226971"/>
                          <a:pt x="321250" y="226181"/>
                          <a:pt x="320650" y="225981"/>
                        </a:cubicBezTo>
                        <a:cubicBezTo>
                          <a:pt x="320421" y="225952"/>
                          <a:pt x="320212" y="225923"/>
                          <a:pt x="319992" y="225895"/>
                        </a:cubicBezTo>
                        <a:cubicBezTo>
                          <a:pt x="319354" y="226333"/>
                          <a:pt x="318840" y="226619"/>
                          <a:pt x="318678" y="227543"/>
                        </a:cubicBezTo>
                        <a:close/>
                        <a:moveTo>
                          <a:pt x="234696" y="228448"/>
                        </a:moveTo>
                        <a:cubicBezTo>
                          <a:pt x="234163" y="229305"/>
                          <a:pt x="234591" y="230753"/>
                          <a:pt x="234782" y="231572"/>
                        </a:cubicBezTo>
                        <a:cubicBezTo>
                          <a:pt x="235553" y="235001"/>
                          <a:pt x="236011" y="236982"/>
                          <a:pt x="239468" y="237658"/>
                        </a:cubicBezTo>
                        <a:cubicBezTo>
                          <a:pt x="247298" y="239173"/>
                          <a:pt x="248612" y="225942"/>
                          <a:pt x="241107" y="226066"/>
                        </a:cubicBezTo>
                        <a:cubicBezTo>
                          <a:pt x="238820" y="227028"/>
                          <a:pt x="235925" y="226466"/>
                          <a:pt x="234696" y="228448"/>
                        </a:cubicBezTo>
                        <a:close/>
                        <a:moveTo>
                          <a:pt x="63113" y="230667"/>
                        </a:moveTo>
                        <a:cubicBezTo>
                          <a:pt x="62217" y="233886"/>
                          <a:pt x="65141" y="237058"/>
                          <a:pt x="68285" y="236506"/>
                        </a:cubicBezTo>
                        <a:cubicBezTo>
                          <a:pt x="74019" y="235487"/>
                          <a:pt x="73847" y="226943"/>
                          <a:pt x="67056" y="227133"/>
                        </a:cubicBezTo>
                        <a:cubicBezTo>
                          <a:pt x="65113" y="227952"/>
                          <a:pt x="63713" y="228533"/>
                          <a:pt x="63113" y="230667"/>
                        </a:cubicBezTo>
                        <a:close/>
                        <a:moveTo>
                          <a:pt x="295180" y="230743"/>
                        </a:moveTo>
                        <a:cubicBezTo>
                          <a:pt x="294342" y="232762"/>
                          <a:pt x="296246" y="235448"/>
                          <a:pt x="298628" y="234934"/>
                        </a:cubicBezTo>
                        <a:cubicBezTo>
                          <a:pt x="302257" y="234153"/>
                          <a:pt x="301781" y="228600"/>
                          <a:pt x="297399" y="228771"/>
                        </a:cubicBezTo>
                        <a:cubicBezTo>
                          <a:pt x="296485" y="229314"/>
                          <a:pt x="295608" y="229734"/>
                          <a:pt x="295180" y="230743"/>
                        </a:cubicBezTo>
                        <a:close/>
                        <a:moveTo>
                          <a:pt x="172326" y="239792"/>
                        </a:moveTo>
                        <a:cubicBezTo>
                          <a:pt x="168802" y="240392"/>
                          <a:pt x="165706" y="236420"/>
                          <a:pt x="166649" y="232972"/>
                        </a:cubicBezTo>
                        <a:cubicBezTo>
                          <a:pt x="167335" y="230505"/>
                          <a:pt x="169021" y="230029"/>
                          <a:pt x="171336" y="229114"/>
                        </a:cubicBezTo>
                        <a:cubicBezTo>
                          <a:pt x="178584" y="229000"/>
                          <a:pt x="178937" y="238658"/>
                          <a:pt x="172326" y="239792"/>
                        </a:cubicBezTo>
                        <a:close/>
                        <a:moveTo>
                          <a:pt x="271844" y="235020"/>
                        </a:moveTo>
                        <a:cubicBezTo>
                          <a:pt x="270958" y="237725"/>
                          <a:pt x="273406" y="240925"/>
                          <a:pt x="276197" y="240440"/>
                        </a:cubicBezTo>
                        <a:cubicBezTo>
                          <a:pt x="281483" y="239535"/>
                          <a:pt x="281188" y="231972"/>
                          <a:pt x="275454" y="232058"/>
                        </a:cubicBezTo>
                        <a:cubicBezTo>
                          <a:pt x="273739" y="232762"/>
                          <a:pt x="272425" y="233239"/>
                          <a:pt x="271844" y="235020"/>
                        </a:cubicBezTo>
                        <a:close/>
                        <a:moveTo>
                          <a:pt x="42158" y="235515"/>
                        </a:moveTo>
                        <a:cubicBezTo>
                          <a:pt x="41520" y="237782"/>
                          <a:pt x="43805" y="240211"/>
                          <a:pt x="46272" y="239630"/>
                        </a:cubicBezTo>
                        <a:cubicBezTo>
                          <a:pt x="50082" y="238716"/>
                          <a:pt x="49759" y="232705"/>
                          <a:pt x="44958" y="232886"/>
                        </a:cubicBezTo>
                        <a:cubicBezTo>
                          <a:pt x="43701" y="233496"/>
                          <a:pt x="42567" y="234077"/>
                          <a:pt x="42158" y="235515"/>
                        </a:cubicBezTo>
                        <a:close/>
                        <a:moveTo>
                          <a:pt x="150628" y="244145"/>
                        </a:moveTo>
                        <a:cubicBezTo>
                          <a:pt x="149866" y="244278"/>
                          <a:pt x="149095" y="244421"/>
                          <a:pt x="148333" y="244554"/>
                        </a:cubicBezTo>
                        <a:cubicBezTo>
                          <a:pt x="145618" y="244154"/>
                          <a:pt x="142770" y="240316"/>
                          <a:pt x="144132" y="236906"/>
                        </a:cubicBezTo>
                        <a:cubicBezTo>
                          <a:pt x="145056" y="234601"/>
                          <a:pt x="146685" y="234134"/>
                          <a:pt x="149066" y="233210"/>
                        </a:cubicBezTo>
                        <a:cubicBezTo>
                          <a:pt x="156162" y="233134"/>
                          <a:pt x="157705" y="242554"/>
                          <a:pt x="150628" y="244145"/>
                        </a:cubicBezTo>
                        <a:close/>
                        <a:moveTo>
                          <a:pt x="76429" y="238554"/>
                        </a:moveTo>
                        <a:cubicBezTo>
                          <a:pt x="74838" y="242078"/>
                          <a:pt x="77772" y="246355"/>
                          <a:pt x="81772" y="245621"/>
                        </a:cubicBezTo>
                        <a:cubicBezTo>
                          <a:pt x="87811" y="244516"/>
                          <a:pt x="87287" y="235410"/>
                          <a:pt x="80458" y="235591"/>
                        </a:cubicBezTo>
                        <a:cubicBezTo>
                          <a:pt x="78705" y="236372"/>
                          <a:pt x="77200" y="236839"/>
                          <a:pt x="76429" y="238554"/>
                        </a:cubicBezTo>
                        <a:close/>
                        <a:moveTo>
                          <a:pt x="248755" y="239297"/>
                        </a:moveTo>
                        <a:cubicBezTo>
                          <a:pt x="247802" y="242630"/>
                          <a:pt x="251012" y="246450"/>
                          <a:pt x="254584" y="245707"/>
                        </a:cubicBezTo>
                        <a:cubicBezTo>
                          <a:pt x="260461" y="244488"/>
                          <a:pt x="260061" y="235401"/>
                          <a:pt x="252774" y="235601"/>
                        </a:cubicBezTo>
                        <a:cubicBezTo>
                          <a:pt x="250936" y="236515"/>
                          <a:pt x="249355" y="237182"/>
                          <a:pt x="248755" y="239297"/>
                        </a:cubicBezTo>
                        <a:close/>
                        <a:moveTo>
                          <a:pt x="190814" y="242907"/>
                        </a:moveTo>
                        <a:cubicBezTo>
                          <a:pt x="191110" y="244097"/>
                          <a:pt x="191157" y="245659"/>
                          <a:pt x="190567" y="246602"/>
                        </a:cubicBezTo>
                        <a:cubicBezTo>
                          <a:pt x="189662" y="248041"/>
                          <a:pt x="188090" y="248145"/>
                          <a:pt x="186128" y="248574"/>
                        </a:cubicBezTo>
                        <a:cubicBezTo>
                          <a:pt x="185204" y="248784"/>
                          <a:pt x="184013" y="249336"/>
                          <a:pt x="182756" y="249069"/>
                        </a:cubicBezTo>
                        <a:cubicBezTo>
                          <a:pt x="180661" y="248621"/>
                          <a:pt x="178498" y="244221"/>
                          <a:pt x="179556" y="241344"/>
                        </a:cubicBezTo>
                        <a:cubicBezTo>
                          <a:pt x="180423" y="238963"/>
                          <a:pt x="182013" y="238420"/>
                          <a:pt x="184404" y="237477"/>
                        </a:cubicBezTo>
                        <a:cubicBezTo>
                          <a:pt x="188833" y="237382"/>
                          <a:pt x="189948" y="239382"/>
                          <a:pt x="190814" y="242907"/>
                        </a:cubicBezTo>
                        <a:close/>
                        <a:moveTo>
                          <a:pt x="309563" y="240525"/>
                        </a:moveTo>
                        <a:cubicBezTo>
                          <a:pt x="309610" y="241716"/>
                          <a:pt x="310439" y="242583"/>
                          <a:pt x="311706" y="242583"/>
                        </a:cubicBezTo>
                        <a:cubicBezTo>
                          <a:pt x="312525" y="242259"/>
                          <a:pt x="313534" y="241478"/>
                          <a:pt x="313182" y="240278"/>
                        </a:cubicBezTo>
                        <a:cubicBezTo>
                          <a:pt x="312887" y="239506"/>
                          <a:pt x="312211" y="238877"/>
                          <a:pt x="311125" y="238877"/>
                        </a:cubicBezTo>
                        <a:cubicBezTo>
                          <a:pt x="310372" y="239363"/>
                          <a:pt x="309962" y="239687"/>
                          <a:pt x="309563" y="240525"/>
                        </a:cubicBezTo>
                        <a:close/>
                        <a:moveTo>
                          <a:pt x="21536" y="240611"/>
                        </a:moveTo>
                        <a:cubicBezTo>
                          <a:pt x="21593" y="241678"/>
                          <a:pt x="22231" y="242183"/>
                          <a:pt x="23013" y="242506"/>
                        </a:cubicBezTo>
                        <a:cubicBezTo>
                          <a:pt x="24212" y="242506"/>
                          <a:pt x="24727" y="241783"/>
                          <a:pt x="25070" y="240944"/>
                        </a:cubicBezTo>
                        <a:cubicBezTo>
                          <a:pt x="25041" y="239820"/>
                          <a:pt x="24270" y="239058"/>
                          <a:pt x="23174" y="238973"/>
                        </a:cubicBezTo>
                        <a:cubicBezTo>
                          <a:pt x="22250" y="239468"/>
                          <a:pt x="22041" y="239678"/>
                          <a:pt x="21536" y="240611"/>
                        </a:cubicBezTo>
                        <a:close/>
                        <a:moveTo>
                          <a:pt x="226314" y="242087"/>
                        </a:moveTo>
                        <a:cubicBezTo>
                          <a:pt x="225819" y="242916"/>
                          <a:pt x="225743" y="244278"/>
                          <a:pt x="225981" y="245383"/>
                        </a:cubicBezTo>
                        <a:cubicBezTo>
                          <a:pt x="226686" y="248631"/>
                          <a:pt x="227895" y="250336"/>
                          <a:pt x="231324" y="250803"/>
                        </a:cubicBezTo>
                        <a:cubicBezTo>
                          <a:pt x="238211" y="251755"/>
                          <a:pt x="239439" y="239325"/>
                          <a:pt x="231896" y="239459"/>
                        </a:cubicBezTo>
                        <a:cubicBezTo>
                          <a:pt x="229486" y="240430"/>
                          <a:pt x="227562" y="240001"/>
                          <a:pt x="226314" y="242087"/>
                        </a:cubicBezTo>
                        <a:close/>
                        <a:moveTo>
                          <a:pt x="55150" y="243897"/>
                        </a:moveTo>
                        <a:cubicBezTo>
                          <a:pt x="54264" y="246469"/>
                          <a:pt x="56617" y="249460"/>
                          <a:pt x="59255" y="248993"/>
                        </a:cubicBezTo>
                        <a:cubicBezTo>
                          <a:pt x="63837" y="248193"/>
                          <a:pt x="63694" y="241087"/>
                          <a:pt x="58274" y="241268"/>
                        </a:cubicBezTo>
                        <a:cubicBezTo>
                          <a:pt x="56902" y="241935"/>
                          <a:pt x="55655" y="242421"/>
                          <a:pt x="55150" y="243897"/>
                        </a:cubicBezTo>
                        <a:close/>
                        <a:moveTo>
                          <a:pt x="168545" y="247021"/>
                        </a:moveTo>
                        <a:cubicBezTo>
                          <a:pt x="168831" y="248098"/>
                          <a:pt x="169174" y="249650"/>
                          <a:pt x="168707" y="250803"/>
                        </a:cubicBezTo>
                        <a:cubicBezTo>
                          <a:pt x="168421" y="251498"/>
                          <a:pt x="167535" y="252279"/>
                          <a:pt x="166821" y="252527"/>
                        </a:cubicBezTo>
                        <a:cubicBezTo>
                          <a:pt x="165383" y="253022"/>
                          <a:pt x="159973" y="254203"/>
                          <a:pt x="158687" y="253755"/>
                        </a:cubicBezTo>
                        <a:cubicBezTo>
                          <a:pt x="157782" y="250041"/>
                          <a:pt x="155620" y="245707"/>
                          <a:pt x="159020" y="243078"/>
                        </a:cubicBezTo>
                        <a:cubicBezTo>
                          <a:pt x="160039" y="242287"/>
                          <a:pt x="161287" y="242325"/>
                          <a:pt x="162639" y="241764"/>
                        </a:cubicBezTo>
                        <a:cubicBezTo>
                          <a:pt x="166631" y="241678"/>
                          <a:pt x="167707" y="243821"/>
                          <a:pt x="168545" y="247021"/>
                        </a:cubicBezTo>
                        <a:close/>
                        <a:moveTo>
                          <a:pt x="286141" y="244307"/>
                        </a:moveTo>
                        <a:cubicBezTo>
                          <a:pt x="285426" y="246393"/>
                          <a:pt x="287569" y="248650"/>
                          <a:pt x="289512" y="248326"/>
                        </a:cubicBezTo>
                        <a:cubicBezTo>
                          <a:pt x="293437" y="247688"/>
                          <a:pt x="293227" y="242335"/>
                          <a:pt x="289017" y="241926"/>
                        </a:cubicBezTo>
                        <a:cubicBezTo>
                          <a:pt x="287674" y="242506"/>
                          <a:pt x="286626" y="242897"/>
                          <a:pt x="286141" y="244307"/>
                        </a:cubicBezTo>
                        <a:close/>
                        <a:moveTo>
                          <a:pt x="89249" y="248088"/>
                        </a:moveTo>
                        <a:cubicBezTo>
                          <a:pt x="88335" y="251327"/>
                          <a:pt x="91373" y="255184"/>
                          <a:pt x="94517" y="254746"/>
                        </a:cubicBezTo>
                        <a:cubicBezTo>
                          <a:pt x="101365" y="253784"/>
                          <a:pt x="101175" y="244107"/>
                          <a:pt x="93450" y="244307"/>
                        </a:cubicBezTo>
                        <a:cubicBezTo>
                          <a:pt x="91526" y="245269"/>
                          <a:pt x="89868" y="245878"/>
                          <a:pt x="89249" y="248088"/>
                        </a:cubicBezTo>
                        <a:close/>
                        <a:moveTo>
                          <a:pt x="262966" y="248412"/>
                        </a:moveTo>
                        <a:cubicBezTo>
                          <a:pt x="262109" y="251336"/>
                          <a:pt x="264757" y="254222"/>
                          <a:pt x="267653" y="253670"/>
                        </a:cubicBezTo>
                        <a:cubicBezTo>
                          <a:pt x="272577" y="252727"/>
                          <a:pt x="272349" y="245259"/>
                          <a:pt x="266262" y="245450"/>
                        </a:cubicBezTo>
                        <a:cubicBezTo>
                          <a:pt x="264738" y="246136"/>
                          <a:pt x="263462" y="246755"/>
                          <a:pt x="262966" y="248412"/>
                        </a:cubicBezTo>
                        <a:close/>
                        <a:moveTo>
                          <a:pt x="34357" y="248745"/>
                        </a:moveTo>
                        <a:cubicBezTo>
                          <a:pt x="33652" y="250222"/>
                          <a:pt x="35290" y="252213"/>
                          <a:pt x="36824" y="251946"/>
                        </a:cubicBezTo>
                        <a:cubicBezTo>
                          <a:pt x="39700" y="251460"/>
                          <a:pt x="39538" y="247488"/>
                          <a:pt x="36576" y="247174"/>
                        </a:cubicBezTo>
                        <a:cubicBezTo>
                          <a:pt x="35576" y="247555"/>
                          <a:pt x="34785" y="247841"/>
                          <a:pt x="34357" y="248745"/>
                        </a:cubicBezTo>
                        <a:close/>
                        <a:moveTo>
                          <a:pt x="240116" y="252527"/>
                        </a:moveTo>
                        <a:cubicBezTo>
                          <a:pt x="239173" y="255718"/>
                          <a:pt x="242126" y="259461"/>
                          <a:pt x="245374" y="258851"/>
                        </a:cubicBezTo>
                        <a:cubicBezTo>
                          <a:pt x="251336" y="257737"/>
                          <a:pt x="251212" y="248879"/>
                          <a:pt x="244059" y="249079"/>
                        </a:cubicBezTo>
                        <a:cubicBezTo>
                          <a:pt x="242268" y="249888"/>
                          <a:pt x="240706" y="250546"/>
                          <a:pt x="240116" y="252527"/>
                        </a:cubicBezTo>
                        <a:close/>
                        <a:moveTo>
                          <a:pt x="68047" y="253013"/>
                        </a:moveTo>
                        <a:cubicBezTo>
                          <a:pt x="67266" y="255765"/>
                          <a:pt x="69990" y="258689"/>
                          <a:pt x="72809" y="258108"/>
                        </a:cubicBezTo>
                        <a:cubicBezTo>
                          <a:pt x="77600" y="257118"/>
                          <a:pt x="77391" y="249707"/>
                          <a:pt x="71495" y="249898"/>
                        </a:cubicBezTo>
                        <a:cubicBezTo>
                          <a:pt x="69856" y="250622"/>
                          <a:pt x="68561" y="251203"/>
                          <a:pt x="68047" y="253013"/>
                        </a:cubicBezTo>
                        <a:close/>
                        <a:moveTo>
                          <a:pt x="303066" y="255899"/>
                        </a:moveTo>
                        <a:cubicBezTo>
                          <a:pt x="303867" y="255632"/>
                          <a:pt x="304733" y="254651"/>
                          <a:pt x="304390" y="253508"/>
                        </a:cubicBezTo>
                        <a:cubicBezTo>
                          <a:pt x="304076" y="252708"/>
                          <a:pt x="303400" y="252089"/>
                          <a:pt x="302247" y="252117"/>
                        </a:cubicBezTo>
                        <a:cubicBezTo>
                          <a:pt x="299428" y="253736"/>
                          <a:pt x="301200" y="256746"/>
                          <a:pt x="303066" y="255899"/>
                        </a:cubicBezTo>
                        <a:close/>
                        <a:moveTo>
                          <a:pt x="217446" y="256880"/>
                        </a:moveTo>
                        <a:cubicBezTo>
                          <a:pt x="216408" y="260366"/>
                          <a:pt x="219751" y="264414"/>
                          <a:pt x="223276" y="263785"/>
                        </a:cubicBezTo>
                        <a:cubicBezTo>
                          <a:pt x="229810" y="262614"/>
                          <a:pt x="229591" y="252755"/>
                          <a:pt x="222209" y="252936"/>
                        </a:cubicBezTo>
                        <a:cubicBezTo>
                          <a:pt x="219837" y="253879"/>
                          <a:pt x="218189" y="254375"/>
                          <a:pt x="217446" y="256880"/>
                        </a:cubicBezTo>
                        <a:close/>
                        <a:moveTo>
                          <a:pt x="102480" y="257127"/>
                        </a:moveTo>
                        <a:cubicBezTo>
                          <a:pt x="101394" y="260794"/>
                          <a:pt x="105204" y="264271"/>
                          <a:pt x="108642" y="263538"/>
                        </a:cubicBezTo>
                        <a:cubicBezTo>
                          <a:pt x="114643" y="262271"/>
                          <a:pt x="114195" y="252908"/>
                          <a:pt x="106832" y="253108"/>
                        </a:cubicBezTo>
                        <a:cubicBezTo>
                          <a:pt x="104689" y="254060"/>
                          <a:pt x="103175" y="254756"/>
                          <a:pt x="102480" y="257127"/>
                        </a:cubicBezTo>
                        <a:close/>
                        <a:moveTo>
                          <a:pt x="277263" y="257785"/>
                        </a:moveTo>
                        <a:cubicBezTo>
                          <a:pt x="276711" y="260042"/>
                          <a:pt x="279083" y="262157"/>
                          <a:pt x="281207" y="261480"/>
                        </a:cubicBezTo>
                        <a:cubicBezTo>
                          <a:pt x="284531" y="260423"/>
                          <a:pt x="283883" y="255156"/>
                          <a:pt x="279730" y="255327"/>
                        </a:cubicBezTo>
                        <a:cubicBezTo>
                          <a:pt x="278616" y="255937"/>
                          <a:pt x="277606" y="256413"/>
                          <a:pt x="277263" y="257785"/>
                        </a:cubicBezTo>
                        <a:close/>
                        <a:moveTo>
                          <a:pt x="50711" y="261233"/>
                        </a:moveTo>
                        <a:cubicBezTo>
                          <a:pt x="53683" y="260309"/>
                          <a:pt x="53188" y="255479"/>
                          <a:pt x="49397" y="255642"/>
                        </a:cubicBezTo>
                        <a:cubicBezTo>
                          <a:pt x="45644" y="257556"/>
                          <a:pt x="47339" y="262280"/>
                          <a:pt x="50711" y="261233"/>
                        </a:cubicBezTo>
                        <a:close/>
                        <a:moveTo>
                          <a:pt x="138141" y="259347"/>
                        </a:moveTo>
                        <a:cubicBezTo>
                          <a:pt x="135293" y="263481"/>
                          <a:pt x="138732" y="267881"/>
                          <a:pt x="142580" y="268548"/>
                        </a:cubicBezTo>
                        <a:cubicBezTo>
                          <a:pt x="149676" y="269767"/>
                          <a:pt x="151057" y="256880"/>
                          <a:pt x="143808" y="257042"/>
                        </a:cubicBezTo>
                        <a:cubicBezTo>
                          <a:pt x="141665" y="258070"/>
                          <a:pt x="139408" y="257499"/>
                          <a:pt x="138141" y="259347"/>
                        </a:cubicBezTo>
                        <a:close/>
                        <a:moveTo>
                          <a:pt x="195834" y="259261"/>
                        </a:moveTo>
                        <a:cubicBezTo>
                          <a:pt x="193167" y="262871"/>
                          <a:pt x="196101" y="267652"/>
                          <a:pt x="199530" y="268386"/>
                        </a:cubicBezTo>
                        <a:cubicBezTo>
                          <a:pt x="207197" y="270024"/>
                          <a:pt x="208864" y="257013"/>
                          <a:pt x="200682" y="257203"/>
                        </a:cubicBezTo>
                        <a:cubicBezTo>
                          <a:pt x="198777" y="258061"/>
                          <a:pt x="196977" y="257718"/>
                          <a:pt x="195834" y="259261"/>
                        </a:cubicBezTo>
                        <a:close/>
                        <a:moveTo>
                          <a:pt x="81191" y="261890"/>
                        </a:moveTo>
                        <a:cubicBezTo>
                          <a:pt x="80372" y="264947"/>
                          <a:pt x="83363" y="267795"/>
                          <a:pt x="86373" y="267062"/>
                        </a:cubicBezTo>
                        <a:cubicBezTo>
                          <a:pt x="91183" y="265890"/>
                          <a:pt x="90821" y="258328"/>
                          <a:pt x="84811" y="258518"/>
                        </a:cubicBezTo>
                        <a:cubicBezTo>
                          <a:pt x="83058" y="259309"/>
                          <a:pt x="81725" y="259918"/>
                          <a:pt x="81191" y="261890"/>
                        </a:cubicBezTo>
                        <a:close/>
                        <a:moveTo>
                          <a:pt x="254251" y="261890"/>
                        </a:moveTo>
                        <a:cubicBezTo>
                          <a:pt x="253517" y="264481"/>
                          <a:pt x="255918" y="267252"/>
                          <a:pt x="258442" y="266824"/>
                        </a:cubicBezTo>
                        <a:cubicBezTo>
                          <a:pt x="263481" y="265967"/>
                          <a:pt x="263300" y="258670"/>
                          <a:pt x="257461" y="258851"/>
                        </a:cubicBezTo>
                        <a:cubicBezTo>
                          <a:pt x="256004" y="259575"/>
                          <a:pt x="254727" y="260223"/>
                          <a:pt x="254251" y="261890"/>
                        </a:cubicBezTo>
                        <a:close/>
                        <a:moveTo>
                          <a:pt x="173803" y="263538"/>
                        </a:moveTo>
                        <a:cubicBezTo>
                          <a:pt x="170907" y="267271"/>
                          <a:pt x="173927" y="272205"/>
                          <a:pt x="177756" y="272901"/>
                        </a:cubicBezTo>
                        <a:cubicBezTo>
                          <a:pt x="185004" y="274234"/>
                          <a:pt x="186490" y="261404"/>
                          <a:pt x="178984" y="261566"/>
                        </a:cubicBezTo>
                        <a:cubicBezTo>
                          <a:pt x="177041" y="262376"/>
                          <a:pt x="174984" y="262014"/>
                          <a:pt x="173803" y="263538"/>
                        </a:cubicBezTo>
                        <a:close/>
                        <a:moveTo>
                          <a:pt x="115957" y="265509"/>
                        </a:moveTo>
                        <a:cubicBezTo>
                          <a:pt x="114786" y="268891"/>
                          <a:pt x="117891" y="273034"/>
                          <a:pt x="121377" y="272415"/>
                        </a:cubicBezTo>
                        <a:cubicBezTo>
                          <a:pt x="127806" y="271272"/>
                          <a:pt x="127416" y="261823"/>
                          <a:pt x="120387" y="261976"/>
                        </a:cubicBezTo>
                        <a:cubicBezTo>
                          <a:pt x="118310" y="262842"/>
                          <a:pt x="116700" y="263357"/>
                          <a:pt x="115957" y="265509"/>
                        </a:cubicBezTo>
                        <a:close/>
                        <a:moveTo>
                          <a:pt x="27041" y="262709"/>
                        </a:moveTo>
                        <a:cubicBezTo>
                          <a:pt x="26841" y="263128"/>
                          <a:pt x="27032" y="263414"/>
                          <a:pt x="27289" y="263614"/>
                        </a:cubicBezTo>
                        <a:cubicBezTo>
                          <a:pt x="27508" y="263642"/>
                          <a:pt x="27727" y="263671"/>
                          <a:pt x="27946" y="263700"/>
                        </a:cubicBezTo>
                        <a:cubicBezTo>
                          <a:pt x="28185" y="263376"/>
                          <a:pt x="28318" y="263366"/>
                          <a:pt x="28356" y="262795"/>
                        </a:cubicBezTo>
                        <a:cubicBezTo>
                          <a:pt x="28051" y="262461"/>
                          <a:pt x="28032" y="262318"/>
                          <a:pt x="27365" y="262299"/>
                        </a:cubicBezTo>
                        <a:cubicBezTo>
                          <a:pt x="27261" y="262442"/>
                          <a:pt x="27156" y="262576"/>
                          <a:pt x="27041" y="262709"/>
                        </a:cubicBezTo>
                        <a:close/>
                        <a:moveTo>
                          <a:pt x="231572" y="265757"/>
                        </a:moveTo>
                        <a:cubicBezTo>
                          <a:pt x="230429" y="269053"/>
                          <a:pt x="233372" y="272491"/>
                          <a:pt x="236754" y="271843"/>
                        </a:cubicBezTo>
                        <a:cubicBezTo>
                          <a:pt x="242164" y="270796"/>
                          <a:pt x="241754" y="262480"/>
                          <a:pt x="235525" y="262633"/>
                        </a:cubicBezTo>
                        <a:cubicBezTo>
                          <a:pt x="233648" y="263404"/>
                          <a:pt x="232239" y="263823"/>
                          <a:pt x="231572" y="265757"/>
                        </a:cubicBezTo>
                        <a:close/>
                        <a:moveTo>
                          <a:pt x="60246" y="266243"/>
                        </a:moveTo>
                        <a:cubicBezTo>
                          <a:pt x="59407" y="268319"/>
                          <a:pt x="61455" y="270910"/>
                          <a:pt x="63694" y="270434"/>
                        </a:cubicBezTo>
                        <a:cubicBezTo>
                          <a:pt x="67256" y="269681"/>
                          <a:pt x="67113" y="264014"/>
                          <a:pt x="62703" y="264185"/>
                        </a:cubicBezTo>
                        <a:cubicBezTo>
                          <a:pt x="61665" y="264700"/>
                          <a:pt x="60674" y="265167"/>
                          <a:pt x="60246" y="266243"/>
                        </a:cubicBezTo>
                        <a:close/>
                        <a:moveTo>
                          <a:pt x="291808" y="267148"/>
                        </a:moveTo>
                        <a:cubicBezTo>
                          <a:pt x="291846" y="268253"/>
                          <a:pt x="292513" y="268834"/>
                          <a:pt x="293284" y="269196"/>
                        </a:cubicBezTo>
                        <a:cubicBezTo>
                          <a:pt x="294685" y="269224"/>
                          <a:pt x="295218" y="268462"/>
                          <a:pt x="295589" y="267471"/>
                        </a:cubicBezTo>
                        <a:cubicBezTo>
                          <a:pt x="295532" y="266300"/>
                          <a:pt x="294637" y="265481"/>
                          <a:pt x="293370" y="265500"/>
                        </a:cubicBezTo>
                        <a:cubicBezTo>
                          <a:pt x="292627" y="265995"/>
                          <a:pt x="292208" y="266309"/>
                          <a:pt x="291808" y="267148"/>
                        </a:cubicBezTo>
                        <a:close/>
                        <a:moveTo>
                          <a:pt x="151124" y="269777"/>
                        </a:moveTo>
                        <a:cubicBezTo>
                          <a:pt x="149657" y="273358"/>
                          <a:pt x="153171" y="277778"/>
                          <a:pt x="156963" y="277092"/>
                        </a:cubicBezTo>
                        <a:cubicBezTo>
                          <a:pt x="163478" y="275911"/>
                          <a:pt x="163287" y="265995"/>
                          <a:pt x="156058" y="266167"/>
                        </a:cubicBezTo>
                        <a:cubicBezTo>
                          <a:pt x="153476" y="267233"/>
                          <a:pt x="152200" y="267167"/>
                          <a:pt x="151124" y="269777"/>
                        </a:cubicBezTo>
                        <a:close/>
                        <a:moveTo>
                          <a:pt x="209064" y="270196"/>
                        </a:moveTo>
                        <a:cubicBezTo>
                          <a:pt x="208055" y="273510"/>
                          <a:pt x="210846" y="277139"/>
                          <a:pt x="214074" y="276682"/>
                        </a:cubicBezTo>
                        <a:cubicBezTo>
                          <a:pt x="220542" y="275768"/>
                          <a:pt x="220361" y="266462"/>
                          <a:pt x="213084" y="266662"/>
                        </a:cubicBezTo>
                        <a:cubicBezTo>
                          <a:pt x="211150" y="267519"/>
                          <a:pt x="209702" y="268072"/>
                          <a:pt x="209064" y="270196"/>
                        </a:cubicBezTo>
                        <a:close/>
                        <a:moveTo>
                          <a:pt x="94431" y="270605"/>
                        </a:moveTo>
                        <a:cubicBezTo>
                          <a:pt x="93478" y="273787"/>
                          <a:pt x="96660" y="276768"/>
                          <a:pt x="99765" y="275949"/>
                        </a:cubicBezTo>
                        <a:cubicBezTo>
                          <a:pt x="104556" y="274692"/>
                          <a:pt x="104022" y="267167"/>
                          <a:pt x="98203" y="267319"/>
                        </a:cubicBezTo>
                        <a:cubicBezTo>
                          <a:pt x="96364" y="268072"/>
                          <a:pt x="95012" y="268653"/>
                          <a:pt x="94431" y="270605"/>
                        </a:cubicBezTo>
                        <a:close/>
                        <a:moveTo>
                          <a:pt x="268634" y="270853"/>
                        </a:moveTo>
                        <a:cubicBezTo>
                          <a:pt x="267843" y="272872"/>
                          <a:pt x="269967" y="275053"/>
                          <a:pt x="271844" y="274711"/>
                        </a:cubicBezTo>
                        <a:cubicBezTo>
                          <a:pt x="275311" y="274072"/>
                          <a:pt x="275130" y="268634"/>
                          <a:pt x="271024" y="268796"/>
                        </a:cubicBezTo>
                        <a:cubicBezTo>
                          <a:pt x="270005" y="269300"/>
                          <a:pt x="269062" y="269777"/>
                          <a:pt x="268634" y="270853"/>
                        </a:cubicBezTo>
                        <a:close/>
                        <a:moveTo>
                          <a:pt x="39453" y="271920"/>
                        </a:moveTo>
                        <a:cubicBezTo>
                          <a:pt x="39814" y="272644"/>
                          <a:pt x="40186" y="272891"/>
                          <a:pt x="40853" y="273310"/>
                        </a:cubicBezTo>
                        <a:cubicBezTo>
                          <a:pt x="41805" y="273253"/>
                          <a:pt x="42481" y="272577"/>
                          <a:pt x="42577" y="271663"/>
                        </a:cubicBezTo>
                        <a:cubicBezTo>
                          <a:pt x="42243" y="270872"/>
                          <a:pt x="41824" y="270262"/>
                          <a:pt x="40681" y="270262"/>
                        </a:cubicBezTo>
                        <a:cubicBezTo>
                          <a:pt x="40100" y="270758"/>
                          <a:pt x="39605" y="270977"/>
                          <a:pt x="39453" y="271920"/>
                        </a:cubicBezTo>
                        <a:close/>
                        <a:moveTo>
                          <a:pt x="186709" y="274711"/>
                        </a:moveTo>
                        <a:cubicBezTo>
                          <a:pt x="185566" y="278340"/>
                          <a:pt x="189129" y="282092"/>
                          <a:pt x="192872" y="281121"/>
                        </a:cubicBezTo>
                        <a:cubicBezTo>
                          <a:pt x="198625" y="279616"/>
                          <a:pt x="198034" y="270739"/>
                          <a:pt x="190814" y="270929"/>
                        </a:cubicBezTo>
                        <a:cubicBezTo>
                          <a:pt x="188862" y="271910"/>
                          <a:pt x="187405" y="272501"/>
                          <a:pt x="186709" y="274711"/>
                        </a:cubicBezTo>
                        <a:close/>
                        <a:moveTo>
                          <a:pt x="129264" y="274872"/>
                        </a:moveTo>
                        <a:cubicBezTo>
                          <a:pt x="128311" y="278063"/>
                          <a:pt x="131616" y="281521"/>
                          <a:pt x="134445" y="281121"/>
                        </a:cubicBezTo>
                        <a:cubicBezTo>
                          <a:pt x="140856" y="280216"/>
                          <a:pt x="140732" y="270900"/>
                          <a:pt x="133378" y="271100"/>
                        </a:cubicBezTo>
                        <a:cubicBezTo>
                          <a:pt x="131378" y="271986"/>
                          <a:pt x="129921" y="272682"/>
                          <a:pt x="129264" y="274872"/>
                        </a:cubicBezTo>
                        <a:close/>
                        <a:moveTo>
                          <a:pt x="245707" y="275120"/>
                        </a:moveTo>
                        <a:cubicBezTo>
                          <a:pt x="244897" y="277663"/>
                          <a:pt x="247307" y="280349"/>
                          <a:pt x="249898" y="279806"/>
                        </a:cubicBezTo>
                        <a:cubicBezTo>
                          <a:pt x="254108" y="278930"/>
                          <a:pt x="253775" y="272253"/>
                          <a:pt x="248831" y="272405"/>
                        </a:cubicBezTo>
                        <a:cubicBezTo>
                          <a:pt x="247440" y="273025"/>
                          <a:pt x="246183" y="273634"/>
                          <a:pt x="245707" y="275120"/>
                        </a:cubicBezTo>
                        <a:close/>
                        <a:moveTo>
                          <a:pt x="73305" y="275206"/>
                        </a:moveTo>
                        <a:cubicBezTo>
                          <a:pt x="72476" y="277644"/>
                          <a:pt x="75019" y="280035"/>
                          <a:pt x="77334" y="279397"/>
                        </a:cubicBezTo>
                        <a:cubicBezTo>
                          <a:pt x="81029" y="278378"/>
                          <a:pt x="80648" y="272720"/>
                          <a:pt x="75772" y="272901"/>
                        </a:cubicBezTo>
                        <a:cubicBezTo>
                          <a:pt x="74762" y="273501"/>
                          <a:pt x="73714" y="274015"/>
                          <a:pt x="73305" y="275206"/>
                        </a:cubicBezTo>
                        <a:close/>
                        <a:moveTo>
                          <a:pt x="164678" y="279149"/>
                        </a:moveTo>
                        <a:cubicBezTo>
                          <a:pt x="163744" y="282435"/>
                          <a:pt x="166564" y="286112"/>
                          <a:pt x="169936" y="285559"/>
                        </a:cubicBezTo>
                        <a:cubicBezTo>
                          <a:pt x="176241" y="284521"/>
                          <a:pt x="176032" y="275368"/>
                          <a:pt x="169193" y="275444"/>
                        </a:cubicBezTo>
                        <a:cubicBezTo>
                          <a:pt x="166973" y="276330"/>
                          <a:pt x="165354" y="276787"/>
                          <a:pt x="164678" y="279149"/>
                        </a:cubicBezTo>
                        <a:close/>
                        <a:moveTo>
                          <a:pt x="107823" y="279397"/>
                        </a:moveTo>
                        <a:cubicBezTo>
                          <a:pt x="106861" y="282645"/>
                          <a:pt x="109890" y="285531"/>
                          <a:pt x="112995" y="284740"/>
                        </a:cubicBezTo>
                        <a:cubicBezTo>
                          <a:pt x="117758" y="283531"/>
                          <a:pt x="117348" y="276092"/>
                          <a:pt x="111271" y="276273"/>
                        </a:cubicBezTo>
                        <a:cubicBezTo>
                          <a:pt x="109690" y="277054"/>
                          <a:pt x="108347" y="277606"/>
                          <a:pt x="107823" y="279397"/>
                        </a:cubicBezTo>
                        <a:close/>
                        <a:moveTo>
                          <a:pt x="223114" y="279397"/>
                        </a:moveTo>
                        <a:cubicBezTo>
                          <a:pt x="222275" y="282235"/>
                          <a:pt x="224647" y="285331"/>
                          <a:pt x="227714" y="284740"/>
                        </a:cubicBezTo>
                        <a:cubicBezTo>
                          <a:pt x="232810" y="283759"/>
                          <a:pt x="232496" y="276168"/>
                          <a:pt x="226314" y="276358"/>
                        </a:cubicBezTo>
                        <a:cubicBezTo>
                          <a:pt x="224914" y="277149"/>
                          <a:pt x="223609" y="277720"/>
                          <a:pt x="223114" y="279397"/>
                        </a:cubicBezTo>
                        <a:close/>
                        <a:moveTo>
                          <a:pt x="53997" y="282521"/>
                        </a:moveTo>
                        <a:cubicBezTo>
                          <a:pt x="55216" y="282559"/>
                          <a:pt x="56064" y="281883"/>
                          <a:pt x="56217" y="280873"/>
                        </a:cubicBezTo>
                        <a:cubicBezTo>
                          <a:pt x="56579" y="279768"/>
                          <a:pt x="55112" y="278692"/>
                          <a:pt x="53912" y="278740"/>
                        </a:cubicBezTo>
                        <a:cubicBezTo>
                          <a:pt x="52388" y="279854"/>
                          <a:pt x="51873" y="281578"/>
                          <a:pt x="53997" y="282521"/>
                        </a:cubicBezTo>
                        <a:close/>
                        <a:moveTo>
                          <a:pt x="283178" y="280464"/>
                        </a:moveTo>
                        <a:cubicBezTo>
                          <a:pt x="283226" y="281549"/>
                          <a:pt x="283998" y="282207"/>
                          <a:pt x="284988" y="282359"/>
                        </a:cubicBezTo>
                        <a:cubicBezTo>
                          <a:pt x="285693" y="282026"/>
                          <a:pt x="286122" y="281654"/>
                          <a:pt x="286465" y="280959"/>
                        </a:cubicBezTo>
                        <a:cubicBezTo>
                          <a:pt x="286493" y="279768"/>
                          <a:pt x="285702" y="279006"/>
                          <a:pt x="284579" y="278987"/>
                        </a:cubicBezTo>
                        <a:cubicBezTo>
                          <a:pt x="283978" y="279463"/>
                          <a:pt x="283540" y="279730"/>
                          <a:pt x="283178" y="280464"/>
                        </a:cubicBezTo>
                        <a:close/>
                        <a:moveTo>
                          <a:pt x="142827" y="283912"/>
                        </a:moveTo>
                        <a:cubicBezTo>
                          <a:pt x="141922" y="286979"/>
                          <a:pt x="145218" y="290322"/>
                          <a:pt x="148419" y="289579"/>
                        </a:cubicBezTo>
                        <a:cubicBezTo>
                          <a:pt x="153743" y="288341"/>
                          <a:pt x="153219" y="280026"/>
                          <a:pt x="146780" y="280206"/>
                        </a:cubicBezTo>
                        <a:cubicBezTo>
                          <a:pt x="144799" y="281102"/>
                          <a:pt x="143466" y="281730"/>
                          <a:pt x="142827" y="283912"/>
                        </a:cubicBezTo>
                        <a:close/>
                        <a:moveTo>
                          <a:pt x="200682" y="283750"/>
                        </a:moveTo>
                        <a:cubicBezTo>
                          <a:pt x="199768" y="286760"/>
                          <a:pt x="202511" y="290065"/>
                          <a:pt x="205769" y="289427"/>
                        </a:cubicBezTo>
                        <a:cubicBezTo>
                          <a:pt x="210931" y="288417"/>
                          <a:pt x="210550" y="280311"/>
                          <a:pt x="204454" y="280473"/>
                        </a:cubicBezTo>
                        <a:cubicBezTo>
                          <a:pt x="202654" y="281273"/>
                          <a:pt x="201282" y="281778"/>
                          <a:pt x="200682" y="283750"/>
                        </a:cubicBezTo>
                        <a:close/>
                        <a:moveTo>
                          <a:pt x="86458" y="284493"/>
                        </a:moveTo>
                        <a:cubicBezTo>
                          <a:pt x="85906" y="286807"/>
                          <a:pt x="88525" y="289027"/>
                          <a:pt x="90811" y="288265"/>
                        </a:cubicBezTo>
                        <a:cubicBezTo>
                          <a:pt x="94355" y="287093"/>
                          <a:pt x="93917" y="281521"/>
                          <a:pt x="89163" y="281692"/>
                        </a:cubicBezTo>
                        <a:cubicBezTo>
                          <a:pt x="87897" y="282349"/>
                          <a:pt x="86820" y="282959"/>
                          <a:pt x="86458" y="284493"/>
                        </a:cubicBezTo>
                        <a:close/>
                        <a:moveTo>
                          <a:pt x="260004" y="284493"/>
                        </a:moveTo>
                        <a:cubicBezTo>
                          <a:pt x="259547" y="286264"/>
                          <a:pt x="261452" y="288122"/>
                          <a:pt x="263204" y="287693"/>
                        </a:cubicBezTo>
                        <a:cubicBezTo>
                          <a:pt x="266214" y="286960"/>
                          <a:pt x="265738" y="282264"/>
                          <a:pt x="261976" y="282435"/>
                        </a:cubicBezTo>
                        <a:cubicBezTo>
                          <a:pt x="261166" y="282921"/>
                          <a:pt x="260271" y="283483"/>
                          <a:pt x="260004" y="284493"/>
                        </a:cubicBezTo>
                        <a:close/>
                        <a:moveTo>
                          <a:pt x="178489" y="288188"/>
                        </a:moveTo>
                        <a:cubicBezTo>
                          <a:pt x="177565" y="291208"/>
                          <a:pt x="180318" y="294484"/>
                          <a:pt x="183585" y="293856"/>
                        </a:cubicBezTo>
                        <a:cubicBezTo>
                          <a:pt x="188843" y="292846"/>
                          <a:pt x="188548" y="284712"/>
                          <a:pt x="182185" y="284893"/>
                        </a:cubicBezTo>
                        <a:cubicBezTo>
                          <a:pt x="180432" y="285693"/>
                          <a:pt x="179079" y="286264"/>
                          <a:pt x="178489" y="288188"/>
                        </a:cubicBezTo>
                        <a:close/>
                        <a:moveTo>
                          <a:pt x="121291" y="288265"/>
                        </a:moveTo>
                        <a:cubicBezTo>
                          <a:pt x="120501" y="290951"/>
                          <a:pt x="122901" y="294122"/>
                          <a:pt x="125816" y="293522"/>
                        </a:cubicBezTo>
                        <a:cubicBezTo>
                          <a:pt x="130693" y="292522"/>
                          <a:pt x="130540" y="285131"/>
                          <a:pt x="124749" y="285312"/>
                        </a:cubicBezTo>
                        <a:cubicBezTo>
                          <a:pt x="123111" y="285998"/>
                          <a:pt x="121815" y="286521"/>
                          <a:pt x="121291" y="288265"/>
                        </a:cubicBezTo>
                        <a:close/>
                        <a:moveTo>
                          <a:pt x="237249" y="288598"/>
                        </a:moveTo>
                        <a:cubicBezTo>
                          <a:pt x="236515" y="290932"/>
                          <a:pt x="238792" y="293227"/>
                          <a:pt x="241192" y="292713"/>
                        </a:cubicBezTo>
                        <a:cubicBezTo>
                          <a:pt x="244973" y="291884"/>
                          <a:pt x="244412" y="285979"/>
                          <a:pt x="239878" y="286141"/>
                        </a:cubicBezTo>
                        <a:cubicBezTo>
                          <a:pt x="238725" y="286779"/>
                          <a:pt x="237668" y="287255"/>
                          <a:pt x="237249" y="288598"/>
                        </a:cubicBezTo>
                        <a:close/>
                        <a:moveTo>
                          <a:pt x="65494" y="289169"/>
                        </a:moveTo>
                        <a:cubicBezTo>
                          <a:pt x="65189" y="290408"/>
                          <a:pt x="66713" y="291855"/>
                          <a:pt x="67875" y="291636"/>
                        </a:cubicBezTo>
                        <a:cubicBezTo>
                          <a:pt x="70333" y="291160"/>
                          <a:pt x="70237" y="287360"/>
                          <a:pt x="67380" y="287360"/>
                        </a:cubicBezTo>
                        <a:cubicBezTo>
                          <a:pt x="66580" y="287769"/>
                          <a:pt x="65732" y="288226"/>
                          <a:pt x="65494" y="289169"/>
                        </a:cubicBezTo>
                        <a:close/>
                        <a:moveTo>
                          <a:pt x="156543" y="292713"/>
                        </a:moveTo>
                        <a:cubicBezTo>
                          <a:pt x="155648" y="295751"/>
                          <a:pt x="158439" y="298713"/>
                          <a:pt x="161563" y="298056"/>
                        </a:cubicBezTo>
                        <a:cubicBezTo>
                          <a:pt x="166259" y="297066"/>
                          <a:pt x="165792" y="289608"/>
                          <a:pt x="160572" y="289512"/>
                        </a:cubicBezTo>
                        <a:cubicBezTo>
                          <a:pt x="158639" y="290255"/>
                          <a:pt x="157144" y="290684"/>
                          <a:pt x="156543" y="292713"/>
                        </a:cubicBezTo>
                        <a:close/>
                        <a:moveTo>
                          <a:pt x="214732" y="292875"/>
                        </a:moveTo>
                        <a:cubicBezTo>
                          <a:pt x="213874" y="295599"/>
                          <a:pt x="216608" y="298199"/>
                          <a:pt x="219247" y="297475"/>
                        </a:cubicBezTo>
                        <a:cubicBezTo>
                          <a:pt x="223314" y="296361"/>
                          <a:pt x="222752" y="289979"/>
                          <a:pt x="217522" y="290160"/>
                        </a:cubicBezTo>
                        <a:cubicBezTo>
                          <a:pt x="216332" y="290874"/>
                          <a:pt x="215179" y="291446"/>
                          <a:pt x="214732" y="292875"/>
                        </a:cubicBezTo>
                        <a:close/>
                        <a:moveTo>
                          <a:pt x="99851" y="293122"/>
                        </a:moveTo>
                        <a:cubicBezTo>
                          <a:pt x="99241" y="295323"/>
                          <a:pt x="101403" y="297675"/>
                          <a:pt x="103794" y="297142"/>
                        </a:cubicBezTo>
                        <a:cubicBezTo>
                          <a:pt x="107528" y="296332"/>
                          <a:pt x="107032" y="290427"/>
                          <a:pt x="102641" y="290570"/>
                        </a:cubicBezTo>
                        <a:cubicBezTo>
                          <a:pt x="101441" y="291160"/>
                          <a:pt x="100222" y="291751"/>
                          <a:pt x="99851" y="293122"/>
                        </a:cubicBezTo>
                        <a:close/>
                        <a:moveTo>
                          <a:pt x="274720" y="294018"/>
                        </a:moveTo>
                        <a:cubicBezTo>
                          <a:pt x="274958" y="294532"/>
                          <a:pt x="275158" y="294875"/>
                          <a:pt x="275711" y="295084"/>
                        </a:cubicBezTo>
                        <a:cubicBezTo>
                          <a:pt x="275901" y="295113"/>
                          <a:pt x="276092" y="295142"/>
                          <a:pt x="276292" y="295161"/>
                        </a:cubicBezTo>
                        <a:cubicBezTo>
                          <a:pt x="276644" y="294865"/>
                          <a:pt x="276920" y="294732"/>
                          <a:pt x="277111" y="294256"/>
                        </a:cubicBezTo>
                        <a:cubicBezTo>
                          <a:pt x="277416" y="293551"/>
                          <a:pt x="276740" y="293094"/>
                          <a:pt x="276368" y="292779"/>
                        </a:cubicBezTo>
                        <a:cubicBezTo>
                          <a:pt x="276177" y="292751"/>
                          <a:pt x="275987" y="292732"/>
                          <a:pt x="275787" y="292703"/>
                        </a:cubicBezTo>
                        <a:cubicBezTo>
                          <a:pt x="275244" y="293075"/>
                          <a:pt x="274863" y="293246"/>
                          <a:pt x="274720" y="294018"/>
                        </a:cubicBezTo>
                        <a:close/>
                        <a:moveTo>
                          <a:pt x="192462" y="297228"/>
                        </a:moveTo>
                        <a:cubicBezTo>
                          <a:pt x="191605" y="299961"/>
                          <a:pt x="194148" y="302666"/>
                          <a:pt x="196901" y="302076"/>
                        </a:cubicBezTo>
                        <a:cubicBezTo>
                          <a:pt x="201187" y="301161"/>
                          <a:pt x="200892" y="294503"/>
                          <a:pt x="195834" y="294437"/>
                        </a:cubicBezTo>
                        <a:cubicBezTo>
                          <a:pt x="194243" y="295123"/>
                          <a:pt x="192995" y="295532"/>
                          <a:pt x="192462" y="297228"/>
                        </a:cubicBezTo>
                        <a:close/>
                        <a:moveTo>
                          <a:pt x="134855" y="297313"/>
                        </a:moveTo>
                        <a:cubicBezTo>
                          <a:pt x="134074" y="299809"/>
                          <a:pt x="136436" y="302495"/>
                          <a:pt x="138884" y="302085"/>
                        </a:cubicBezTo>
                        <a:cubicBezTo>
                          <a:pt x="143551" y="301285"/>
                          <a:pt x="143437" y="294332"/>
                          <a:pt x="137893" y="294522"/>
                        </a:cubicBezTo>
                        <a:cubicBezTo>
                          <a:pt x="136550" y="295180"/>
                          <a:pt x="135331" y="295799"/>
                          <a:pt x="134855" y="297313"/>
                        </a:cubicBezTo>
                        <a:close/>
                        <a:moveTo>
                          <a:pt x="78895" y="297561"/>
                        </a:moveTo>
                        <a:cubicBezTo>
                          <a:pt x="78229" y="298971"/>
                          <a:pt x="79781" y="301000"/>
                          <a:pt x="81448" y="300514"/>
                        </a:cubicBezTo>
                        <a:cubicBezTo>
                          <a:pt x="83734" y="299857"/>
                          <a:pt x="83487" y="296075"/>
                          <a:pt x="80629" y="296161"/>
                        </a:cubicBezTo>
                        <a:cubicBezTo>
                          <a:pt x="80001" y="296513"/>
                          <a:pt x="79200" y="296904"/>
                          <a:pt x="78895" y="297561"/>
                        </a:cubicBezTo>
                        <a:close/>
                        <a:moveTo>
                          <a:pt x="251631" y="297799"/>
                        </a:moveTo>
                        <a:cubicBezTo>
                          <a:pt x="251117" y="299209"/>
                          <a:pt x="252660" y="301000"/>
                          <a:pt x="254260" y="300590"/>
                        </a:cubicBezTo>
                        <a:cubicBezTo>
                          <a:pt x="256718" y="299971"/>
                          <a:pt x="256365" y="296027"/>
                          <a:pt x="253355" y="296161"/>
                        </a:cubicBezTo>
                        <a:cubicBezTo>
                          <a:pt x="252679" y="296551"/>
                          <a:pt x="251908" y="297037"/>
                          <a:pt x="251631" y="297799"/>
                        </a:cubicBezTo>
                        <a:close/>
                        <a:moveTo>
                          <a:pt x="170355" y="301828"/>
                        </a:moveTo>
                        <a:cubicBezTo>
                          <a:pt x="169659" y="304305"/>
                          <a:pt x="172060" y="307048"/>
                          <a:pt x="174708" y="306429"/>
                        </a:cubicBezTo>
                        <a:cubicBezTo>
                          <a:pt x="178794" y="305476"/>
                          <a:pt x="178527" y="298942"/>
                          <a:pt x="173727" y="298952"/>
                        </a:cubicBezTo>
                        <a:cubicBezTo>
                          <a:pt x="172117" y="299580"/>
                          <a:pt x="170840" y="300123"/>
                          <a:pt x="170355" y="301828"/>
                        </a:cubicBezTo>
                        <a:close/>
                        <a:moveTo>
                          <a:pt x="113329" y="302162"/>
                        </a:moveTo>
                        <a:cubicBezTo>
                          <a:pt x="112795" y="304305"/>
                          <a:pt x="114900" y="306238"/>
                          <a:pt x="117024" y="305771"/>
                        </a:cubicBezTo>
                        <a:cubicBezTo>
                          <a:pt x="120482" y="305000"/>
                          <a:pt x="120148" y="299647"/>
                          <a:pt x="116205" y="299609"/>
                        </a:cubicBezTo>
                        <a:cubicBezTo>
                          <a:pt x="114833" y="300209"/>
                          <a:pt x="113700" y="300619"/>
                          <a:pt x="113329" y="302162"/>
                        </a:cubicBezTo>
                        <a:close/>
                        <a:moveTo>
                          <a:pt x="228943" y="301914"/>
                        </a:moveTo>
                        <a:cubicBezTo>
                          <a:pt x="228172" y="303876"/>
                          <a:pt x="230200" y="305981"/>
                          <a:pt x="232143" y="305533"/>
                        </a:cubicBezTo>
                        <a:cubicBezTo>
                          <a:pt x="235344" y="304790"/>
                          <a:pt x="234820" y="299866"/>
                          <a:pt x="230991" y="300028"/>
                        </a:cubicBezTo>
                        <a:cubicBezTo>
                          <a:pt x="230162" y="300514"/>
                          <a:pt x="229314" y="300961"/>
                          <a:pt x="228943" y="301914"/>
                        </a:cubicBezTo>
                        <a:close/>
                        <a:moveTo>
                          <a:pt x="148580" y="306267"/>
                        </a:moveTo>
                        <a:cubicBezTo>
                          <a:pt x="147904" y="308534"/>
                          <a:pt x="150038" y="311020"/>
                          <a:pt x="152352" y="310544"/>
                        </a:cubicBezTo>
                        <a:cubicBezTo>
                          <a:pt x="156334" y="309734"/>
                          <a:pt x="156029" y="303628"/>
                          <a:pt x="151200" y="303809"/>
                        </a:cubicBezTo>
                        <a:cubicBezTo>
                          <a:pt x="150009" y="304400"/>
                          <a:pt x="148990" y="304905"/>
                          <a:pt x="148580" y="306267"/>
                        </a:cubicBezTo>
                        <a:close/>
                        <a:moveTo>
                          <a:pt x="206512" y="306429"/>
                        </a:moveTo>
                        <a:cubicBezTo>
                          <a:pt x="205959" y="308572"/>
                          <a:pt x="207921" y="310572"/>
                          <a:pt x="209874" y="310210"/>
                        </a:cubicBezTo>
                        <a:cubicBezTo>
                          <a:pt x="213446" y="309543"/>
                          <a:pt x="213131" y="304162"/>
                          <a:pt x="209131" y="304133"/>
                        </a:cubicBezTo>
                        <a:cubicBezTo>
                          <a:pt x="207959" y="304648"/>
                          <a:pt x="206855" y="305114"/>
                          <a:pt x="206512" y="306429"/>
                        </a:cubicBezTo>
                        <a:close/>
                        <a:moveTo>
                          <a:pt x="92126" y="306838"/>
                        </a:moveTo>
                        <a:cubicBezTo>
                          <a:pt x="91802" y="308115"/>
                          <a:pt x="93316" y="309620"/>
                          <a:pt x="94517" y="309391"/>
                        </a:cubicBezTo>
                        <a:cubicBezTo>
                          <a:pt x="96974" y="308915"/>
                          <a:pt x="96803" y="305029"/>
                          <a:pt x="93859" y="305114"/>
                        </a:cubicBezTo>
                        <a:cubicBezTo>
                          <a:pt x="93154" y="305524"/>
                          <a:pt x="92345" y="305981"/>
                          <a:pt x="92126" y="306838"/>
                        </a:cubicBezTo>
                        <a:close/>
                        <a:moveTo>
                          <a:pt x="184404" y="310620"/>
                        </a:moveTo>
                        <a:cubicBezTo>
                          <a:pt x="183594" y="312782"/>
                          <a:pt x="185652" y="315030"/>
                          <a:pt x="187690" y="314649"/>
                        </a:cubicBezTo>
                        <a:cubicBezTo>
                          <a:pt x="191253" y="313982"/>
                          <a:pt x="191024" y="308467"/>
                          <a:pt x="186947" y="308562"/>
                        </a:cubicBezTo>
                        <a:cubicBezTo>
                          <a:pt x="185842" y="309048"/>
                          <a:pt x="184833" y="309486"/>
                          <a:pt x="184404" y="310620"/>
                        </a:cubicBezTo>
                        <a:close/>
                        <a:moveTo>
                          <a:pt x="127045" y="310620"/>
                        </a:moveTo>
                        <a:cubicBezTo>
                          <a:pt x="126168" y="312506"/>
                          <a:pt x="128188" y="314858"/>
                          <a:pt x="130245" y="314401"/>
                        </a:cubicBezTo>
                        <a:cubicBezTo>
                          <a:pt x="133378" y="313706"/>
                          <a:pt x="132960" y="308715"/>
                          <a:pt x="129254" y="308810"/>
                        </a:cubicBezTo>
                        <a:cubicBezTo>
                          <a:pt x="128330" y="309267"/>
                          <a:pt x="127483" y="309686"/>
                          <a:pt x="127045" y="310620"/>
                        </a:cubicBezTo>
                        <a:close/>
                        <a:moveTo>
                          <a:pt x="243326" y="311525"/>
                        </a:moveTo>
                        <a:cubicBezTo>
                          <a:pt x="243392" y="312439"/>
                          <a:pt x="243973" y="312934"/>
                          <a:pt x="244640" y="313249"/>
                        </a:cubicBezTo>
                        <a:cubicBezTo>
                          <a:pt x="245754" y="313249"/>
                          <a:pt x="246183" y="312677"/>
                          <a:pt x="246526" y="311934"/>
                        </a:cubicBezTo>
                        <a:cubicBezTo>
                          <a:pt x="246526" y="310772"/>
                          <a:pt x="245774" y="310086"/>
                          <a:pt x="244555" y="310134"/>
                        </a:cubicBezTo>
                        <a:cubicBezTo>
                          <a:pt x="244030" y="310563"/>
                          <a:pt x="243630" y="310839"/>
                          <a:pt x="243326" y="311525"/>
                        </a:cubicBezTo>
                        <a:close/>
                        <a:moveTo>
                          <a:pt x="162554" y="314973"/>
                        </a:moveTo>
                        <a:cubicBezTo>
                          <a:pt x="161677" y="316935"/>
                          <a:pt x="163535" y="319278"/>
                          <a:pt x="165506" y="318916"/>
                        </a:cubicBezTo>
                        <a:cubicBezTo>
                          <a:pt x="168840" y="318316"/>
                          <a:pt x="168640" y="313077"/>
                          <a:pt x="164602" y="313249"/>
                        </a:cubicBezTo>
                        <a:cubicBezTo>
                          <a:pt x="163773" y="313715"/>
                          <a:pt x="162944" y="314096"/>
                          <a:pt x="162554" y="314973"/>
                        </a:cubicBezTo>
                        <a:close/>
                        <a:moveTo>
                          <a:pt x="220723" y="315554"/>
                        </a:moveTo>
                        <a:cubicBezTo>
                          <a:pt x="220275" y="316963"/>
                          <a:pt x="221828" y="318478"/>
                          <a:pt x="223104" y="318183"/>
                        </a:cubicBezTo>
                        <a:cubicBezTo>
                          <a:pt x="225685" y="317583"/>
                          <a:pt x="225038" y="314582"/>
                          <a:pt x="222609" y="313992"/>
                        </a:cubicBezTo>
                        <a:cubicBezTo>
                          <a:pt x="221856" y="314354"/>
                          <a:pt x="220989" y="314725"/>
                          <a:pt x="220723" y="315554"/>
                        </a:cubicBezTo>
                        <a:close/>
                        <a:moveTo>
                          <a:pt x="105604" y="315954"/>
                        </a:moveTo>
                        <a:cubicBezTo>
                          <a:pt x="105642" y="317897"/>
                          <a:pt x="107890" y="318592"/>
                          <a:pt x="108976" y="317192"/>
                        </a:cubicBezTo>
                        <a:cubicBezTo>
                          <a:pt x="109976" y="315897"/>
                          <a:pt x="108871" y="314201"/>
                          <a:pt x="107252" y="314230"/>
                        </a:cubicBezTo>
                        <a:cubicBezTo>
                          <a:pt x="106423" y="314773"/>
                          <a:pt x="106089" y="315087"/>
                          <a:pt x="105604" y="315954"/>
                        </a:cubicBezTo>
                        <a:close/>
                        <a:moveTo>
                          <a:pt x="140770" y="319830"/>
                        </a:moveTo>
                        <a:cubicBezTo>
                          <a:pt x="140151" y="321402"/>
                          <a:pt x="141742" y="323202"/>
                          <a:pt x="143323" y="322869"/>
                        </a:cubicBezTo>
                        <a:cubicBezTo>
                          <a:pt x="146009" y="322307"/>
                          <a:pt x="145809" y="318059"/>
                          <a:pt x="142580" y="318183"/>
                        </a:cubicBezTo>
                        <a:cubicBezTo>
                          <a:pt x="141856" y="318602"/>
                          <a:pt x="141094" y="319011"/>
                          <a:pt x="140770" y="319830"/>
                        </a:cubicBezTo>
                        <a:close/>
                        <a:moveTo>
                          <a:pt x="200025" y="322707"/>
                        </a:moveTo>
                        <a:cubicBezTo>
                          <a:pt x="201597" y="323336"/>
                          <a:pt x="203225" y="321459"/>
                          <a:pt x="202740" y="319916"/>
                        </a:cubicBezTo>
                        <a:cubicBezTo>
                          <a:pt x="202359" y="318916"/>
                          <a:pt x="201587" y="318306"/>
                          <a:pt x="200111" y="318354"/>
                        </a:cubicBezTo>
                        <a:cubicBezTo>
                          <a:pt x="198377" y="319345"/>
                          <a:pt x="197701" y="321774"/>
                          <a:pt x="200025" y="322707"/>
                        </a:cubicBezTo>
                        <a:close/>
                        <a:moveTo>
                          <a:pt x="177994" y="327060"/>
                        </a:moveTo>
                        <a:cubicBezTo>
                          <a:pt x="181223" y="327203"/>
                          <a:pt x="181194" y="322793"/>
                          <a:pt x="178070" y="322869"/>
                        </a:cubicBezTo>
                        <a:cubicBezTo>
                          <a:pt x="176165" y="324041"/>
                          <a:pt x="175470" y="325917"/>
                          <a:pt x="177994" y="327060"/>
                        </a:cubicBezTo>
                        <a:close/>
                        <a:moveTo>
                          <a:pt x="119329" y="324841"/>
                        </a:moveTo>
                        <a:cubicBezTo>
                          <a:pt x="119396" y="325765"/>
                          <a:pt x="119958" y="326174"/>
                          <a:pt x="120644" y="326479"/>
                        </a:cubicBezTo>
                        <a:cubicBezTo>
                          <a:pt x="121501" y="326460"/>
                          <a:pt x="121977" y="325955"/>
                          <a:pt x="122206" y="325326"/>
                        </a:cubicBezTo>
                        <a:cubicBezTo>
                          <a:pt x="122234" y="325107"/>
                          <a:pt x="122263" y="324888"/>
                          <a:pt x="122282" y="324669"/>
                        </a:cubicBezTo>
                        <a:cubicBezTo>
                          <a:pt x="121806" y="324107"/>
                          <a:pt x="121587" y="323564"/>
                          <a:pt x="120558" y="323526"/>
                        </a:cubicBezTo>
                        <a:cubicBezTo>
                          <a:pt x="119987" y="323917"/>
                          <a:pt x="119615" y="324155"/>
                          <a:pt x="119329" y="324841"/>
                        </a:cubicBezTo>
                        <a:close/>
                        <a:moveTo>
                          <a:pt x="154581" y="329279"/>
                        </a:moveTo>
                        <a:cubicBezTo>
                          <a:pt x="154648" y="330356"/>
                          <a:pt x="155458" y="331108"/>
                          <a:pt x="156629" y="331089"/>
                        </a:cubicBezTo>
                        <a:cubicBezTo>
                          <a:pt x="157163" y="330622"/>
                          <a:pt x="157610" y="330365"/>
                          <a:pt x="157944" y="329698"/>
                        </a:cubicBezTo>
                        <a:cubicBezTo>
                          <a:pt x="157944" y="328498"/>
                          <a:pt x="157134" y="327689"/>
                          <a:pt x="155886" y="327727"/>
                        </a:cubicBezTo>
                        <a:cubicBezTo>
                          <a:pt x="155258" y="328212"/>
                          <a:pt x="154886" y="328432"/>
                          <a:pt x="154581" y="329279"/>
                        </a:cubicBezTo>
                        <a:close/>
                        <a:moveTo>
                          <a:pt x="213084" y="329194"/>
                        </a:moveTo>
                        <a:cubicBezTo>
                          <a:pt x="213065" y="329355"/>
                          <a:pt x="213027" y="329527"/>
                          <a:pt x="213008" y="329689"/>
                        </a:cubicBezTo>
                        <a:cubicBezTo>
                          <a:pt x="213170" y="329879"/>
                          <a:pt x="213331" y="330070"/>
                          <a:pt x="213503" y="330260"/>
                        </a:cubicBezTo>
                        <a:cubicBezTo>
                          <a:pt x="213722" y="330289"/>
                          <a:pt x="213941" y="330317"/>
                          <a:pt x="214160" y="330337"/>
                        </a:cubicBezTo>
                        <a:cubicBezTo>
                          <a:pt x="214217" y="330308"/>
                          <a:pt x="214274" y="330279"/>
                          <a:pt x="214322" y="330260"/>
                        </a:cubicBezTo>
                        <a:cubicBezTo>
                          <a:pt x="214627" y="329879"/>
                          <a:pt x="214808" y="329841"/>
                          <a:pt x="214817" y="329108"/>
                        </a:cubicBezTo>
                        <a:cubicBezTo>
                          <a:pt x="214503" y="328765"/>
                          <a:pt x="214341" y="328527"/>
                          <a:pt x="213751" y="328451"/>
                        </a:cubicBezTo>
                        <a:cubicBezTo>
                          <a:pt x="213455" y="328708"/>
                          <a:pt x="213255" y="328793"/>
                          <a:pt x="213084" y="329194"/>
                        </a:cubicBezTo>
                        <a:close/>
                        <a:moveTo>
                          <a:pt x="190814" y="333632"/>
                        </a:moveTo>
                        <a:cubicBezTo>
                          <a:pt x="190814" y="333823"/>
                          <a:pt x="190814" y="334013"/>
                          <a:pt x="190814" y="334204"/>
                        </a:cubicBezTo>
                        <a:cubicBezTo>
                          <a:pt x="191110" y="334480"/>
                          <a:pt x="191148" y="334661"/>
                          <a:pt x="191634" y="334785"/>
                        </a:cubicBezTo>
                        <a:cubicBezTo>
                          <a:pt x="192643" y="335185"/>
                          <a:pt x="193177" y="333070"/>
                          <a:pt x="191634" y="332889"/>
                        </a:cubicBezTo>
                        <a:cubicBezTo>
                          <a:pt x="191281" y="333146"/>
                          <a:pt x="191062" y="333261"/>
                          <a:pt x="190814" y="333632"/>
                        </a:cubicBezTo>
                        <a:close/>
                        <a:moveTo>
                          <a:pt x="133703" y="334204"/>
                        </a:moveTo>
                        <a:cubicBezTo>
                          <a:pt x="133703" y="334261"/>
                          <a:pt x="133703" y="334318"/>
                          <a:pt x="133703" y="334366"/>
                        </a:cubicBezTo>
                        <a:cubicBezTo>
                          <a:pt x="133950" y="334366"/>
                          <a:pt x="134198" y="334366"/>
                          <a:pt x="134445" y="334366"/>
                        </a:cubicBezTo>
                        <a:cubicBezTo>
                          <a:pt x="134474" y="334070"/>
                          <a:pt x="134503" y="333766"/>
                          <a:pt x="134522" y="333461"/>
                        </a:cubicBezTo>
                        <a:cubicBezTo>
                          <a:pt x="134245" y="333432"/>
                          <a:pt x="133969" y="333413"/>
                          <a:pt x="133703" y="333375"/>
                        </a:cubicBezTo>
                        <a:cubicBezTo>
                          <a:pt x="133703" y="333651"/>
                          <a:pt x="133703" y="333927"/>
                          <a:pt x="133703" y="334204"/>
                        </a:cubicBezTo>
                        <a:close/>
                      </a:path>
                    </a:pathLst>
                  </a:custGeom>
                  <a:solidFill>
                    <a:srgbClr val="62A844"/>
                  </a:solidFill>
                  <a:ln w="9525" cap="flat">
                    <a:noFill/>
                    <a:prstDash val="solid"/>
                    <a:miter/>
                  </a:ln>
                </p:spPr>
                <p:txBody>
                  <a:bodyPr rtlCol="0" anchor="ctr"/>
                  <a:lstStyle/>
                  <a:p>
                    <a:endParaRPr lang="en-US"/>
                  </a:p>
                </p:txBody>
              </p:sp>
              <p:sp>
                <p:nvSpPr>
                  <p:cNvPr id="1152" name="Freeform: Shape 772">
                    <a:extLst>
                      <a:ext uri="{FF2B5EF4-FFF2-40B4-BE49-F238E27FC236}">
                        <a16:creationId xmlns:a16="http://schemas.microsoft.com/office/drawing/2014/main" id="{4F8D5687-07CF-D815-A926-281E42C129D7}"/>
                      </a:ext>
                    </a:extLst>
                  </p:cNvPr>
                  <p:cNvSpPr/>
                  <p:nvPr/>
                </p:nvSpPr>
                <p:spPr>
                  <a:xfrm>
                    <a:off x="-6903687" y="-1027379"/>
                    <a:ext cx="334956" cy="334834"/>
                  </a:xfrm>
                  <a:custGeom>
                    <a:avLst/>
                    <a:gdLst>
                      <a:gd name="connsiteX0" fmla="*/ 181537 w 334956"/>
                      <a:gd name="connsiteY0" fmla="*/ 1648 h 334834"/>
                      <a:gd name="connsiteX1" fmla="*/ 182766 w 334956"/>
                      <a:gd name="connsiteY1" fmla="*/ 2715 h 334834"/>
                      <a:gd name="connsiteX2" fmla="*/ 182689 w 334956"/>
                      <a:gd name="connsiteY2" fmla="*/ 0 h 334834"/>
                      <a:gd name="connsiteX3" fmla="*/ 181537 w 334956"/>
                      <a:gd name="connsiteY3" fmla="*/ 1648 h 334834"/>
                      <a:gd name="connsiteX4" fmla="*/ 158848 w 334956"/>
                      <a:gd name="connsiteY4" fmla="*/ 6248 h 334834"/>
                      <a:gd name="connsiteX5" fmla="*/ 162458 w 334956"/>
                      <a:gd name="connsiteY5" fmla="*/ 6325 h 334834"/>
                      <a:gd name="connsiteX6" fmla="*/ 162544 w 334956"/>
                      <a:gd name="connsiteY6" fmla="*/ 5258 h 334834"/>
                      <a:gd name="connsiteX7" fmla="*/ 160411 w 334956"/>
                      <a:gd name="connsiteY7" fmla="*/ 3943 h 334834"/>
                      <a:gd name="connsiteX8" fmla="*/ 158848 w 334956"/>
                      <a:gd name="connsiteY8" fmla="*/ 6248 h 334834"/>
                      <a:gd name="connsiteX9" fmla="*/ 217361 w 334956"/>
                      <a:gd name="connsiteY9" fmla="*/ 5591 h 334834"/>
                      <a:gd name="connsiteX10" fmla="*/ 217941 w 334956"/>
                      <a:gd name="connsiteY10" fmla="*/ 6744 h 334834"/>
                      <a:gd name="connsiteX11" fmla="*/ 218599 w 334956"/>
                      <a:gd name="connsiteY11" fmla="*/ 6744 h 334834"/>
                      <a:gd name="connsiteX12" fmla="*/ 219342 w 334956"/>
                      <a:gd name="connsiteY12" fmla="*/ 6001 h 334834"/>
                      <a:gd name="connsiteX13" fmla="*/ 219342 w 334956"/>
                      <a:gd name="connsiteY13" fmla="*/ 5753 h 334834"/>
                      <a:gd name="connsiteX14" fmla="*/ 218599 w 334956"/>
                      <a:gd name="connsiteY14" fmla="*/ 4934 h 334834"/>
                      <a:gd name="connsiteX15" fmla="*/ 218027 w 334956"/>
                      <a:gd name="connsiteY15" fmla="*/ 4848 h 334834"/>
                      <a:gd name="connsiteX16" fmla="*/ 217361 w 334956"/>
                      <a:gd name="connsiteY16" fmla="*/ 5591 h 334834"/>
                      <a:gd name="connsiteX17" fmla="*/ 136579 w 334956"/>
                      <a:gd name="connsiteY17" fmla="*/ 10116 h 334834"/>
                      <a:gd name="connsiteX18" fmla="*/ 140275 w 334956"/>
                      <a:gd name="connsiteY18" fmla="*/ 11268 h 334834"/>
                      <a:gd name="connsiteX19" fmla="*/ 138303 w 334956"/>
                      <a:gd name="connsiteY19" fmla="*/ 8230 h 334834"/>
                      <a:gd name="connsiteX20" fmla="*/ 136579 w 334956"/>
                      <a:gd name="connsiteY20" fmla="*/ 10116 h 334834"/>
                      <a:gd name="connsiteX21" fmla="*/ 194100 w 334956"/>
                      <a:gd name="connsiteY21" fmla="*/ 9868 h 334834"/>
                      <a:gd name="connsiteX22" fmla="*/ 195824 w 334956"/>
                      <a:gd name="connsiteY22" fmla="*/ 12335 h 334834"/>
                      <a:gd name="connsiteX23" fmla="*/ 195662 w 334956"/>
                      <a:gd name="connsiteY23" fmla="*/ 8230 h 334834"/>
                      <a:gd name="connsiteX24" fmla="*/ 194100 w 334956"/>
                      <a:gd name="connsiteY24" fmla="*/ 9868 h 334834"/>
                      <a:gd name="connsiteX25" fmla="*/ 171593 w 334956"/>
                      <a:gd name="connsiteY25" fmla="*/ 13811 h 334834"/>
                      <a:gd name="connsiteX26" fmla="*/ 174384 w 334956"/>
                      <a:gd name="connsiteY26" fmla="*/ 17345 h 334834"/>
                      <a:gd name="connsiteX27" fmla="*/ 173564 w 334956"/>
                      <a:gd name="connsiteY27" fmla="*/ 12173 h 334834"/>
                      <a:gd name="connsiteX28" fmla="*/ 171593 w 334956"/>
                      <a:gd name="connsiteY28" fmla="*/ 13811 h 334834"/>
                      <a:gd name="connsiteX29" fmla="*/ 114472 w 334956"/>
                      <a:gd name="connsiteY29" fmla="*/ 14307 h 334834"/>
                      <a:gd name="connsiteX30" fmla="*/ 116853 w 334956"/>
                      <a:gd name="connsiteY30" fmla="*/ 16526 h 334834"/>
                      <a:gd name="connsiteX31" fmla="*/ 118339 w 334956"/>
                      <a:gd name="connsiteY31" fmla="*/ 14554 h 334834"/>
                      <a:gd name="connsiteX32" fmla="*/ 116119 w 334956"/>
                      <a:gd name="connsiteY32" fmla="*/ 12744 h 334834"/>
                      <a:gd name="connsiteX33" fmla="*/ 114472 w 334956"/>
                      <a:gd name="connsiteY33" fmla="*/ 14307 h 334834"/>
                      <a:gd name="connsiteX34" fmla="*/ 230181 w 334956"/>
                      <a:gd name="connsiteY34" fmla="*/ 14468 h 334834"/>
                      <a:gd name="connsiteX35" fmla="*/ 233134 w 334956"/>
                      <a:gd name="connsiteY35" fmla="*/ 14554 h 334834"/>
                      <a:gd name="connsiteX36" fmla="*/ 231495 w 334956"/>
                      <a:gd name="connsiteY36" fmla="*/ 13164 h 334834"/>
                      <a:gd name="connsiteX37" fmla="*/ 230181 w 334956"/>
                      <a:gd name="connsiteY37" fmla="*/ 14468 h 334834"/>
                      <a:gd name="connsiteX38" fmla="*/ 149400 w 334956"/>
                      <a:gd name="connsiteY38" fmla="*/ 17669 h 334834"/>
                      <a:gd name="connsiteX39" fmla="*/ 152524 w 334956"/>
                      <a:gd name="connsiteY39" fmla="*/ 22031 h 334834"/>
                      <a:gd name="connsiteX40" fmla="*/ 151457 w 334956"/>
                      <a:gd name="connsiteY40" fmla="*/ 16278 h 334834"/>
                      <a:gd name="connsiteX41" fmla="*/ 149400 w 334956"/>
                      <a:gd name="connsiteY41" fmla="*/ 17669 h 334834"/>
                      <a:gd name="connsiteX42" fmla="*/ 207093 w 334956"/>
                      <a:gd name="connsiteY42" fmla="*/ 18336 h 334834"/>
                      <a:gd name="connsiteX43" fmla="*/ 209969 w 334956"/>
                      <a:gd name="connsiteY43" fmla="*/ 21622 h 334834"/>
                      <a:gd name="connsiteX44" fmla="*/ 208902 w 334956"/>
                      <a:gd name="connsiteY44" fmla="*/ 16688 h 334834"/>
                      <a:gd name="connsiteX45" fmla="*/ 207093 w 334956"/>
                      <a:gd name="connsiteY45" fmla="*/ 18336 h 334834"/>
                      <a:gd name="connsiteX46" fmla="*/ 92783 w 334956"/>
                      <a:gd name="connsiteY46" fmla="*/ 18821 h 334834"/>
                      <a:gd name="connsiteX47" fmla="*/ 95660 w 334956"/>
                      <a:gd name="connsiteY47" fmla="*/ 18736 h 334834"/>
                      <a:gd name="connsiteX48" fmla="*/ 94840 w 334956"/>
                      <a:gd name="connsiteY48" fmla="*/ 17745 h 334834"/>
                      <a:gd name="connsiteX49" fmla="*/ 94021 w 334956"/>
                      <a:gd name="connsiteY49" fmla="*/ 17583 h 334834"/>
                      <a:gd name="connsiteX50" fmla="*/ 92783 w 334956"/>
                      <a:gd name="connsiteY50" fmla="*/ 18821 h 334834"/>
                      <a:gd name="connsiteX51" fmla="*/ 184166 w 334956"/>
                      <a:gd name="connsiteY51" fmla="*/ 23012 h 334834"/>
                      <a:gd name="connsiteX52" fmla="*/ 188185 w 334956"/>
                      <a:gd name="connsiteY52" fmla="*/ 26708 h 334834"/>
                      <a:gd name="connsiteX53" fmla="*/ 186623 w 334956"/>
                      <a:gd name="connsiteY53" fmla="*/ 20460 h 334834"/>
                      <a:gd name="connsiteX54" fmla="*/ 184166 w 334956"/>
                      <a:gd name="connsiteY54" fmla="*/ 23012 h 334834"/>
                      <a:gd name="connsiteX55" fmla="*/ 130340 w 334956"/>
                      <a:gd name="connsiteY55" fmla="*/ 26470 h 334834"/>
                      <a:gd name="connsiteX56" fmla="*/ 129273 w 334956"/>
                      <a:gd name="connsiteY56" fmla="*/ 20717 h 334834"/>
                      <a:gd name="connsiteX57" fmla="*/ 130340 w 334956"/>
                      <a:gd name="connsiteY57" fmla="*/ 26470 h 334834"/>
                      <a:gd name="connsiteX58" fmla="*/ 243249 w 334956"/>
                      <a:gd name="connsiteY58" fmla="*/ 23260 h 334834"/>
                      <a:gd name="connsiteX59" fmla="*/ 246697 w 334956"/>
                      <a:gd name="connsiteY59" fmla="*/ 23670 h 334834"/>
                      <a:gd name="connsiteX60" fmla="*/ 244802 w 334956"/>
                      <a:gd name="connsiteY60" fmla="*/ 21784 h 334834"/>
                      <a:gd name="connsiteX61" fmla="*/ 243249 w 334956"/>
                      <a:gd name="connsiteY61" fmla="*/ 23260 h 334834"/>
                      <a:gd name="connsiteX62" fmla="*/ 161725 w 334956"/>
                      <a:gd name="connsiteY62" fmla="*/ 27118 h 334834"/>
                      <a:gd name="connsiteX63" fmla="*/ 165830 w 334956"/>
                      <a:gd name="connsiteY63" fmla="*/ 31556 h 334834"/>
                      <a:gd name="connsiteX64" fmla="*/ 164763 w 334956"/>
                      <a:gd name="connsiteY64" fmla="*/ 24489 h 334834"/>
                      <a:gd name="connsiteX65" fmla="*/ 161725 w 334956"/>
                      <a:gd name="connsiteY65" fmla="*/ 27118 h 334834"/>
                      <a:gd name="connsiteX66" fmla="*/ 223438 w 334956"/>
                      <a:gd name="connsiteY66" fmla="*/ 30823 h 334834"/>
                      <a:gd name="connsiteX67" fmla="*/ 222371 w 334956"/>
                      <a:gd name="connsiteY67" fmla="*/ 25241 h 334834"/>
                      <a:gd name="connsiteX68" fmla="*/ 223438 w 334956"/>
                      <a:gd name="connsiteY68" fmla="*/ 30823 h 334834"/>
                      <a:gd name="connsiteX69" fmla="*/ 105023 w 334956"/>
                      <a:gd name="connsiteY69" fmla="*/ 27118 h 334834"/>
                      <a:gd name="connsiteX70" fmla="*/ 108061 w 334956"/>
                      <a:gd name="connsiteY70" fmla="*/ 30651 h 334834"/>
                      <a:gd name="connsiteX71" fmla="*/ 107080 w 334956"/>
                      <a:gd name="connsiteY71" fmla="*/ 25308 h 334834"/>
                      <a:gd name="connsiteX72" fmla="*/ 105023 w 334956"/>
                      <a:gd name="connsiteY72" fmla="*/ 27118 h 334834"/>
                      <a:gd name="connsiteX73" fmla="*/ 139370 w 334956"/>
                      <a:gd name="connsiteY73" fmla="*/ 31642 h 334834"/>
                      <a:gd name="connsiteX74" fmla="*/ 143808 w 334956"/>
                      <a:gd name="connsiteY74" fmla="*/ 36166 h 334834"/>
                      <a:gd name="connsiteX75" fmla="*/ 142246 w 334956"/>
                      <a:gd name="connsiteY75" fmla="*/ 28851 h 334834"/>
                      <a:gd name="connsiteX76" fmla="*/ 139370 w 334956"/>
                      <a:gd name="connsiteY76" fmla="*/ 31642 h 334834"/>
                      <a:gd name="connsiteX77" fmla="*/ 197148 w 334956"/>
                      <a:gd name="connsiteY77" fmla="*/ 31309 h 334834"/>
                      <a:gd name="connsiteX78" fmla="*/ 200758 w 334956"/>
                      <a:gd name="connsiteY78" fmla="*/ 36081 h 334834"/>
                      <a:gd name="connsiteX79" fmla="*/ 200263 w 334956"/>
                      <a:gd name="connsiteY79" fmla="*/ 28927 h 334834"/>
                      <a:gd name="connsiteX80" fmla="*/ 197148 w 334956"/>
                      <a:gd name="connsiteY80" fmla="*/ 31309 h 334834"/>
                      <a:gd name="connsiteX81" fmla="*/ 83248 w 334956"/>
                      <a:gd name="connsiteY81" fmla="*/ 31890 h 334834"/>
                      <a:gd name="connsiteX82" fmla="*/ 85715 w 334956"/>
                      <a:gd name="connsiteY82" fmla="*/ 34604 h 334834"/>
                      <a:gd name="connsiteX83" fmla="*/ 85134 w 334956"/>
                      <a:gd name="connsiteY83" fmla="*/ 30251 h 334834"/>
                      <a:gd name="connsiteX84" fmla="*/ 83248 w 334956"/>
                      <a:gd name="connsiteY84" fmla="*/ 31890 h 334834"/>
                      <a:gd name="connsiteX85" fmla="*/ 256394 w 334956"/>
                      <a:gd name="connsiteY85" fmla="*/ 32547 h 334834"/>
                      <a:gd name="connsiteX86" fmla="*/ 257785 w 334956"/>
                      <a:gd name="connsiteY86" fmla="*/ 34109 h 334834"/>
                      <a:gd name="connsiteX87" fmla="*/ 260004 w 334956"/>
                      <a:gd name="connsiteY87" fmla="*/ 32223 h 334834"/>
                      <a:gd name="connsiteX88" fmla="*/ 257785 w 334956"/>
                      <a:gd name="connsiteY88" fmla="*/ 30661 h 334834"/>
                      <a:gd name="connsiteX89" fmla="*/ 256394 w 334956"/>
                      <a:gd name="connsiteY89" fmla="*/ 32547 h 334834"/>
                      <a:gd name="connsiteX90" fmla="*/ 174460 w 334956"/>
                      <a:gd name="connsiteY90" fmla="*/ 35919 h 334834"/>
                      <a:gd name="connsiteX91" fmla="*/ 178898 w 334956"/>
                      <a:gd name="connsiteY91" fmla="*/ 41015 h 334834"/>
                      <a:gd name="connsiteX92" fmla="*/ 177908 w 334956"/>
                      <a:gd name="connsiteY92" fmla="*/ 32880 h 334834"/>
                      <a:gd name="connsiteX93" fmla="*/ 174460 w 334956"/>
                      <a:gd name="connsiteY93" fmla="*/ 35919 h 334834"/>
                      <a:gd name="connsiteX94" fmla="*/ 117348 w 334956"/>
                      <a:gd name="connsiteY94" fmla="*/ 36081 h 334834"/>
                      <a:gd name="connsiteX95" fmla="*/ 121130 w 334956"/>
                      <a:gd name="connsiteY95" fmla="*/ 40519 h 334834"/>
                      <a:gd name="connsiteX96" fmla="*/ 120310 w 334956"/>
                      <a:gd name="connsiteY96" fmla="*/ 33366 h 334834"/>
                      <a:gd name="connsiteX97" fmla="*/ 117348 w 334956"/>
                      <a:gd name="connsiteY97" fmla="*/ 36081 h 334834"/>
                      <a:gd name="connsiteX98" fmla="*/ 233296 w 334956"/>
                      <a:gd name="connsiteY98" fmla="*/ 35585 h 334834"/>
                      <a:gd name="connsiteX99" fmla="*/ 236829 w 334956"/>
                      <a:gd name="connsiteY99" fmla="*/ 39862 h 334834"/>
                      <a:gd name="connsiteX100" fmla="*/ 235353 w 334956"/>
                      <a:gd name="connsiteY100" fmla="*/ 33947 h 334834"/>
                      <a:gd name="connsiteX101" fmla="*/ 233296 w 334956"/>
                      <a:gd name="connsiteY101" fmla="*/ 35585 h 334834"/>
                      <a:gd name="connsiteX102" fmla="*/ 61884 w 334956"/>
                      <a:gd name="connsiteY102" fmla="*/ 36652 h 334834"/>
                      <a:gd name="connsiteX103" fmla="*/ 64351 w 334956"/>
                      <a:gd name="connsiteY103" fmla="*/ 37147 h 334834"/>
                      <a:gd name="connsiteX104" fmla="*/ 63446 w 334956"/>
                      <a:gd name="connsiteY104" fmla="*/ 35671 h 334834"/>
                      <a:gd name="connsiteX105" fmla="*/ 62865 w 334956"/>
                      <a:gd name="connsiteY105" fmla="*/ 35585 h 334834"/>
                      <a:gd name="connsiteX106" fmla="*/ 61884 w 334956"/>
                      <a:gd name="connsiteY106" fmla="*/ 36652 h 334834"/>
                      <a:gd name="connsiteX107" fmla="*/ 152276 w 334956"/>
                      <a:gd name="connsiteY107" fmla="*/ 39691 h 334834"/>
                      <a:gd name="connsiteX108" fmla="*/ 156543 w 334956"/>
                      <a:gd name="connsiteY108" fmla="*/ 45768 h 334834"/>
                      <a:gd name="connsiteX109" fmla="*/ 155886 w 334956"/>
                      <a:gd name="connsiteY109" fmla="*/ 37052 h 334834"/>
                      <a:gd name="connsiteX110" fmla="*/ 152276 w 334956"/>
                      <a:gd name="connsiteY110" fmla="*/ 39691 h 334834"/>
                      <a:gd name="connsiteX111" fmla="*/ 210045 w 334956"/>
                      <a:gd name="connsiteY111" fmla="*/ 40519 h 334834"/>
                      <a:gd name="connsiteX112" fmla="*/ 215065 w 334956"/>
                      <a:gd name="connsiteY112" fmla="*/ 45120 h 334834"/>
                      <a:gd name="connsiteX113" fmla="*/ 213255 w 334956"/>
                      <a:gd name="connsiteY113" fmla="*/ 37481 h 334834"/>
                      <a:gd name="connsiteX114" fmla="*/ 210045 w 334956"/>
                      <a:gd name="connsiteY114" fmla="*/ 40519 h 334834"/>
                      <a:gd name="connsiteX115" fmla="*/ 95488 w 334956"/>
                      <a:gd name="connsiteY115" fmla="*/ 40519 h 334834"/>
                      <a:gd name="connsiteX116" fmla="*/ 99270 w 334956"/>
                      <a:gd name="connsiteY116" fmla="*/ 44548 h 334834"/>
                      <a:gd name="connsiteX117" fmla="*/ 98450 w 334956"/>
                      <a:gd name="connsiteY117" fmla="*/ 38052 h 334834"/>
                      <a:gd name="connsiteX118" fmla="*/ 95488 w 334956"/>
                      <a:gd name="connsiteY118" fmla="*/ 40519 h 334834"/>
                      <a:gd name="connsiteX119" fmla="*/ 269872 w 334956"/>
                      <a:gd name="connsiteY119" fmla="*/ 40929 h 334834"/>
                      <a:gd name="connsiteX120" fmla="*/ 271263 w 334956"/>
                      <a:gd name="connsiteY120" fmla="*/ 42986 h 334834"/>
                      <a:gd name="connsiteX121" fmla="*/ 271263 w 334956"/>
                      <a:gd name="connsiteY121" fmla="*/ 39529 h 334834"/>
                      <a:gd name="connsiteX122" fmla="*/ 269872 w 334956"/>
                      <a:gd name="connsiteY122" fmla="*/ 40929 h 334834"/>
                      <a:gd name="connsiteX123" fmla="*/ 187452 w 334956"/>
                      <a:gd name="connsiteY123" fmla="*/ 44377 h 334834"/>
                      <a:gd name="connsiteX124" fmla="*/ 192138 w 334956"/>
                      <a:gd name="connsiteY124" fmla="*/ 50378 h 334834"/>
                      <a:gd name="connsiteX125" fmla="*/ 191071 w 334956"/>
                      <a:gd name="connsiteY125" fmla="*/ 41338 h 334834"/>
                      <a:gd name="connsiteX126" fmla="*/ 187452 w 334956"/>
                      <a:gd name="connsiteY126" fmla="*/ 44377 h 334834"/>
                      <a:gd name="connsiteX127" fmla="*/ 129930 w 334956"/>
                      <a:gd name="connsiteY127" fmla="*/ 44710 h 334834"/>
                      <a:gd name="connsiteX128" fmla="*/ 135026 w 334956"/>
                      <a:gd name="connsiteY128" fmla="*/ 50130 h 334834"/>
                      <a:gd name="connsiteX129" fmla="*/ 133464 w 334956"/>
                      <a:gd name="connsiteY129" fmla="*/ 41500 h 334834"/>
                      <a:gd name="connsiteX130" fmla="*/ 129930 w 334956"/>
                      <a:gd name="connsiteY130" fmla="*/ 44710 h 334834"/>
                      <a:gd name="connsiteX131" fmla="*/ 246450 w 334956"/>
                      <a:gd name="connsiteY131" fmla="*/ 44625 h 334834"/>
                      <a:gd name="connsiteX132" fmla="*/ 249898 w 334956"/>
                      <a:gd name="connsiteY132" fmla="*/ 48816 h 334834"/>
                      <a:gd name="connsiteX133" fmla="*/ 248583 w 334956"/>
                      <a:gd name="connsiteY133" fmla="*/ 42729 h 334834"/>
                      <a:gd name="connsiteX134" fmla="*/ 246450 w 334956"/>
                      <a:gd name="connsiteY134" fmla="*/ 44625 h 334834"/>
                      <a:gd name="connsiteX135" fmla="*/ 74123 w 334956"/>
                      <a:gd name="connsiteY135" fmla="*/ 44625 h 334834"/>
                      <a:gd name="connsiteX136" fmla="*/ 76838 w 334956"/>
                      <a:gd name="connsiteY136" fmla="*/ 48406 h 334834"/>
                      <a:gd name="connsiteX137" fmla="*/ 76257 w 334956"/>
                      <a:gd name="connsiteY137" fmla="*/ 43062 h 334834"/>
                      <a:gd name="connsiteX138" fmla="*/ 74123 w 334956"/>
                      <a:gd name="connsiteY138" fmla="*/ 44625 h 334834"/>
                      <a:gd name="connsiteX139" fmla="*/ 164763 w 334956"/>
                      <a:gd name="connsiteY139" fmla="*/ 49149 h 334834"/>
                      <a:gd name="connsiteX140" fmla="*/ 170431 w 334956"/>
                      <a:gd name="connsiteY140" fmla="*/ 55150 h 334834"/>
                      <a:gd name="connsiteX141" fmla="*/ 168955 w 334956"/>
                      <a:gd name="connsiteY141" fmla="*/ 45453 h 334834"/>
                      <a:gd name="connsiteX142" fmla="*/ 164763 w 334956"/>
                      <a:gd name="connsiteY142" fmla="*/ 49149 h 334834"/>
                      <a:gd name="connsiteX143" fmla="*/ 107985 w 334956"/>
                      <a:gd name="connsiteY143" fmla="*/ 49149 h 334834"/>
                      <a:gd name="connsiteX144" fmla="*/ 112509 w 334956"/>
                      <a:gd name="connsiteY144" fmla="*/ 54407 h 334834"/>
                      <a:gd name="connsiteX145" fmla="*/ 111442 w 334956"/>
                      <a:gd name="connsiteY145" fmla="*/ 46111 h 334834"/>
                      <a:gd name="connsiteX146" fmla="*/ 107985 w 334956"/>
                      <a:gd name="connsiteY146" fmla="*/ 49149 h 334834"/>
                      <a:gd name="connsiteX147" fmla="*/ 223361 w 334956"/>
                      <a:gd name="connsiteY147" fmla="*/ 48730 h 334834"/>
                      <a:gd name="connsiteX148" fmla="*/ 227390 w 334956"/>
                      <a:gd name="connsiteY148" fmla="*/ 54321 h 334834"/>
                      <a:gd name="connsiteX149" fmla="*/ 226895 w 334956"/>
                      <a:gd name="connsiteY149" fmla="*/ 46187 h 334834"/>
                      <a:gd name="connsiteX150" fmla="*/ 223361 w 334956"/>
                      <a:gd name="connsiteY150" fmla="*/ 48730 h 334834"/>
                      <a:gd name="connsiteX151" fmla="*/ 52597 w 334956"/>
                      <a:gd name="connsiteY151" fmla="*/ 49968 h 334834"/>
                      <a:gd name="connsiteX152" fmla="*/ 54159 w 334956"/>
                      <a:gd name="connsiteY152" fmla="*/ 51854 h 334834"/>
                      <a:gd name="connsiteX153" fmla="*/ 55969 w 334956"/>
                      <a:gd name="connsiteY153" fmla="*/ 50454 h 334834"/>
                      <a:gd name="connsiteX154" fmla="*/ 54073 w 334956"/>
                      <a:gd name="connsiteY154" fmla="*/ 48396 h 334834"/>
                      <a:gd name="connsiteX155" fmla="*/ 52597 w 334956"/>
                      <a:gd name="connsiteY155" fmla="*/ 49968 h 334834"/>
                      <a:gd name="connsiteX156" fmla="*/ 283350 w 334956"/>
                      <a:gd name="connsiteY156" fmla="*/ 49968 h 334834"/>
                      <a:gd name="connsiteX157" fmla="*/ 284416 w 334956"/>
                      <a:gd name="connsiteY157" fmla="*/ 51445 h 334834"/>
                      <a:gd name="connsiteX158" fmla="*/ 286302 w 334956"/>
                      <a:gd name="connsiteY158" fmla="*/ 50292 h 334834"/>
                      <a:gd name="connsiteX159" fmla="*/ 284578 w 334956"/>
                      <a:gd name="connsiteY159" fmla="*/ 48644 h 334834"/>
                      <a:gd name="connsiteX160" fmla="*/ 283350 w 334956"/>
                      <a:gd name="connsiteY160" fmla="*/ 49968 h 334834"/>
                      <a:gd name="connsiteX161" fmla="*/ 142742 w 334956"/>
                      <a:gd name="connsiteY161" fmla="*/ 52845 h 334834"/>
                      <a:gd name="connsiteX162" fmla="*/ 147999 w 334956"/>
                      <a:gd name="connsiteY162" fmla="*/ 59750 h 334834"/>
                      <a:gd name="connsiteX163" fmla="*/ 147256 w 334956"/>
                      <a:gd name="connsiteY163" fmla="*/ 49644 h 334834"/>
                      <a:gd name="connsiteX164" fmla="*/ 142742 w 334956"/>
                      <a:gd name="connsiteY164" fmla="*/ 52845 h 334834"/>
                      <a:gd name="connsiteX165" fmla="*/ 200349 w 334956"/>
                      <a:gd name="connsiteY165" fmla="*/ 53416 h 334834"/>
                      <a:gd name="connsiteX166" fmla="*/ 205445 w 334956"/>
                      <a:gd name="connsiteY166" fmla="*/ 59493 h 334834"/>
                      <a:gd name="connsiteX167" fmla="*/ 204702 w 334956"/>
                      <a:gd name="connsiteY167" fmla="*/ 49882 h 334834"/>
                      <a:gd name="connsiteX168" fmla="*/ 200349 w 334956"/>
                      <a:gd name="connsiteY168" fmla="*/ 53416 h 334834"/>
                      <a:gd name="connsiteX169" fmla="*/ 86287 w 334956"/>
                      <a:gd name="connsiteY169" fmla="*/ 53664 h 334834"/>
                      <a:gd name="connsiteX170" fmla="*/ 90392 w 334956"/>
                      <a:gd name="connsiteY170" fmla="*/ 58341 h 334834"/>
                      <a:gd name="connsiteX171" fmla="*/ 89325 w 334956"/>
                      <a:gd name="connsiteY171" fmla="*/ 50949 h 334834"/>
                      <a:gd name="connsiteX172" fmla="*/ 86287 w 334956"/>
                      <a:gd name="connsiteY172" fmla="*/ 53664 h 334834"/>
                      <a:gd name="connsiteX173" fmla="*/ 259680 w 334956"/>
                      <a:gd name="connsiteY173" fmla="*/ 53912 h 334834"/>
                      <a:gd name="connsiteX174" fmla="*/ 263547 w 334956"/>
                      <a:gd name="connsiteY174" fmla="*/ 57531 h 334834"/>
                      <a:gd name="connsiteX175" fmla="*/ 261909 w 334956"/>
                      <a:gd name="connsiteY175" fmla="*/ 51692 h 334834"/>
                      <a:gd name="connsiteX176" fmla="*/ 259680 w 334956"/>
                      <a:gd name="connsiteY176" fmla="*/ 53912 h 334834"/>
                      <a:gd name="connsiteX177" fmla="*/ 177832 w 334956"/>
                      <a:gd name="connsiteY177" fmla="*/ 57445 h 334834"/>
                      <a:gd name="connsiteX178" fmla="*/ 183747 w 334956"/>
                      <a:gd name="connsiteY178" fmla="*/ 64427 h 334834"/>
                      <a:gd name="connsiteX179" fmla="*/ 182518 w 334956"/>
                      <a:gd name="connsiteY179" fmla="*/ 53826 h 334834"/>
                      <a:gd name="connsiteX180" fmla="*/ 177832 w 334956"/>
                      <a:gd name="connsiteY180" fmla="*/ 57445 h 334834"/>
                      <a:gd name="connsiteX181" fmla="*/ 120558 w 334956"/>
                      <a:gd name="connsiteY181" fmla="*/ 57693 h 334834"/>
                      <a:gd name="connsiteX182" fmla="*/ 125901 w 334956"/>
                      <a:gd name="connsiteY182" fmla="*/ 64103 h 334834"/>
                      <a:gd name="connsiteX183" fmla="*/ 124511 w 334956"/>
                      <a:gd name="connsiteY183" fmla="*/ 54245 h 334834"/>
                      <a:gd name="connsiteX184" fmla="*/ 120558 w 334956"/>
                      <a:gd name="connsiteY184" fmla="*/ 57693 h 334834"/>
                      <a:gd name="connsiteX185" fmla="*/ 236420 w 334956"/>
                      <a:gd name="connsiteY185" fmla="*/ 58103 h 334834"/>
                      <a:gd name="connsiteX186" fmla="*/ 241516 w 334956"/>
                      <a:gd name="connsiteY186" fmla="*/ 63113 h 334834"/>
                      <a:gd name="connsiteX187" fmla="*/ 239878 w 334956"/>
                      <a:gd name="connsiteY187" fmla="*/ 54978 h 334834"/>
                      <a:gd name="connsiteX188" fmla="*/ 236420 w 334956"/>
                      <a:gd name="connsiteY188" fmla="*/ 58103 h 334834"/>
                      <a:gd name="connsiteX189" fmla="*/ 65008 w 334956"/>
                      <a:gd name="connsiteY189" fmla="*/ 57693 h 334834"/>
                      <a:gd name="connsiteX190" fmla="*/ 67970 w 334956"/>
                      <a:gd name="connsiteY190" fmla="*/ 62046 h 334834"/>
                      <a:gd name="connsiteX191" fmla="*/ 67313 w 334956"/>
                      <a:gd name="connsiteY191" fmla="*/ 56045 h 334834"/>
                      <a:gd name="connsiteX192" fmla="*/ 65008 w 334956"/>
                      <a:gd name="connsiteY192" fmla="*/ 57693 h 334834"/>
                      <a:gd name="connsiteX193" fmla="*/ 155972 w 334956"/>
                      <a:gd name="connsiteY193" fmla="*/ 60646 h 334834"/>
                      <a:gd name="connsiteX194" fmla="*/ 159506 w 334956"/>
                      <a:gd name="connsiteY194" fmla="*/ 69113 h 334834"/>
                      <a:gd name="connsiteX195" fmla="*/ 160325 w 334956"/>
                      <a:gd name="connsiteY195" fmla="*/ 58017 h 334834"/>
                      <a:gd name="connsiteX196" fmla="*/ 155972 w 334956"/>
                      <a:gd name="connsiteY196" fmla="*/ 60646 h 334834"/>
                      <a:gd name="connsiteX197" fmla="*/ 297313 w 334956"/>
                      <a:gd name="connsiteY197" fmla="*/ 58674 h 334834"/>
                      <a:gd name="connsiteX198" fmla="*/ 297313 w 334956"/>
                      <a:gd name="connsiteY198" fmla="*/ 59255 h 334834"/>
                      <a:gd name="connsiteX199" fmla="*/ 297723 w 334956"/>
                      <a:gd name="connsiteY199" fmla="*/ 59750 h 334834"/>
                      <a:gd name="connsiteX200" fmla="*/ 298380 w 334956"/>
                      <a:gd name="connsiteY200" fmla="*/ 59836 h 334834"/>
                      <a:gd name="connsiteX201" fmla="*/ 298875 w 334956"/>
                      <a:gd name="connsiteY201" fmla="*/ 59426 h 334834"/>
                      <a:gd name="connsiteX202" fmla="*/ 298952 w 334956"/>
                      <a:gd name="connsiteY202" fmla="*/ 58769 h 334834"/>
                      <a:gd name="connsiteX203" fmla="*/ 298380 w 334956"/>
                      <a:gd name="connsiteY203" fmla="*/ 58274 h 334834"/>
                      <a:gd name="connsiteX204" fmla="*/ 297799 w 334956"/>
                      <a:gd name="connsiteY204" fmla="*/ 58188 h 334834"/>
                      <a:gd name="connsiteX205" fmla="*/ 297313 w 334956"/>
                      <a:gd name="connsiteY205" fmla="*/ 58674 h 334834"/>
                      <a:gd name="connsiteX206" fmla="*/ 213417 w 334956"/>
                      <a:gd name="connsiteY206" fmla="*/ 62455 h 334834"/>
                      <a:gd name="connsiteX207" fmla="*/ 219085 w 334956"/>
                      <a:gd name="connsiteY207" fmla="*/ 68532 h 334834"/>
                      <a:gd name="connsiteX208" fmla="*/ 217522 w 334956"/>
                      <a:gd name="connsiteY208" fmla="*/ 58588 h 334834"/>
                      <a:gd name="connsiteX209" fmla="*/ 213417 w 334956"/>
                      <a:gd name="connsiteY209" fmla="*/ 62455 h 334834"/>
                      <a:gd name="connsiteX210" fmla="*/ 98612 w 334956"/>
                      <a:gd name="connsiteY210" fmla="*/ 62617 h 334834"/>
                      <a:gd name="connsiteX211" fmla="*/ 103622 w 334956"/>
                      <a:gd name="connsiteY211" fmla="*/ 68123 h 334834"/>
                      <a:gd name="connsiteX212" fmla="*/ 102556 w 334956"/>
                      <a:gd name="connsiteY212" fmla="*/ 58998 h 334834"/>
                      <a:gd name="connsiteX213" fmla="*/ 98612 w 334956"/>
                      <a:gd name="connsiteY213" fmla="*/ 62617 h 334834"/>
                      <a:gd name="connsiteX214" fmla="*/ 273234 w 334956"/>
                      <a:gd name="connsiteY214" fmla="*/ 62617 h 334834"/>
                      <a:gd name="connsiteX215" fmla="*/ 276606 w 334956"/>
                      <a:gd name="connsiteY215" fmla="*/ 66237 h 334834"/>
                      <a:gd name="connsiteX216" fmla="*/ 275292 w 334956"/>
                      <a:gd name="connsiteY216" fmla="*/ 60731 h 334834"/>
                      <a:gd name="connsiteX217" fmla="*/ 273234 w 334956"/>
                      <a:gd name="connsiteY217" fmla="*/ 62617 h 334834"/>
                      <a:gd name="connsiteX218" fmla="*/ 43472 w 334956"/>
                      <a:gd name="connsiteY218" fmla="*/ 63275 h 334834"/>
                      <a:gd name="connsiteX219" fmla="*/ 46025 w 334956"/>
                      <a:gd name="connsiteY219" fmla="*/ 65408 h 334834"/>
                      <a:gd name="connsiteX220" fmla="*/ 47425 w 334956"/>
                      <a:gd name="connsiteY220" fmla="*/ 63846 h 334834"/>
                      <a:gd name="connsiteX221" fmla="*/ 45120 w 334956"/>
                      <a:gd name="connsiteY221" fmla="*/ 61465 h 334834"/>
                      <a:gd name="connsiteX222" fmla="*/ 43472 w 334956"/>
                      <a:gd name="connsiteY222" fmla="*/ 63275 h 334834"/>
                      <a:gd name="connsiteX223" fmla="*/ 133293 w 334956"/>
                      <a:gd name="connsiteY223" fmla="*/ 66151 h 334834"/>
                      <a:gd name="connsiteX224" fmla="*/ 137398 w 334956"/>
                      <a:gd name="connsiteY224" fmla="*/ 73542 h 334834"/>
                      <a:gd name="connsiteX225" fmla="*/ 138141 w 334956"/>
                      <a:gd name="connsiteY225" fmla="*/ 62446 h 334834"/>
                      <a:gd name="connsiteX226" fmla="*/ 133293 w 334956"/>
                      <a:gd name="connsiteY226" fmla="*/ 66151 h 334834"/>
                      <a:gd name="connsiteX227" fmla="*/ 190814 w 334956"/>
                      <a:gd name="connsiteY227" fmla="*/ 66151 h 334834"/>
                      <a:gd name="connsiteX228" fmla="*/ 194843 w 334956"/>
                      <a:gd name="connsiteY228" fmla="*/ 73628 h 334834"/>
                      <a:gd name="connsiteX229" fmla="*/ 195424 w 334956"/>
                      <a:gd name="connsiteY229" fmla="*/ 62455 h 334834"/>
                      <a:gd name="connsiteX230" fmla="*/ 190814 w 334956"/>
                      <a:gd name="connsiteY230" fmla="*/ 66151 h 334834"/>
                      <a:gd name="connsiteX231" fmla="*/ 77248 w 334956"/>
                      <a:gd name="connsiteY231" fmla="*/ 66484 h 334834"/>
                      <a:gd name="connsiteX232" fmla="*/ 81439 w 334956"/>
                      <a:gd name="connsiteY232" fmla="*/ 71990 h 334834"/>
                      <a:gd name="connsiteX233" fmla="*/ 80696 w 334956"/>
                      <a:gd name="connsiteY233" fmla="*/ 63941 h 334834"/>
                      <a:gd name="connsiteX234" fmla="*/ 77248 w 334956"/>
                      <a:gd name="connsiteY234" fmla="*/ 66484 h 334834"/>
                      <a:gd name="connsiteX235" fmla="*/ 249812 w 334956"/>
                      <a:gd name="connsiteY235" fmla="*/ 66894 h 334834"/>
                      <a:gd name="connsiteX236" fmla="*/ 254251 w 334956"/>
                      <a:gd name="connsiteY236" fmla="*/ 71990 h 334834"/>
                      <a:gd name="connsiteX237" fmla="*/ 253346 w 334956"/>
                      <a:gd name="connsiteY237" fmla="*/ 63941 h 334834"/>
                      <a:gd name="connsiteX238" fmla="*/ 249812 w 334956"/>
                      <a:gd name="connsiteY238" fmla="*/ 66894 h 334834"/>
                      <a:gd name="connsiteX239" fmla="*/ 170269 w 334956"/>
                      <a:gd name="connsiteY239" fmla="*/ 67637 h 334834"/>
                      <a:gd name="connsiteX240" fmla="*/ 169774 w 334956"/>
                      <a:gd name="connsiteY240" fmla="*/ 78648 h 334834"/>
                      <a:gd name="connsiteX241" fmla="*/ 177832 w 334956"/>
                      <a:gd name="connsiteY241" fmla="*/ 77248 h 334834"/>
                      <a:gd name="connsiteX242" fmla="*/ 179718 w 334956"/>
                      <a:gd name="connsiteY242" fmla="*/ 75609 h 334834"/>
                      <a:gd name="connsiteX243" fmla="*/ 179794 w 334956"/>
                      <a:gd name="connsiteY243" fmla="*/ 72571 h 334834"/>
                      <a:gd name="connsiteX244" fmla="*/ 173793 w 334956"/>
                      <a:gd name="connsiteY244" fmla="*/ 66494 h 334834"/>
                      <a:gd name="connsiteX245" fmla="*/ 170269 w 334956"/>
                      <a:gd name="connsiteY245" fmla="*/ 67637 h 334834"/>
                      <a:gd name="connsiteX246" fmla="*/ 111185 w 334956"/>
                      <a:gd name="connsiteY246" fmla="*/ 71247 h 334834"/>
                      <a:gd name="connsiteX247" fmla="*/ 117519 w 334956"/>
                      <a:gd name="connsiteY247" fmla="*/ 77743 h 334834"/>
                      <a:gd name="connsiteX248" fmla="*/ 115462 w 334956"/>
                      <a:gd name="connsiteY248" fmla="*/ 67142 h 334834"/>
                      <a:gd name="connsiteX249" fmla="*/ 111185 w 334956"/>
                      <a:gd name="connsiteY249" fmla="*/ 71247 h 334834"/>
                      <a:gd name="connsiteX250" fmla="*/ 226647 w 334956"/>
                      <a:gd name="connsiteY250" fmla="*/ 71085 h 334834"/>
                      <a:gd name="connsiteX251" fmla="*/ 231819 w 334956"/>
                      <a:gd name="connsiteY251" fmla="*/ 77495 h 334834"/>
                      <a:gd name="connsiteX252" fmla="*/ 231077 w 334956"/>
                      <a:gd name="connsiteY252" fmla="*/ 67389 h 334834"/>
                      <a:gd name="connsiteX253" fmla="*/ 226647 w 334956"/>
                      <a:gd name="connsiteY253" fmla="*/ 71085 h 334834"/>
                      <a:gd name="connsiteX254" fmla="*/ 55721 w 334956"/>
                      <a:gd name="connsiteY254" fmla="*/ 71495 h 334834"/>
                      <a:gd name="connsiteX255" fmla="*/ 59169 w 334956"/>
                      <a:gd name="connsiteY255" fmla="*/ 75524 h 334834"/>
                      <a:gd name="connsiteX256" fmla="*/ 58179 w 334956"/>
                      <a:gd name="connsiteY256" fmla="*/ 69199 h 334834"/>
                      <a:gd name="connsiteX257" fmla="*/ 55721 w 334956"/>
                      <a:gd name="connsiteY257" fmla="*/ 71495 h 334834"/>
                      <a:gd name="connsiteX258" fmla="*/ 286883 w 334956"/>
                      <a:gd name="connsiteY258" fmla="*/ 71495 h 334834"/>
                      <a:gd name="connsiteX259" fmla="*/ 289760 w 334956"/>
                      <a:gd name="connsiteY259" fmla="*/ 74781 h 334834"/>
                      <a:gd name="connsiteX260" fmla="*/ 288693 w 334956"/>
                      <a:gd name="connsiteY260" fmla="*/ 69933 h 334834"/>
                      <a:gd name="connsiteX261" fmla="*/ 286883 w 334956"/>
                      <a:gd name="connsiteY261" fmla="*/ 71495 h 334834"/>
                      <a:gd name="connsiteX262" fmla="*/ 146028 w 334956"/>
                      <a:gd name="connsiteY262" fmla="*/ 74457 h 334834"/>
                      <a:gd name="connsiteX263" fmla="*/ 145456 w 334956"/>
                      <a:gd name="connsiteY263" fmla="*/ 83658 h 334834"/>
                      <a:gd name="connsiteX264" fmla="*/ 136417 w 334956"/>
                      <a:gd name="connsiteY264" fmla="*/ 84649 h 334834"/>
                      <a:gd name="connsiteX265" fmla="*/ 132883 w 334956"/>
                      <a:gd name="connsiteY265" fmla="*/ 76105 h 334834"/>
                      <a:gd name="connsiteX266" fmla="*/ 128444 w 334956"/>
                      <a:gd name="connsiteY266" fmla="*/ 75524 h 334834"/>
                      <a:gd name="connsiteX267" fmla="*/ 126397 w 334956"/>
                      <a:gd name="connsiteY267" fmla="*/ 76267 h 334834"/>
                      <a:gd name="connsiteX268" fmla="*/ 124015 w 334956"/>
                      <a:gd name="connsiteY268" fmla="*/ 79143 h 334834"/>
                      <a:gd name="connsiteX269" fmla="*/ 126644 w 334956"/>
                      <a:gd name="connsiteY269" fmla="*/ 87192 h 334834"/>
                      <a:gd name="connsiteX270" fmla="*/ 135436 w 334956"/>
                      <a:gd name="connsiteY270" fmla="*/ 86039 h 334834"/>
                      <a:gd name="connsiteX271" fmla="*/ 137246 w 334956"/>
                      <a:gd name="connsiteY271" fmla="*/ 90478 h 334834"/>
                      <a:gd name="connsiteX272" fmla="*/ 137655 w 334956"/>
                      <a:gd name="connsiteY272" fmla="*/ 93850 h 334834"/>
                      <a:gd name="connsiteX273" fmla="*/ 130588 w 334956"/>
                      <a:gd name="connsiteY273" fmla="*/ 98041 h 334834"/>
                      <a:gd name="connsiteX274" fmla="*/ 125168 w 334956"/>
                      <a:gd name="connsiteY274" fmla="*/ 89087 h 334834"/>
                      <a:gd name="connsiteX275" fmla="*/ 118834 w 334956"/>
                      <a:gd name="connsiteY275" fmla="*/ 89087 h 334834"/>
                      <a:gd name="connsiteX276" fmla="*/ 115957 w 334956"/>
                      <a:gd name="connsiteY276" fmla="*/ 90078 h 334834"/>
                      <a:gd name="connsiteX277" fmla="*/ 115633 w 334956"/>
                      <a:gd name="connsiteY277" fmla="*/ 99774 h 334834"/>
                      <a:gd name="connsiteX278" fmla="*/ 106509 w 334956"/>
                      <a:gd name="connsiteY278" fmla="*/ 103308 h 334834"/>
                      <a:gd name="connsiteX279" fmla="*/ 106756 w 334956"/>
                      <a:gd name="connsiteY279" fmla="*/ 111852 h 334834"/>
                      <a:gd name="connsiteX280" fmla="*/ 100184 w 334956"/>
                      <a:gd name="connsiteY280" fmla="*/ 115795 h 334834"/>
                      <a:gd name="connsiteX281" fmla="*/ 97060 w 334956"/>
                      <a:gd name="connsiteY281" fmla="*/ 116129 h 334834"/>
                      <a:gd name="connsiteX282" fmla="*/ 89497 w 334956"/>
                      <a:gd name="connsiteY282" fmla="*/ 106432 h 334834"/>
                      <a:gd name="connsiteX283" fmla="*/ 87697 w 334956"/>
                      <a:gd name="connsiteY283" fmla="*/ 106918 h 334834"/>
                      <a:gd name="connsiteX284" fmla="*/ 85401 w 334956"/>
                      <a:gd name="connsiteY284" fmla="*/ 108404 h 334834"/>
                      <a:gd name="connsiteX285" fmla="*/ 87868 w 334956"/>
                      <a:gd name="connsiteY285" fmla="*/ 118100 h 334834"/>
                      <a:gd name="connsiteX286" fmla="*/ 95345 w 334956"/>
                      <a:gd name="connsiteY286" fmla="*/ 116862 h 334834"/>
                      <a:gd name="connsiteX287" fmla="*/ 97069 w 334956"/>
                      <a:gd name="connsiteY287" fmla="*/ 120320 h 334834"/>
                      <a:gd name="connsiteX288" fmla="*/ 94926 w 334956"/>
                      <a:gd name="connsiteY288" fmla="*/ 128454 h 334834"/>
                      <a:gd name="connsiteX289" fmla="*/ 87859 w 334956"/>
                      <a:gd name="connsiteY289" fmla="*/ 130835 h 334834"/>
                      <a:gd name="connsiteX290" fmla="*/ 88106 w 334956"/>
                      <a:gd name="connsiteY290" fmla="*/ 132731 h 334834"/>
                      <a:gd name="connsiteX291" fmla="*/ 87782 w 334956"/>
                      <a:gd name="connsiteY291" fmla="*/ 141027 h 334834"/>
                      <a:gd name="connsiteX292" fmla="*/ 79400 w 334956"/>
                      <a:gd name="connsiteY292" fmla="*/ 144313 h 334834"/>
                      <a:gd name="connsiteX293" fmla="*/ 80629 w 334956"/>
                      <a:gd name="connsiteY293" fmla="*/ 154257 h 334834"/>
                      <a:gd name="connsiteX294" fmla="*/ 71018 w 334956"/>
                      <a:gd name="connsiteY294" fmla="*/ 163049 h 334834"/>
                      <a:gd name="connsiteX295" fmla="*/ 72085 w 334956"/>
                      <a:gd name="connsiteY295" fmla="*/ 165354 h 334834"/>
                      <a:gd name="connsiteX296" fmla="*/ 81867 w 334956"/>
                      <a:gd name="connsiteY296" fmla="*/ 166011 h 334834"/>
                      <a:gd name="connsiteX297" fmla="*/ 84658 w 334956"/>
                      <a:gd name="connsiteY297" fmla="*/ 173250 h 334834"/>
                      <a:gd name="connsiteX298" fmla="*/ 77095 w 334956"/>
                      <a:gd name="connsiteY298" fmla="*/ 178175 h 334834"/>
                      <a:gd name="connsiteX299" fmla="*/ 75781 w 334956"/>
                      <a:gd name="connsiteY299" fmla="*/ 186557 h 334834"/>
                      <a:gd name="connsiteX300" fmla="*/ 88106 w 334956"/>
                      <a:gd name="connsiteY300" fmla="*/ 190586 h 334834"/>
                      <a:gd name="connsiteX301" fmla="*/ 88021 w 334956"/>
                      <a:gd name="connsiteY301" fmla="*/ 198720 h 334834"/>
                      <a:gd name="connsiteX302" fmla="*/ 84896 w 334956"/>
                      <a:gd name="connsiteY302" fmla="*/ 199625 h 334834"/>
                      <a:gd name="connsiteX303" fmla="*/ 79715 w 334956"/>
                      <a:gd name="connsiteY303" fmla="*/ 206778 h 334834"/>
                      <a:gd name="connsiteX304" fmla="*/ 80534 w 334956"/>
                      <a:gd name="connsiteY304" fmla="*/ 208998 h 334834"/>
                      <a:gd name="connsiteX305" fmla="*/ 87925 w 334956"/>
                      <a:gd name="connsiteY305" fmla="*/ 210645 h 334834"/>
                      <a:gd name="connsiteX306" fmla="*/ 91211 w 334956"/>
                      <a:gd name="connsiteY306" fmla="*/ 210236 h 334834"/>
                      <a:gd name="connsiteX307" fmla="*/ 95164 w 334956"/>
                      <a:gd name="connsiteY307" fmla="*/ 220180 h 334834"/>
                      <a:gd name="connsiteX308" fmla="*/ 105518 w 334956"/>
                      <a:gd name="connsiteY308" fmla="*/ 221085 h 334834"/>
                      <a:gd name="connsiteX309" fmla="*/ 107080 w 334956"/>
                      <a:gd name="connsiteY309" fmla="*/ 228562 h 334834"/>
                      <a:gd name="connsiteX310" fmla="*/ 105851 w 334956"/>
                      <a:gd name="connsiteY310" fmla="*/ 230038 h 334834"/>
                      <a:gd name="connsiteX311" fmla="*/ 99031 w 334956"/>
                      <a:gd name="connsiteY311" fmla="*/ 231762 h 334834"/>
                      <a:gd name="connsiteX312" fmla="*/ 99355 w 334956"/>
                      <a:gd name="connsiteY312" fmla="*/ 240802 h 334834"/>
                      <a:gd name="connsiteX313" fmla="*/ 108966 w 334956"/>
                      <a:gd name="connsiteY313" fmla="*/ 238744 h 334834"/>
                      <a:gd name="connsiteX314" fmla="*/ 107899 w 334956"/>
                      <a:gd name="connsiteY314" fmla="*/ 230686 h 334834"/>
                      <a:gd name="connsiteX315" fmla="*/ 116443 w 334956"/>
                      <a:gd name="connsiteY315" fmla="*/ 228467 h 334834"/>
                      <a:gd name="connsiteX316" fmla="*/ 118910 w 334956"/>
                      <a:gd name="connsiteY316" fmla="*/ 230438 h 334834"/>
                      <a:gd name="connsiteX317" fmla="*/ 119815 w 334956"/>
                      <a:gd name="connsiteY317" fmla="*/ 238077 h 334834"/>
                      <a:gd name="connsiteX318" fmla="*/ 110452 w 334956"/>
                      <a:gd name="connsiteY318" fmla="*/ 244897 h 334834"/>
                      <a:gd name="connsiteX319" fmla="*/ 110938 w 334956"/>
                      <a:gd name="connsiteY319" fmla="*/ 247040 h 334834"/>
                      <a:gd name="connsiteX320" fmla="*/ 112252 w 334956"/>
                      <a:gd name="connsiteY320" fmla="*/ 249422 h 334834"/>
                      <a:gd name="connsiteX321" fmla="*/ 122272 w 334956"/>
                      <a:gd name="connsiteY321" fmla="*/ 247612 h 334834"/>
                      <a:gd name="connsiteX322" fmla="*/ 122358 w 334956"/>
                      <a:gd name="connsiteY322" fmla="*/ 238573 h 334834"/>
                      <a:gd name="connsiteX323" fmla="*/ 125397 w 334956"/>
                      <a:gd name="connsiteY323" fmla="*/ 237744 h 334834"/>
                      <a:gd name="connsiteX324" fmla="*/ 133207 w 334956"/>
                      <a:gd name="connsiteY324" fmla="*/ 243421 h 334834"/>
                      <a:gd name="connsiteX325" fmla="*/ 133617 w 334956"/>
                      <a:gd name="connsiteY325" fmla="*/ 246793 h 334834"/>
                      <a:gd name="connsiteX326" fmla="*/ 123835 w 334956"/>
                      <a:gd name="connsiteY326" fmla="*/ 254270 h 334834"/>
                      <a:gd name="connsiteX327" fmla="*/ 124492 w 334956"/>
                      <a:gd name="connsiteY327" fmla="*/ 256489 h 334834"/>
                      <a:gd name="connsiteX328" fmla="*/ 126464 w 334956"/>
                      <a:gd name="connsiteY328" fmla="*/ 258947 h 334834"/>
                      <a:gd name="connsiteX329" fmla="*/ 135502 w 334956"/>
                      <a:gd name="connsiteY329" fmla="*/ 255832 h 334834"/>
                      <a:gd name="connsiteX330" fmla="*/ 134512 w 334956"/>
                      <a:gd name="connsiteY330" fmla="*/ 248021 h 334834"/>
                      <a:gd name="connsiteX331" fmla="*/ 145685 w 334956"/>
                      <a:gd name="connsiteY331" fmla="*/ 248098 h 334834"/>
                      <a:gd name="connsiteX332" fmla="*/ 148314 w 334956"/>
                      <a:gd name="connsiteY332" fmla="*/ 255575 h 334834"/>
                      <a:gd name="connsiteX333" fmla="*/ 158172 w 334956"/>
                      <a:gd name="connsiteY333" fmla="*/ 254508 h 334834"/>
                      <a:gd name="connsiteX334" fmla="*/ 160220 w 334956"/>
                      <a:gd name="connsiteY334" fmla="*/ 262061 h 334834"/>
                      <a:gd name="connsiteX335" fmla="*/ 170412 w 334956"/>
                      <a:gd name="connsiteY335" fmla="*/ 261899 h 334834"/>
                      <a:gd name="connsiteX336" fmla="*/ 170002 w 334956"/>
                      <a:gd name="connsiteY336" fmla="*/ 253841 h 334834"/>
                      <a:gd name="connsiteX337" fmla="*/ 177479 w 334956"/>
                      <a:gd name="connsiteY337" fmla="*/ 250307 h 334834"/>
                      <a:gd name="connsiteX338" fmla="*/ 182251 w 334956"/>
                      <a:gd name="connsiteY338" fmla="*/ 257623 h 334834"/>
                      <a:gd name="connsiteX339" fmla="*/ 190633 w 334956"/>
                      <a:gd name="connsiteY339" fmla="*/ 259175 h 334834"/>
                      <a:gd name="connsiteX340" fmla="*/ 192519 w 334956"/>
                      <a:gd name="connsiteY340" fmla="*/ 248574 h 334834"/>
                      <a:gd name="connsiteX341" fmla="*/ 198025 w 334956"/>
                      <a:gd name="connsiteY341" fmla="*/ 246269 h 334834"/>
                      <a:gd name="connsiteX342" fmla="*/ 201644 w 334956"/>
                      <a:gd name="connsiteY342" fmla="*/ 245774 h 334834"/>
                      <a:gd name="connsiteX343" fmla="*/ 204273 w 334956"/>
                      <a:gd name="connsiteY343" fmla="*/ 252593 h 334834"/>
                      <a:gd name="connsiteX344" fmla="*/ 211341 w 334956"/>
                      <a:gd name="connsiteY344" fmla="*/ 255137 h 334834"/>
                      <a:gd name="connsiteX345" fmla="*/ 213636 w 334956"/>
                      <a:gd name="connsiteY345" fmla="*/ 253908 h 334834"/>
                      <a:gd name="connsiteX346" fmla="*/ 215274 w 334956"/>
                      <a:gd name="connsiteY346" fmla="*/ 251279 h 334834"/>
                      <a:gd name="connsiteX347" fmla="*/ 212979 w 334956"/>
                      <a:gd name="connsiteY347" fmla="*/ 243554 h 334834"/>
                      <a:gd name="connsiteX348" fmla="*/ 204844 w 334956"/>
                      <a:gd name="connsiteY348" fmla="*/ 244783 h 334834"/>
                      <a:gd name="connsiteX349" fmla="*/ 202549 w 334956"/>
                      <a:gd name="connsiteY349" fmla="*/ 235087 h 334834"/>
                      <a:gd name="connsiteX350" fmla="*/ 211912 w 334956"/>
                      <a:gd name="connsiteY350" fmla="*/ 234591 h 334834"/>
                      <a:gd name="connsiteX351" fmla="*/ 213550 w 334956"/>
                      <a:gd name="connsiteY351" fmla="*/ 241249 h 334834"/>
                      <a:gd name="connsiteX352" fmla="*/ 222999 w 334956"/>
                      <a:gd name="connsiteY352" fmla="*/ 240840 h 334834"/>
                      <a:gd name="connsiteX353" fmla="*/ 223580 w 334956"/>
                      <a:gd name="connsiteY353" fmla="*/ 230810 h 334834"/>
                      <a:gd name="connsiteX354" fmla="*/ 233277 w 334956"/>
                      <a:gd name="connsiteY354" fmla="*/ 226790 h 334834"/>
                      <a:gd name="connsiteX355" fmla="*/ 232877 w 334956"/>
                      <a:gd name="connsiteY355" fmla="*/ 217418 h 334834"/>
                      <a:gd name="connsiteX356" fmla="*/ 242326 w 334956"/>
                      <a:gd name="connsiteY356" fmla="*/ 213474 h 334834"/>
                      <a:gd name="connsiteX357" fmla="*/ 241745 w 334956"/>
                      <a:gd name="connsiteY357" fmla="*/ 204025 h 334834"/>
                      <a:gd name="connsiteX358" fmla="*/ 251031 w 334956"/>
                      <a:gd name="connsiteY358" fmla="*/ 199834 h 334834"/>
                      <a:gd name="connsiteX359" fmla="*/ 250289 w 334956"/>
                      <a:gd name="connsiteY359" fmla="*/ 190471 h 334834"/>
                      <a:gd name="connsiteX360" fmla="*/ 259575 w 334956"/>
                      <a:gd name="connsiteY360" fmla="*/ 186033 h 334834"/>
                      <a:gd name="connsiteX361" fmla="*/ 259490 w 334956"/>
                      <a:gd name="connsiteY361" fmla="*/ 182585 h 334834"/>
                      <a:gd name="connsiteX362" fmla="*/ 256937 w 334956"/>
                      <a:gd name="connsiteY362" fmla="*/ 177079 h 334834"/>
                      <a:gd name="connsiteX363" fmla="*/ 248145 w 334956"/>
                      <a:gd name="connsiteY363" fmla="*/ 177241 h 334834"/>
                      <a:gd name="connsiteX364" fmla="*/ 248145 w 334956"/>
                      <a:gd name="connsiteY364" fmla="*/ 167135 h 334834"/>
                      <a:gd name="connsiteX365" fmla="*/ 255622 w 334956"/>
                      <a:gd name="connsiteY365" fmla="*/ 164916 h 334834"/>
                      <a:gd name="connsiteX366" fmla="*/ 254308 w 334956"/>
                      <a:gd name="connsiteY366" fmla="*/ 155219 h 334834"/>
                      <a:gd name="connsiteX367" fmla="*/ 261214 w 334956"/>
                      <a:gd name="connsiteY367" fmla="*/ 152838 h 334834"/>
                      <a:gd name="connsiteX368" fmla="*/ 261376 w 334956"/>
                      <a:gd name="connsiteY368" fmla="*/ 142399 h 334834"/>
                      <a:gd name="connsiteX369" fmla="*/ 252013 w 334956"/>
                      <a:gd name="connsiteY369" fmla="*/ 142475 h 334834"/>
                      <a:gd name="connsiteX370" fmla="*/ 248888 w 334956"/>
                      <a:gd name="connsiteY370" fmla="*/ 132617 h 334834"/>
                      <a:gd name="connsiteX371" fmla="*/ 245516 w 334956"/>
                      <a:gd name="connsiteY371" fmla="*/ 132940 h 334834"/>
                      <a:gd name="connsiteX372" fmla="*/ 237792 w 334956"/>
                      <a:gd name="connsiteY372" fmla="*/ 130883 h 334834"/>
                      <a:gd name="connsiteX373" fmla="*/ 237134 w 334956"/>
                      <a:gd name="connsiteY373" fmla="*/ 128416 h 334834"/>
                      <a:gd name="connsiteX374" fmla="*/ 245431 w 334956"/>
                      <a:gd name="connsiteY374" fmla="*/ 121015 h 334834"/>
                      <a:gd name="connsiteX375" fmla="*/ 245593 w 334956"/>
                      <a:gd name="connsiteY375" fmla="*/ 113214 h 334834"/>
                      <a:gd name="connsiteX376" fmla="*/ 234334 w 334956"/>
                      <a:gd name="connsiteY376" fmla="*/ 111242 h 334834"/>
                      <a:gd name="connsiteX377" fmla="*/ 230962 w 334956"/>
                      <a:gd name="connsiteY377" fmla="*/ 101956 h 334834"/>
                      <a:gd name="connsiteX378" fmla="*/ 221351 w 334956"/>
                      <a:gd name="connsiteY378" fmla="*/ 102127 h 334834"/>
                      <a:gd name="connsiteX379" fmla="*/ 218227 w 334956"/>
                      <a:gd name="connsiteY379" fmla="*/ 93335 h 334834"/>
                      <a:gd name="connsiteX380" fmla="*/ 208283 w 334956"/>
                      <a:gd name="connsiteY380" fmla="*/ 93421 h 334834"/>
                      <a:gd name="connsiteX381" fmla="*/ 204340 w 334956"/>
                      <a:gd name="connsiteY381" fmla="*/ 84220 h 334834"/>
                      <a:gd name="connsiteX382" fmla="*/ 194967 w 334956"/>
                      <a:gd name="connsiteY382" fmla="*/ 84963 h 334834"/>
                      <a:gd name="connsiteX383" fmla="*/ 187823 w 334956"/>
                      <a:gd name="connsiteY383" fmla="*/ 75181 h 334834"/>
                      <a:gd name="connsiteX384" fmla="*/ 181327 w 334956"/>
                      <a:gd name="connsiteY384" fmla="*/ 77810 h 334834"/>
                      <a:gd name="connsiteX385" fmla="*/ 180508 w 334956"/>
                      <a:gd name="connsiteY385" fmla="*/ 87668 h 334834"/>
                      <a:gd name="connsiteX386" fmla="*/ 178041 w 334956"/>
                      <a:gd name="connsiteY386" fmla="*/ 88659 h 334834"/>
                      <a:gd name="connsiteX387" fmla="*/ 170316 w 334956"/>
                      <a:gd name="connsiteY387" fmla="*/ 82496 h 334834"/>
                      <a:gd name="connsiteX388" fmla="*/ 169497 w 334956"/>
                      <a:gd name="connsiteY388" fmla="*/ 79124 h 334834"/>
                      <a:gd name="connsiteX389" fmla="*/ 159468 w 334956"/>
                      <a:gd name="connsiteY389" fmla="*/ 80601 h 334834"/>
                      <a:gd name="connsiteX390" fmla="*/ 151990 w 334956"/>
                      <a:gd name="connsiteY390" fmla="*/ 70818 h 334834"/>
                      <a:gd name="connsiteX391" fmla="*/ 146028 w 334956"/>
                      <a:gd name="connsiteY391" fmla="*/ 74457 h 334834"/>
                      <a:gd name="connsiteX392" fmla="*/ 203968 w 334956"/>
                      <a:gd name="connsiteY392" fmla="*/ 74619 h 334834"/>
                      <a:gd name="connsiteX393" fmla="*/ 207331 w 334956"/>
                      <a:gd name="connsiteY393" fmla="*/ 82677 h 334834"/>
                      <a:gd name="connsiteX394" fmla="*/ 210455 w 334956"/>
                      <a:gd name="connsiteY394" fmla="*/ 82182 h 334834"/>
                      <a:gd name="connsiteX395" fmla="*/ 208893 w 334956"/>
                      <a:gd name="connsiteY395" fmla="*/ 71085 h 334834"/>
                      <a:gd name="connsiteX396" fmla="*/ 203968 w 334956"/>
                      <a:gd name="connsiteY396" fmla="*/ 74619 h 334834"/>
                      <a:gd name="connsiteX397" fmla="*/ 89573 w 334956"/>
                      <a:gd name="connsiteY397" fmla="*/ 75524 h 334834"/>
                      <a:gd name="connsiteX398" fmla="*/ 95250 w 334956"/>
                      <a:gd name="connsiteY398" fmla="*/ 81686 h 334834"/>
                      <a:gd name="connsiteX399" fmla="*/ 93364 w 334956"/>
                      <a:gd name="connsiteY399" fmla="*/ 71990 h 334834"/>
                      <a:gd name="connsiteX400" fmla="*/ 89573 w 334956"/>
                      <a:gd name="connsiteY400" fmla="*/ 75524 h 334834"/>
                      <a:gd name="connsiteX401" fmla="*/ 263376 w 334956"/>
                      <a:gd name="connsiteY401" fmla="*/ 75438 h 334834"/>
                      <a:gd name="connsiteX402" fmla="*/ 267653 w 334956"/>
                      <a:gd name="connsiteY402" fmla="*/ 80620 h 334834"/>
                      <a:gd name="connsiteX403" fmla="*/ 266833 w 334956"/>
                      <a:gd name="connsiteY403" fmla="*/ 72895 h 334834"/>
                      <a:gd name="connsiteX404" fmla="*/ 263376 w 334956"/>
                      <a:gd name="connsiteY404" fmla="*/ 75438 h 334834"/>
                      <a:gd name="connsiteX405" fmla="*/ 36243 w 334956"/>
                      <a:gd name="connsiteY405" fmla="*/ 78810 h 334834"/>
                      <a:gd name="connsiteX406" fmla="*/ 36243 w 334956"/>
                      <a:gd name="connsiteY406" fmla="*/ 74695 h 334834"/>
                      <a:gd name="connsiteX407" fmla="*/ 36243 w 334956"/>
                      <a:gd name="connsiteY407" fmla="*/ 78810 h 334834"/>
                      <a:gd name="connsiteX408" fmla="*/ 239878 w 334956"/>
                      <a:gd name="connsiteY408" fmla="*/ 80372 h 334834"/>
                      <a:gd name="connsiteX409" fmla="*/ 245793 w 334956"/>
                      <a:gd name="connsiteY409" fmla="*/ 86211 h 334834"/>
                      <a:gd name="connsiteX410" fmla="*/ 244069 w 334956"/>
                      <a:gd name="connsiteY410" fmla="*/ 76352 h 334834"/>
                      <a:gd name="connsiteX411" fmla="*/ 239878 w 334956"/>
                      <a:gd name="connsiteY411" fmla="*/ 80372 h 334834"/>
                      <a:gd name="connsiteX412" fmla="*/ 68046 w 334956"/>
                      <a:gd name="connsiteY412" fmla="*/ 80210 h 334834"/>
                      <a:gd name="connsiteX413" fmla="*/ 73057 w 334956"/>
                      <a:gd name="connsiteY413" fmla="*/ 85382 h 334834"/>
                      <a:gd name="connsiteX414" fmla="*/ 71494 w 334956"/>
                      <a:gd name="connsiteY414" fmla="*/ 77086 h 334834"/>
                      <a:gd name="connsiteX415" fmla="*/ 68046 w 334956"/>
                      <a:gd name="connsiteY415" fmla="*/ 80210 h 334834"/>
                      <a:gd name="connsiteX416" fmla="*/ 300599 w 334956"/>
                      <a:gd name="connsiteY416" fmla="*/ 80782 h 334834"/>
                      <a:gd name="connsiteX417" fmla="*/ 302162 w 334956"/>
                      <a:gd name="connsiteY417" fmla="*/ 83163 h 334834"/>
                      <a:gd name="connsiteX418" fmla="*/ 302323 w 334956"/>
                      <a:gd name="connsiteY418" fmla="*/ 79143 h 334834"/>
                      <a:gd name="connsiteX419" fmla="*/ 300599 w 334956"/>
                      <a:gd name="connsiteY419" fmla="*/ 80782 h 334834"/>
                      <a:gd name="connsiteX420" fmla="*/ 217199 w 334956"/>
                      <a:gd name="connsiteY420" fmla="*/ 83249 h 334834"/>
                      <a:gd name="connsiteX421" fmla="*/ 217275 w 334956"/>
                      <a:gd name="connsiteY421" fmla="*/ 86449 h 334834"/>
                      <a:gd name="connsiteX422" fmla="*/ 220647 w 334956"/>
                      <a:gd name="connsiteY422" fmla="*/ 91630 h 334834"/>
                      <a:gd name="connsiteX423" fmla="*/ 223771 w 334956"/>
                      <a:gd name="connsiteY423" fmla="*/ 91059 h 334834"/>
                      <a:gd name="connsiteX424" fmla="*/ 226400 w 334956"/>
                      <a:gd name="connsiteY424" fmla="*/ 90316 h 334834"/>
                      <a:gd name="connsiteX425" fmla="*/ 221799 w 334956"/>
                      <a:gd name="connsiteY425" fmla="*/ 79962 h 334834"/>
                      <a:gd name="connsiteX426" fmla="*/ 217199 w 334956"/>
                      <a:gd name="connsiteY426" fmla="*/ 83249 h 334834"/>
                      <a:gd name="connsiteX427" fmla="*/ 102146 w 334956"/>
                      <a:gd name="connsiteY427" fmla="*/ 84068 h 334834"/>
                      <a:gd name="connsiteX428" fmla="*/ 107652 w 334956"/>
                      <a:gd name="connsiteY428" fmla="*/ 91297 h 334834"/>
                      <a:gd name="connsiteX429" fmla="*/ 112662 w 334956"/>
                      <a:gd name="connsiteY429" fmla="*/ 88916 h 334834"/>
                      <a:gd name="connsiteX430" fmla="*/ 106832 w 334956"/>
                      <a:gd name="connsiteY430" fmla="*/ 80039 h 334834"/>
                      <a:gd name="connsiteX431" fmla="*/ 102146 w 334956"/>
                      <a:gd name="connsiteY431" fmla="*/ 84068 h 334834"/>
                      <a:gd name="connsiteX432" fmla="*/ 159506 w 334956"/>
                      <a:gd name="connsiteY432" fmla="*/ 86449 h 334834"/>
                      <a:gd name="connsiteX433" fmla="*/ 159839 w 334956"/>
                      <a:gd name="connsiteY433" fmla="*/ 89078 h 334834"/>
                      <a:gd name="connsiteX434" fmla="*/ 151867 w 334956"/>
                      <a:gd name="connsiteY434" fmla="*/ 93107 h 334834"/>
                      <a:gd name="connsiteX435" fmla="*/ 149323 w 334956"/>
                      <a:gd name="connsiteY435" fmla="*/ 91297 h 334834"/>
                      <a:gd name="connsiteX436" fmla="*/ 148990 w 334956"/>
                      <a:gd name="connsiteY436" fmla="*/ 83325 h 334834"/>
                      <a:gd name="connsiteX437" fmla="*/ 156220 w 334956"/>
                      <a:gd name="connsiteY437" fmla="*/ 81515 h 334834"/>
                      <a:gd name="connsiteX438" fmla="*/ 159506 w 334956"/>
                      <a:gd name="connsiteY438" fmla="*/ 86449 h 334834"/>
                      <a:gd name="connsiteX439" fmla="*/ 276854 w 334956"/>
                      <a:gd name="connsiteY439" fmla="*/ 84887 h 334834"/>
                      <a:gd name="connsiteX440" fmla="*/ 280635 w 334956"/>
                      <a:gd name="connsiteY440" fmla="*/ 89240 h 334834"/>
                      <a:gd name="connsiteX441" fmla="*/ 279892 w 334956"/>
                      <a:gd name="connsiteY441" fmla="*/ 82096 h 334834"/>
                      <a:gd name="connsiteX442" fmla="*/ 276854 w 334956"/>
                      <a:gd name="connsiteY442" fmla="*/ 84887 h 334834"/>
                      <a:gd name="connsiteX443" fmla="*/ 46844 w 334956"/>
                      <a:gd name="connsiteY443" fmla="*/ 84563 h 334834"/>
                      <a:gd name="connsiteX444" fmla="*/ 50702 w 334956"/>
                      <a:gd name="connsiteY444" fmla="*/ 88840 h 334834"/>
                      <a:gd name="connsiteX445" fmla="*/ 49311 w 334956"/>
                      <a:gd name="connsiteY445" fmla="*/ 82429 h 334834"/>
                      <a:gd name="connsiteX446" fmla="*/ 46844 w 334956"/>
                      <a:gd name="connsiteY446" fmla="*/ 84563 h 334834"/>
                      <a:gd name="connsiteX447" fmla="*/ 80458 w 334956"/>
                      <a:gd name="connsiteY447" fmla="*/ 88916 h 334834"/>
                      <a:gd name="connsiteX448" fmla="*/ 86868 w 334956"/>
                      <a:gd name="connsiteY448" fmla="*/ 95079 h 334834"/>
                      <a:gd name="connsiteX449" fmla="*/ 84649 w 334956"/>
                      <a:gd name="connsiteY449" fmla="*/ 85058 h 334834"/>
                      <a:gd name="connsiteX450" fmla="*/ 80458 w 334956"/>
                      <a:gd name="connsiteY450" fmla="*/ 88916 h 334834"/>
                      <a:gd name="connsiteX451" fmla="*/ 253517 w 334956"/>
                      <a:gd name="connsiteY451" fmla="*/ 88754 h 334834"/>
                      <a:gd name="connsiteX452" fmla="*/ 258775 w 334956"/>
                      <a:gd name="connsiteY452" fmla="*/ 94917 h 334834"/>
                      <a:gd name="connsiteX453" fmla="*/ 257708 w 334956"/>
                      <a:gd name="connsiteY453" fmla="*/ 85382 h 334834"/>
                      <a:gd name="connsiteX454" fmla="*/ 253517 w 334956"/>
                      <a:gd name="connsiteY454" fmla="*/ 88754 h 334834"/>
                      <a:gd name="connsiteX455" fmla="*/ 194843 w 334956"/>
                      <a:gd name="connsiteY455" fmla="*/ 90068 h 334834"/>
                      <a:gd name="connsiteX456" fmla="*/ 195339 w 334956"/>
                      <a:gd name="connsiteY456" fmla="*/ 93602 h 334834"/>
                      <a:gd name="connsiteX457" fmla="*/ 188681 w 334956"/>
                      <a:gd name="connsiteY457" fmla="*/ 97707 h 334834"/>
                      <a:gd name="connsiteX458" fmla="*/ 184737 w 334956"/>
                      <a:gd name="connsiteY458" fmla="*/ 88259 h 334834"/>
                      <a:gd name="connsiteX459" fmla="*/ 190728 w 334956"/>
                      <a:gd name="connsiteY459" fmla="*/ 86125 h 334834"/>
                      <a:gd name="connsiteX460" fmla="*/ 194843 w 334956"/>
                      <a:gd name="connsiteY460" fmla="*/ 90068 h 334834"/>
                      <a:gd name="connsiteX461" fmla="*/ 25727 w 334956"/>
                      <a:gd name="connsiteY461" fmla="*/ 89735 h 334834"/>
                      <a:gd name="connsiteX462" fmla="*/ 28194 w 334956"/>
                      <a:gd name="connsiteY462" fmla="*/ 92040 h 334834"/>
                      <a:gd name="connsiteX463" fmla="*/ 27289 w 334956"/>
                      <a:gd name="connsiteY463" fmla="*/ 88097 h 334834"/>
                      <a:gd name="connsiteX464" fmla="*/ 25727 w 334956"/>
                      <a:gd name="connsiteY464" fmla="*/ 89735 h 334834"/>
                      <a:gd name="connsiteX465" fmla="*/ 314573 w 334956"/>
                      <a:gd name="connsiteY465" fmla="*/ 90145 h 334834"/>
                      <a:gd name="connsiteX466" fmla="*/ 315725 w 334956"/>
                      <a:gd name="connsiteY466" fmla="*/ 91297 h 334834"/>
                      <a:gd name="connsiteX467" fmla="*/ 317125 w 334956"/>
                      <a:gd name="connsiteY467" fmla="*/ 90230 h 334834"/>
                      <a:gd name="connsiteX468" fmla="*/ 315725 w 334956"/>
                      <a:gd name="connsiteY468" fmla="*/ 88754 h 334834"/>
                      <a:gd name="connsiteX469" fmla="*/ 314573 w 334956"/>
                      <a:gd name="connsiteY469" fmla="*/ 90145 h 334834"/>
                      <a:gd name="connsiteX470" fmla="*/ 230505 w 334956"/>
                      <a:gd name="connsiteY470" fmla="*/ 92288 h 334834"/>
                      <a:gd name="connsiteX471" fmla="*/ 233791 w 334956"/>
                      <a:gd name="connsiteY471" fmla="*/ 100336 h 334834"/>
                      <a:gd name="connsiteX472" fmla="*/ 237077 w 334956"/>
                      <a:gd name="connsiteY472" fmla="*/ 99927 h 334834"/>
                      <a:gd name="connsiteX473" fmla="*/ 235515 w 334956"/>
                      <a:gd name="connsiteY473" fmla="*/ 88830 h 334834"/>
                      <a:gd name="connsiteX474" fmla="*/ 230505 w 334956"/>
                      <a:gd name="connsiteY474" fmla="*/ 92288 h 334834"/>
                      <a:gd name="connsiteX475" fmla="*/ 59169 w 334956"/>
                      <a:gd name="connsiteY475" fmla="*/ 93354 h 334834"/>
                      <a:gd name="connsiteX476" fmla="*/ 64427 w 334956"/>
                      <a:gd name="connsiteY476" fmla="*/ 98698 h 334834"/>
                      <a:gd name="connsiteX477" fmla="*/ 62455 w 334956"/>
                      <a:gd name="connsiteY477" fmla="*/ 90316 h 334834"/>
                      <a:gd name="connsiteX478" fmla="*/ 59169 w 334956"/>
                      <a:gd name="connsiteY478" fmla="*/ 93354 h 334834"/>
                      <a:gd name="connsiteX479" fmla="*/ 168135 w 334956"/>
                      <a:gd name="connsiteY479" fmla="*/ 101822 h 334834"/>
                      <a:gd name="connsiteX480" fmla="*/ 162211 w 334956"/>
                      <a:gd name="connsiteY480" fmla="*/ 94259 h 334834"/>
                      <a:gd name="connsiteX481" fmla="*/ 167059 w 334956"/>
                      <a:gd name="connsiteY481" fmla="*/ 90887 h 334834"/>
                      <a:gd name="connsiteX482" fmla="*/ 168135 w 334956"/>
                      <a:gd name="connsiteY482" fmla="*/ 101822 h 334834"/>
                      <a:gd name="connsiteX483" fmla="*/ 290579 w 334956"/>
                      <a:gd name="connsiteY483" fmla="*/ 93850 h 334834"/>
                      <a:gd name="connsiteX484" fmla="*/ 294027 w 334956"/>
                      <a:gd name="connsiteY484" fmla="*/ 97631 h 334834"/>
                      <a:gd name="connsiteX485" fmla="*/ 293456 w 334956"/>
                      <a:gd name="connsiteY485" fmla="*/ 91383 h 334834"/>
                      <a:gd name="connsiteX486" fmla="*/ 290579 w 334956"/>
                      <a:gd name="connsiteY486" fmla="*/ 93850 h 334834"/>
                      <a:gd name="connsiteX487" fmla="*/ 93193 w 334956"/>
                      <a:gd name="connsiteY487" fmla="*/ 96974 h 334834"/>
                      <a:gd name="connsiteX488" fmla="*/ 96974 w 334956"/>
                      <a:gd name="connsiteY488" fmla="*/ 104775 h 334834"/>
                      <a:gd name="connsiteX489" fmla="*/ 100422 w 334956"/>
                      <a:gd name="connsiteY489" fmla="*/ 104204 h 334834"/>
                      <a:gd name="connsiteX490" fmla="*/ 104613 w 334956"/>
                      <a:gd name="connsiteY490" fmla="*/ 102146 h 334834"/>
                      <a:gd name="connsiteX491" fmla="*/ 104365 w 334956"/>
                      <a:gd name="connsiteY491" fmla="*/ 99184 h 334834"/>
                      <a:gd name="connsiteX492" fmla="*/ 98365 w 334956"/>
                      <a:gd name="connsiteY492" fmla="*/ 93107 h 334834"/>
                      <a:gd name="connsiteX493" fmla="*/ 93193 w 334956"/>
                      <a:gd name="connsiteY493" fmla="*/ 96974 h 334834"/>
                      <a:gd name="connsiteX494" fmla="*/ 267072 w 334956"/>
                      <a:gd name="connsiteY494" fmla="*/ 97707 h 334834"/>
                      <a:gd name="connsiteX495" fmla="*/ 272244 w 334956"/>
                      <a:gd name="connsiteY495" fmla="*/ 103384 h 334834"/>
                      <a:gd name="connsiteX496" fmla="*/ 271015 w 334956"/>
                      <a:gd name="connsiteY496" fmla="*/ 94507 h 334834"/>
                      <a:gd name="connsiteX497" fmla="*/ 267072 w 334956"/>
                      <a:gd name="connsiteY497" fmla="*/ 97707 h 334834"/>
                      <a:gd name="connsiteX498" fmla="*/ 202159 w 334956"/>
                      <a:gd name="connsiteY498" fmla="*/ 106499 h 334834"/>
                      <a:gd name="connsiteX499" fmla="*/ 198053 w 334956"/>
                      <a:gd name="connsiteY499" fmla="*/ 97784 h 334834"/>
                      <a:gd name="connsiteX500" fmla="*/ 203311 w 334956"/>
                      <a:gd name="connsiteY500" fmla="*/ 95155 h 334834"/>
                      <a:gd name="connsiteX501" fmla="*/ 202159 w 334956"/>
                      <a:gd name="connsiteY501" fmla="*/ 106499 h 334834"/>
                      <a:gd name="connsiteX502" fmla="*/ 145456 w 334956"/>
                      <a:gd name="connsiteY502" fmla="*/ 106251 h 334834"/>
                      <a:gd name="connsiteX503" fmla="*/ 139789 w 334956"/>
                      <a:gd name="connsiteY503" fmla="*/ 99346 h 334834"/>
                      <a:gd name="connsiteX504" fmla="*/ 144389 w 334956"/>
                      <a:gd name="connsiteY504" fmla="*/ 95402 h 334834"/>
                      <a:gd name="connsiteX505" fmla="*/ 145456 w 334956"/>
                      <a:gd name="connsiteY505" fmla="*/ 106251 h 334834"/>
                      <a:gd name="connsiteX506" fmla="*/ 37976 w 334956"/>
                      <a:gd name="connsiteY506" fmla="*/ 98041 h 334834"/>
                      <a:gd name="connsiteX507" fmla="*/ 41338 w 334956"/>
                      <a:gd name="connsiteY507" fmla="*/ 102146 h 334834"/>
                      <a:gd name="connsiteX508" fmla="*/ 40757 w 334956"/>
                      <a:gd name="connsiteY508" fmla="*/ 95736 h 334834"/>
                      <a:gd name="connsiteX509" fmla="*/ 37976 w 334956"/>
                      <a:gd name="connsiteY509" fmla="*/ 98041 h 334834"/>
                      <a:gd name="connsiteX510" fmla="*/ 243821 w 334956"/>
                      <a:gd name="connsiteY510" fmla="*/ 101898 h 334834"/>
                      <a:gd name="connsiteX511" fmla="*/ 250393 w 334956"/>
                      <a:gd name="connsiteY511" fmla="*/ 108880 h 334834"/>
                      <a:gd name="connsiteX512" fmla="*/ 248250 w 334956"/>
                      <a:gd name="connsiteY512" fmla="*/ 97869 h 334834"/>
                      <a:gd name="connsiteX513" fmla="*/ 243821 w 334956"/>
                      <a:gd name="connsiteY513" fmla="*/ 101898 h 334834"/>
                      <a:gd name="connsiteX514" fmla="*/ 71580 w 334956"/>
                      <a:gd name="connsiteY514" fmla="*/ 102146 h 334834"/>
                      <a:gd name="connsiteX515" fmla="*/ 77162 w 334956"/>
                      <a:gd name="connsiteY515" fmla="*/ 108556 h 334834"/>
                      <a:gd name="connsiteX516" fmla="*/ 76257 w 334956"/>
                      <a:gd name="connsiteY516" fmla="*/ 98203 h 334834"/>
                      <a:gd name="connsiteX517" fmla="*/ 71580 w 334956"/>
                      <a:gd name="connsiteY517" fmla="*/ 102146 h 334834"/>
                      <a:gd name="connsiteX518" fmla="*/ 122282 w 334956"/>
                      <a:gd name="connsiteY518" fmla="*/ 111023 h 334834"/>
                      <a:gd name="connsiteX519" fmla="*/ 117357 w 334956"/>
                      <a:gd name="connsiteY519" fmla="*/ 105928 h 334834"/>
                      <a:gd name="connsiteX520" fmla="*/ 117767 w 334956"/>
                      <a:gd name="connsiteY520" fmla="*/ 101737 h 334834"/>
                      <a:gd name="connsiteX521" fmla="*/ 123434 w 334956"/>
                      <a:gd name="connsiteY521" fmla="*/ 99593 h 334834"/>
                      <a:gd name="connsiteX522" fmla="*/ 122282 w 334956"/>
                      <a:gd name="connsiteY522" fmla="*/ 111023 h 334834"/>
                      <a:gd name="connsiteX523" fmla="*/ 181365 w 334956"/>
                      <a:gd name="connsiteY523" fmla="*/ 110280 h 334834"/>
                      <a:gd name="connsiteX524" fmla="*/ 175784 w 334956"/>
                      <a:gd name="connsiteY524" fmla="*/ 103794 h 334834"/>
                      <a:gd name="connsiteX525" fmla="*/ 179975 w 334956"/>
                      <a:gd name="connsiteY525" fmla="*/ 100184 h 334834"/>
                      <a:gd name="connsiteX526" fmla="*/ 181365 w 334956"/>
                      <a:gd name="connsiteY526" fmla="*/ 110280 h 334834"/>
                      <a:gd name="connsiteX527" fmla="*/ 304552 w 334956"/>
                      <a:gd name="connsiteY527" fmla="*/ 102556 h 334834"/>
                      <a:gd name="connsiteX528" fmla="*/ 307267 w 334956"/>
                      <a:gd name="connsiteY528" fmla="*/ 105928 h 334834"/>
                      <a:gd name="connsiteX529" fmla="*/ 306448 w 334956"/>
                      <a:gd name="connsiteY529" fmla="*/ 100832 h 334834"/>
                      <a:gd name="connsiteX530" fmla="*/ 304552 w 334956"/>
                      <a:gd name="connsiteY530" fmla="*/ 102556 h 334834"/>
                      <a:gd name="connsiteX531" fmla="*/ 17097 w 334956"/>
                      <a:gd name="connsiteY531" fmla="*/ 103051 h 334834"/>
                      <a:gd name="connsiteX532" fmla="*/ 18659 w 334956"/>
                      <a:gd name="connsiteY532" fmla="*/ 105194 h 334834"/>
                      <a:gd name="connsiteX533" fmla="*/ 20717 w 334956"/>
                      <a:gd name="connsiteY533" fmla="*/ 103137 h 334834"/>
                      <a:gd name="connsiteX534" fmla="*/ 18659 w 334956"/>
                      <a:gd name="connsiteY534" fmla="*/ 101584 h 334834"/>
                      <a:gd name="connsiteX535" fmla="*/ 17097 w 334956"/>
                      <a:gd name="connsiteY535" fmla="*/ 103051 h 334834"/>
                      <a:gd name="connsiteX536" fmla="*/ 50302 w 334956"/>
                      <a:gd name="connsiteY536" fmla="*/ 106747 h 334834"/>
                      <a:gd name="connsiteX537" fmla="*/ 55483 w 334956"/>
                      <a:gd name="connsiteY537" fmla="*/ 111919 h 334834"/>
                      <a:gd name="connsiteX538" fmla="*/ 53759 w 334956"/>
                      <a:gd name="connsiteY538" fmla="*/ 103622 h 334834"/>
                      <a:gd name="connsiteX539" fmla="*/ 50302 w 334956"/>
                      <a:gd name="connsiteY539" fmla="*/ 106747 h 334834"/>
                      <a:gd name="connsiteX540" fmla="*/ 280797 w 334956"/>
                      <a:gd name="connsiteY540" fmla="*/ 106832 h 334834"/>
                      <a:gd name="connsiteX541" fmla="*/ 285397 w 334956"/>
                      <a:gd name="connsiteY541" fmla="*/ 111852 h 334834"/>
                      <a:gd name="connsiteX542" fmla="*/ 284007 w 334956"/>
                      <a:gd name="connsiteY542" fmla="*/ 103794 h 334834"/>
                      <a:gd name="connsiteX543" fmla="*/ 280797 w 334956"/>
                      <a:gd name="connsiteY543" fmla="*/ 106832 h 334834"/>
                      <a:gd name="connsiteX544" fmla="*/ 215960 w 334956"/>
                      <a:gd name="connsiteY544" fmla="*/ 115462 h 334834"/>
                      <a:gd name="connsiteX545" fmla="*/ 211360 w 334956"/>
                      <a:gd name="connsiteY545" fmla="*/ 106832 h 334834"/>
                      <a:gd name="connsiteX546" fmla="*/ 216618 w 334956"/>
                      <a:gd name="connsiteY546" fmla="*/ 104042 h 334834"/>
                      <a:gd name="connsiteX547" fmla="*/ 215960 w 334956"/>
                      <a:gd name="connsiteY547" fmla="*/ 115462 h 334834"/>
                      <a:gd name="connsiteX548" fmla="*/ 158687 w 334956"/>
                      <a:gd name="connsiteY548" fmla="*/ 114472 h 334834"/>
                      <a:gd name="connsiteX549" fmla="*/ 153762 w 334956"/>
                      <a:gd name="connsiteY549" fmla="*/ 108471 h 334834"/>
                      <a:gd name="connsiteX550" fmla="*/ 158029 w 334956"/>
                      <a:gd name="connsiteY550" fmla="*/ 104851 h 334834"/>
                      <a:gd name="connsiteX551" fmla="*/ 158687 w 334956"/>
                      <a:gd name="connsiteY551" fmla="*/ 114472 h 334834"/>
                      <a:gd name="connsiteX552" fmla="*/ 257461 w 334956"/>
                      <a:gd name="connsiteY552" fmla="*/ 110699 h 334834"/>
                      <a:gd name="connsiteX553" fmla="*/ 263128 w 334956"/>
                      <a:gd name="connsiteY553" fmla="*/ 117596 h 334834"/>
                      <a:gd name="connsiteX554" fmla="*/ 262223 w 334956"/>
                      <a:gd name="connsiteY554" fmla="*/ 106994 h 334834"/>
                      <a:gd name="connsiteX555" fmla="*/ 257461 w 334956"/>
                      <a:gd name="connsiteY555" fmla="*/ 110699 h 334834"/>
                      <a:gd name="connsiteX556" fmla="*/ 29337 w 334956"/>
                      <a:gd name="connsiteY556" fmla="*/ 111185 h 334834"/>
                      <a:gd name="connsiteX557" fmla="*/ 32623 w 334956"/>
                      <a:gd name="connsiteY557" fmla="*/ 115300 h 334834"/>
                      <a:gd name="connsiteX558" fmla="*/ 32128 w 334956"/>
                      <a:gd name="connsiteY558" fmla="*/ 109137 h 334834"/>
                      <a:gd name="connsiteX559" fmla="*/ 29337 w 334956"/>
                      <a:gd name="connsiteY559" fmla="*/ 111185 h 334834"/>
                      <a:gd name="connsiteX560" fmla="*/ 137074 w 334956"/>
                      <a:gd name="connsiteY560" fmla="*/ 119072 h 334834"/>
                      <a:gd name="connsiteX561" fmla="*/ 131235 w 334956"/>
                      <a:gd name="connsiteY561" fmla="*/ 112909 h 334834"/>
                      <a:gd name="connsiteX562" fmla="*/ 135350 w 334956"/>
                      <a:gd name="connsiteY562" fmla="*/ 109128 h 334834"/>
                      <a:gd name="connsiteX563" fmla="*/ 137074 w 334956"/>
                      <a:gd name="connsiteY563" fmla="*/ 119072 h 334834"/>
                      <a:gd name="connsiteX564" fmla="*/ 195091 w 334956"/>
                      <a:gd name="connsiteY564" fmla="*/ 118910 h 334834"/>
                      <a:gd name="connsiteX565" fmla="*/ 189338 w 334956"/>
                      <a:gd name="connsiteY565" fmla="*/ 112909 h 334834"/>
                      <a:gd name="connsiteX566" fmla="*/ 193529 w 334956"/>
                      <a:gd name="connsiteY566" fmla="*/ 109299 h 334834"/>
                      <a:gd name="connsiteX567" fmla="*/ 195091 w 334956"/>
                      <a:gd name="connsiteY567" fmla="*/ 118910 h 334834"/>
                      <a:gd name="connsiteX568" fmla="*/ 318516 w 334956"/>
                      <a:gd name="connsiteY568" fmla="*/ 111928 h 334834"/>
                      <a:gd name="connsiteX569" fmla="*/ 319916 w 334956"/>
                      <a:gd name="connsiteY569" fmla="*/ 113986 h 334834"/>
                      <a:gd name="connsiteX570" fmla="*/ 321964 w 334956"/>
                      <a:gd name="connsiteY570" fmla="*/ 111766 h 334834"/>
                      <a:gd name="connsiteX571" fmla="*/ 319992 w 334956"/>
                      <a:gd name="connsiteY571" fmla="*/ 110452 h 334834"/>
                      <a:gd name="connsiteX572" fmla="*/ 318516 w 334956"/>
                      <a:gd name="connsiteY572" fmla="*/ 111928 h 334834"/>
                      <a:gd name="connsiteX573" fmla="*/ 62951 w 334956"/>
                      <a:gd name="connsiteY573" fmla="*/ 114805 h 334834"/>
                      <a:gd name="connsiteX574" fmla="*/ 68123 w 334956"/>
                      <a:gd name="connsiteY574" fmla="*/ 121872 h 334834"/>
                      <a:gd name="connsiteX575" fmla="*/ 67628 w 334956"/>
                      <a:gd name="connsiteY575" fmla="*/ 111519 h 334834"/>
                      <a:gd name="connsiteX576" fmla="*/ 62951 w 334956"/>
                      <a:gd name="connsiteY576" fmla="*/ 114805 h 334834"/>
                      <a:gd name="connsiteX577" fmla="*/ 235029 w 334956"/>
                      <a:gd name="connsiteY577" fmla="*/ 118005 h 334834"/>
                      <a:gd name="connsiteX578" fmla="*/ 235363 w 334956"/>
                      <a:gd name="connsiteY578" fmla="*/ 120967 h 334834"/>
                      <a:gd name="connsiteX579" fmla="*/ 228705 w 334956"/>
                      <a:gd name="connsiteY579" fmla="*/ 124501 h 334834"/>
                      <a:gd name="connsiteX580" fmla="*/ 225257 w 334956"/>
                      <a:gd name="connsiteY580" fmla="*/ 114643 h 334834"/>
                      <a:gd name="connsiteX581" fmla="*/ 230762 w 334956"/>
                      <a:gd name="connsiteY581" fmla="*/ 112757 h 334834"/>
                      <a:gd name="connsiteX582" fmla="*/ 235029 w 334956"/>
                      <a:gd name="connsiteY582" fmla="*/ 118005 h 334834"/>
                      <a:gd name="connsiteX583" fmla="*/ 114881 w 334956"/>
                      <a:gd name="connsiteY583" fmla="*/ 124168 h 334834"/>
                      <a:gd name="connsiteX584" fmla="*/ 108633 w 334956"/>
                      <a:gd name="connsiteY584" fmla="*/ 116367 h 334834"/>
                      <a:gd name="connsiteX585" fmla="*/ 113814 w 334956"/>
                      <a:gd name="connsiteY585" fmla="*/ 113081 h 334834"/>
                      <a:gd name="connsiteX586" fmla="*/ 114881 w 334956"/>
                      <a:gd name="connsiteY586" fmla="*/ 124168 h 334834"/>
                      <a:gd name="connsiteX587" fmla="*/ 294608 w 334956"/>
                      <a:gd name="connsiteY587" fmla="*/ 115948 h 334834"/>
                      <a:gd name="connsiteX588" fmla="*/ 298552 w 334956"/>
                      <a:gd name="connsiteY588" fmla="*/ 120139 h 334834"/>
                      <a:gd name="connsiteX589" fmla="*/ 297571 w 334956"/>
                      <a:gd name="connsiteY589" fmla="*/ 113157 h 334834"/>
                      <a:gd name="connsiteX590" fmla="*/ 294608 w 334956"/>
                      <a:gd name="connsiteY590" fmla="*/ 115948 h 334834"/>
                      <a:gd name="connsiteX591" fmla="*/ 172984 w 334956"/>
                      <a:gd name="connsiteY591" fmla="*/ 122691 h 334834"/>
                      <a:gd name="connsiteX592" fmla="*/ 167640 w 334956"/>
                      <a:gd name="connsiteY592" fmla="*/ 117434 h 334834"/>
                      <a:gd name="connsiteX593" fmla="*/ 171012 w 334956"/>
                      <a:gd name="connsiteY593" fmla="*/ 114309 h 334834"/>
                      <a:gd name="connsiteX594" fmla="*/ 172984 w 334956"/>
                      <a:gd name="connsiteY594" fmla="*/ 122691 h 334834"/>
                      <a:gd name="connsiteX595" fmla="*/ 8554 w 334956"/>
                      <a:gd name="connsiteY595" fmla="*/ 116443 h 334834"/>
                      <a:gd name="connsiteX596" fmla="*/ 10115 w 334956"/>
                      <a:gd name="connsiteY596" fmla="*/ 118091 h 334834"/>
                      <a:gd name="connsiteX597" fmla="*/ 11268 w 334956"/>
                      <a:gd name="connsiteY597" fmla="*/ 117024 h 334834"/>
                      <a:gd name="connsiteX598" fmla="*/ 11344 w 334956"/>
                      <a:gd name="connsiteY598" fmla="*/ 116281 h 334834"/>
                      <a:gd name="connsiteX599" fmla="*/ 9782 w 334956"/>
                      <a:gd name="connsiteY599" fmla="*/ 115214 h 334834"/>
                      <a:gd name="connsiteX600" fmla="*/ 8554 w 334956"/>
                      <a:gd name="connsiteY600" fmla="*/ 116443 h 334834"/>
                      <a:gd name="connsiteX601" fmla="*/ 271101 w 334956"/>
                      <a:gd name="connsiteY601" fmla="*/ 119815 h 334834"/>
                      <a:gd name="connsiteX602" fmla="*/ 276520 w 334956"/>
                      <a:gd name="connsiteY602" fmla="*/ 125968 h 334834"/>
                      <a:gd name="connsiteX603" fmla="*/ 275130 w 334956"/>
                      <a:gd name="connsiteY603" fmla="*/ 116272 h 334834"/>
                      <a:gd name="connsiteX604" fmla="*/ 271101 w 334956"/>
                      <a:gd name="connsiteY604" fmla="*/ 119815 h 334834"/>
                      <a:gd name="connsiteX605" fmla="*/ 41662 w 334956"/>
                      <a:gd name="connsiteY605" fmla="*/ 119815 h 334834"/>
                      <a:gd name="connsiteX606" fmla="*/ 46187 w 334956"/>
                      <a:gd name="connsiteY606" fmla="*/ 125158 h 334834"/>
                      <a:gd name="connsiteX607" fmla="*/ 44958 w 334956"/>
                      <a:gd name="connsiteY607" fmla="*/ 117024 h 334834"/>
                      <a:gd name="connsiteX608" fmla="*/ 41662 w 334956"/>
                      <a:gd name="connsiteY608" fmla="*/ 119815 h 334834"/>
                      <a:gd name="connsiteX609" fmla="*/ 207826 w 334956"/>
                      <a:gd name="connsiteY609" fmla="*/ 127949 h 334834"/>
                      <a:gd name="connsiteX610" fmla="*/ 202730 w 334956"/>
                      <a:gd name="connsiteY610" fmla="*/ 121787 h 334834"/>
                      <a:gd name="connsiteX611" fmla="*/ 207093 w 334956"/>
                      <a:gd name="connsiteY611" fmla="*/ 118167 h 334834"/>
                      <a:gd name="connsiteX612" fmla="*/ 207826 w 334956"/>
                      <a:gd name="connsiteY612" fmla="*/ 127949 h 334834"/>
                      <a:gd name="connsiteX613" fmla="*/ 150143 w 334956"/>
                      <a:gd name="connsiteY613" fmla="*/ 127216 h 334834"/>
                      <a:gd name="connsiteX614" fmla="*/ 145456 w 334956"/>
                      <a:gd name="connsiteY614" fmla="*/ 121796 h 334834"/>
                      <a:gd name="connsiteX615" fmla="*/ 149323 w 334956"/>
                      <a:gd name="connsiteY615" fmla="*/ 118758 h 334834"/>
                      <a:gd name="connsiteX616" fmla="*/ 150143 w 334956"/>
                      <a:gd name="connsiteY616" fmla="*/ 127216 h 334834"/>
                      <a:gd name="connsiteX617" fmla="*/ 75943 w 334956"/>
                      <a:gd name="connsiteY617" fmla="*/ 122606 h 334834"/>
                      <a:gd name="connsiteX618" fmla="*/ 78895 w 334956"/>
                      <a:gd name="connsiteY618" fmla="*/ 131235 h 334834"/>
                      <a:gd name="connsiteX619" fmla="*/ 87030 w 334956"/>
                      <a:gd name="connsiteY619" fmla="*/ 129016 h 334834"/>
                      <a:gd name="connsiteX620" fmla="*/ 86620 w 334956"/>
                      <a:gd name="connsiteY620" fmla="*/ 125816 h 334834"/>
                      <a:gd name="connsiteX621" fmla="*/ 81277 w 334956"/>
                      <a:gd name="connsiteY621" fmla="*/ 119653 h 334834"/>
                      <a:gd name="connsiteX622" fmla="*/ 75943 w 334956"/>
                      <a:gd name="connsiteY622" fmla="*/ 122606 h 334834"/>
                      <a:gd name="connsiteX623" fmla="*/ 248831 w 334956"/>
                      <a:gd name="connsiteY623" fmla="*/ 121291 h 334834"/>
                      <a:gd name="connsiteX624" fmla="*/ 249812 w 334956"/>
                      <a:gd name="connsiteY624" fmla="*/ 131312 h 334834"/>
                      <a:gd name="connsiteX625" fmla="*/ 253594 w 334956"/>
                      <a:gd name="connsiteY625" fmla="*/ 131235 h 334834"/>
                      <a:gd name="connsiteX626" fmla="*/ 259185 w 334956"/>
                      <a:gd name="connsiteY626" fmla="*/ 128025 h 334834"/>
                      <a:gd name="connsiteX627" fmla="*/ 253679 w 334956"/>
                      <a:gd name="connsiteY627" fmla="*/ 119729 h 334834"/>
                      <a:gd name="connsiteX628" fmla="*/ 248831 w 334956"/>
                      <a:gd name="connsiteY628" fmla="*/ 121291 h 334834"/>
                      <a:gd name="connsiteX629" fmla="*/ 308905 w 334956"/>
                      <a:gd name="connsiteY629" fmla="*/ 124168 h 334834"/>
                      <a:gd name="connsiteX630" fmla="*/ 312106 w 334956"/>
                      <a:gd name="connsiteY630" fmla="*/ 128273 h 334834"/>
                      <a:gd name="connsiteX631" fmla="*/ 310953 w 334956"/>
                      <a:gd name="connsiteY631" fmla="*/ 122682 h 334834"/>
                      <a:gd name="connsiteX632" fmla="*/ 308905 w 334956"/>
                      <a:gd name="connsiteY632" fmla="*/ 124168 h 334834"/>
                      <a:gd name="connsiteX633" fmla="*/ 20717 w 334956"/>
                      <a:gd name="connsiteY633" fmla="*/ 124577 h 334834"/>
                      <a:gd name="connsiteX634" fmla="*/ 23755 w 334956"/>
                      <a:gd name="connsiteY634" fmla="*/ 128273 h 334834"/>
                      <a:gd name="connsiteX635" fmla="*/ 22765 w 334956"/>
                      <a:gd name="connsiteY635" fmla="*/ 122768 h 334834"/>
                      <a:gd name="connsiteX636" fmla="*/ 20717 w 334956"/>
                      <a:gd name="connsiteY636" fmla="*/ 124577 h 334834"/>
                      <a:gd name="connsiteX637" fmla="*/ 128606 w 334956"/>
                      <a:gd name="connsiteY637" fmla="*/ 132064 h 334834"/>
                      <a:gd name="connsiteX638" fmla="*/ 122529 w 334956"/>
                      <a:gd name="connsiteY638" fmla="*/ 126635 h 334834"/>
                      <a:gd name="connsiteX639" fmla="*/ 126311 w 334956"/>
                      <a:gd name="connsiteY639" fmla="*/ 122768 h 334834"/>
                      <a:gd name="connsiteX640" fmla="*/ 128606 w 334956"/>
                      <a:gd name="connsiteY640" fmla="*/ 132064 h 334834"/>
                      <a:gd name="connsiteX641" fmla="*/ 185395 w 334956"/>
                      <a:gd name="connsiteY641" fmla="*/ 131397 h 334834"/>
                      <a:gd name="connsiteX642" fmla="*/ 181451 w 334956"/>
                      <a:gd name="connsiteY642" fmla="*/ 126225 h 334834"/>
                      <a:gd name="connsiteX643" fmla="*/ 184823 w 334956"/>
                      <a:gd name="connsiteY643" fmla="*/ 123511 h 334834"/>
                      <a:gd name="connsiteX644" fmla="*/ 185395 w 334956"/>
                      <a:gd name="connsiteY644" fmla="*/ 131397 h 334834"/>
                      <a:gd name="connsiteX645" fmla="*/ 53997 w 334956"/>
                      <a:gd name="connsiteY645" fmla="*/ 128940 h 334834"/>
                      <a:gd name="connsiteX646" fmla="*/ 60245 w 334956"/>
                      <a:gd name="connsiteY646" fmla="*/ 134769 h 334834"/>
                      <a:gd name="connsiteX647" fmla="*/ 58026 w 334956"/>
                      <a:gd name="connsiteY647" fmla="*/ 125073 h 334834"/>
                      <a:gd name="connsiteX648" fmla="*/ 53997 w 334956"/>
                      <a:gd name="connsiteY648" fmla="*/ 128940 h 334834"/>
                      <a:gd name="connsiteX649" fmla="*/ 284988 w 334956"/>
                      <a:gd name="connsiteY649" fmla="*/ 128854 h 334834"/>
                      <a:gd name="connsiteX650" fmla="*/ 290246 w 334956"/>
                      <a:gd name="connsiteY650" fmla="*/ 134198 h 334834"/>
                      <a:gd name="connsiteX651" fmla="*/ 288436 w 334956"/>
                      <a:gd name="connsiteY651" fmla="*/ 125654 h 334834"/>
                      <a:gd name="connsiteX652" fmla="*/ 284988 w 334956"/>
                      <a:gd name="connsiteY652" fmla="*/ 128854 h 334834"/>
                      <a:gd name="connsiteX653" fmla="*/ 105680 w 334956"/>
                      <a:gd name="connsiteY653" fmla="*/ 137570 h 334834"/>
                      <a:gd name="connsiteX654" fmla="*/ 99603 w 334956"/>
                      <a:gd name="connsiteY654" fmla="*/ 130178 h 334834"/>
                      <a:gd name="connsiteX655" fmla="*/ 104451 w 334956"/>
                      <a:gd name="connsiteY655" fmla="*/ 126473 h 334834"/>
                      <a:gd name="connsiteX656" fmla="*/ 105680 w 334956"/>
                      <a:gd name="connsiteY656" fmla="*/ 137570 h 334834"/>
                      <a:gd name="connsiteX657" fmla="*/ 221552 w 334956"/>
                      <a:gd name="connsiteY657" fmla="*/ 137074 h 334834"/>
                      <a:gd name="connsiteX658" fmla="*/ 215884 w 334956"/>
                      <a:gd name="connsiteY658" fmla="*/ 130664 h 334834"/>
                      <a:gd name="connsiteX659" fmla="*/ 220075 w 334956"/>
                      <a:gd name="connsiteY659" fmla="*/ 126883 h 334834"/>
                      <a:gd name="connsiteX660" fmla="*/ 221552 w 334956"/>
                      <a:gd name="connsiteY660" fmla="*/ 137074 h 334834"/>
                      <a:gd name="connsiteX661" fmla="*/ 163201 w 334956"/>
                      <a:gd name="connsiteY661" fmla="*/ 135350 h 334834"/>
                      <a:gd name="connsiteX662" fmla="*/ 159506 w 334956"/>
                      <a:gd name="connsiteY662" fmla="*/ 130997 h 334834"/>
                      <a:gd name="connsiteX663" fmla="*/ 162382 w 334956"/>
                      <a:gd name="connsiteY663" fmla="*/ 128445 h 334834"/>
                      <a:gd name="connsiteX664" fmla="*/ 163201 w 334956"/>
                      <a:gd name="connsiteY664" fmla="*/ 135350 h 334834"/>
                      <a:gd name="connsiteX665" fmla="*/ 261652 w 334956"/>
                      <a:gd name="connsiteY665" fmla="*/ 132636 h 334834"/>
                      <a:gd name="connsiteX666" fmla="*/ 267491 w 334956"/>
                      <a:gd name="connsiteY666" fmla="*/ 139941 h 334834"/>
                      <a:gd name="connsiteX667" fmla="*/ 266338 w 334956"/>
                      <a:gd name="connsiteY667" fmla="*/ 128845 h 334834"/>
                      <a:gd name="connsiteX668" fmla="*/ 261652 w 334956"/>
                      <a:gd name="connsiteY668" fmla="*/ 132636 h 334834"/>
                      <a:gd name="connsiteX669" fmla="*/ 32956 w 334956"/>
                      <a:gd name="connsiteY669" fmla="*/ 133626 h 334834"/>
                      <a:gd name="connsiteX670" fmla="*/ 37147 w 334956"/>
                      <a:gd name="connsiteY670" fmla="*/ 138151 h 334834"/>
                      <a:gd name="connsiteX671" fmla="*/ 36319 w 334956"/>
                      <a:gd name="connsiteY671" fmla="*/ 130588 h 334834"/>
                      <a:gd name="connsiteX672" fmla="*/ 32956 w 334956"/>
                      <a:gd name="connsiteY672" fmla="*/ 133626 h 334834"/>
                      <a:gd name="connsiteX673" fmla="*/ 199368 w 334956"/>
                      <a:gd name="connsiteY673" fmla="*/ 140275 h 334834"/>
                      <a:gd name="connsiteX674" fmla="*/ 194767 w 334956"/>
                      <a:gd name="connsiteY674" fmla="*/ 135341 h 334834"/>
                      <a:gd name="connsiteX675" fmla="*/ 197968 w 334956"/>
                      <a:gd name="connsiteY675" fmla="*/ 132464 h 334834"/>
                      <a:gd name="connsiteX676" fmla="*/ 199368 w 334956"/>
                      <a:gd name="connsiteY676" fmla="*/ 140275 h 334834"/>
                      <a:gd name="connsiteX677" fmla="*/ 324517 w 334956"/>
                      <a:gd name="connsiteY677" fmla="*/ 136331 h 334834"/>
                      <a:gd name="connsiteX678" fmla="*/ 324193 w 334956"/>
                      <a:gd name="connsiteY678" fmla="*/ 132464 h 334834"/>
                      <a:gd name="connsiteX679" fmla="*/ 324517 w 334956"/>
                      <a:gd name="connsiteY679" fmla="*/ 136331 h 334834"/>
                      <a:gd name="connsiteX680" fmla="*/ 141351 w 334956"/>
                      <a:gd name="connsiteY680" fmla="*/ 140113 h 334834"/>
                      <a:gd name="connsiteX681" fmla="*/ 136827 w 334956"/>
                      <a:gd name="connsiteY681" fmla="*/ 135512 h 334834"/>
                      <a:gd name="connsiteX682" fmla="*/ 140198 w 334956"/>
                      <a:gd name="connsiteY682" fmla="*/ 132550 h 334834"/>
                      <a:gd name="connsiteX683" fmla="*/ 141351 w 334956"/>
                      <a:gd name="connsiteY683" fmla="*/ 140113 h 334834"/>
                      <a:gd name="connsiteX684" fmla="*/ 66732 w 334956"/>
                      <a:gd name="connsiteY684" fmla="*/ 136912 h 334834"/>
                      <a:gd name="connsiteX685" fmla="*/ 70837 w 334956"/>
                      <a:gd name="connsiteY685" fmla="*/ 144466 h 334834"/>
                      <a:gd name="connsiteX686" fmla="*/ 73790 w 334956"/>
                      <a:gd name="connsiteY686" fmla="*/ 144142 h 334834"/>
                      <a:gd name="connsiteX687" fmla="*/ 77571 w 334956"/>
                      <a:gd name="connsiteY687" fmla="*/ 138227 h 334834"/>
                      <a:gd name="connsiteX688" fmla="*/ 71733 w 334956"/>
                      <a:gd name="connsiteY688" fmla="*/ 133045 h 334834"/>
                      <a:gd name="connsiteX689" fmla="*/ 66732 w 334956"/>
                      <a:gd name="connsiteY689" fmla="*/ 136912 h 334834"/>
                      <a:gd name="connsiteX690" fmla="*/ 298961 w 334956"/>
                      <a:gd name="connsiteY690" fmla="*/ 137808 h 334834"/>
                      <a:gd name="connsiteX691" fmla="*/ 303238 w 334956"/>
                      <a:gd name="connsiteY691" fmla="*/ 142408 h 334834"/>
                      <a:gd name="connsiteX692" fmla="*/ 302333 w 334956"/>
                      <a:gd name="connsiteY692" fmla="*/ 135169 h 334834"/>
                      <a:gd name="connsiteX693" fmla="*/ 298961 w 334956"/>
                      <a:gd name="connsiteY693" fmla="*/ 137808 h 334834"/>
                      <a:gd name="connsiteX694" fmla="*/ 234858 w 334956"/>
                      <a:gd name="connsiteY694" fmla="*/ 146437 h 334834"/>
                      <a:gd name="connsiteX695" fmla="*/ 228781 w 334956"/>
                      <a:gd name="connsiteY695" fmla="*/ 139455 h 334834"/>
                      <a:gd name="connsiteX696" fmla="*/ 233629 w 334956"/>
                      <a:gd name="connsiteY696" fmla="*/ 135350 h 334834"/>
                      <a:gd name="connsiteX697" fmla="*/ 234858 w 334956"/>
                      <a:gd name="connsiteY697" fmla="*/ 146437 h 334834"/>
                      <a:gd name="connsiteX698" fmla="*/ 118748 w 334956"/>
                      <a:gd name="connsiteY698" fmla="*/ 145532 h 334834"/>
                      <a:gd name="connsiteX699" fmla="*/ 113652 w 334956"/>
                      <a:gd name="connsiteY699" fmla="*/ 139941 h 334834"/>
                      <a:gd name="connsiteX700" fmla="*/ 117843 w 334956"/>
                      <a:gd name="connsiteY700" fmla="*/ 136160 h 334834"/>
                      <a:gd name="connsiteX701" fmla="*/ 118748 w 334956"/>
                      <a:gd name="connsiteY701" fmla="*/ 145532 h 334834"/>
                      <a:gd name="connsiteX702" fmla="*/ 14964 w 334956"/>
                      <a:gd name="connsiteY702" fmla="*/ 141094 h 334834"/>
                      <a:gd name="connsiteX703" fmla="*/ 14392 w 334956"/>
                      <a:gd name="connsiteY703" fmla="*/ 136493 h 334834"/>
                      <a:gd name="connsiteX704" fmla="*/ 14964 w 334956"/>
                      <a:gd name="connsiteY704" fmla="*/ 141094 h 334834"/>
                      <a:gd name="connsiteX705" fmla="*/ 176927 w 334956"/>
                      <a:gd name="connsiteY705" fmla="*/ 143646 h 334834"/>
                      <a:gd name="connsiteX706" fmla="*/ 173641 w 334956"/>
                      <a:gd name="connsiteY706" fmla="*/ 139618 h 334834"/>
                      <a:gd name="connsiteX707" fmla="*/ 175860 w 334956"/>
                      <a:gd name="connsiteY707" fmla="*/ 137893 h 334834"/>
                      <a:gd name="connsiteX708" fmla="*/ 176927 w 334956"/>
                      <a:gd name="connsiteY708" fmla="*/ 143646 h 334834"/>
                      <a:gd name="connsiteX709" fmla="*/ 275454 w 334956"/>
                      <a:gd name="connsiteY709" fmla="*/ 141761 h 334834"/>
                      <a:gd name="connsiteX710" fmla="*/ 281121 w 334956"/>
                      <a:gd name="connsiteY710" fmla="*/ 148171 h 334834"/>
                      <a:gd name="connsiteX711" fmla="*/ 279397 w 334956"/>
                      <a:gd name="connsiteY711" fmla="*/ 138312 h 334834"/>
                      <a:gd name="connsiteX712" fmla="*/ 275454 w 334956"/>
                      <a:gd name="connsiteY712" fmla="*/ 141761 h 334834"/>
                      <a:gd name="connsiteX713" fmla="*/ 45453 w 334956"/>
                      <a:gd name="connsiteY713" fmla="*/ 142084 h 334834"/>
                      <a:gd name="connsiteX714" fmla="*/ 50711 w 334956"/>
                      <a:gd name="connsiteY714" fmla="*/ 147914 h 334834"/>
                      <a:gd name="connsiteX715" fmla="*/ 49321 w 334956"/>
                      <a:gd name="connsiteY715" fmla="*/ 138627 h 334834"/>
                      <a:gd name="connsiteX716" fmla="*/ 45453 w 334956"/>
                      <a:gd name="connsiteY716" fmla="*/ 142084 h 334834"/>
                      <a:gd name="connsiteX717" fmla="*/ 96641 w 334956"/>
                      <a:gd name="connsiteY717" fmla="*/ 151124 h 334834"/>
                      <a:gd name="connsiteX718" fmla="*/ 90811 w 334956"/>
                      <a:gd name="connsiteY718" fmla="*/ 146190 h 334834"/>
                      <a:gd name="connsiteX719" fmla="*/ 90564 w 334956"/>
                      <a:gd name="connsiteY719" fmla="*/ 143066 h 334834"/>
                      <a:gd name="connsiteX720" fmla="*/ 96069 w 334956"/>
                      <a:gd name="connsiteY720" fmla="*/ 139694 h 334834"/>
                      <a:gd name="connsiteX721" fmla="*/ 96641 w 334956"/>
                      <a:gd name="connsiteY721" fmla="*/ 151124 h 334834"/>
                      <a:gd name="connsiteX722" fmla="*/ 212512 w 334956"/>
                      <a:gd name="connsiteY722" fmla="*/ 149647 h 334834"/>
                      <a:gd name="connsiteX723" fmla="*/ 207826 w 334956"/>
                      <a:gd name="connsiteY723" fmla="*/ 143980 h 334834"/>
                      <a:gd name="connsiteX724" fmla="*/ 211274 w 334956"/>
                      <a:gd name="connsiteY724" fmla="*/ 141018 h 334834"/>
                      <a:gd name="connsiteX725" fmla="*/ 212512 w 334956"/>
                      <a:gd name="connsiteY725" fmla="*/ 149647 h 334834"/>
                      <a:gd name="connsiteX726" fmla="*/ 154496 w 334956"/>
                      <a:gd name="connsiteY726" fmla="*/ 147999 h 334834"/>
                      <a:gd name="connsiteX727" fmla="*/ 151295 w 334956"/>
                      <a:gd name="connsiteY727" fmla="*/ 144389 h 334834"/>
                      <a:gd name="connsiteX728" fmla="*/ 153429 w 334956"/>
                      <a:gd name="connsiteY728" fmla="*/ 142494 h 334834"/>
                      <a:gd name="connsiteX729" fmla="*/ 154496 w 334956"/>
                      <a:gd name="connsiteY729" fmla="*/ 147999 h 334834"/>
                      <a:gd name="connsiteX730" fmla="*/ 250965 w 334956"/>
                      <a:gd name="connsiteY730" fmla="*/ 143808 h 334834"/>
                      <a:gd name="connsiteX731" fmla="*/ 253355 w 334956"/>
                      <a:gd name="connsiteY731" fmla="*/ 153343 h 334834"/>
                      <a:gd name="connsiteX732" fmla="*/ 249079 w 334956"/>
                      <a:gd name="connsiteY732" fmla="*/ 155238 h 334834"/>
                      <a:gd name="connsiteX733" fmla="*/ 241849 w 334956"/>
                      <a:gd name="connsiteY733" fmla="*/ 151371 h 334834"/>
                      <a:gd name="connsiteX734" fmla="*/ 241525 w 334956"/>
                      <a:gd name="connsiteY734" fmla="*/ 148580 h 334834"/>
                      <a:gd name="connsiteX735" fmla="*/ 249412 w 334956"/>
                      <a:gd name="connsiteY735" fmla="*/ 143646 h 334834"/>
                      <a:gd name="connsiteX736" fmla="*/ 250965 w 334956"/>
                      <a:gd name="connsiteY736" fmla="*/ 143808 h 334834"/>
                      <a:gd name="connsiteX737" fmla="*/ 24498 w 334956"/>
                      <a:gd name="connsiteY737" fmla="*/ 146933 h 334834"/>
                      <a:gd name="connsiteX738" fmla="*/ 28527 w 334956"/>
                      <a:gd name="connsiteY738" fmla="*/ 151038 h 334834"/>
                      <a:gd name="connsiteX739" fmla="*/ 27461 w 334956"/>
                      <a:gd name="connsiteY739" fmla="*/ 144304 h 334834"/>
                      <a:gd name="connsiteX740" fmla="*/ 24498 w 334956"/>
                      <a:gd name="connsiteY740" fmla="*/ 146933 h 334834"/>
                      <a:gd name="connsiteX741" fmla="*/ 313258 w 334956"/>
                      <a:gd name="connsiteY741" fmla="*/ 146437 h 334834"/>
                      <a:gd name="connsiteX742" fmla="*/ 316382 w 334956"/>
                      <a:gd name="connsiteY742" fmla="*/ 150466 h 334834"/>
                      <a:gd name="connsiteX743" fmla="*/ 315401 w 334956"/>
                      <a:gd name="connsiteY743" fmla="*/ 144875 h 334834"/>
                      <a:gd name="connsiteX744" fmla="*/ 313258 w 334956"/>
                      <a:gd name="connsiteY744" fmla="*/ 146437 h 334834"/>
                      <a:gd name="connsiteX745" fmla="*/ 132312 w 334956"/>
                      <a:gd name="connsiteY745" fmla="*/ 153505 h 334834"/>
                      <a:gd name="connsiteX746" fmla="*/ 127959 w 334956"/>
                      <a:gd name="connsiteY746" fmla="*/ 148904 h 334834"/>
                      <a:gd name="connsiteX747" fmla="*/ 131407 w 334956"/>
                      <a:gd name="connsiteY747" fmla="*/ 146028 h 334834"/>
                      <a:gd name="connsiteX748" fmla="*/ 132312 w 334956"/>
                      <a:gd name="connsiteY748" fmla="*/ 153505 h 334834"/>
                      <a:gd name="connsiteX749" fmla="*/ 58026 w 334956"/>
                      <a:gd name="connsiteY749" fmla="*/ 150714 h 334834"/>
                      <a:gd name="connsiteX750" fmla="*/ 64275 w 334956"/>
                      <a:gd name="connsiteY750" fmla="*/ 157534 h 334834"/>
                      <a:gd name="connsiteX751" fmla="*/ 62379 w 334956"/>
                      <a:gd name="connsiteY751" fmla="*/ 146685 h 334834"/>
                      <a:gd name="connsiteX752" fmla="*/ 58026 w 334956"/>
                      <a:gd name="connsiteY752" fmla="*/ 150714 h 334834"/>
                      <a:gd name="connsiteX753" fmla="*/ 190319 w 334956"/>
                      <a:gd name="connsiteY753" fmla="*/ 152610 h 334834"/>
                      <a:gd name="connsiteX754" fmla="*/ 186957 w 334956"/>
                      <a:gd name="connsiteY754" fmla="*/ 148666 h 334834"/>
                      <a:gd name="connsiteX755" fmla="*/ 189090 w 334956"/>
                      <a:gd name="connsiteY755" fmla="*/ 146856 h 334834"/>
                      <a:gd name="connsiteX756" fmla="*/ 190319 w 334956"/>
                      <a:gd name="connsiteY756" fmla="*/ 152610 h 334834"/>
                      <a:gd name="connsiteX757" fmla="*/ 289341 w 334956"/>
                      <a:gd name="connsiteY757" fmla="*/ 151124 h 334834"/>
                      <a:gd name="connsiteX758" fmla="*/ 294275 w 334956"/>
                      <a:gd name="connsiteY758" fmla="*/ 156381 h 334834"/>
                      <a:gd name="connsiteX759" fmla="*/ 292884 w 334956"/>
                      <a:gd name="connsiteY759" fmla="*/ 147837 h 334834"/>
                      <a:gd name="connsiteX760" fmla="*/ 289341 w 334956"/>
                      <a:gd name="connsiteY760" fmla="*/ 151124 h 334834"/>
                      <a:gd name="connsiteX761" fmla="*/ 110280 w 334956"/>
                      <a:gd name="connsiteY761" fmla="*/ 159096 h 334834"/>
                      <a:gd name="connsiteX762" fmla="*/ 104689 w 334956"/>
                      <a:gd name="connsiteY762" fmla="*/ 152686 h 334834"/>
                      <a:gd name="connsiteX763" fmla="*/ 108718 w 334956"/>
                      <a:gd name="connsiteY763" fmla="*/ 149314 h 334834"/>
                      <a:gd name="connsiteX764" fmla="*/ 110280 w 334956"/>
                      <a:gd name="connsiteY764" fmla="*/ 159096 h 334834"/>
                      <a:gd name="connsiteX765" fmla="*/ 226724 w 334956"/>
                      <a:gd name="connsiteY765" fmla="*/ 158934 h 334834"/>
                      <a:gd name="connsiteX766" fmla="*/ 220561 w 334956"/>
                      <a:gd name="connsiteY766" fmla="*/ 153095 h 334834"/>
                      <a:gd name="connsiteX767" fmla="*/ 224504 w 334956"/>
                      <a:gd name="connsiteY767" fmla="*/ 149400 h 334834"/>
                      <a:gd name="connsiteX768" fmla="*/ 226724 w 334956"/>
                      <a:gd name="connsiteY768" fmla="*/ 158934 h 334834"/>
                      <a:gd name="connsiteX769" fmla="*/ 3867 w 334956"/>
                      <a:gd name="connsiteY769" fmla="*/ 151857 h 334834"/>
                      <a:gd name="connsiteX770" fmla="*/ 5258 w 334956"/>
                      <a:gd name="connsiteY770" fmla="*/ 153753 h 334834"/>
                      <a:gd name="connsiteX771" fmla="*/ 7230 w 334956"/>
                      <a:gd name="connsiteY771" fmla="*/ 152276 h 334834"/>
                      <a:gd name="connsiteX772" fmla="*/ 5258 w 334956"/>
                      <a:gd name="connsiteY772" fmla="*/ 150381 h 334834"/>
                      <a:gd name="connsiteX773" fmla="*/ 3867 w 334956"/>
                      <a:gd name="connsiteY773" fmla="*/ 151857 h 334834"/>
                      <a:gd name="connsiteX774" fmla="*/ 266167 w 334956"/>
                      <a:gd name="connsiteY774" fmla="*/ 154248 h 334834"/>
                      <a:gd name="connsiteX775" fmla="*/ 272006 w 334956"/>
                      <a:gd name="connsiteY775" fmla="*/ 162058 h 334834"/>
                      <a:gd name="connsiteX776" fmla="*/ 271015 w 334956"/>
                      <a:gd name="connsiteY776" fmla="*/ 150962 h 334834"/>
                      <a:gd name="connsiteX777" fmla="*/ 266167 w 334956"/>
                      <a:gd name="connsiteY777" fmla="*/ 154248 h 334834"/>
                      <a:gd name="connsiteX778" fmla="*/ 36986 w 334956"/>
                      <a:gd name="connsiteY778" fmla="*/ 155400 h 334834"/>
                      <a:gd name="connsiteX779" fmla="*/ 41510 w 334956"/>
                      <a:gd name="connsiteY779" fmla="*/ 160830 h 334834"/>
                      <a:gd name="connsiteX780" fmla="*/ 40443 w 334956"/>
                      <a:gd name="connsiteY780" fmla="*/ 152286 h 334834"/>
                      <a:gd name="connsiteX781" fmla="*/ 36986 w 334956"/>
                      <a:gd name="connsiteY781" fmla="*/ 155400 h 334834"/>
                      <a:gd name="connsiteX782" fmla="*/ 169040 w 334956"/>
                      <a:gd name="connsiteY782" fmla="*/ 154000 h 334834"/>
                      <a:gd name="connsiteX783" fmla="*/ 167726 w 334956"/>
                      <a:gd name="connsiteY783" fmla="*/ 155724 h 334834"/>
                      <a:gd name="connsiteX784" fmla="*/ 166907 w 334956"/>
                      <a:gd name="connsiteY784" fmla="*/ 155810 h 334834"/>
                      <a:gd name="connsiteX785" fmla="*/ 165668 w 334956"/>
                      <a:gd name="connsiteY785" fmla="*/ 154496 h 334834"/>
                      <a:gd name="connsiteX786" fmla="*/ 167154 w 334956"/>
                      <a:gd name="connsiteY786" fmla="*/ 152448 h 334834"/>
                      <a:gd name="connsiteX787" fmla="*/ 169040 w 334956"/>
                      <a:gd name="connsiteY787" fmla="*/ 154000 h 334834"/>
                      <a:gd name="connsiteX788" fmla="*/ 89906 w 334956"/>
                      <a:gd name="connsiteY788" fmla="*/ 164030 h 334834"/>
                      <a:gd name="connsiteX789" fmla="*/ 82505 w 334956"/>
                      <a:gd name="connsiteY789" fmla="*/ 162706 h 334834"/>
                      <a:gd name="connsiteX790" fmla="*/ 81934 w 334956"/>
                      <a:gd name="connsiteY790" fmla="*/ 159506 h 334834"/>
                      <a:gd name="connsiteX791" fmla="*/ 81029 w 334956"/>
                      <a:gd name="connsiteY791" fmla="*/ 154486 h 334834"/>
                      <a:gd name="connsiteX792" fmla="*/ 87935 w 334956"/>
                      <a:gd name="connsiteY792" fmla="*/ 152848 h 334834"/>
                      <a:gd name="connsiteX793" fmla="*/ 89906 w 334956"/>
                      <a:gd name="connsiteY793" fmla="*/ 164030 h 334834"/>
                      <a:gd name="connsiteX794" fmla="*/ 327308 w 334956"/>
                      <a:gd name="connsiteY794" fmla="*/ 156381 h 334834"/>
                      <a:gd name="connsiteX795" fmla="*/ 330918 w 334956"/>
                      <a:gd name="connsiteY795" fmla="*/ 156134 h 334834"/>
                      <a:gd name="connsiteX796" fmla="*/ 329022 w 334956"/>
                      <a:gd name="connsiteY796" fmla="*/ 154657 h 334834"/>
                      <a:gd name="connsiteX797" fmla="*/ 327308 w 334956"/>
                      <a:gd name="connsiteY797" fmla="*/ 156381 h 334834"/>
                      <a:gd name="connsiteX798" fmla="*/ 203797 w 334956"/>
                      <a:gd name="connsiteY798" fmla="*/ 162135 h 334834"/>
                      <a:gd name="connsiteX799" fmla="*/ 199606 w 334956"/>
                      <a:gd name="connsiteY799" fmla="*/ 158029 h 334834"/>
                      <a:gd name="connsiteX800" fmla="*/ 202397 w 334956"/>
                      <a:gd name="connsiteY800" fmla="*/ 155229 h 334834"/>
                      <a:gd name="connsiteX801" fmla="*/ 203797 w 334956"/>
                      <a:gd name="connsiteY801" fmla="*/ 162135 h 334834"/>
                      <a:gd name="connsiteX802" fmla="*/ 145294 w 334956"/>
                      <a:gd name="connsiteY802" fmla="*/ 161401 h 334834"/>
                      <a:gd name="connsiteX803" fmla="*/ 142418 w 334956"/>
                      <a:gd name="connsiteY803" fmla="*/ 157944 h 334834"/>
                      <a:gd name="connsiteX804" fmla="*/ 144723 w 334956"/>
                      <a:gd name="connsiteY804" fmla="*/ 155972 h 334834"/>
                      <a:gd name="connsiteX805" fmla="*/ 145294 w 334956"/>
                      <a:gd name="connsiteY805" fmla="*/ 161401 h 334834"/>
                      <a:gd name="connsiteX806" fmla="*/ 303476 w 334956"/>
                      <a:gd name="connsiteY806" fmla="*/ 160001 h 334834"/>
                      <a:gd name="connsiteX807" fmla="*/ 307581 w 334956"/>
                      <a:gd name="connsiteY807" fmla="*/ 164440 h 334834"/>
                      <a:gd name="connsiteX808" fmla="*/ 306267 w 334956"/>
                      <a:gd name="connsiteY808" fmla="*/ 157458 h 334834"/>
                      <a:gd name="connsiteX809" fmla="*/ 303476 w 334956"/>
                      <a:gd name="connsiteY809" fmla="*/ 160001 h 334834"/>
                      <a:gd name="connsiteX810" fmla="*/ 239058 w 334956"/>
                      <a:gd name="connsiteY810" fmla="*/ 168707 h 334834"/>
                      <a:gd name="connsiteX811" fmla="*/ 233467 w 334956"/>
                      <a:gd name="connsiteY811" fmla="*/ 161230 h 334834"/>
                      <a:gd name="connsiteX812" fmla="*/ 238401 w 334956"/>
                      <a:gd name="connsiteY812" fmla="*/ 157610 h 334834"/>
                      <a:gd name="connsiteX813" fmla="*/ 239058 w 334956"/>
                      <a:gd name="connsiteY813" fmla="*/ 168707 h 334834"/>
                      <a:gd name="connsiteX814" fmla="*/ 16116 w 334956"/>
                      <a:gd name="connsiteY814" fmla="*/ 160249 h 334834"/>
                      <a:gd name="connsiteX815" fmla="*/ 19317 w 334956"/>
                      <a:gd name="connsiteY815" fmla="*/ 163782 h 334834"/>
                      <a:gd name="connsiteX816" fmla="*/ 18583 w 334956"/>
                      <a:gd name="connsiteY816" fmla="*/ 158105 h 334834"/>
                      <a:gd name="connsiteX817" fmla="*/ 16116 w 334956"/>
                      <a:gd name="connsiteY817" fmla="*/ 160249 h 334834"/>
                      <a:gd name="connsiteX818" fmla="*/ 123349 w 334956"/>
                      <a:gd name="connsiteY818" fmla="*/ 167230 h 334834"/>
                      <a:gd name="connsiteX819" fmla="*/ 118748 w 334956"/>
                      <a:gd name="connsiteY819" fmla="*/ 162211 h 334834"/>
                      <a:gd name="connsiteX820" fmla="*/ 121949 w 334956"/>
                      <a:gd name="connsiteY820" fmla="*/ 159172 h 334834"/>
                      <a:gd name="connsiteX821" fmla="*/ 123349 w 334956"/>
                      <a:gd name="connsiteY821" fmla="*/ 167230 h 334834"/>
                      <a:gd name="connsiteX822" fmla="*/ 49549 w 334956"/>
                      <a:gd name="connsiteY822" fmla="*/ 164030 h 334834"/>
                      <a:gd name="connsiteX823" fmla="*/ 54816 w 334956"/>
                      <a:gd name="connsiteY823" fmla="*/ 170431 h 334834"/>
                      <a:gd name="connsiteX824" fmla="*/ 54073 w 334956"/>
                      <a:gd name="connsiteY824" fmla="*/ 160325 h 334834"/>
                      <a:gd name="connsiteX825" fmla="*/ 49549 w 334956"/>
                      <a:gd name="connsiteY825" fmla="*/ 164030 h 334834"/>
                      <a:gd name="connsiteX826" fmla="*/ 279892 w 334956"/>
                      <a:gd name="connsiteY826" fmla="*/ 164192 h 334834"/>
                      <a:gd name="connsiteX827" fmla="*/ 285312 w 334956"/>
                      <a:gd name="connsiteY827" fmla="*/ 170278 h 334834"/>
                      <a:gd name="connsiteX828" fmla="*/ 284083 w 334956"/>
                      <a:gd name="connsiteY828" fmla="*/ 160582 h 334834"/>
                      <a:gd name="connsiteX829" fmla="*/ 279892 w 334956"/>
                      <a:gd name="connsiteY829" fmla="*/ 164192 h 334834"/>
                      <a:gd name="connsiteX830" fmla="*/ 182594 w 334956"/>
                      <a:gd name="connsiteY830" fmla="*/ 162878 h 334834"/>
                      <a:gd name="connsiteX831" fmla="*/ 181032 w 334956"/>
                      <a:gd name="connsiteY831" fmla="*/ 164849 h 334834"/>
                      <a:gd name="connsiteX832" fmla="*/ 179061 w 334956"/>
                      <a:gd name="connsiteY832" fmla="*/ 163373 h 334834"/>
                      <a:gd name="connsiteX833" fmla="*/ 180384 w 334956"/>
                      <a:gd name="connsiteY833" fmla="*/ 161487 h 334834"/>
                      <a:gd name="connsiteX834" fmla="*/ 180794 w 334956"/>
                      <a:gd name="connsiteY834" fmla="*/ 161315 h 334834"/>
                      <a:gd name="connsiteX835" fmla="*/ 182594 w 334956"/>
                      <a:gd name="connsiteY835" fmla="*/ 162878 h 334834"/>
                      <a:gd name="connsiteX836" fmla="*/ 100994 w 334956"/>
                      <a:gd name="connsiteY836" fmla="*/ 172898 h 334834"/>
                      <a:gd name="connsiteX837" fmla="*/ 95326 w 334956"/>
                      <a:gd name="connsiteY837" fmla="*/ 166326 h 334834"/>
                      <a:gd name="connsiteX838" fmla="*/ 99841 w 334956"/>
                      <a:gd name="connsiteY838" fmla="*/ 162296 h 334834"/>
                      <a:gd name="connsiteX839" fmla="*/ 100994 w 334956"/>
                      <a:gd name="connsiteY839" fmla="*/ 172898 h 334834"/>
                      <a:gd name="connsiteX840" fmla="*/ 216618 w 334956"/>
                      <a:gd name="connsiteY840" fmla="*/ 171907 h 334834"/>
                      <a:gd name="connsiteX841" fmla="*/ 212265 w 334956"/>
                      <a:gd name="connsiteY841" fmla="*/ 166564 h 334834"/>
                      <a:gd name="connsiteX842" fmla="*/ 215713 w 334956"/>
                      <a:gd name="connsiteY842" fmla="*/ 163363 h 334834"/>
                      <a:gd name="connsiteX843" fmla="*/ 216618 w 334956"/>
                      <a:gd name="connsiteY843" fmla="*/ 171907 h 334834"/>
                      <a:gd name="connsiteX844" fmla="*/ 258689 w 334956"/>
                      <a:gd name="connsiteY844" fmla="*/ 164849 h 334834"/>
                      <a:gd name="connsiteX845" fmla="*/ 256718 w 334956"/>
                      <a:gd name="connsiteY845" fmla="*/ 165668 h 334834"/>
                      <a:gd name="connsiteX846" fmla="*/ 257042 w 334956"/>
                      <a:gd name="connsiteY846" fmla="*/ 169945 h 334834"/>
                      <a:gd name="connsiteX847" fmla="*/ 257785 w 334956"/>
                      <a:gd name="connsiteY847" fmla="*/ 173803 h 334834"/>
                      <a:gd name="connsiteX848" fmla="*/ 265509 w 334956"/>
                      <a:gd name="connsiteY848" fmla="*/ 174955 h 334834"/>
                      <a:gd name="connsiteX849" fmla="*/ 262795 w 334956"/>
                      <a:gd name="connsiteY849" fmla="*/ 164030 h 334834"/>
                      <a:gd name="connsiteX850" fmla="*/ 258689 w 334956"/>
                      <a:gd name="connsiteY850" fmla="*/ 164849 h 334834"/>
                      <a:gd name="connsiteX851" fmla="*/ 28603 w 334956"/>
                      <a:gd name="connsiteY851" fmla="*/ 168878 h 334834"/>
                      <a:gd name="connsiteX852" fmla="*/ 32956 w 334956"/>
                      <a:gd name="connsiteY852" fmla="*/ 173565 h 334834"/>
                      <a:gd name="connsiteX853" fmla="*/ 31804 w 334956"/>
                      <a:gd name="connsiteY853" fmla="*/ 166087 h 334834"/>
                      <a:gd name="connsiteX854" fmla="*/ 28603 w 334956"/>
                      <a:gd name="connsiteY854" fmla="*/ 168878 h 334834"/>
                      <a:gd name="connsiteX855" fmla="*/ 158601 w 334956"/>
                      <a:gd name="connsiteY855" fmla="*/ 166326 h 334834"/>
                      <a:gd name="connsiteX856" fmla="*/ 159668 w 334956"/>
                      <a:gd name="connsiteY856" fmla="*/ 167392 h 334834"/>
                      <a:gd name="connsiteX857" fmla="*/ 158515 w 334956"/>
                      <a:gd name="connsiteY857" fmla="*/ 168954 h 334834"/>
                      <a:gd name="connsiteX858" fmla="*/ 156953 w 334956"/>
                      <a:gd name="connsiteY858" fmla="*/ 167392 h 334834"/>
                      <a:gd name="connsiteX859" fmla="*/ 158105 w 334956"/>
                      <a:gd name="connsiteY859" fmla="*/ 166240 h 334834"/>
                      <a:gd name="connsiteX860" fmla="*/ 158601 w 334956"/>
                      <a:gd name="connsiteY860" fmla="*/ 166326 h 334834"/>
                      <a:gd name="connsiteX861" fmla="*/ 317773 w 334956"/>
                      <a:gd name="connsiteY861" fmla="*/ 168954 h 334834"/>
                      <a:gd name="connsiteX862" fmla="*/ 320812 w 334956"/>
                      <a:gd name="connsiteY862" fmla="*/ 172403 h 334834"/>
                      <a:gd name="connsiteX863" fmla="*/ 319583 w 334956"/>
                      <a:gd name="connsiteY863" fmla="*/ 167307 h 334834"/>
                      <a:gd name="connsiteX864" fmla="*/ 317773 w 334956"/>
                      <a:gd name="connsiteY864" fmla="*/ 168954 h 334834"/>
                      <a:gd name="connsiteX865" fmla="*/ 62379 w 334956"/>
                      <a:gd name="connsiteY865" fmla="*/ 172326 h 334834"/>
                      <a:gd name="connsiteX866" fmla="*/ 68456 w 334956"/>
                      <a:gd name="connsiteY866" fmla="*/ 179880 h 334834"/>
                      <a:gd name="connsiteX867" fmla="*/ 73057 w 334956"/>
                      <a:gd name="connsiteY867" fmla="*/ 173307 h 334834"/>
                      <a:gd name="connsiteX868" fmla="*/ 67304 w 334956"/>
                      <a:gd name="connsiteY868" fmla="*/ 168545 h 334834"/>
                      <a:gd name="connsiteX869" fmla="*/ 62379 w 334956"/>
                      <a:gd name="connsiteY869" fmla="*/ 172326 h 334834"/>
                      <a:gd name="connsiteX870" fmla="*/ 136750 w 334956"/>
                      <a:gd name="connsiteY870" fmla="*/ 175279 h 334834"/>
                      <a:gd name="connsiteX871" fmla="*/ 132969 w 334956"/>
                      <a:gd name="connsiteY871" fmla="*/ 171088 h 334834"/>
                      <a:gd name="connsiteX872" fmla="*/ 135436 w 334956"/>
                      <a:gd name="connsiteY872" fmla="*/ 168869 h 334834"/>
                      <a:gd name="connsiteX873" fmla="*/ 136750 w 334956"/>
                      <a:gd name="connsiteY873" fmla="*/ 175279 h 334834"/>
                      <a:gd name="connsiteX874" fmla="*/ 194434 w 334956"/>
                      <a:gd name="connsiteY874" fmla="*/ 174955 h 334834"/>
                      <a:gd name="connsiteX875" fmla="*/ 191471 w 334956"/>
                      <a:gd name="connsiteY875" fmla="*/ 171012 h 334834"/>
                      <a:gd name="connsiteX876" fmla="*/ 193615 w 334956"/>
                      <a:gd name="connsiteY876" fmla="*/ 169288 h 334834"/>
                      <a:gd name="connsiteX877" fmla="*/ 194434 w 334956"/>
                      <a:gd name="connsiteY877" fmla="*/ 174955 h 334834"/>
                      <a:gd name="connsiteX878" fmla="*/ 294113 w 334956"/>
                      <a:gd name="connsiteY878" fmla="*/ 173060 h 334834"/>
                      <a:gd name="connsiteX879" fmla="*/ 298466 w 334956"/>
                      <a:gd name="connsiteY879" fmla="*/ 178327 h 334834"/>
                      <a:gd name="connsiteX880" fmla="*/ 297647 w 334956"/>
                      <a:gd name="connsiteY880" fmla="*/ 170183 h 334834"/>
                      <a:gd name="connsiteX881" fmla="*/ 294113 w 334956"/>
                      <a:gd name="connsiteY881" fmla="*/ 173060 h 334834"/>
                      <a:gd name="connsiteX882" fmla="*/ 230010 w 334956"/>
                      <a:gd name="connsiteY882" fmla="*/ 181613 h 334834"/>
                      <a:gd name="connsiteX883" fmla="*/ 225000 w 334956"/>
                      <a:gd name="connsiteY883" fmla="*/ 174631 h 334834"/>
                      <a:gd name="connsiteX884" fmla="*/ 229524 w 334956"/>
                      <a:gd name="connsiteY884" fmla="*/ 171421 h 334834"/>
                      <a:gd name="connsiteX885" fmla="*/ 230010 w 334956"/>
                      <a:gd name="connsiteY885" fmla="*/ 181613 h 334834"/>
                      <a:gd name="connsiteX886" fmla="*/ 114395 w 334956"/>
                      <a:gd name="connsiteY886" fmla="*/ 181204 h 334834"/>
                      <a:gd name="connsiteX887" fmla="*/ 109385 w 334956"/>
                      <a:gd name="connsiteY887" fmla="*/ 175127 h 334834"/>
                      <a:gd name="connsiteX888" fmla="*/ 113405 w 334956"/>
                      <a:gd name="connsiteY888" fmla="*/ 171917 h 334834"/>
                      <a:gd name="connsiteX889" fmla="*/ 114395 w 334956"/>
                      <a:gd name="connsiteY889" fmla="*/ 181204 h 334834"/>
                      <a:gd name="connsiteX890" fmla="*/ 7811 w 334956"/>
                      <a:gd name="connsiteY890" fmla="*/ 173965 h 334834"/>
                      <a:gd name="connsiteX891" fmla="*/ 10192 w 334956"/>
                      <a:gd name="connsiteY891" fmla="*/ 176432 h 334834"/>
                      <a:gd name="connsiteX892" fmla="*/ 9458 w 334956"/>
                      <a:gd name="connsiteY892" fmla="*/ 172155 h 334834"/>
                      <a:gd name="connsiteX893" fmla="*/ 7811 w 334956"/>
                      <a:gd name="connsiteY893" fmla="*/ 173965 h 334834"/>
                      <a:gd name="connsiteX894" fmla="*/ 270605 w 334956"/>
                      <a:gd name="connsiteY894" fmla="*/ 177498 h 334834"/>
                      <a:gd name="connsiteX895" fmla="*/ 276197 w 334956"/>
                      <a:gd name="connsiteY895" fmla="*/ 183994 h 334834"/>
                      <a:gd name="connsiteX896" fmla="*/ 275206 w 334956"/>
                      <a:gd name="connsiteY896" fmla="*/ 173393 h 334834"/>
                      <a:gd name="connsiteX897" fmla="*/ 270605 w 334956"/>
                      <a:gd name="connsiteY897" fmla="*/ 177498 h 334834"/>
                      <a:gd name="connsiteX898" fmla="*/ 41338 w 334956"/>
                      <a:gd name="connsiteY898" fmla="*/ 177013 h 334834"/>
                      <a:gd name="connsiteX899" fmla="*/ 46272 w 334956"/>
                      <a:gd name="connsiteY899" fmla="*/ 183175 h 334834"/>
                      <a:gd name="connsiteX900" fmla="*/ 45453 w 334956"/>
                      <a:gd name="connsiteY900" fmla="*/ 174136 h 334834"/>
                      <a:gd name="connsiteX901" fmla="*/ 41338 w 334956"/>
                      <a:gd name="connsiteY901" fmla="*/ 177013 h 334834"/>
                      <a:gd name="connsiteX902" fmla="*/ 173403 w 334956"/>
                      <a:gd name="connsiteY902" fmla="*/ 176927 h 334834"/>
                      <a:gd name="connsiteX903" fmla="*/ 172250 w 334956"/>
                      <a:gd name="connsiteY903" fmla="*/ 177994 h 334834"/>
                      <a:gd name="connsiteX904" fmla="*/ 171507 w 334956"/>
                      <a:gd name="connsiteY904" fmla="*/ 178079 h 334834"/>
                      <a:gd name="connsiteX905" fmla="*/ 170440 w 334956"/>
                      <a:gd name="connsiteY905" fmla="*/ 176927 h 334834"/>
                      <a:gd name="connsiteX906" fmla="*/ 171755 w 334956"/>
                      <a:gd name="connsiteY906" fmla="*/ 175117 h 334834"/>
                      <a:gd name="connsiteX907" fmla="*/ 173403 w 334956"/>
                      <a:gd name="connsiteY907" fmla="*/ 176927 h 334834"/>
                      <a:gd name="connsiteX908" fmla="*/ 92535 w 334956"/>
                      <a:gd name="connsiteY908" fmla="*/ 186538 h 334834"/>
                      <a:gd name="connsiteX909" fmla="*/ 89745 w 334956"/>
                      <a:gd name="connsiteY909" fmla="*/ 186785 h 334834"/>
                      <a:gd name="connsiteX910" fmla="*/ 86954 w 334956"/>
                      <a:gd name="connsiteY910" fmla="*/ 184642 h 334834"/>
                      <a:gd name="connsiteX911" fmla="*/ 86458 w 334956"/>
                      <a:gd name="connsiteY911" fmla="*/ 177575 h 334834"/>
                      <a:gd name="connsiteX912" fmla="*/ 91640 w 334956"/>
                      <a:gd name="connsiteY912" fmla="*/ 175193 h 334834"/>
                      <a:gd name="connsiteX913" fmla="*/ 92535 w 334956"/>
                      <a:gd name="connsiteY913" fmla="*/ 186538 h 334834"/>
                      <a:gd name="connsiteX914" fmla="*/ 208236 w 334956"/>
                      <a:gd name="connsiteY914" fmla="*/ 184899 h 334834"/>
                      <a:gd name="connsiteX915" fmla="*/ 203711 w 334956"/>
                      <a:gd name="connsiteY915" fmla="*/ 180051 h 334834"/>
                      <a:gd name="connsiteX916" fmla="*/ 207083 w 334956"/>
                      <a:gd name="connsiteY916" fmla="*/ 177089 h 334834"/>
                      <a:gd name="connsiteX917" fmla="*/ 208236 w 334956"/>
                      <a:gd name="connsiteY917" fmla="*/ 184899 h 334834"/>
                      <a:gd name="connsiteX918" fmla="*/ 332327 w 334956"/>
                      <a:gd name="connsiteY918" fmla="*/ 178575 h 334834"/>
                      <a:gd name="connsiteX919" fmla="*/ 333642 w 334956"/>
                      <a:gd name="connsiteY919" fmla="*/ 180051 h 334834"/>
                      <a:gd name="connsiteX920" fmla="*/ 334956 w 334956"/>
                      <a:gd name="connsiteY920" fmla="*/ 178822 h 334834"/>
                      <a:gd name="connsiteX921" fmla="*/ 334051 w 334956"/>
                      <a:gd name="connsiteY921" fmla="*/ 177422 h 334834"/>
                      <a:gd name="connsiteX922" fmla="*/ 333308 w 334956"/>
                      <a:gd name="connsiteY922" fmla="*/ 177336 h 334834"/>
                      <a:gd name="connsiteX923" fmla="*/ 332327 w 334956"/>
                      <a:gd name="connsiteY923" fmla="*/ 178575 h 334834"/>
                      <a:gd name="connsiteX924" fmla="*/ 150143 w 334956"/>
                      <a:gd name="connsiteY924" fmla="*/ 183585 h 334834"/>
                      <a:gd name="connsiteX925" fmla="*/ 147018 w 334956"/>
                      <a:gd name="connsiteY925" fmla="*/ 180137 h 334834"/>
                      <a:gd name="connsiteX926" fmla="*/ 148819 w 334956"/>
                      <a:gd name="connsiteY926" fmla="*/ 178489 h 334834"/>
                      <a:gd name="connsiteX927" fmla="*/ 150143 w 334956"/>
                      <a:gd name="connsiteY927" fmla="*/ 183585 h 334834"/>
                      <a:gd name="connsiteX928" fmla="*/ 248421 w 334956"/>
                      <a:gd name="connsiteY928" fmla="*/ 184899 h 334834"/>
                      <a:gd name="connsiteX929" fmla="*/ 248669 w 334956"/>
                      <a:gd name="connsiteY929" fmla="*/ 188271 h 334834"/>
                      <a:gd name="connsiteX930" fmla="*/ 244640 w 334956"/>
                      <a:gd name="connsiteY930" fmla="*/ 190729 h 334834"/>
                      <a:gd name="connsiteX931" fmla="*/ 241602 w 334956"/>
                      <a:gd name="connsiteY931" fmla="*/ 191148 h 334834"/>
                      <a:gd name="connsiteX932" fmla="*/ 238230 w 334956"/>
                      <a:gd name="connsiteY932" fmla="*/ 182109 h 334834"/>
                      <a:gd name="connsiteX933" fmla="*/ 243326 w 334956"/>
                      <a:gd name="connsiteY933" fmla="*/ 179556 h 334834"/>
                      <a:gd name="connsiteX934" fmla="*/ 248421 w 334956"/>
                      <a:gd name="connsiteY934" fmla="*/ 184899 h 334834"/>
                      <a:gd name="connsiteX935" fmla="*/ 20383 w 334956"/>
                      <a:gd name="connsiteY935" fmla="*/ 182185 h 334834"/>
                      <a:gd name="connsiteX936" fmla="*/ 23755 w 334956"/>
                      <a:gd name="connsiteY936" fmla="*/ 186214 h 334834"/>
                      <a:gd name="connsiteX937" fmla="*/ 22936 w 334956"/>
                      <a:gd name="connsiteY937" fmla="*/ 179965 h 334834"/>
                      <a:gd name="connsiteX938" fmla="*/ 20383 w 334956"/>
                      <a:gd name="connsiteY938" fmla="*/ 182185 h 334834"/>
                      <a:gd name="connsiteX939" fmla="*/ 308324 w 334956"/>
                      <a:gd name="connsiteY939" fmla="*/ 182109 h 334834"/>
                      <a:gd name="connsiteX940" fmla="*/ 311944 w 334956"/>
                      <a:gd name="connsiteY940" fmla="*/ 186300 h 334834"/>
                      <a:gd name="connsiteX941" fmla="*/ 310715 w 334956"/>
                      <a:gd name="connsiteY941" fmla="*/ 179965 h 334834"/>
                      <a:gd name="connsiteX942" fmla="*/ 308324 w 334956"/>
                      <a:gd name="connsiteY942" fmla="*/ 182109 h 334834"/>
                      <a:gd name="connsiteX943" fmla="*/ 127702 w 334956"/>
                      <a:gd name="connsiteY943" fmla="*/ 189500 h 334834"/>
                      <a:gd name="connsiteX944" fmla="*/ 123263 w 334956"/>
                      <a:gd name="connsiteY944" fmla="*/ 184404 h 334834"/>
                      <a:gd name="connsiteX945" fmla="*/ 127121 w 334956"/>
                      <a:gd name="connsiteY945" fmla="*/ 181366 h 334834"/>
                      <a:gd name="connsiteX946" fmla="*/ 127702 w 334956"/>
                      <a:gd name="connsiteY946" fmla="*/ 189500 h 334834"/>
                      <a:gd name="connsiteX947" fmla="*/ 53826 w 334956"/>
                      <a:gd name="connsiteY947" fmla="*/ 186300 h 334834"/>
                      <a:gd name="connsiteX948" fmla="*/ 59503 w 334956"/>
                      <a:gd name="connsiteY948" fmla="*/ 192710 h 334834"/>
                      <a:gd name="connsiteX949" fmla="*/ 58274 w 334956"/>
                      <a:gd name="connsiteY949" fmla="*/ 182356 h 334834"/>
                      <a:gd name="connsiteX950" fmla="*/ 53826 w 334956"/>
                      <a:gd name="connsiteY950" fmla="*/ 186300 h 334834"/>
                      <a:gd name="connsiteX951" fmla="*/ 185556 w 334956"/>
                      <a:gd name="connsiteY951" fmla="*/ 188271 h 334834"/>
                      <a:gd name="connsiteX952" fmla="*/ 182680 w 334956"/>
                      <a:gd name="connsiteY952" fmla="*/ 184404 h 334834"/>
                      <a:gd name="connsiteX953" fmla="*/ 184737 w 334956"/>
                      <a:gd name="connsiteY953" fmla="*/ 182756 h 334834"/>
                      <a:gd name="connsiteX954" fmla="*/ 185556 w 334956"/>
                      <a:gd name="connsiteY954" fmla="*/ 188271 h 334834"/>
                      <a:gd name="connsiteX955" fmla="*/ 284750 w 334956"/>
                      <a:gd name="connsiteY955" fmla="*/ 186376 h 334834"/>
                      <a:gd name="connsiteX956" fmla="*/ 289760 w 334956"/>
                      <a:gd name="connsiteY956" fmla="*/ 192043 h 334834"/>
                      <a:gd name="connsiteX957" fmla="*/ 288779 w 334956"/>
                      <a:gd name="connsiteY957" fmla="*/ 183004 h 334834"/>
                      <a:gd name="connsiteX958" fmla="*/ 284750 w 334956"/>
                      <a:gd name="connsiteY958" fmla="*/ 186376 h 334834"/>
                      <a:gd name="connsiteX959" fmla="*/ 106013 w 334956"/>
                      <a:gd name="connsiteY959" fmla="*/ 195167 h 334834"/>
                      <a:gd name="connsiteX960" fmla="*/ 99851 w 334956"/>
                      <a:gd name="connsiteY960" fmla="*/ 188347 h 334834"/>
                      <a:gd name="connsiteX961" fmla="*/ 104451 w 334956"/>
                      <a:gd name="connsiteY961" fmla="*/ 184566 h 334834"/>
                      <a:gd name="connsiteX962" fmla="*/ 106013 w 334956"/>
                      <a:gd name="connsiteY962" fmla="*/ 195167 h 334834"/>
                      <a:gd name="connsiteX963" fmla="*/ 221714 w 334956"/>
                      <a:gd name="connsiteY963" fmla="*/ 194681 h 334834"/>
                      <a:gd name="connsiteX964" fmla="*/ 216208 w 334956"/>
                      <a:gd name="connsiteY964" fmla="*/ 188604 h 334834"/>
                      <a:gd name="connsiteX965" fmla="*/ 220151 w 334956"/>
                      <a:gd name="connsiteY965" fmla="*/ 185071 h 334834"/>
                      <a:gd name="connsiteX966" fmla="*/ 221714 w 334956"/>
                      <a:gd name="connsiteY966" fmla="*/ 194681 h 334834"/>
                      <a:gd name="connsiteX967" fmla="*/ 261490 w 334956"/>
                      <a:gd name="connsiteY967" fmla="*/ 189824 h 334834"/>
                      <a:gd name="connsiteX968" fmla="*/ 267576 w 334956"/>
                      <a:gd name="connsiteY968" fmla="*/ 197549 h 334834"/>
                      <a:gd name="connsiteX969" fmla="*/ 266510 w 334956"/>
                      <a:gd name="connsiteY969" fmla="*/ 186376 h 334834"/>
                      <a:gd name="connsiteX970" fmla="*/ 261490 w 334956"/>
                      <a:gd name="connsiteY970" fmla="*/ 189824 h 334834"/>
                      <a:gd name="connsiteX971" fmla="*/ 86 w 334956"/>
                      <a:gd name="connsiteY971" fmla="*/ 187281 h 334834"/>
                      <a:gd name="connsiteX972" fmla="*/ 0 w 334956"/>
                      <a:gd name="connsiteY972" fmla="*/ 187604 h 334834"/>
                      <a:gd name="connsiteX973" fmla="*/ 905 w 334956"/>
                      <a:gd name="connsiteY973" fmla="*/ 188595 h 334834"/>
                      <a:gd name="connsiteX974" fmla="*/ 2057 w 334956"/>
                      <a:gd name="connsiteY974" fmla="*/ 187852 h 334834"/>
                      <a:gd name="connsiteX975" fmla="*/ 2143 w 334956"/>
                      <a:gd name="connsiteY975" fmla="*/ 187281 h 334834"/>
                      <a:gd name="connsiteX976" fmla="*/ 1067 w 334956"/>
                      <a:gd name="connsiteY976" fmla="*/ 186461 h 334834"/>
                      <a:gd name="connsiteX977" fmla="*/ 86 w 334956"/>
                      <a:gd name="connsiteY977" fmla="*/ 187281 h 334834"/>
                      <a:gd name="connsiteX978" fmla="*/ 163373 w 334956"/>
                      <a:gd name="connsiteY978" fmla="*/ 192624 h 334834"/>
                      <a:gd name="connsiteX979" fmla="*/ 160334 w 334956"/>
                      <a:gd name="connsiteY979" fmla="*/ 189176 h 334834"/>
                      <a:gd name="connsiteX980" fmla="*/ 162306 w 334956"/>
                      <a:gd name="connsiteY980" fmla="*/ 187366 h 334834"/>
                      <a:gd name="connsiteX981" fmla="*/ 163373 w 334956"/>
                      <a:gd name="connsiteY981" fmla="*/ 192624 h 334834"/>
                      <a:gd name="connsiteX982" fmla="*/ 32871 w 334956"/>
                      <a:gd name="connsiteY982" fmla="*/ 190976 h 334834"/>
                      <a:gd name="connsiteX983" fmla="*/ 37557 w 334956"/>
                      <a:gd name="connsiteY983" fmla="*/ 195748 h 334834"/>
                      <a:gd name="connsiteX984" fmla="*/ 35995 w 334956"/>
                      <a:gd name="connsiteY984" fmla="*/ 188100 h 334834"/>
                      <a:gd name="connsiteX985" fmla="*/ 32871 w 334956"/>
                      <a:gd name="connsiteY985" fmla="*/ 190976 h 334834"/>
                      <a:gd name="connsiteX986" fmla="*/ 322631 w 334956"/>
                      <a:gd name="connsiteY986" fmla="*/ 191634 h 334834"/>
                      <a:gd name="connsiteX987" fmla="*/ 326241 w 334956"/>
                      <a:gd name="connsiteY987" fmla="*/ 193272 h 334834"/>
                      <a:gd name="connsiteX988" fmla="*/ 324269 w 334956"/>
                      <a:gd name="connsiteY988" fmla="*/ 189900 h 334834"/>
                      <a:gd name="connsiteX989" fmla="*/ 322631 w 334956"/>
                      <a:gd name="connsiteY989" fmla="*/ 191634 h 334834"/>
                      <a:gd name="connsiteX990" fmla="*/ 199196 w 334956"/>
                      <a:gd name="connsiteY990" fmla="*/ 198206 h 334834"/>
                      <a:gd name="connsiteX991" fmla="*/ 194920 w 334956"/>
                      <a:gd name="connsiteY991" fmla="*/ 193272 h 334834"/>
                      <a:gd name="connsiteX992" fmla="*/ 197882 w 334956"/>
                      <a:gd name="connsiteY992" fmla="*/ 190567 h 334834"/>
                      <a:gd name="connsiteX993" fmla="*/ 199196 w 334956"/>
                      <a:gd name="connsiteY993" fmla="*/ 198206 h 334834"/>
                      <a:gd name="connsiteX994" fmla="*/ 67304 w 334956"/>
                      <a:gd name="connsiteY994" fmla="*/ 193358 h 334834"/>
                      <a:gd name="connsiteX995" fmla="*/ 71333 w 334956"/>
                      <a:gd name="connsiteY995" fmla="*/ 202073 h 334834"/>
                      <a:gd name="connsiteX996" fmla="*/ 72152 w 334956"/>
                      <a:gd name="connsiteY996" fmla="*/ 190652 h 334834"/>
                      <a:gd name="connsiteX997" fmla="*/ 67304 w 334956"/>
                      <a:gd name="connsiteY997" fmla="*/ 193358 h 334834"/>
                      <a:gd name="connsiteX998" fmla="*/ 141427 w 334956"/>
                      <a:gd name="connsiteY998" fmla="*/ 197958 h 334834"/>
                      <a:gd name="connsiteX999" fmla="*/ 136988 w 334956"/>
                      <a:gd name="connsiteY999" fmla="*/ 193519 h 334834"/>
                      <a:gd name="connsiteX1000" fmla="*/ 139865 w 334956"/>
                      <a:gd name="connsiteY1000" fmla="*/ 190729 h 334834"/>
                      <a:gd name="connsiteX1001" fmla="*/ 141427 w 334956"/>
                      <a:gd name="connsiteY1001" fmla="*/ 197958 h 334834"/>
                      <a:gd name="connsiteX1002" fmla="*/ 299285 w 334956"/>
                      <a:gd name="connsiteY1002" fmla="*/ 194681 h 334834"/>
                      <a:gd name="connsiteX1003" fmla="*/ 303143 w 334956"/>
                      <a:gd name="connsiteY1003" fmla="*/ 199939 h 334834"/>
                      <a:gd name="connsiteX1004" fmla="*/ 301752 w 334956"/>
                      <a:gd name="connsiteY1004" fmla="*/ 192872 h 334834"/>
                      <a:gd name="connsiteX1005" fmla="*/ 299285 w 334956"/>
                      <a:gd name="connsiteY1005" fmla="*/ 194681 h 334834"/>
                      <a:gd name="connsiteX1006" fmla="*/ 233134 w 334956"/>
                      <a:gd name="connsiteY1006" fmla="*/ 204368 h 334834"/>
                      <a:gd name="connsiteX1007" fmla="*/ 229353 w 334956"/>
                      <a:gd name="connsiteY1007" fmla="*/ 195739 h 334834"/>
                      <a:gd name="connsiteX1008" fmla="*/ 233953 w 334956"/>
                      <a:gd name="connsiteY1008" fmla="*/ 193110 h 334834"/>
                      <a:gd name="connsiteX1009" fmla="*/ 233134 w 334956"/>
                      <a:gd name="connsiteY1009" fmla="*/ 204368 h 334834"/>
                      <a:gd name="connsiteX1010" fmla="*/ 119567 w 334956"/>
                      <a:gd name="connsiteY1010" fmla="*/ 203549 h 334834"/>
                      <a:gd name="connsiteX1011" fmla="*/ 113652 w 334956"/>
                      <a:gd name="connsiteY1011" fmla="*/ 197387 h 334834"/>
                      <a:gd name="connsiteX1012" fmla="*/ 117596 w 334956"/>
                      <a:gd name="connsiteY1012" fmla="*/ 193938 h 334834"/>
                      <a:gd name="connsiteX1013" fmla="*/ 119567 w 334956"/>
                      <a:gd name="connsiteY1013" fmla="*/ 203549 h 334834"/>
                      <a:gd name="connsiteX1014" fmla="*/ 12164 w 334956"/>
                      <a:gd name="connsiteY1014" fmla="*/ 195996 h 334834"/>
                      <a:gd name="connsiteX1015" fmla="*/ 15040 w 334956"/>
                      <a:gd name="connsiteY1015" fmla="*/ 198625 h 334834"/>
                      <a:gd name="connsiteX1016" fmla="*/ 13888 w 334956"/>
                      <a:gd name="connsiteY1016" fmla="*/ 194186 h 334834"/>
                      <a:gd name="connsiteX1017" fmla="*/ 12164 w 334956"/>
                      <a:gd name="connsiteY1017" fmla="*/ 195996 h 334834"/>
                      <a:gd name="connsiteX1018" fmla="*/ 177012 w 334956"/>
                      <a:gd name="connsiteY1018" fmla="*/ 202149 h 334834"/>
                      <a:gd name="connsiteX1019" fmla="*/ 173069 w 334956"/>
                      <a:gd name="connsiteY1019" fmla="*/ 197958 h 334834"/>
                      <a:gd name="connsiteX1020" fmla="*/ 176031 w 334956"/>
                      <a:gd name="connsiteY1020" fmla="*/ 195577 h 334834"/>
                      <a:gd name="connsiteX1021" fmla="*/ 177012 w 334956"/>
                      <a:gd name="connsiteY1021" fmla="*/ 202149 h 334834"/>
                      <a:gd name="connsiteX1022" fmla="*/ 275615 w 334956"/>
                      <a:gd name="connsiteY1022" fmla="*/ 199444 h 334834"/>
                      <a:gd name="connsiteX1023" fmla="*/ 280378 w 334956"/>
                      <a:gd name="connsiteY1023" fmla="*/ 205692 h 334834"/>
                      <a:gd name="connsiteX1024" fmla="*/ 279397 w 334956"/>
                      <a:gd name="connsiteY1024" fmla="*/ 195996 h 334834"/>
                      <a:gd name="connsiteX1025" fmla="*/ 275615 w 334956"/>
                      <a:gd name="connsiteY1025" fmla="*/ 199444 h 334834"/>
                      <a:gd name="connsiteX1026" fmla="*/ 45615 w 334956"/>
                      <a:gd name="connsiteY1026" fmla="*/ 199520 h 334834"/>
                      <a:gd name="connsiteX1027" fmla="*/ 50959 w 334956"/>
                      <a:gd name="connsiteY1027" fmla="*/ 205273 h 334834"/>
                      <a:gd name="connsiteX1028" fmla="*/ 49149 w 334956"/>
                      <a:gd name="connsiteY1028" fmla="*/ 196320 h 334834"/>
                      <a:gd name="connsiteX1029" fmla="*/ 45615 w 334956"/>
                      <a:gd name="connsiteY1029" fmla="*/ 199520 h 334834"/>
                      <a:gd name="connsiteX1030" fmla="*/ 101737 w 334956"/>
                      <a:gd name="connsiteY1030" fmla="*/ 205607 h 334834"/>
                      <a:gd name="connsiteX1031" fmla="*/ 96974 w 334956"/>
                      <a:gd name="connsiteY1031" fmla="*/ 208731 h 334834"/>
                      <a:gd name="connsiteX1032" fmla="*/ 92707 w 334956"/>
                      <a:gd name="connsiteY1032" fmla="*/ 209226 h 334834"/>
                      <a:gd name="connsiteX1033" fmla="*/ 90897 w 334956"/>
                      <a:gd name="connsiteY1033" fmla="*/ 199368 h 334834"/>
                      <a:gd name="connsiteX1034" fmla="*/ 96069 w 334956"/>
                      <a:gd name="connsiteY1034" fmla="*/ 197396 h 334834"/>
                      <a:gd name="connsiteX1035" fmla="*/ 101737 w 334956"/>
                      <a:gd name="connsiteY1035" fmla="*/ 205607 h 334834"/>
                      <a:gd name="connsiteX1036" fmla="*/ 212265 w 334956"/>
                      <a:gd name="connsiteY1036" fmla="*/ 208074 h 334834"/>
                      <a:gd name="connsiteX1037" fmla="*/ 207331 w 334956"/>
                      <a:gd name="connsiteY1037" fmla="*/ 201911 h 334834"/>
                      <a:gd name="connsiteX1038" fmla="*/ 211522 w 334956"/>
                      <a:gd name="connsiteY1038" fmla="*/ 198549 h 334834"/>
                      <a:gd name="connsiteX1039" fmla="*/ 212265 w 334956"/>
                      <a:gd name="connsiteY1039" fmla="*/ 208074 h 334834"/>
                      <a:gd name="connsiteX1040" fmla="*/ 252527 w 334956"/>
                      <a:gd name="connsiteY1040" fmla="*/ 201997 h 334834"/>
                      <a:gd name="connsiteX1041" fmla="*/ 252527 w 334956"/>
                      <a:gd name="connsiteY1041" fmla="*/ 204949 h 334834"/>
                      <a:gd name="connsiteX1042" fmla="*/ 257461 w 334956"/>
                      <a:gd name="connsiteY1042" fmla="*/ 211112 h 334834"/>
                      <a:gd name="connsiteX1043" fmla="*/ 258528 w 334956"/>
                      <a:gd name="connsiteY1043" fmla="*/ 199520 h 334834"/>
                      <a:gd name="connsiteX1044" fmla="*/ 252527 w 334956"/>
                      <a:gd name="connsiteY1044" fmla="*/ 201997 h 334834"/>
                      <a:gd name="connsiteX1045" fmla="*/ 154657 w 334956"/>
                      <a:gd name="connsiteY1045" fmla="*/ 207007 h 334834"/>
                      <a:gd name="connsiteX1046" fmla="*/ 150381 w 334956"/>
                      <a:gd name="connsiteY1046" fmla="*/ 202406 h 334834"/>
                      <a:gd name="connsiteX1047" fmla="*/ 153753 w 334956"/>
                      <a:gd name="connsiteY1047" fmla="*/ 199615 h 334834"/>
                      <a:gd name="connsiteX1048" fmla="*/ 154657 w 334956"/>
                      <a:gd name="connsiteY1048" fmla="*/ 207007 h 334834"/>
                      <a:gd name="connsiteX1049" fmla="*/ 24908 w 334956"/>
                      <a:gd name="connsiteY1049" fmla="*/ 204130 h 334834"/>
                      <a:gd name="connsiteX1050" fmla="*/ 28442 w 334956"/>
                      <a:gd name="connsiteY1050" fmla="*/ 208321 h 334834"/>
                      <a:gd name="connsiteX1051" fmla="*/ 27375 w 334956"/>
                      <a:gd name="connsiteY1051" fmla="*/ 202149 h 334834"/>
                      <a:gd name="connsiteX1052" fmla="*/ 24908 w 334956"/>
                      <a:gd name="connsiteY1052" fmla="*/ 204130 h 334834"/>
                      <a:gd name="connsiteX1053" fmla="*/ 313420 w 334956"/>
                      <a:gd name="connsiteY1053" fmla="*/ 204368 h 334834"/>
                      <a:gd name="connsiteX1054" fmla="*/ 316297 w 334956"/>
                      <a:gd name="connsiteY1054" fmla="*/ 207816 h 334834"/>
                      <a:gd name="connsiteX1055" fmla="*/ 315230 w 334956"/>
                      <a:gd name="connsiteY1055" fmla="*/ 202806 h 334834"/>
                      <a:gd name="connsiteX1056" fmla="*/ 313420 w 334956"/>
                      <a:gd name="connsiteY1056" fmla="*/ 204368 h 334834"/>
                      <a:gd name="connsiteX1057" fmla="*/ 132312 w 334956"/>
                      <a:gd name="connsiteY1057" fmla="*/ 212341 h 334834"/>
                      <a:gd name="connsiteX1058" fmla="*/ 127216 w 334956"/>
                      <a:gd name="connsiteY1058" fmla="*/ 206502 h 334834"/>
                      <a:gd name="connsiteX1059" fmla="*/ 131073 w 334956"/>
                      <a:gd name="connsiteY1059" fmla="*/ 203130 h 334834"/>
                      <a:gd name="connsiteX1060" fmla="*/ 132312 w 334956"/>
                      <a:gd name="connsiteY1060" fmla="*/ 212341 h 334834"/>
                      <a:gd name="connsiteX1061" fmla="*/ 190405 w 334956"/>
                      <a:gd name="connsiteY1061" fmla="*/ 211846 h 334834"/>
                      <a:gd name="connsiteX1062" fmla="*/ 185633 w 334956"/>
                      <a:gd name="connsiteY1062" fmla="*/ 206588 h 334834"/>
                      <a:gd name="connsiteX1063" fmla="*/ 189490 w 334956"/>
                      <a:gd name="connsiteY1063" fmla="*/ 203549 h 334834"/>
                      <a:gd name="connsiteX1064" fmla="*/ 190405 w 334956"/>
                      <a:gd name="connsiteY1064" fmla="*/ 211846 h 334834"/>
                      <a:gd name="connsiteX1065" fmla="*/ 58426 w 334956"/>
                      <a:gd name="connsiteY1065" fmla="*/ 208321 h 334834"/>
                      <a:gd name="connsiteX1066" fmla="*/ 64018 w 334956"/>
                      <a:gd name="connsiteY1066" fmla="*/ 214732 h 334834"/>
                      <a:gd name="connsiteX1067" fmla="*/ 62294 w 334956"/>
                      <a:gd name="connsiteY1067" fmla="*/ 204626 h 334834"/>
                      <a:gd name="connsiteX1068" fmla="*/ 58426 w 334956"/>
                      <a:gd name="connsiteY1068" fmla="*/ 208321 h 334834"/>
                      <a:gd name="connsiteX1069" fmla="*/ 289750 w 334956"/>
                      <a:gd name="connsiteY1069" fmla="*/ 208731 h 334834"/>
                      <a:gd name="connsiteX1070" fmla="*/ 294522 w 334956"/>
                      <a:gd name="connsiteY1070" fmla="*/ 213503 h 334834"/>
                      <a:gd name="connsiteX1071" fmla="*/ 292960 w 334956"/>
                      <a:gd name="connsiteY1071" fmla="*/ 205778 h 334834"/>
                      <a:gd name="connsiteX1072" fmla="*/ 289750 w 334956"/>
                      <a:gd name="connsiteY1072" fmla="*/ 208731 h 334834"/>
                      <a:gd name="connsiteX1073" fmla="*/ 109461 w 334956"/>
                      <a:gd name="connsiteY1073" fmla="*/ 217846 h 334834"/>
                      <a:gd name="connsiteX1074" fmla="*/ 103956 w 334956"/>
                      <a:gd name="connsiteY1074" fmla="*/ 210369 h 334834"/>
                      <a:gd name="connsiteX1075" fmla="*/ 108480 w 334956"/>
                      <a:gd name="connsiteY1075" fmla="*/ 206512 h 334834"/>
                      <a:gd name="connsiteX1076" fmla="*/ 109461 w 334956"/>
                      <a:gd name="connsiteY1076" fmla="*/ 217846 h 334834"/>
                      <a:gd name="connsiteX1077" fmla="*/ 225580 w 334956"/>
                      <a:gd name="connsiteY1077" fmla="*/ 217684 h 334834"/>
                      <a:gd name="connsiteX1078" fmla="*/ 219742 w 334956"/>
                      <a:gd name="connsiteY1078" fmla="*/ 210864 h 334834"/>
                      <a:gd name="connsiteX1079" fmla="*/ 224590 w 334956"/>
                      <a:gd name="connsiteY1079" fmla="*/ 206502 h 334834"/>
                      <a:gd name="connsiteX1080" fmla="*/ 225580 w 334956"/>
                      <a:gd name="connsiteY1080" fmla="*/ 217684 h 334834"/>
                      <a:gd name="connsiteX1081" fmla="*/ 167802 w 334956"/>
                      <a:gd name="connsiteY1081" fmla="*/ 216294 h 334834"/>
                      <a:gd name="connsiteX1082" fmla="*/ 163363 w 334956"/>
                      <a:gd name="connsiteY1082" fmla="*/ 211274 h 334834"/>
                      <a:gd name="connsiteX1083" fmla="*/ 166897 w 334956"/>
                      <a:gd name="connsiteY1083" fmla="*/ 208150 h 334834"/>
                      <a:gd name="connsiteX1084" fmla="*/ 167802 w 334956"/>
                      <a:gd name="connsiteY1084" fmla="*/ 216294 h 334834"/>
                      <a:gd name="connsiteX1085" fmla="*/ 4439 w 334956"/>
                      <a:gd name="connsiteY1085" fmla="*/ 209636 h 334834"/>
                      <a:gd name="connsiteX1086" fmla="*/ 5515 w 334956"/>
                      <a:gd name="connsiteY1086" fmla="*/ 210950 h 334834"/>
                      <a:gd name="connsiteX1087" fmla="*/ 6667 w 334956"/>
                      <a:gd name="connsiteY1087" fmla="*/ 209550 h 334834"/>
                      <a:gd name="connsiteX1088" fmla="*/ 5429 w 334956"/>
                      <a:gd name="connsiteY1088" fmla="*/ 208645 h 334834"/>
                      <a:gd name="connsiteX1089" fmla="*/ 4439 w 334956"/>
                      <a:gd name="connsiteY1089" fmla="*/ 209636 h 334834"/>
                      <a:gd name="connsiteX1090" fmla="*/ 266500 w 334956"/>
                      <a:gd name="connsiteY1090" fmla="*/ 212760 h 334834"/>
                      <a:gd name="connsiteX1091" fmla="*/ 272329 w 334956"/>
                      <a:gd name="connsiteY1091" fmla="*/ 219094 h 334834"/>
                      <a:gd name="connsiteX1092" fmla="*/ 270767 w 334956"/>
                      <a:gd name="connsiteY1092" fmla="*/ 209064 h 334834"/>
                      <a:gd name="connsiteX1093" fmla="*/ 266500 w 334956"/>
                      <a:gd name="connsiteY1093" fmla="*/ 212760 h 334834"/>
                      <a:gd name="connsiteX1094" fmla="*/ 37481 w 334956"/>
                      <a:gd name="connsiteY1094" fmla="*/ 212998 h 334834"/>
                      <a:gd name="connsiteX1095" fmla="*/ 41510 w 334956"/>
                      <a:gd name="connsiteY1095" fmla="*/ 217932 h 334834"/>
                      <a:gd name="connsiteX1096" fmla="*/ 40691 w 334956"/>
                      <a:gd name="connsiteY1096" fmla="*/ 210369 h 334834"/>
                      <a:gd name="connsiteX1097" fmla="*/ 37481 w 334956"/>
                      <a:gd name="connsiteY1097" fmla="*/ 212998 h 334834"/>
                      <a:gd name="connsiteX1098" fmla="*/ 203635 w 334956"/>
                      <a:gd name="connsiteY1098" fmla="*/ 221628 h 334834"/>
                      <a:gd name="connsiteX1099" fmla="*/ 198215 w 334956"/>
                      <a:gd name="connsiteY1099" fmla="*/ 215217 h 334834"/>
                      <a:gd name="connsiteX1100" fmla="*/ 202406 w 334956"/>
                      <a:gd name="connsiteY1100" fmla="*/ 211684 h 334834"/>
                      <a:gd name="connsiteX1101" fmla="*/ 203635 w 334956"/>
                      <a:gd name="connsiteY1101" fmla="*/ 221628 h 334834"/>
                      <a:gd name="connsiteX1102" fmla="*/ 146190 w 334956"/>
                      <a:gd name="connsiteY1102" fmla="*/ 221218 h 334834"/>
                      <a:gd name="connsiteX1103" fmla="*/ 140522 w 334956"/>
                      <a:gd name="connsiteY1103" fmla="*/ 215551 h 334834"/>
                      <a:gd name="connsiteX1104" fmla="*/ 144304 w 334956"/>
                      <a:gd name="connsiteY1104" fmla="*/ 212103 h 334834"/>
                      <a:gd name="connsiteX1105" fmla="*/ 146190 w 334956"/>
                      <a:gd name="connsiteY1105" fmla="*/ 221218 h 334834"/>
                      <a:gd name="connsiteX1106" fmla="*/ 243411 w 334956"/>
                      <a:gd name="connsiteY1106" fmla="*/ 214808 h 334834"/>
                      <a:gd name="connsiteX1107" fmla="*/ 243659 w 334956"/>
                      <a:gd name="connsiteY1107" fmla="*/ 218256 h 334834"/>
                      <a:gd name="connsiteX1108" fmla="*/ 247440 w 334956"/>
                      <a:gd name="connsiteY1108" fmla="*/ 224257 h 334834"/>
                      <a:gd name="connsiteX1109" fmla="*/ 249984 w 334956"/>
                      <a:gd name="connsiteY1109" fmla="*/ 212750 h 334834"/>
                      <a:gd name="connsiteX1110" fmla="*/ 243411 w 334956"/>
                      <a:gd name="connsiteY1110" fmla="*/ 214808 h 334834"/>
                      <a:gd name="connsiteX1111" fmla="*/ 71494 w 334956"/>
                      <a:gd name="connsiteY1111" fmla="*/ 216370 h 334834"/>
                      <a:gd name="connsiteX1112" fmla="*/ 77410 w 334956"/>
                      <a:gd name="connsiteY1112" fmla="*/ 223933 h 334834"/>
                      <a:gd name="connsiteX1113" fmla="*/ 76010 w 334956"/>
                      <a:gd name="connsiteY1113" fmla="*/ 212998 h 334834"/>
                      <a:gd name="connsiteX1114" fmla="*/ 71494 w 334956"/>
                      <a:gd name="connsiteY1114" fmla="*/ 216370 h 334834"/>
                      <a:gd name="connsiteX1115" fmla="*/ 328213 w 334956"/>
                      <a:gd name="connsiteY1115" fmla="*/ 213903 h 334834"/>
                      <a:gd name="connsiteX1116" fmla="*/ 328127 w 334956"/>
                      <a:gd name="connsiteY1116" fmla="*/ 214484 h 334834"/>
                      <a:gd name="connsiteX1117" fmla="*/ 329032 w 334956"/>
                      <a:gd name="connsiteY1117" fmla="*/ 215313 h 334834"/>
                      <a:gd name="connsiteX1118" fmla="*/ 329279 w 334956"/>
                      <a:gd name="connsiteY1118" fmla="*/ 215313 h 334834"/>
                      <a:gd name="connsiteX1119" fmla="*/ 330270 w 334956"/>
                      <a:gd name="connsiteY1119" fmla="*/ 214322 h 334834"/>
                      <a:gd name="connsiteX1120" fmla="*/ 329032 w 334956"/>
                      <a:gd name="connsiteY1120" fmla="*/ 213084 h 334834"/>
                      <a:gd name="connsiteX1121" fmla="*/ 328213 w 334956"/>
                      <a:gd name="connsiteY1121" fmla="*/ 213903 h 334834"/>
                      <a:gd name="connsiteX1122" fmla="*/ 123511 w 334956"/>
                      <a:gd name="connsiteY1122" fmla="*/ 226562 h 334834"/>
                      <a:gd name="connsiteX1123" fmla="*/ 117510 w 334956"/>
                      <a:gd name="connsiteY1123" fmla="*/ 219494 h 334834"/>
                      <a:gd name="connsiteX1124" fmla="*/ 122520 w 334956"/>
                      <a:gd name="connsiteY1124" fmla="*/ 215551 h 334834"/>
                      <a:gd name="connsiteX1125" fmla="*/ 123511 w 334956"/>
                      <a:gd name="connsiteY1125" fmla="*/ 226562 h 334834"/>
                      <a:gd name="connsiteX1126" fmla="*/ 304381 w 334956"/>
                      <a:gd name="connsiteY1126" fmla="*/ 217189 h 334834"/>
                      <a:gd name="connsiteX1127" fmla="*/ 307334 w 334956"/>
                      <a:gd name="connsiteY1127" fmla="*/ 221466 h 334834"/>
                      <a:gd name="connsiteX1128" fmla="*/ 306753 w 334956"/>
                      <a:gd name="connsiteY1128" fmla="*/ 215627 h 334834"/>
                      <a:gd name="connsiteX1129" fmla="*/ 304381 w 334956"/>
                      <a:gd name="connsiteY1129" fmla="*/ 217189 h 334834"/>
                      <a:gd name="connsiteX1130" fmla="*/ 17926 w 334956"/>
                      <a:gd name="connsiteY1130" fmla="*/ 220561 h 334834"/>
                      <a:gd name="connsiteX1131" fmla="*/ 21041 w 334956"/>
                      <a:gd name="connsiteY1131" fmla="*/ 218342 h 334834"/>
                      <a:gd name="connsiteX1132" fmla="*/ 18412 w 334956"/>
                      <a:gd name="connsiteY1132" fmla="*/ 216446 h 334834"/>
                      <a:gd name="connsiteX1133" fmla="*/ 17926 w 334956"/>
                      <a:gd name="connsiteY1133" fmla="*/ 220561 h 334834"/>
                      <a:gd name="connsiteX1134" fmla="*/ 181365 w 334956"/>
                      <a:gd name="connsiteY1134" fmla="*/ 225819 h 334834"/>
                      <a:gd name="connsiteX1135" fmla="*/ 176193 w 334956"/>
                      <a:gd name="connsiteY1135" fmla="*/ 219818 h 334834"/>
                      <a:gd name="connsiteX1136" fmla="*/ 179803 w 334956"/>
                      <a:gd name="connsiteY1136" fmla="*/ 216446 h 334834"/>
                      <a:gd name="connsiteX1137" fmla="*/ 181365 w 334956"/>
                      <a:gd name="connsiteY1137" fmla="*/ 225819 h 334834"/>
                      <a:gd name="connsiteX1138" fmla="*/ 50302 w 334956"/>
                      <a:gd name="connsiteY1138" fmla="*/ 221790 h 334834"/>
                      <a:gd name="connsiteX1139" fmla="*/ 55064 w 334956"/>
                      <a:gd name="connsiteY1139" fmla="*/ 227295 h 334834"/>
                      <a:gd name="connsiteX1140" fmla="*/ 53578 w 334956"/>
                      <a:gd name="connsiteY1140" fmla="*/ 218665 h 334834"/>
                      <a:gd name="connsiteX1141" fmla="*/ 50302 w 334956"/>
                      <a:gd name="connsiteY1141" fmla="*/ 221790 h 334834"/>
                      <a:gd name="connsiteX1142" fmla="*/ 280721 w 334956"/>
                      <a:gd name="connsiteY1142" fmla="*/ 221875 h 334834"/>
                      <a:gd name="connsiteX1143" fmla="*/ 285407 w 334956"/>
                      <a:gd name="connsiteY1143" fmla="*/ 227057 h 334834"/>
                      <a:gd name="connsiteX1144" fmla="*/ 284016 w 334956"/>
                      <a:gd name="connsiteY1144" fmla="*/ 218846 h 334834"/>
                      <a:gd name="connsiteX1145" fmla="*/ 280721 w 334956"/>
                      <a:gd name="connsiteY1145" fmla="*/ 221875 h 334834"/>
                      <a:gd name="connsiteX1146" fmla="*/ 220723 w 334956"/>
                      <a:gd name="connsiteY1146" fmla="*/ 221713 h 334834"/>
                      <a:gd name="connsiteX1147" fmla="*/ 220723 w 334956"/>
                      <a:gd name="connsiteY1147" fmla="*/ 229686 h 334834"/>
                      <a:gd name="connsiteX1148" fmla="*/ 218008 w 334956"/>
                      <a:gd name="connsiteY1148" fmla="*/ 230667 h 334834"/>
                      <a:gd name="connsiteX1149" fmla="*/ 214722 w 334956"/>
                      <a:gd name="connsiteY1149" fmla="*/ 231162 h 334834"/>
                      <a:gd name="connsiteX1150" fmla="*/ 211017 w 334956"/>
                      <a:gd name="connsiteY1150" fmla="*/ 223190 h 334834"/>
                      <a:gd name="connsiteX1151" fmla="*/ 215951 w 334956"/>
                      <a:gd name="connsiteY1151" fmla="*/ 219742 h 334834"/>
                      <a:gd name="connsiteX1152" fmla="*/ 220723 w 334956"/>
                      <a:gd name="connsiteY1152" fmla="*/ 221713 h 334834"/>
                      <a:gd name="connsiteX1153" fmla="*/ 158772 w 334956"/>
                      <a:gd name="connsiteY1153" fmla="*/ 230505 h 334834"/>
                      <a:gd name="connsiteX1154" fmla="*/ 153600 w 334956"/>
                      <a:gd name="connsiteY1154" fmla="*/ 224504 h 334834"/>
                      <a:gd name="connsiteX1155" fmla="*/ 158201 w 334956"/>
                      <a:gd name="connsiteY1155" fmla="*/ 220637 h 334834"/>
                      <a:gd name="connsiteX1156" fmla="*/ 158772 w 334956"/>
                      <a:gd name="connsiteY1156" fmla="*/ 230505 h 334834"/>
                      <a:gd name="connsiteX1157" fmla="*/ 85134 w 334956"/>
                      <a:gd name="connsiteY1157" fmla="*/ 224018 h 334834"/>
                      <a:gd name="connsiteX1158" fmla="*/ 89087 w 334956"/>
                      <a:gd name="connsiteY1158" fmla="*/ 233143 h 334834"/>
                      <a:gd name="connsiteX1159" fmla="*/ 95488 w 334956"/>
                      <a:gd name="connsiteY1159" fmla="*/ 229524 h 334834"/>
                      <a:gd name="connsiteX1160" fmla="*/ 95250 w 334956"/>
                      <a:gd name="connsiteY1160" fmla="*/ 226571 h 334834"/>
                      <a:gd name="connsiteX1161" fmla="*/ 90726 w 334956"/>
                      <a:gd name="connsiteY1161" fmla="*/ 221551 h 334834"/>
                      <a:gd name="connsiteX1162" fmla="*/ 85134 w 334956"/>
                      <a:gd name="connsiteY1162" fmla="*/ 224018 h 334834"/>
                      <a:gd name="connsiteX1163" fmla="*/ 257546 w 334956"/>
                      <a:gd name="connsiteY1163" fmla="*/ 226152 h 334834"/>
                      <a:gd name="connsiteX1164" fmla="*/ 263214 w 334956"/>
                      <a:gd name="connsiteY1164" fmla="*/ 232477 h 334834"/>
                      <a:gd name="connsiteX1165" fmla="*/ 262147 w 334956"/>
                      <a:gd name="connsiteY1165" fmla="*/ 222209 h 334834"/>
                      <a:gd name="connsiteX1166" fmla="*/ 257546 w 334956"/>
                      <a:gd name="connsiteY1166" fmla="*/ 226152 h 334834"/>
                      <a:gd name="connsiteX1167" fmla="*/ 29337 w 334956"/>
                      <a:gd name="connsiteY1167" fmla="*/ 226724 h 334834"/>
                      <a:gd name="connsiteX1168" fmla="*/ 32785 w 334956"/>
                      <a:gd name="connsiteY1168" fmla="*/ 230257 h 334834"/>
                      <a:gd name="connsiteX1169" fmla="*/ 32128 w 334956"/>
                      <a:gd name="connsiteY1169" fmla="*/ 224504 h 334834"/>
                      <a:gd name="connsiteX1170" fmla="*/ 29337 w 334956"/>
                      <a:gd name="connsiteY1170" fmla="*/ 226724 h 334834"/>
                      <a:gd name="connsiteX1171" fmla="*/ 136827 w 334956"/>
                      <a:gd name="connsiteY1171" fmla="*/ 235439 h 334834"/>
                      <a:gd name="connsiteX1172" fmla="*/ 130826 w 334956"/>
                      <a:gd name="connsiteY1172" fmla="*/ 228533 h 334834"/>
                      <a:gd name="connsiteX1173" fmla="*/ 135350 w 334956"/>
                      <a:gd name="connsiteY1173" fmla="*/ 224504 h 334834"/>
                      <a:gd name="connsiteX1174" fmla="*/ 136827 w 334956"/>
                      <a:gd name="connsiteY1174" fmla="*/ 235439 h 334834"/>
                      <a:gd name="connsiteX1175" fmla="*/ 195005 w 334956"/>
                      <a:gd name="connsiteY1175" fmla="*/ 235353 h 334834"/>
                      <a:gd name="connsiteX1176" fmla="*/ 188843 w 334956"/>
                      <a:gd name="connsiteY1176" fmla="*/ 228619 h 334834"/>
                      <a:gd name="connsiteX1177" fmla="*/ 193119 w 334956"/>
                      <a:gd name="connsiteY1177" fmla="*/ 224676 h 334834"/>
                      <a:gd name="connsiteX1178" fmla="*/ 195005 w 334956"/>
                      <a:gd name="connsiteY1178" fmla="*/ 235353 h 334834"/>
                      <a:gd name="connsiteX1179" fmla="*/ 318678 w 334956"/>
                      <a:gd name="connsiteY1179" fmla="*/ 227543 h 334834"/>
                      <a:gd name="connsiteX1180" fmla="*/ 320078 w 334956"/>
                      <a:gd name="connsiteY1180" fmla="*/ 229019 h 334834"/>
                      <a:gd name="connsiteX1181" fmla="*/ 321802 w 334956"/>
                      <a:gd name="connsiteY1181" fmla="*/ 227867 h 334834"/>
                      <a:gd name="connsiteX1182" fmla="*/ 320650 w 334956"/>
                      <a:gd name="connsiteY1182" fmla="*/ 225981 h 334834"/>
                      <a:gd name="connsiteX1183" fmla="*/ 319992 w 334956"/>
                      <a:gd name="connsiteY1183" fmla="*/ 225895 h 334834"/>
                      <a:gd name="connsiteX1184" fmla="*/ 318678 w 334956"/>
                      <a:gd name="connsiteY1184" fmla="*/ 227543 h 334834"/>
                      <a:gd name="connsiteX1185" fmla="*/ 234696 w 334956"/>
                      <a:gd name="connsiteY1185" fmla="*/ 228448 h 334834"/>
                      <a:gd name="connsiteX1186" fmla="*/ 234782 w 334956"/>
                      <a:gd name="connsiteY1186" fmla="*/ 231572 h 334834"/>
                      <a:gd name="connsiteX1187" fmla="*/ 239468 w 334956"/>
                      <a:gd name="connsiteY1187" fmla="*/ 237658 h 334834"/>
                      <a:gd name="connsiteX1188" fmla="*/ 241106 w 334956"/>
                      <a:gd name="connsiteY1188" fmla="*/ 226066 h 334834"/>
                      <a:gd name="connsiteX1189" fmla="*/ 234696 w 334956"/>
                      <a:gd name="connsiteY1189" fmla="*/ 228448 h 334834"/>
                      <a:gd name="connsiteX1190" fmla="*/ 63113 w 334956"/>
                      <a:gd name="connsiteY1190" fmla="*/ 230667 h 334834"/>
                      <a:gd name="connsiteX1191" fmla="*/ 68294 w 334956"/>
                      <a:gd name="connsiteY1191" fmla="*/ 236506 h 334834"/>
                      <a:gd name="connsiteX1192" fmla="*/ 67065 w 334956"/>
                      <a:gd name="connsiteY1192" fmla="*/ 227133 h 334834"/>
                      <a:gd name="connsiteX1193" fmla="*/ 63113 w 334956"/>
                      <a:gd name="connsiteY1193" fmla="*/ 230667 h 334834"/>
                      <a:gd name="connsiteX1194" fmla="*/ 295180 w 334956"/>
                      <a:gd name="connsiteY1194" fmla="*/ 230753 h 334834"/>
                      <a:gd name="connsiteX1195" fmla="*/ 298628 w 334956"/>
                      <a:gd name="connsiteY1195" fmla="*/ 234944 h 334834"/>
                      <a:gd name="connsiteX1196" fmla="*/ 297399 w 334956"/>
                      <a:gd name="connsiteY1196" fmla="*/ 228781 h 334834"/>
                      <a:gd name="connsiteX1197" fmla="*/ 295180 w 334956"/>
                      <a:gd name="connsiteY1197" fmla="*/ 230753 h 334834"/>
                      <a:gd name="connsiteX1198" fmla="*/ 172326 w 334956"/>
                      <a:gd name="connsiteY1198" fmla="*/ 239792 h 334834"/>
                      <a:gd name="connsiteX1199" fmla="*/ 166649 w 334956"/>
                      <a:gd name="connsiteY1199" fmla="*/ 232972 h 334834"/>
                      <a:gd name="connsiteX1200" fmla="*/ 171336 w 334956"/>
                      <a:gd name="connsiteY1200" fmla="*/ 229114 h 334834"/>
                      <a:gd name="connsiteX1201" fmla="*/ 172326 w 334956"/>
                      <a:gd name="connsiteY1201" fmla="*/ 239792 h 334834"/>
                      <a:gd name="connsiteX1202" fmla="*/ 271844 w 334956"/>
                      <a:gd name="connsiteY1202" fmla="*/ 235029 h 334834"/>
                      <a:gd name="connsiteX1203" fmla="*/ 276197 w 334956"/>
                      <a:gd name="connsiteY1203" fmla="*/ 240449 h 334834"/>
                      <a:gd name="connsiteX1204" fmla="*/ 275454 w 334956"/>
                      <a:gd name="connsiteY1204" fmla="*/ 232067 h 334834"/>
                      <a:gd name="connsiteX1205" fmla="*/ 271844 w 334956"/>
                      <a:gd name="connsiteY1205" fmla="*/ 235029 h 334834"/>
                      <a:gd name="connsiteX1206" fmla="*/ 42158 w 334956"/>
                      <a:gd name="connsiteY1206" fmla="*/ 235515 h 334834"/>
                      <a:gd name="connsiteX1207" fmla="*/ 46272 w 334956"/>
                      <a:gd name="connsiteY1207" fmla="*/ 239630 h 334834"/>
                      <a:gd name="connsiteX1208" fmla="*/ 44958 w 334956"/>
                      <a:gd name="connsiteY1208" fmla="*/ 232886 h 334834"/>
                      <a:gd name="connsiteX1209" fmla="*/ 42158 w 334956"/>
                      <a:gd name="connsiteY1209" fmla="*/ 235515 h 334834"/>
                      <a:gd name="connsiteX1210" fmla="*/ 150628 w 334956"/>
                      <a:gd name="connsiteY1210" fmla="*/ 244145 h 334834"/>
                      <a:gd name="connsiteX1211" fmla="*/ 148333 w 334956"/>
                      <a:gd name="connsiteY1211" fmla="*/ 244554 h 334834"/>
                      <a:gd name="connsiteX1212" fmla="*/ 144142 w 334956"/>
                      <a:gd name="connsiteY1212" fmla="*/ 236906 h 334834"/>
                      <a:gd name="connsiteX1213" fmla="*/ 149076 w 334956"/>
                      <a:gd name="connsiteY1213" fmla="*/ 233210 h 334834"/>
                      <a:gd name="connsiteX1214" fmla="*/ 150628 w 334956"/>
                      <a:gd name="connsiteY1214" fmla="*/ 244145 h 334834"/>
                      <a:gd name="connsiteX1215" fmla="*/ 76428 w 334956"/>
                      <a:gd name="connsiteY1215" fmla="*/ 238563 h 334834"/>
                      <a:gd name="connsiteX1216" fmla="*/ 81772 w 334956"/>
                      <a:gd name="connsiteY1216" fmla="*/ 245631 h 334834"/>
                      <a:gd name="connsiteX1217" fmla="*/ 80458 w 334956"/>
                      <a:gd name="connsiteY1217" fmla="*/ 235601 h 334834"/>
                      <a:gd name="connsiteX1218" fmla="*/ 76428 w 334956"/>
                      <a:gd name="connsiteY1218" fmla="*/ 238563 h 334834"/>
                      <a:gd name="connsiteX1219" fmla="*/ 248755 w 334956"/>
                      <a:gd name="connsiteY1219" fmla="*/ 239297 h 334834"/>
                      <a:gd name="connsiteX1220" fmla="*/ 254584 w 334956"/>
                      <a:gd name="connsiteY1220" fmla="*/ 245707 h 334834"/>
                      <a:gd name="connsiteX1221" fmla="*/ 252774 w 334956"/>
                      <a:gd name="connsiteY1221" fmla="*/ 235601 h 334834"/>
                      <a:gd name="connsiteX1222" fmla="*/ 248755 w 334956"/>
                      <a:gd name="connsiteY1222" fmla="*/ 239297 h 334834"/>
                      <a:gd name="connsiteX1223" fmla="*/ 190814 w 334956"/>
                      <a:gd name="connsiteY1223" fmla="*/ 242916 h 334834"/>
                      <a:gd name="connsiteX1224" fmla="*/ 190567 w 334956"/>
                      <a:gd name="connsiteY1224" fmla="*/ 246612 h 334834"/>
                      <a:gd name="connsiteX1225" fmla="*/ 186128 w 334956"/>
                      <a:gd name="connsiteY1225" fmla="*/ 248583 h 334834"/>
                      <a:gd name="connsiteX1226" fmla="*/ 182756 w 334956"/>
                      <a:gd name="connsiteY1226" fmla="*/ 249079 h 334834"/>
                      <a:gd name="connsiteX1227" fmla="*/ 179556 w 334956"/>
                      <a:gd name="connsiteY1227" fmla="*/ 241354 h 334834"/>
                      <a:gd name="connsiteX1228" fmla="*/ 184404 w 334956"/>
                      <a:gd name="connsiteY1228" fmla="*/ 237487 h 334834"/>
                      <a:gd name="connsiteX1229" fmla="*/ 190814 w 334956"/>
                      <a:gd name="connsiteY1229" fmla="*/ 242916 h 334834"/>
                      <a:gd name="connsiteX1230" fmla="*/ 309553 w 334956"/>
                      <a:gd name="connsiteY1230" fmla="*/ 240535 h 334834"/>
                      <a:gd name="connsiteX1231" fmla="*/ 311696 w 334956"/>
                      <a:gd name="connsiteY1231" fmla="*/ 242592 h 334834"/>
                      <a:gd name="connsiteX1232" fmla="*/ 313172 w 334956"/>
                      <a:gd name="connsiteY1232" fmla="*/ 240287 h 334834"/>
                      <a:gd name="connsiteX1233" fmla="*/ 311115 w 334956"/>
                      <a:gd name="connsiteY1233" fmla="*/ 238887 h 334834"/>
                      <a:gd name="connsiteX1234" fmla="*/ 309553 w 334956"/>
                      <a:gd name="connsiteY1234" fmla="*/ 240535 h 334834"/>
                      <a:gd name="connsiteX1235" fmla="*/ 21536 w 334956"/>
                      <a:gd name="connsiteY1235" fmla="*/ 240611 h 334834"/>
                      <a:gd name="connsiteX1236" fmla="*/ 23012 w 334956"/>
                      <a:gd name="connsiteY1236" fmla="*/ 242506 h 334834"/>
                      <a:gd name="connsiteX1237" fmla="*/ 25070 w 334956"/>
                      <a:gd name="connsiteY1237" fmla="*/ 240944 h 334834"/>
                      <a:gd name="connsiteX1238" fmla="*/ 23184 w 334956"/>
                      <a:gd name="connsiteY1238" fmla="*/ 238973 h 334834"/>
                      <a:gd name="connsiteX1239" fmla="*/ 21536 w 334956"/>
                      <a:gd name="connsiteY1239" fmla="*/ 240611 h 334834"/>
                      <a:gd name="connsiteX1240" fmla="*/ 226314 w 334956"/>
                      <a:gd name="connsiteY1240" fmla="*/ 242087 h 334834"/>
                      <a:gd name="connsiteX1241" fmla="*/ 225981 w 334956"/>
                      <a:gd name="connsiteY1241" fmla="*/ 245383 h 334834"/>
                      <a:gd name="connsiteX1242" fmla="*/ 231324 w 334956"/>
                      <a:gd name="connsiteY1242" fmla="*/ 250803 h 334834"/>
                      <a:gd name="connsiteX1243" fmla="*/ 231905 w 334956"/>
                      <a:gd name="connsiteY1243" fmla="*/ 239459 h 334834"/>
                      <a:gd name="connsiteX1244" fmla="*/ 226314 w 334956"/>
                      <a:gd name="connsiteY1244" fmla="*/ 242087 h 334834"/>
                      <a:gd name="connsiteX1245" fmla="*/ 55150 w 334956"/>
                      <a:gd name="connsiteY1245" fmla="*/ 243897 h 334834"/>
                      <a:gd name="connsiteX1246" fmla="*/ 59255 w 334956"/>
                      <a:gd name="connsiteY1246" fmla="*/ 248993 h 334834"/>
                      <a:gd name="connsiteX1247" fmla="*/ 58274 w 334956"/>
                      <a:gd name="connsiteY1247" fmla="*/ 241268 h 334834"/>
                      <a:gd name="connsiteX1248" fmla="*/ 55150 w 334956"/>
                      <a:gd name="connsiteY1248" fmla="*/ 243897 h 334834"/>
                      <a:gd name="connsiteX1249" fmla="*/ 168545 w 334956"/>
                      <a:gd name="connsiteY1249" fmla="*/ 247021 h 334834"/>
                      <a:gd name="connsiteX1250" fmla="*/ 168707 w 334956"/>
                      <a:gd name="connsiteY1250" fmla="*/ 250803 h 334834"/>
                      <a:gd name="connsiteX1251" fmla="*/ 166821 w 334956"/>
                      <a:gd name="connsiteY1251" fmla="*/ 252527 h 334834"/>
                      <a:gd name="connsiteX1252" fmla="*/ 158687 w 334956"/>
                      <a:gd name="connsiteY1252" fmla="*/ 253755 h 334834"/>
                      <a:gd name="connsiteX1253" fmla="*/ 159020 w 334956"/>
                      <a:gd name="connsiteY1253" fmla="*/ 243078 h 334834"/>
                      <a:gd name="connsiteX1254" fmla="*/ 162639 w 334956"/>
                      <a:gd name="connsiteY1254" fmla="*/ 241764 h 334834"/>
                      <a:gd name="connsiteX1255" fmla="*/ 168545 w 334956"/>
                      <a:gd name="connsiteY1255" fmla="*/ 247021 h 334834"/>
                      <a:gd name="connsiteX1256" fmla="*/ 286140 w 334956"/>
                      <a:gd name="connsiteY1256" fmla="*/ 244316 h 334834"/>
                      <a:gd name="connsiteX1257" fmla="*/ 289512 w 334956"/>
                      <a:gd name="connsiteY1257" fmla="*/ 248336 h 334834"/>
                      <a:gd name="connsiteX1258" fmla="*/ 289017 w 334956"/>
                      <a:gd name="connsiteY1258" fmla="*/ 241935 h 334834"/>
                      <a:gd name="connsiteX1259" fmla="*/ 286140 w 334956"/>
                      <a:gd name="connsiteY1259" fmla="*/ 244316 h 334834"/>
                      <a:gd name="connsiteX1260" fmla="*/ 89240 w 334956"/>
                      <a:gd name="connsiteY1260" fmla="*/ 248088 h 334834"/>
                      <a:gd name="connsiteX1261" fmla="*/ 94507 w 334956"/>
                      <a:gd name="connsiteY1261" fmla="*/ 254746 h 334834"/>
                      <a:gd name="connsiteX1262" fmla="*/ 93440 w 334956"/>
                      <a:gd name="connsiteY1262" fmla="*/ 244307 h 334834"/>
                      <a:gd name="connsiteX1263" fmla="*/ 89240 w 334956"/>
                      <a:gd name="connsiteY1263" fmla="*/ 248088 h 334834"/>
                      <a:gd name="connsiteX1264" fmla="*/ 262966 w 334956"/>
                      <a:gd name="connsiteY1264" fmla="*/ 248421 h 334834"/>
                      <a:gd name="connsiteX1265" fmla="*/ 267653 w 334956"/>
                      <a:gd name="connsiteY1265" fmla="*/ 253679 h 334834"/>
                      <a:gd name="connsiteX1266" fmla="*/ 266262 w 334956"/>
                      <a:gd name="connsiteY1266" fmla="*/ 245459 h 334834"/>
                      <a:gd name="connsiteX1267" fmla="*/ 262966 w 334956"/>
                      <a:gd name="connsiteY1267" fmla="*/ 248421 h 334834"/>
                      <a:gd name="connsiteX1268" fmla="*/ 34357 w 334956"/>
                      <a:gd name="connsiteY1268" fmla="*/ 248745 h 334834"/>
                      <a:gd name="connsiteX1269" fmla="*/ 36824 w 334956"/>
                      <a:gd name="connsiteY1269" fmla="*/ 251946 h 334834"/>
                      <a:gd name="connsiteX1270" fmla="*/ 36576 w 334956"/>
                      <a:gd name="connsiteY1270" fmla="*/ 247174 h 334834"/>
                      <a:gd name="connsiteX1271" fmla="*/ 34357 w 334956"/>
                      <a:gd name="connsiteY1271" fmla="*/ 248745 h 334834"/>
                      <a:gd name="connsiteX1272" fmla="*/ 240125 w 334956"/>
                      <a:gd name="connsiteY1272" fmla="*/ 252527 h 334834"/>
                      <a:gd name="connsiteX1273" fmla="*/ 245383 w 334956"/>
                      <a:gd name="connsiteY1273" fmla="*/ 258851 h 334834"/>
                      <a:gd name="connsiteX1274" fmla="*/ 244069 w 334956"/>
                      <a:gd name="connsiteY1274" fmla="*/ 249079 h 334834"/>
                      <a:gd name="connsiteX1275" fmla="*/ 240125 w 334956"/>
                      <a:gd name="connsiteY1275" fmla="*/ 252527 h 334834"/>
                      <a:gd name="connsiteX1276" fmla="*/ 68046 w 334956"/>
                      <a:gd name="connsiteY1276" fmla="*/ 253022 h 334834"/>
                      <a:gd name="connsiteX1277" fmla="*/ 72809 w 334956"/>
                      <a:gd name="connsiteY1277" fmla="*/ 258118 h 334834"/>
                      <a:gd name="connsiteX1278" fmla="*/ 71494 w 334956"/>
                      <a:gd name="connsiteY1278" fmla="*/ 249907 h 334834"/>
                      <a:gd name="connsiteX1279" fmla="*/ 68046 w 334956"/>
                      <a:gd name="connsiteY1279" fmla="*/ 253022 h 334834"/>
                      <a:gd name="connsiteX1280" fmla="*/ 303066 w 334956"/>
                      <a:gd name="connsiteY1280" fmla="*/ 255899 h 334834"/>
                      <a:gd name="connsiteX1281" fmla="*/ 304390 w 334956"/>
                      <a:gd name="connsiteY1281" fmla="*/ 253508 h 334834"/>
                      <a:gd name="connsiteX1282" fmla="*/ 302247 w 334956"/>
                      <a:gd name="connsiteY1282" fmla="*/ 252117 h 334834"/>
                      <a:gd name="connsiteX1283" fmla="*/ 303066 w 334956"/>
                      <a:gd name="connsiteY1283" fmla="*/ 255899 h 334834"/>
                      <a:gd name="connsiteX1284" fmla="*/ 217446 w 334956"/>
                      <a:gd name="connsiteY1284" fmla="*/ 256880 h 334834"/>
                      <a:gd name="connsiteX1285" fmla="*/ 223276 w 334956"/>
                      <a:gd name="connsiteY1285" fmla="*/ 263785 h 334834"/>
                      <a:gd name="connsiteX1286" fmla="*/ 222209 w 334956"/>
                      <a:gd name="connsiteY1286" fmla="*/ 252936 h 334834"/>
                      <a:gd name="connsiteX1287" fmla="*/ 217446 w 334956"/>
                      <a:gd name="connsiteY1287" fmla="*/ 256880 h 334834"/>
                      <a:gd name="connsiteX1288" fmla="*/ 102480 w 334956"/>
                      <a:gd name="connsiteY1288" fmla="*/ 257127 h 334834"/>
                      <a:gd name="connsiteX1289" fmla="*/ 108633 w 334956"/>
                      <a:gd name="connsiteY1289" fmla="*/ 263538 h 334834"/>
                      <a:gd name="connsiteX1290" fmla="*/ 106832 w 334956"/>
                      <a:gd name="connsiteY1290" fmla="*/ 253108 h 334834"/>
                      <a:gd name="connsiteX1291" fmla="*/ 102480 w 334956"/>
                      <a:gd name="connsiteY1291" fmla="*/ 257127 h 334834"/>
                      <a:gd name="connsiteX1292" fmla="*/ 277263 w 334956"/>
                      <a:gd name="connsiteY1292" fmla="*/ 257785 h 334834"/>
                      <a:gd name="connsiteX1293" fmla="*/ 281207 w 334956"/>
                      <a:gd name="connsiteY1293" fmla="*/ 261480 h 334834"/>
                      <a:gd name="connsiteX1294" fmla="*/ 279730 w 334956"/>
                      <a:gd name="connsiteY1294" fmla="*/ 255327 h 334834"/>
                      <a:gd name="connsiteX1295" fmla="*/ 277263 w 334956"/>
                      <a:gd name="connsiteY1295" fmla="*/ 257785 h 334834"/>
                      <a:gd name="connsiteX1296" fmla="*/ 50711 w 334956"/>
                      <a:gd name="connsiteY1296" fmla="*/ 261242 h 334834"/>
                      <a:gd name="connsiteX1297" fmla="*/ 49397 w 334956"/>
                      <a:gd name="connsiteY1297" fmla="*/ 255651 h 334834"/>
                      <a:gd name="connsiteX1298" fmla="*/ 50711 w 334956"/>
                      <a:gd name="connsiteY1298" fmla="*/ 261242 h 334834"/>
                      <a:gd name="connsiteX1299" fmla="*/ 138141 w 334956"/>
                      <a:gd name="connsiteY1299" fmla="*/ 259347 h 334834"/>
                      <a:gd name="connsiteX1300" fmla="*/ 142580 w 334956"/>
                      <a:gd name="connsiteY1300" fmla="*/ 268548 h 334834"/>
                      <a:gd name="connsiteX1301" fmla="*/ 143808 w 334956"/>
                      <a:gd name="connsiteY1301" fmla="*/ 257042 h 334834"/>
                      <a:gd name="connsiteX1302" fmla="*/ 138141 w 334956"/>
                      <a:gd name="connsiteY1302" fmla="*/ 259347 h 334834"/>
                      <a:gd name="connsiteX1303" fmla="*/ 195834 w 334956"/>
                      <a:gd name="connsiteY1303" fmla="*/ 259271 h 334834"/>
                      <a:gd name="connsiteX1304" fmla="*/ 199530 w 334956"/>
                      <a:gd name="connsiteY1304" fmla="*/ 268395 h 334834"/>
                      <a:gd name="connsiteX1305" fmla="*/ 200682 w 334956"/>
                      <a:gd name="connsiteY1305" fmla="*/ 257213 h 334834"/>
                      <a:gd name="connsiteX1306" fmla="*/ 195834 w 334956"/>
                      <a:gd name="connsiteY1306" fmla="*/ 259271 h 334834"/>
                      <a:gd name="connsiteX1307" fmla="*/ 81191 w 334956"/>
                      <a:gd name="connsiteY1307" fmla="*/ 261899 h 334834"/>
                      <a:gd name="connsiteX1308" fmla="*/ 86363 w 334956"/>
                      <a:gd name="connsiteY1308" fmla="*/ 267072 h 334834"/>
                      <a:gd name="connsiteX1309" fmla="*/ 84811 w 334956"/>
                      <a:gd name="connsiteY1309" fmla="*/ 258528 h 334834"/>
                      <a:gd name="connsiteX1310" fmla="*/ 81191 w 334956"/>
                      <a:gd name="connsiteY1310" fmla="*/ 261899 h 334834"/>
                      <a:gd name="connsiteX1311" fmla="*/ 254251 w 334956"/>
                      <a:gd name="connsiteY1311" fmla="*/ 261899 h 334834"/>
                      <a:gd name="connsiteX1312" fmla="*/ 258442 w 334956"/>
                      <a:gd name="connsiteY1312" fmla="*/ 266833 h 334834"/>
                      <a:gd name="connsiteX1313" fmla="*/ 257461 w 334956"/>
                      <a:gd name="connsiteY1313" fmla="*/ 258861 h 334834"/>
                      <a:gd name="connsiteX1314" fmla="*/ 254251 w 334956"/>
                      <a:gd name="connsiteY1314" fmla="*/ 261899 h 334834"/>
                      <a:gd name="connsiteX1315" fmla="*/ 173803 w 334956"/>
                      <a:gd name="connsiteY1315" fmla="*/ 263538 h 334834"/>
                      <a:gd name="connsiteX1316" fmla="*/ 177746 w 334956"/>
                      <a:gd name="connsiteY1316" fmla="*/ 272901 h 334834"/>
                      <a:gd name="connsiteX1317" fmla="*/ 178975 w 334956"/>
                      <a:gd name="connsiteY1317" fmla="*/ 261566 h 334834"/>
                      <a:gd name="connsiteX1318" fmla="*/ 173803 w 334956"/>
                      <a:gd name="connsiteY1318" fmla="*/ 263538 h 334834"/>
                      <a:gd name="connsiteX1319" fmla="*/ 115957 w 334956"/>
                      <a:gd name="connsiteY1319" fmla="*/ 265509 h 334834"/>
                      <a:gd name="connsiteX1320" fmla="*/ 121377 w 334956"/>
                      <a:gd name="connsiteY1320" fmla="*/ 272415 h 334834"/>
                      <a:gd name="connsiteX1321" fmla="*/ 120387 w 334956"/>
                      <a:gd name="connsiteY1321" fmla="*/ 261985 h 334834"/>
                      <a:gd name="connsiteX1322" fmla="*/ 115957 w 334956"/>
                      <a:gd name="connsiteY1322" fmla="*/ 265509 h 334834"/>
                      <a:gd name="connsiteX1323" fmla="*/ 27041 w 334956"/>
                      <a:gd name="connsiteY1323" fmla="*/ 262719 h 334834"/>
                      <a:gd name="connsiteX1324" fmla="*/ 27289 w 334956"/>
                      <a:gd name="connsiteY1324" fmla="*/ 263623 h 334834"/>
                      <a:gd name="connsiteX1325" fmla="*/ 27946 w 334956"/>
                      <a:gd name="connsiteY1325" fmla="*/ 263709 h 334834"/>
                      <a:gd name="connsiteX1326" fmla="*/ 28356 w 334956"/>
                      <a:gd name="connsiteY1326" fmla="*/ 262804 h 334834"/>
                      <a:gd name="connsiteX1327" fmla="*/ 27365 w 334956"/>
                      <a:gd name="connsiteY1327" fmla="*/ 262309 h 334834"/>
                      <a:gd name="connsiteX1328" fmla="*/ 27041 w 334956"/>
                      <a:gd name="connsiteY1328" fmla="*/ 262719 h 334834"/>
                      <a:gd name="connsiteX1329" fmla="*/ 231581 w 334956"/>
                      <a:gd name="connsiteY1329" fmla="*/ 265757 h 334834"/>
                      <a:gd name="connsiteX1330" fmla="*/ 236753 w 334956"/>
                      <a:gd name="connsiteY1330" fmla="*/ 271843 h 334834"/>
                      <a:gd name="connsiteX1331" fmla="*/ 235525 w 334956"/>
                      <a:gd name="connsiteY1331" fmla="*/ 262633 h 334834"/>
                      <a:gd name="connsiteX1332" fmla="*/ 231581 w 334956"/>
                      <a:gd name="connsiteY1332" fmla="*/ 265757 h 334834"/>
                      <a:gd name="connsiteX1333" fmla="*/ 60245 w 334956"/>
                      <a:gd name="connsiteY1333" fmla="*/ 266252 h 334834"/>
                      <a:gd name="connsiteX1334" fmla="*/ 63693 w 334956"/>
                      <a:gd name="connsiteY1334" fmla="*/ 270443 h 334834"/>
                      <a:gd name="connsiteX1335" fmla="*/ 62703 w 334956"/>
                      <a:gd name="connsiteY1335" fmla="*/ 264195 h 334834"/>
                      <a:gd name="connsiteX1336" fmla="*/ 60245 w 334956"/>
                      <a:gd name="connsiteY1336" fmla="*/ 266252 h 334834"/>
                      <a:gd name="connsiteX1337" fmla="*/ 291808 w 334956"/>
                      <a:gd name="connsiteY1337" fmla="*/ 267157 h 334834"/>
                      <a:gd name="connsiteX1338" fmla="*/ 293284 w 334956"/>
                      <a:gd name="connsiteY1338" fmla="*/ 269205 h 334834"/>
                      <a:gd name="connsiteX1339" fmla="*/ 295589 w 334956"/>
                      <a:gd name="connsiteY1339" fmla="*/ 267481 h 334834"/>
                      <a:gd name="connsiteX1340" fmla="*/ 293370 w 334956"/>
                      <a:gd name="connsiteY1340" fmla="*/ 265509 h 334834"/>
                      <a:gd name="connsiteX1341" fmla="*/ 291808 w 334956"/>
                      <a:gd name="connsiteY1341" fmla="*/ 267157 h 334834"/>
                      <a:gd name="connsiteX1342" fmla="*/ 151124 w 334956"/>
                      <a:gd name="connsiteY1342" fmla="*/ 269786 h 334834"/>
                      <a:gd name="connsiteX1343" fmla="*/ 156953 w 334956"/>
                      <a:gd name="connsiteY1343" fmla="*/ 277101 h 334834"/>
                      <a:gd name="connsiteX1344" fmla="*/ 156048 w 334956"/>
                      <a:gd name="connsiteY1344" fmla="*/ 266176 h 334834"/>
                      <a:gd name="connsiteX1345" fmla="*/ 151124 w 334956"/>
                      <a:gd name="connsiteY1345" fmla="*/ 269786 h 334834"/>
                      <a:gd name="connsiteX1346" fmla="*/ 209064 w 334956"/>
                      <a:gd name="connsiteY1346" fmla="*/ 270196 h 334834"/>
                      <a:gd name="connsiteX1347" fmla="*/ 214074 w 334956"/>
                      <a:gd name="connsiteY1347" fmla="*/ 276682 h 334834"/>
                      <a:gd name="connsiteX1348" fmla="*/ 213084 w 334956"/>
                      <a:gd name="connsiteY1348" fmla="*/ 266662 h 334834"/>
                      <a:gd name="connsiteX1349" fmla="*/ 209064 w 334956"/>
                      <a:gd name="connsiteY1349" fmla="*/ 270196 h 334834"/>
                      <a:gd name="connsiteX1350" fmla="*/ 94421 w 334956"/>
                      <a:gd name="connsiteY1350" fmla="*/ 270605 h 334834"/>
                      <a:gd name="connsiteX1351" fmla="*/ 99765 w 334956"/>
                      <a:gd name="connsiteY1351" fmla="*/ 275949 h 334834"/>
                      <a:gd name="connsiteX1352" fmla="*/ 98203 w 334956"/>
                      <a:gd name="connsiteY1352" fmla="*/ 267319 h 334834"/>
                      <a:gd name="connsiteX1353" fmla="*/ 94421 w 334956"/>
                      <a:gd name="connsiteY1353" fmla="*/ 270605 h 334834"/>
                      <a:gd name="connsiteX1354" fmla="*/ 268634 w 334956"/>
                      <a:gd name="connsiteY1354" fmla="*/ 270853 h 334834"/>
                      <a:gd name="connsiteX1355" fmla="*/ 271844 w 334956"/>
                      <a:gd name="connsiteY1355" fmla="*/ 274711 h 334834"/>
                      <a:gd name="connsiteX1356" fmla="*/ 271024 w 334956"/>
                      <a:gd name="connsiteY1356" fmla="*/ 268796 h 334834"/>
                      <a:gd name="connsiteX1357" fmla="*/ 268634 w 334956"/>
                      <a:gd name="connsiteY1357" fmla="*/ 270853 h 334834"/>
                      <a:gd name="connsiteX1358" fmla="*/ 39453 w 334956"/>
                      <a:gd name="connsiteY1358" fmla="*/ 271920 h 334834"/>
                      <a:gd name="connsiteX1359" fmla="*/ 40853 w 334956"/>
                      <a:gd name="connsiteY1359" fmla="*/ 273310 h 334834"/>
                      <a:gd name="connsiteX1360" fmla="*/ 42577 w 334956"/>
                      <a:gd name="connsiteY1360" fmla="*/ 271663 h 334834"/>
                      <a:gd name="connsiteX1361" fmla="*/ 40681 w 334956"/>
                      <a:gd name="connsiteY1361" fmla="*/ 270262 h 334834"/>
                      <a:gd name="connsiteX1362" fmla="*/ 39453 w 334956"/>
                      <a:gd name="connsiteY1362" fmla="*/ 271920 h 334834"/>
                      <a:gd name="connsiteX1363" fmla="*/ 186709 w 334956"/>
                      <a:gd name="connsiteY1363" fmla="*/ 274711 h 334834"/>
                      <a:gd name="connsiteX1364" fmla="*/ 192872 w 334956"/>
                      <a:gd name="connsiteY1364" fmla="*/ 281121 h 334834"/>
                      <a:gd name="connsiteX1365" fmla="*/ 190814 w 334956"/>
                      <a:gd name="connsiteY1365" fmla="*/ 270929 h 334834"/>
                      <a:gd name="connsiteX1366" fmla="*/ 186709 w 334956"/>
                      <a:gd name="connsiteY1366" fmla="*/ 274711 h 334834"/>
                      <a:gd name="connsiteX1367" fmla="*/ 129264 w 334956"/>
                      <a:gd name="connsiteY1367" fmla="*/ 274882 h 334834"/>
                      <a:gd name="connsiteX1368" fmla="*/ 134445 w 334956"/>
                      <a:gd name="connsiteY1368" fmla="*/ 281130 h 334834"/>
                      <a:gd name="connsiteX1369" fmla="*/ 133378 w 334956"/>
                      <a:gd name="connsiteY1369" fmla="*/ 271110 h 334834"/>
                      <a:gd name="connsiteX1370" fmla="*/ 129264 w 334956"/>
                      <a:gd name="connsiteY1370" fmla="*/ 274882 h 334834"/>
                      <a:gd name="connsiteX1371" fmla="*/ 245707 w 334956"/>
                      <a:gd name="connsiteY1371" fmla="*/ 275130 h 334834"/>
                      <a:gd name="connsiteX1372" fmla="*/ 249898 w 334956"/>
                      <a:gd name="connsiteY1372" fmla="*/ 279816 h 334834"/>
                      <a:gd name="connsiteX1373" fmla="*/ 248831 w 334956"/>
                      <a:gd name="connsiteY1373" fmla="*/ 272415 h 334834"/>
                      <a:gd name="connsiteX1374" fmla="*/ 245707 w 334956"/>
                      <a:gd name="connsiteY1374" fmla="*/ 275130 h 334834"/>
                      <a:gd name="connsiteX1375" fmla="*/ 73304 w 334956"/>
                      <a:gd name="connsiteY1375" fmla="*/ 275206 h 334834"/>
                      <a:gd name="connsiteX1376" fmla="*/ 77333 w 334956"/>
                      <a:gd name="connsiteY1376" fmla="*/ 279397 h 334834"/>
                      <a:gd name="connsiteX1377" fmla="*/ 75771 w 334956"/>
                      <a:gd name="connsiteY1377" fmla="*/ 272901 h 334834"/>
                      <a:gd name="connsiteX1378" fmla="*/ 73304 w 334956"/>
                      <a:gd name="connsiteY1378" fmla="*/ 275206 h 334834"/>
                      <a:gd name="connsiteX1379" fmla="*/ 164678 w 334956"/>
                      <a:gd name="connsiteY1379" fmla="*/ 279149 h 334834"/>
                      <a:gd name="connsiteX1380" fmla="*/ 169936 w 334956"/>
                      <a:gd name="connsiteY1380" fmla="*/ 285559 h 334834"/>
                      <a:gd name="connsiteX1381" fmla="*/ 169193 w 334956"/>
                      <a:gd name="connsiteY1381" fmla="*/ 275444 h 334834"/>
                      <a:gd name="connsiteX1382" fmla="*/ 164678 w 334956"/>
                      <a:gd name="connsiteY1382" fmla="*/ 279149 h 334834"/>
                      <a:gd name="connsiteX1383" fmla="*/ 107823 w 334956"/>
                      <a:gd name="connsiteY1383" fmla="*/ 279397 h 334834"/>
                      <a:gd name="connsiteX1384" fmla="*/ 112995 w 334956"/>
                      <a:gd name="connsiteY1384" fmla="*/ 284740 h 334834"/>
                      <a:gd name="connsiteX1385" fmla="*/ 111271 w 334956"/>
                      <a:gd name="connsiteY1385" fmla="*/ 276273 h 334834"/>
                      <a:gd name="connsiteX1386" fmla="*/ 107823 w 334956"/>
                      <a:gd name="connsiteY1386" fmla="*/ 279397 h 334834"/>
                      <a:gd name="connsiteX1387" fmla="*/ 223114 w 334956"/>
                      <a:gd name="connsiteY1387" fmla="*/ 279397 h 334834"/>
                      <a:gd name="connsiteX1388" fmla="*/ 227714 w 334956"/>
                      <a:gd name="connsiteY1388" fmla="*/ 284740 h 334834"/>
                      <a:gd name="connsiteX1389" fmla="*/ 226323 w 334956"/>
                      <a:gd name="connsiteY1389" fmla="*/ 276358 h 334834"/>
                      <a:gd name="connsiteX1390" fmla="*/ 223114 w 334956"/>
                      <a:gd name="connsiteY1390" fmla="*/ 279397 h 334834"/>
                      <a:gd name="connsiteX1391" fmla="*/ 53997 w 334956"/>
                      <a:gd name="connsiteY1391" fmla="*/ 282521 h 334834"/>
                      <a:gd name="connsiteX1392" fmla="*/ 56217 w 334956"/>
                      <a:gd name="connsiteY1392" fmla="*/ 280873 h 334834"/>
                      <a:gd name="connsiteX1393" fmla="*/ 53912 w 334956"/>
                      <a:gd name="connsiteY1393" fmla="*/ 278740 h 334834"/>
                      <a:gd name="connsiteX1394" fmla="*/ 53997 w 334956"/>
                      <a:gd name="connsiteY1394" fmla="*/ 282521 h 334834"/>
                      <a:gd name="connsiteX1395" fmla="*/ 283188 w 334956"/>
                      <a:gd name="connsiteY1395" fmla="*/ 280464 h 334834"/>
                      <a:gd name="connsiteX1396" fmla="*/ 284997 w 334956"/>
                      <a:gd name="connsiteY1396" fmla="*/ 282359 h 334834"/>
                      <a:gd name="connsiteX1397" fmla="*/ 286474 w 334956"/>
                      <a:gd name="connsiteY1397" fmla="*/ 280959 h 334834"/>
                      <a:gd name="connsiteX1398" fmla="*/ 284588 w 334956"/>
                      <a:gd name="connsiteY1398" fmla="*/ 278987 h 334834"/>
                      <a:gd name="connsiteX1399" fmla="*/ 283188 w 334956"/>
                      <a:gd name="connsiteY1399" fmla="*/ 280464 h 334834"/>
                      <a:gd name="connsiteX1400" fmla="*/ 142827 w 334956"/>
                      <a:gd name="connsiteY1400" fmla="*/ 283921 h 334834"/>
                      <a:gd name="connsiteX1401" fmla="*/ 148419 w 334956"/>
                      <a:gd name="connsiteY1401" fmla="*/ 289589 h 334834"/>
                      <a:gd name="connsiteX1402" fmla="*/ 146780 w 334956"/>
                      <a:gd name="connsiteY1402" fmla="*/ 280216 h 334834"/>
                      <a:gd name="connsiteX1403" fmla="*/ 142827 w 334956"/>
                      <a:gd name="connsiteY1403" fmla="*/ 283921 h 334834"/>
                      <a:gd name="connsiteX1404" fmla="*/ 200682 w 334956"/>
                      <a:gd name="connsiteY1404" fmla="*/ 283750 h 334834"/>
                      <a:gd name="connsiteX1405" fmla="*/ 205769 w 334956"/>
                      <a:gd name="connsiteY1405" fmla="*/ 289427 h 334834"/>
                      <a:gd name="connsiteX1406" fmla="*/ 204454 w 334956"/>
                      <a:gd name="connsiteY1406" fmla="*/ 280473 h 334834"/>
                      <a:gd name="connsiteX1407" fmla="*/ 200682 w 334956"/>
                      <a:gd name="connsiteY1407" fmla="*/ 283750 h 334834"/>
                      <a:gd name="connsiteX1408" fmla="*/ 86449 w 334956"/>
                      <a:gd name="connsiteY1408" fmla="*/ 284493 h 334834"/>
                      <a:gd name="connsiteX1409" fmla="*/ 90811 w 334956"/>
                      <a:gd name="connsiteY1409" fmla="*/ 288265 h 334834"/>
                      <a:gd name="connsiteX1410" fmla="*/ 89163 w 334956"/>
                      <a:gd name="connsiteY1410" fmla="*/ 281692 h 334834"/>
                      <a:gd name="connsiteX1411" fmla="*/ 86449 w 334956"/>
                      <a:gd name="connsiteY1411" fmla="*/ 284493 h 334834"/>
                      <a:gd name="connsiteX1412" fmla="*/ 260004 w 334956"/>
                      <a:gd name="connsiteY1412" fmla="*/ 284493 h 334834"/>
                      <a:gd name="connsiteX1413" fmla="*/ 263204 w 334956"/>
                      <a:gd name="connsiteY1413" fmla="*/ 287693 h 334834"/>
                      <a:gd name="connsiteX1414" fmla="*/ 261976 w 334956"/>
                      <a:gd name="connsiteY1414" fmla="*/ 282435 h 334834"/>
                      <a:gd name="connsiteX1415" fmla="*/ 260004 w 334956"/>
                      <a:gd name="connsiteY1415" fmla="*/ 284493 h 334834"/>
                      <a:gd name="connsiteX1416" fmla="*/ 178489 w 334956"/>
                      <a:gd name="connsiteY1416" fmla="*/ 288198 h 334834"/>
                      <a:gd name="connsiteX1417" fmla="*/ 183585 w 334956"/>
                      <a:gd name="connsiteY1417" fmla="*/ 293865 h 334834"/>
                      <a:gd name="connsiteX1418" fmla="*/ 182185 w 334956"/>
                      <a:gd name="connsiteY1418" fmla="*/ 284902 h 334834"/>
                      <a:gd name="connsiteX1419" fmla="*/ 178489 w 334956"/>
                      <a:gd name="connsiteY1419" fmla="*/ 288198 h 334834"/>
                      <a:gd name="connsiteX1420" fmla="*/ 121291 w 334956"/>
                      <a:gd name="connsiteY1420" fmla="*/ 288274 h 334834"/>
                      <a:gd name="connsiteX1421" fmla="*/ 125816 w 334956"/>
                      <a:gd name="connsiteY1421" fmla="*/ 293532 h 334834"/>
                      <a:gd name="connsiteX1422" fmla="*/ 124749 w 334956"/>
                      <a:gd name="connsiteY1422" fmla="*/ 285321 h 334834"/>
                      <a:gd name="connsiteX1423" fmla="*/ 121291 w 334956"/>
                      <a:gd name="connsiteY1423" fmla="*/ 288274 h 334834"/>
                      <a:gd name="connsiteX1424" fmla="*/ 237249 w 334956"/>
                      <a:gd name="connsiteY1424" fmla="*/ 288608 h 334834"/>
                      <a:gd name="connsiteX1425" fmla="*/ 241192 w 334956"/>
                      <a:gd name="connsiteY1425" fmla="*/ 292722 h 334834"/>
                      <a:gd name="connsiteX1426" fmla="*/ 239878 w 334956"/>
                      <a:gd name="connsiteY1426" fmla="*/ 286150 h 334834"/>
                      <a:gd name="connsiteX1427" fmla="*/ 237249 w 334956"/>
                      <a:gd name="connsiteY1427" fmla="*/ 288608 h 334834"/>
                      <a:gd name="connsiteX1428" fmla="*/ 65494 w 334956"/>
                      <a:gd name="connsiteY1428" fmla="*/ 289179 h 334834"/>
                      <a:gd name="connsiteX1429" fmla="*/ 67885 w 334956"/>
                      <a:gd name="connsiteY1429" fmla="*/ 291646 h 334834"/>
                      <a:gd name="connsiteX1430" fmla="*/ 67389 w 334956"/>
                      <a:gd name="connsiteY1430" fmla="*/ 287369 h 334834"/>
                      <a:gd name="connsiteX1431" fmla="*/ 65494 w 334956"/>
                      <a:gd name="connsiteY1431" fmla="*/ 289179 h 334834"/>
                      <a:gd name="connsiteX1432" fmla="*/ 156543 w 334956"/>
                      <a:gd name="connsiteY1432" fmla="*/ 292713 h 334834"/>
                      <a:gd name="connsiteX1433" fmla="*/ 161563 w 334956"/>
                      <a:gd name="connsiteY1433" fmla="*/ 298056 h 334834"/>
                      <a:gd name="connsiteX1434" fmla="*/ 160572 w 334956"/>
                      <a:gd name="connsiteY1434" fmla="*/ 289512 h 334834"/>
                      <a:gd name="connsiteX1435" fmla="*/ 156543 w 334956"/>
                      <a:gd name="connsiteY1435" fmla="*/ 292713 h 334834"/>
                      <a:gd name="connsiteX1436" fmla="*/ 214732 w 334956"/>
                      <a:gd name="connsiteY1436" fmla="*/ 292875 h 334834"/>
                      <a:gd name="connsiteX1437" fmla="*/ 219247 w 334956"/>
                      <a:gd name="connsiteY1437" fmla="*/ 297475 h 334834"/>
                      <a:gd name="connsiteX1438" fmla="*/ 217522 w 334956"/>
                      <a:gd name="connsiteY1438" fmla="*/ 290160 h 334834"/>
                      <a:gd name="connsiteX1439" fmla="*/ 214732 w 334956"/>
                      <a:gd name="connsiteY1439" fmla="*/ 292875 h 334834"/>
                      <a:gd name="connsiteX1440" fmla="*/ 99851 w 334956"/>
                      <a:gd name="connsiteY1440" fmla="*/ 293122 h 334834"/>
                      <a:gd name="connsiteX1441" fmla="*/ 103794 w 334956"/>
                      <a:gd name="connsiteY1441" fmla="*/ 297142 h 334834"/>
                      <a:gd name="connsiteX1442" fmla="*/ 102641 w 334956"/>
                      <a:gd name="connsiteY1442" fmla="*/ 290570 h 334834"/>
                      <a:gd name="connsiteX1443" fmla="*/ 99851 w 334956"/>
                      <a:gd name="connsiteY1443" fmla="*/ 293122 h 334834"/>
                      <a:gd name="connsiteX1444" fmla="*/ 274720 w 334956"/>
                      <a:gd name="connsiteY1444" fmla="*/ 294027 h 334834"/>
                      <a:gd name="connsiteX1445" fmla="*/ 275701 w 334956"/>
                      <a:gd name="connsiteY1445" fmla="*/ 295094 h 334834"/>
                      <a:gd name="connsiteX1446" fmla="*/ 276282 w 334956"/>
                      <a:gd name="connsiteY1446" fmla="*/ 295170 h 334834"/>
                      <a:gd name="connsiteX1447" fmla="*/ 277101 w 334956"/>
                      <a:gd name="connsiteY1447" fmla="*/ 294265 h 334834"/>
                      <a:gd name="connsiteX1448" fmla="*/ 276358 w 334956"/>
                      <a:gd name="connsiteY1448" fmla="*/ 292789 h 334834"/>
                      <a:gd name="connsiteX1449" fmla="*/ 275777 w 334956"/>
                      <a:gd name="connsiteY1449" fmla="*/ 292713 h 334834"/>
                      <a:gd name="connsiteX1450" fmla="*/ 274720 w 334956"/>
                      <a:gd name="connsiteY1450" fmla="*/ 294027 h 334834"/>
                      <a:gd name="connsiteX1451" fmla="*/ 192462 w 334956"/>
                      <a:gd name="connsiteY1451" fmla="*/ 297237 h 334834"/>
                      <a:gd name="connsiteX1452" fmla="*/ 196901 w 334956"/>
                      <a:gd name="connsiteY1452" fmla="*/ 302085 h 334834"/>
                      <a:gd name="connsiteX1453" fmla="*/ 195834 w 334956"/>
                      <a:gd name="connsiteY1453" fmla="*/ 294446 h 334834"/>
                      <a:gd name="connsiteX1454" fmla="*/ 192462 w 334956"/>
                      <a:gd name="connsiteY1454" fmla="*/ 297237 h 334834"/>
                      <a:gd name="connsiteX1455" fmla="*/ 134855 w 334956"/>
                      <a:gd name="connsiteY1455" fmla="*/ 297313 h 334834"/>
                      <a:gd name="connsiteX1456" fmla="*/ 138884 w 334956"/>
                      <a:gd name="connsiteY1456" fmla="*/ 302076 h 334834"/>
                      <a:gd name="connsiteX1457" fmla="*/ 137893 w 334956"/>
                      <a:gd name="connsiteY1457" fmla="*/ 294513 h 334834"/>
                      <a:gd name="connsiteX1458" fmla="*/ 134855 w 334956"/>
                      <a:gd name="connsiteY1458" fmla="*/ 297313 h 334834"/>
                      <a:gd name="connsiteX1459" fmla="*/ 78895 w 334956"/>
                      <a:gd name="connsiteY1459" fmla="*/ 297561 h 334834"/>
                      <a:gd name="connsiteX1460" fmla="*/ 81448 w 334956"/>
                      <a:gd name="connsiteY1460" fmla="*/ 300514 h 334834"/>
                      <a:gd name="connsiteX1461" fmla="*/ 80620 w 334956"/>
                      <a:gd name="connsiteY1461" fmla="*/ 296161 h 334834"/>
                      <a:gd name="connsiteX1462" fmla="*/ 78895 w 334956"/>
                      <a:gd name="connsiteY1462" fmla="*/ 297561 h 334834"/>
                      <a:gd name="connsiteX1463" fmla="*/ 251622 w 334956"/>
                      <a:gd name="connsiteY1463" fmla="*/ 297809 h 334834"/>
                      <a:gd name="connsiteX1464" fmla="*/ 254251 w 334956"/>
                      <a:gd name="connsiteY1464" fmla="*/ 300600 h 334834"/>
                      <a:gd name="connsiteX1465" fmla="*/ 253346 w 334956"/>
                      <a:gd name="connsiteY1465" fmla="*/ 296170 h 334834"/>
                      <a:gd name="connsiteX1466" fmla="*/ 251622 w 334956"/>
                      <a:gd name="connsiteY1466" fmla="*/ 297809 h 334834"/>
                      <a:gd name="connsiteX1467" fmla="*/ 170355 w 334956"/>
                      <a:gd name="connsiteY1467" fmla="*/ 301838 h 334834"/>
                      <a:gd name="connsiteX1468" fmla="*/ 174717 w 334956"/>
                      <a:gd name="connsiteY1468" fmla="*/ 306438 h 334834"/>
                      <a:gd name="connsiteX1469" fmla="*/ 173736 w 334956"/>
                      <a:gd name="connsiteY1469" fmla="*/ 298961 h 334834"/>
                      <a:gd name="connsiteX1470" fmla="*/ 170355 w 334956"/>
                      <a:gd name="connsiteY1470" fmla="*/ 301838 h 334834"/>
                      <a:gd name="connsiteX1471" fmla="*/ 113329 w 334956"/>
                      <a:gd name="connsiteY1471" fmla="*/ 302162 h 334834"/>
                      <a:gd name="connsiteX1472" fmla="*/ 117024 w 334956"/>
                      <a:gd name="connsiteY1472" fmla="*/ 305772 h 334834"/>
                      <a:gd name="connsiteX1473" fmla="*/ 116205 w 334956"/>
                      <a:gd name="connsiteY1473" fmla="*/ 299609 h 334834"/>
                      <a:gd name="connsiteX1474" fmla="*/ 113329 w 334956"/>
                      <a:gd name="connsiteY1474" fmla="*/ 302162 h 334834"/>
                      <a:gd name="connsiteX1475" fmla="*/ 228943 w 334956"/>
                      <a:gd name="connsiteY1475" fmla="*/ 301914 h 334834"/>
                      <a:gd name="connsiteX1476" fmla="*/ 232143 w 334956"/>
                      <a:gd name="connsiteY1476" fmla="*/ 305533 h 334834"/>
                      <a:gd name="connsiteX1477" fmla="*/ 230991 w 334956"/>
                      <a:gd name="connsiteY1477" fmla="*/ 300028 h 334834"/>
                      <a:gd name="connsiteX1478" fmla="*/ 228943 w 334956"/>
                      <a:gd name="connsiteY1478" fmla="*/ 301914 h 334834"/>
                      <a:gd name="connsiteX1479" fmla="*/ 148580 w 334956"/>
                      <a:gd name="connsiteY1479" fmla="*/ 306267 h 334834"/>
                      <a:gd name="connsiteX1480" fmla="*/ 152352 w 334956"/>
                      <a:gd name="connsiteY1480" fmla="*/ 310534 h 334834"/>
                      <a:gd name="connsiteX1481" fmla="*/ 151200 w 334956"/>
                      <a:gd name="connsiteY1481" fmla="*/ 303800 h 334834"/>
                      <a:gd name="connsiteX1482" fmla="*/ 148580 w 334956"/>
                      <a:gd name="connsiteY1482" fmla="*/ 306267 h 334834"/>
                      <a:gd name="connsiteX1483" fmla="*/ 206512 w 334956"/>
                      <a:gd name="connsiteY1483" fmla="*/ 306438 h 334834"/>
                      <a:gd name="connsiteX1484" fmla="*/ 209883 w 334956"/>
                      <a:gd name="connsiteY1484" fmla="*/ 310220 h 334834"/>
                      <a:gd name="connsiteX1485" fmla="*/ 209140 w 334956"/>
                      <a:gd name="connsiteY1485" fmla="*/ 304143 h 334834"/>
                      <a:gd name="connsiteX1486" fmla="*/ 206512 w 334956"/>
                      <a:gd name="connsiteY1486" fmla="*/ 306438 h 334834"/>
                      <a:gd name="connsiteX1487" fmla="*/ 92126 w 334956"/>
                      <a:gd name="connsiteY1487" fmla="*/ 306838 h 334834"/>
                      <a:gd name="connsiteX1488" fmla="*/ 94507 w 334956"/>
                      <a:gd name="connsiteY1488" fmla="*/ 309391 h 334834"/>
                      <a:gd name="connsiteX1489" fmla="*/ 93850 w 334956"/>
                      <a:gd name="connsiteY1489" fmla="*/ 305114 h 334834"/>
                      <a:gd name="connsiteX1490" fmla="*/ 92126 w 334956"/>
                      <a:gd name="connsiteY1490" fmla="*/ 306838 h 334834"/>
                      <a:gd name="connsiteX1491" fmla="*/ 184404 w 334956"/>
                      <a:gd name="connsiteY1491" fmla="*/ 310620 h 334834"/>
                      <a:gd name="connsiteX1492" fmla="*/ 187690 w 334956"/>
                      <a:gd name="connsiteY1492" fmla="*/ 314649 h 334834"/>
                      <a:gd name="connsiteX1493" fmla="*/ 186947 w 334956"/>
                      <a:gd name="connsiteY1493" fmla="*/ 308562 h 334834"/>
                      <a:gd name="connsiteX1494" fmla="*/ 184404 w 334956"/>
                      <a:gd name="connsiteY1494" fmla="*/ 310620 h 334834"/>
                      <a:gd name="connsiteX1495" fmla="*/ 127054 w 334956"/>
                      <a:gd name="connsiteY1495" fmla="*/ 310620 h 334834"/>
                      <a:gd name="connsiteX1496" fmla="*/ 130254 w 334956"/>
                      <a:gd name="connsiteY1496" fmla="*/ 314401 h 334834"/>
                      <a:gd name="connsiteX1497" fmla="*/ 129264 w 334956"/>
                      <a:gd name="connsiteY1497" fmla="*/ 308810 h 334834"/>
                      <a:gd name="connsiteX1498" fmla="*/ 127054 w 334956"/>
                      <a:gd name="connsiteY1498" fmla="*/ 310620 h 334834"/>
                      <a:gd name="connsiteX1499" fmla="*/ 243326 w 334956"/>
                      <a:gd name="connsiteY1499" fmla="*/ 311534 h 334834"/>
                      <a:gd name="connsiteX1500" fmla="*/ 244640 w 334956"/>
                      <a:gd name="connsiteY1500" fmla="*/ 313258 h 334834"/>
                      <a:gd name="connsiteX1501" fmla="*/ 246526 w 334956"/>
                      <a:gd name="connsiteY1501" fmla="*/ 311944 h 334834"/>
                      <a:gd name="connsiteX1502" fmla="*/ 244554 w 334956"/>
                      <a:gd name="connsiteY1502" fmla="*/ 310144 h 334834"/>
                      <a:gd name="connsiteX1503" fmla="*/ 243326 w 334956"/>
                      <a:gd name="connsiteY1503" fmla="*/ 311534 h 334834"/>
                      <a:gd name="connsiteX1504" fmla="*/ 162544 w 334956"/>
                      <a:gd name="connsiteY1504" fmla="*/ 314982 h 334834"/>
                      <a:gd name="connsiteX1505" fmla="*/ 165497 w 334956"/>
                      <a:gd name="connsiteY1505" fmla="*/ 318926 h 334834"/>
                      <a:gd name="connsiteX1506" fmla="*/ 164592 w 334956"/>
                      <a:gd name="connsiteY1506" fmla="*/ 313258 h 334834"/>
                      <a:gd name="connsiteX1507" fmla="*/ 162544 w 334956"/>
                      <a:gd name="connsiteY1507" fmla="*/ 314982 h 334834"/>
                      <a:gd name="connsiteX1508" fmla="*/ 220723 w 334956"/>
                      <a:gd name="connsiteY1508" fmla="*/ 315563 h 334834"/>
                      <a:gd name="connsiteX1509" fmla="*/ 223114 w 334956"/>
                      <a:gd name="connsiteY1509" fmla="*/ 318192 h 334834"/>
                      <a:gd name="connsiteX1510" fmla="*/ 222618 w 334956"/>
                      <a:gd name="connsiteY1510" fmla="*/ 314001 h 334834"/>
                      <a:gd name="connsiteX1511" fmla="*/ 220723 w 334956"/>
                      <a:gd name="connsiteY1511" fmla="*/ 315563 h 334834"/>
                      <a:gd name="connsiteX1512" fmla="*/ 105604 w 334956"/>
                      <a:gd name="connsiteY1512" fmla="*/ 315963 h 334834"/>
                      <a:gd name="connsiteX1513" fmla="*/ 108966 w 334956"/>
                      <a:gd name="connsiteY1513" fmla="*/ 317202 h 334834"/>
                      <a:gd name="connsiteX1514" fmla="*/ 107242 w 334956"/>
                      <a:gd name="connsiteY1514" fmla="*/ 314239 h 334834"/>
                      <a:gd name="connsiteX1515" fmla="*/ 105604 w 334956"/>
                      <a:gd name="connsiteY1515" fmla="*/ 315963 h 334834"/>
                      <a:gd name="connsiteX1516" fmla="*/ 140770 w 334956"/>
                      <a:gd name="connsiteY1516" fmla="*/ 319830 h 334834"/>
                      <a:gd name="connsiteX1517" fmla="*/ 143313 w 334956"/>
                      <a:gd name="connsiteY1517" fmla="*/ 322869 h 334834"/>
                      <a:gd name="connsiteX1518" fmla="*/ 142570 w 334956"/>
                      <a:gd name="connsiteY1518" fmla="*/ 318183 h 334834"/>
                      <a:gd name="connsiteX1519" fmla="*/ 140770 w 334956"/>
                      <a:gd name="connsiteY1519" fmla="*/ 319830 h 334834"/>
                      <a:gd name="connsiteX1520" fmla="*/ 200015 w 334956"/>
                      <a:gd name="connsiteY1520" fmla="*/ 322707 h 334834"/>
                      <a:gd name="connsiteX1521" fmla="*/ 202730 w 334956"/>
                      <a:gd name="connsiteY1521" fmla="*/ 319916 h 334834"/>
                      <a:gd name="connsiteX1522" fmla="*/ 200101 w 334956"/>
                      <a:gd name="connsiteY1522" fmla="*/ 318354 h 334834"/>
                      <a:gd name="connsiteX1523" fmla="*/ 200015 w 334956"/>
                      <a:gd name="connsiteY1523" fmla="*/ 322707 h 334834"/>
                      <a:gd name="connsiteX1524" fmla="*/ 178003 w 334956"/>
                      <a:gd name="connsiteY1524" fmla="*/ 327060 h 334834"/>
                      <a:gd name="connsiteX1525" fmla="*/ 178079 w 334956"/>
                      <a:gd name="connsiteY1525" fmla="*/ 322869 h 334834"/>
                      <a:gd name="connsiteX1526" fmla="*/ 178003 w 334956"/>
                      <a:gd name="connsiteY1526" fmla="*/ 327060 h 334834"/>
                      <a:gd name="connsiteX1527" fmla="*/ 119329 w 334956"/>
                      <a:gd name="connsiteY1527" fmla="*/ 324841 h 334834"/>
                      <a:gd name="connsiteX1528" fmla="*/ 120644 w 334956"/>
                      <a:gd name="connsiteY1528" fmla="*/ 326479 h 334834"/>
                      <a:gd name="connsiteX1529" fmla="*/ 122206 w 334956"/>
                      <a:gd name="connsiteY1529" fmla="*/ 325326 h 334834"/>
                      <a:gd name="connsiteX1530" fmla="*/ 122282 w 334956"/>
                      <a:gd name="connsiteY1530" fmla="*/ 324669 h 334834"/>
                      <a:gd name="connsiteX1531" fmla="*/ 120558 w 334956"/>
                      <a:gd name="connsiteY1531" fmla="*/ 323526 h 334834"/>
                      <a:gd name="connsiteX1532" fmla="*/ 119329 w 334956"/>
                      <a:gd name="connsiteY1532" fmla="*/ 324841 h 334834"/>
                      <a:gd name="connsiteX1533" fmla="*/ 154581 w 334956"/>
                      <a:gd name="connsiteY1533" fmla="*/ 329279 h 334834"/>
                      <a:gd name="connsiteX1534" fmla="*/ 156639 w 334956"/>
                      <a:gd name="connsiteY1534" fmla="*/ 331089 h 334834"/>
                      <a:gd name="connsiteX1535" fmla="*/ 157953 w 334956"/>
                      <a:gd name="connsiteY1535" fmla="*/ 329698 h 334834"/>
                      <a:gd name="connsiteX1536" fmla="*/ 155896 w 334956"/>
                      <a:gd name="connsiteY1536" fmla="*/ 327727 h 334834"/>
                      <a:gd name="connsiteX1537" fmla="*/ 154581 w 334956"/>
                      <a:gd name="connsiteY1537" fmla="*/ 329279 h 334834"/>
                      <a:gd name="connsiteX1538" fmla="*/ 213084 w 334956"/>
                      <a:gd name="connsiteY1538" fmla="*/ 329194 h 334834"/>
                      <a:gd name="connsiteX1539" fmla="*/ 213008 w 334956"/>
                      <a:gd name="connsiteY1539" fmla="*/ 329689 h 334834"/>
                      <a:gd name="connsiteX1540" fmla="*/ 213503 w 334956"/>
                      <a:gd name="connsiteY1540" fmla="*/ 330260 h 334834"/>
                      <a:gd name="connsiteX1541" fmla="*/ 214160 w 334956"/>
                      <a:gd name="connsiteY1541" fmla="*/ 330337 h 334834"/>
                      <a:gd name="connsiteX1542" fmla="*/ 214322 w 334956"/>
                      <a:gd name="connsiteY1542" fmla="*/ 330260 h 334834"/>
                      <a:gd name="connsiteX1543" fmla="*/ 214817 w 334956"/>
                      <a:gd name="connsiteY1543" fmla="*/ 329108 h 334834"/>
                      <a:gd name="connsiteX1544" fmla="*/ 213751 w 334956"/>
                      <a:gd name="connsiteY1544" fmla="*/ 328451 h 334834"/>
                      <a:gd name="connsiteX1545" fmla="*/ 213084 w 334956"/>
                      <a:gd name="connsiteY1545" fmla="*/ 329194 h 334834"/>
                      <a:gd name="connsiteX1546" fmla="*/ 190814 w 334956"/>
                      <a:gd name="connsiteY1546" fmla="*/ 333632 h 334834"/>
                      <a:gd name="connsiteX1547" fmla="*/ 190814 w 334956"/>
                      <a:gd name="connsiteY1547" fmla="*/ 334204 h 334834"/>
                      <a:gd name="connsiteX1548" fmla="*/ 191633 w 334956"/>
                      <a:gd name="connsiteY1548" fmla="*/ 334785 h 334834"/>
                      <a:gd name="connsiteX1549" fmla="*/ 191633 w 334956"/>
                      <a:gd name="connsiteY1549" fmla="*/ 332889 h 334834"/>
                      <a:gd name="connsiteX1550" fmla="*/ 190814 w 334956"/>
                      <a:gd name="connsiteY1550" fmla="*/ 333632 h 334834"/>
                      <a:gd name="connsiteX1551" fmla="*/ 133702 w 334956"/>
                      <a:gd name="connsiteY1551" fmla="*/ 334213 h 334834"/>
                      <a:gd name="connsiteX1552" fmla="*/ 133702 w 334956"/>
                      <a:gd name="connsiteY1552" fmla="*/ 334375 h 334834"/>
                      <a:gd name="connsiteX1553" fmla="*/ 134445 w 334956"/>
                      <a:gd name="connsiteY1553" fmla="*/ 334375 h 334834"/>
                      <a:gd name="connsiteX1554" fmla="*/ 134521 w 334956"/>
                      <a:gd name="connsiteY1554" fmla="*/ 333470 h 334834"/>
                      <a:gd name="connsiteX1555" fmla="*/ 133702 w 334956"/>
                      <a:gd name="connsiteY1555" fmla="*/ 333384 h 334834"/>
                      <a:gd name="connsiteX1556" fmla="*/ 133702 w 334956"/>
                      <a:gd name="connsiteY1556" fmla="*/ 334213 h 3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Lst>
                    <a:rect l="l" t="t" r="r" b="b"/>
                    <a:pathLst>
                      <a:path w="334956" h="334834">
                        <a:moveTo>
                          <a:pt x="181537" y="1648"/>
                        </a:moveTo>
                        <a:cubicBezTo>
                          <a:pt x="181937" y="2115"/>
                          <a:pt x="182166" y="2429"/>
                          <a:pt x="182766" y="2715"/>
                        </a:cubicBezTo>
                        <a:cubicBezTo>
                          <a:pt x="184575" y="2581"/>
                          <a:pt x="184595" y="48"/>
                          <a:pt x="182689" y="0"/>
                        </a:cubicBezTo>
                        <a:cubicBezTo>
                          <a:pt x="182061" y="419"/>
                          <a:pt x="181565" y="638"/>
                          <a:pt x="181537" y="1648"/>
                        </a:cubicBezTo>
                        <a:close/>
                        <a:moveTo>
                          <a:pt x="158848" y="6248"/>
                        </a:moveTo>
                        <a:cubicBezTo>
                          <a:pt x="159334" y="7934"/>
                          <a:pt x="161868" y="7963"/>
                          <a:pt x="162458" y="6325"/>
                        </a:cubicBezTo>
                        <a:cubicBezTo>
                          <a:pt x="162487" y="5972"/>
                          <a:pt x="162515" y="5610"/>
                          <a:pt x="162544" y="5258"/>
                        </a:cubicBezTo>
                        <a:cubicBezTo>
                          <a:pt x="161973" y="4582"/>
                          <a:pt x="161677" y="3943"/>
                          <a:pt x="160411" y="3943"/>
                        </a:cubicBezTo>
                        <a:cubicBezTo>
                          <a:pt x="159782" y="4315"/>
                          <a:pt x="158477" y="4953"/>
                          <a:pt x="158848" y="6248"/>
                        </a:cubicBezTo>
                        <a:close/>
                        <a:moveTo>
                          <a:pt x="217361" y="5591"/>
                        </a:moveTo>
                        <a:cubicBezTo>
                          <a:pt x="217399" y="6296"/>
                          <a:pt x="217618" y="6363"/>
                          <a:pt x="217941" y="6744"/>
                        </a:cubicBezTo>
                        <a:cubicBezTo>
                          <a:pt x="218161" y="6744"/>
                          <a:pt x="218380" y="6744"/>
                          <a:pt x="218599" y="6744"/>
                        </a:cubicBezTo>
                        <a:cubicBezTo>
                          <a:pt x="218846" y="6496"/>
                          <a:pt x="219094" y="6248"/>
                          <a:pt x="219342" y="6001"/>
                        </a:cubicBezTo>
                        <a:cubicBezTo>
                          <a:pt x="219342" y="5924"/>
                          <a:pt x="219342" y="5839"/>
                          <a:pt x="219342" y="5753"/>
                        </a:cubicBezTo>
                        <a:cubicBezTo>
                          <a:pt x="219151" y="5363"/>
                          <a:pt x="218999" y="5115"/>
                          <a:pt x="218599" y="4934"/>
                        </a:cubicBezTo>
                        <a:cubicBezTo>
                          <a:pt x="218408" y="4905"/>
                          <a:pt x="218218" y="4877"/>
                          <a:pt x="218027" y="4848"/>
                        </a:cubicBezTo>
                        <a:cubicBezTo>
                          <a:pt x="217799" y="5096"/>
                          <a:pt x="217579" y="5344"/>
                          <a:pt x="217361" y="5591"/>
                        </a:cubicBezTo>
                        <a:close/>
                        <a:moveTo>
                          <a:pt x="136579" y="10116"/>
                        </a:moveTo>
                        <a:cubicBezTo>
                          <a:pt x="136074" y="12240"/>
                          <a:pt x="139265" y="12697"/>
                          <a:pt x="140275" y="11268"/>
                        </a:cubicBezTo>
                        <a:cubicBezTo>
                          <a:pt x="141256" y="9877"/>
                          <a:pt x="139865" y="8182"/>
                          <a:pt x="138303" y="8230"/>
                        </a:cubicBezTo>
                        <a:cubicBezTo>
                          <a:pt x="137484" y="8658"/>
                          <a:pt x="136722" y="9001"/>
                          <a:pt x="136579" y="10116"/>
                        </a:cubicBezTo>
                        <a:close/>
                        <a:moveTo>
                          <a:pt x="194100" y="9868"/>
                        </a:moveTo>
                        <a:cubicBezTo>
                          <a:pt x="194081" y="11306"/>
                          <a:pt x="194863" y="11897"/>
                          <a:pt x="195824" y="12335"/>
                        </a:cubicBezTo>
                        <a:cubicBezTo>
                          <a:pt x="198930" y="12421"/>
                          <a:pt x="198825" y="8077"/>
                          <a:pt x="195662" y="8230"/>
                        </a:cubicBezTo>
                        <a:cubicBezTo>
                          <a:pt x="194929" y="8725"/>
                          <a:pt x="194500" y="9020"/>
                          <a:pt x="194100" y="9868"/>
                        </a:cubicBezTo>
                        <a:close/>
                        <a:moveTo>
                          <a:pt x="171593" y="13811"/>
                        </a:moveTo>
                        <a:cubicBezTo>
                          <a:pt x="170859" y="15488"/>
                          <a:pt x="172564" y="17726"/>
                          <a:pt x="174384" y="17345"/>
                        </a:cubicBezTo>
                        <a:cubicBezTo>
                          <a:pt x="177375" y="16726"/>
                          <a:pt x="177260" y="12011"/>
                          <a:pt x="173564" y="12173"/>
                        </a:cubicBezTo>
                        <a:cubicBezTo>
                          <a:pt x="172774" y="12554"/>
                          <a:pt x="171936" y="13011"/>
                          <a:pt x="171593" y="13811"/>
                        </a:cubicBezTo>
                        <a:close/>
                        <a:moveTo>
                          <a:pt x="114472" y="14307"/>
                        </a:moveTo>
                        <a:cubicBezTo>
                          <a:pt x="114414" y="15707"/>
                          <a:pt x="115433" y="16964"/>
                          <a:pt x="116853" y="16526"/>
                        </a:cubicBezTo>
                        <a:cubicBezTo>
                          <a:pt x="117596" y="16231"/>
                          <a:pt x="118243" y="15507"/>
                          <a:pt x="118339" y="14554"/>
                        </a:cubicBezTo>
                        <a:cubicBezTo>
                          <a:pt x="117958" y="13583"/>
                          <a:pt x="117424" y="12802"/>
                          <a:pt x="116119" y="12744"/>
                        </a:cubicBezTo>
                        <a:cubicBezTo>
                          <a:pt x="115376" y="13211"/>
                          <a:pt x="114881" y="13487"/>
                          <a:pt x="114472" y="14307"/>
                        </a:cubicBezTo>
                        <a:close/>
                        <a:moveTo>
                          <a:pt x="230181" y="14468"/>
                        </a:moveTo>
                        <a:cubicBezTo>
                          <a:pt x="230248" y="16535"/>
                          <a:pt x="232981" y="16602"/>
                          <a:pt x="233134" y="14554"/>
                        </a:cubicBezTo>
                        <a:cubicBezTo>
                          <a:pt x="232743" y="13849"/>
                          <a:pt x="232486" y="13268"/>
                          <a:pt x="231495" y="13164"/>
                        </a:cubicBezTo>
                        <a:cubicBezTo>
                          <a:pt x="230819" y="13583"/>
                          <a:pt x="230610" y="13802"/>
                          <a:pt x="230181" y="14468"/>
                        </a:cubicBezTo>
                        <a:close/>
                        <a:moveTo>
                          <a:pt x="149400" y="17669"/>
                        </a:moveTo>
                        <a:cubicBezTo>
                          <a:pt x="148076" y="19612"/>
                          <a:pt x="149981" y="22631"/>
                          <a:pt x="152524" y="22031"/>
                        </a:cubicBezTo>
                        <a:cubicBezTo>
                          <a:pt x="155696" y="21269"/>
                          <a:pt x="155210" y="16173"/>
                          <a:pt x="151457" y="16278"/>
                        </a:cubicBezTo>
                        <a:cubicBezTo>
                          <a:pt x="150609" y="16650"/>
                          <a:pt x="149885" y="16964"/>
                          <a:pt x="149400" y="17669"/>
                        </a:cubicBezTo>
                        <a:close/>
                        <a:moveTo>
                          <a:pt x="207093" y="18336"/>
                        </a:moveTo>
                        <a:cubicBezTo>
                          <a:pt x="206407" y="19974"/>
                          <a:pt x="208045" y="22098"/>
                          <a:pt x="209969" y="21622"/>
                        </a:cubicBezTo>
                        <a:cubicBezTo>
                          <a:pt x="212817" y="20917"/>
                          <a:pt x="212550" y="16516"/>
                          <a:pt x="208902" y="16688"/>
                        </a:cubicBezTo>
                        <a:cubicBezTo>
                          <a:pt x="208178" y="17107"/>
                          <a:pt x="207426" y="17536"/>
                          <a:pt x="207093" y="18336"/>
                        </a:cubicBezTo>
                        <a:close/>
                        <a:moveTo>
                          <a:pt x="92783" y="18821"/>
                        </a:moveTo>
                        <a:cubicBezTo>
                          <a:pt x="92697" y="21126"/>
                          <a:pt x="95745" y="21003"/>
                          <a:pt x="95660" y="18736"/>
                        </a:cubicBezTo>
                        <a:cubicBezTo>
                          <a:pt x="95383" y="18402"/>
                          <a:pt x="95107" y="18078"/>
                          <a:pt x="94840" y="17745"/>
                        </a:cubicBezTo>
                        <a:cubicBezTo>
                          <a:pt x="94564" y="17688"/>
                          <a:pt x="94288" y="17640"/>
                          <a:pt x="94021" y="17583"/>
                        </a:cubicBezTo>
                        <a:cubicBezTo>
                          <a:pt x="93488" y="17993"/>
                          <a:pt x="93097" y="18193"/>
                          <a:pt x="92783" y="18821"/>
                        </a:cubicBezTo>
                        <a:close/>
                        <a:moveTo>
                          <a:pt x="184166" y="23012"/>
                        </a:moveTo>
                        <a:cubicBezTo>
                          <a:pt x="183661" y="25222"/>
                          <a:pt x="186052" y="27413"/>
                          <a:pt x="188185" y="26708"/>
                        </a:cubicBezTo>
                        <a:cubicBezTo>
                          <a:pt x="191595" y="25584"/>
                          <a:pt x="190900" y="20298"/>
                          <a:pt x="186623" y="20460"/>
                        </a:cubicBezTo>
                        <a:cubicBezTo>
                          <a:pt x="185576" y="21088"/>
                          <a:pt x="184461" y="21679"/>
                          <a:pt x="184166" y="23012"/>
                        </a:cubicBezTo>
                        <a:close/>
                        <a:moveTo>
                          <a:pt x="130340" y="26470"/>
                        </a:moveTo>
                        <a:cubicBezTo>
                          <a:pt x="133493" y="25727"/>
                          <a:pt x="133121" y="20564"/>
                          <a:pt x="129273" y="20717"/>
                        </a:cubicBezTo>
                        <a:cubicBezTo>
                          <a:pt x="125378" y="22412"/>
                          <a:pt x="126854" y="27289"/>
                          <a:pt x="130340" y="26470"/>
                        </a:cubicBezTo>
                        <a:close/>
                        <a:moveTo>
                          <a:pt x="243249" y="23260"/>
                        </a:moveTo>
                        <a:cubicBezTo>
                          <a:pt x="243192" y="25851"/>
                          <a:pt x="246059" y="25460"/>
                          <a:pt x="246697" y="23670"/>
                        </a:cubicBezTo>
                        <a:cubicBezTo>
                          <a:pt x="246650" y="22593"/>
                          <a:pt x="245878" y="21831"/>
                          <a:pt x="244802" y="21784"/>
                        </a:cubicBezTo>
                        <a:cubicBezTo>
                          <a:pt x="244021" y="22203"/>
                          <a:pt x="243630" y="22441"/>
                          <a:pt x="243249" y="23260"/>
                        </a:cubicBezTo>
                        <a:close/>
                        <a:moveTo>
                          <a:pt x="161725" y="27118"/>
                        </a:moveTo>
                        <a:cubicBezTo>
                          <a:pt x="160954" y="29537"/>
                          <a:pt x="163316" y="32147"/>
                          <a:pt x="165830" y="31556"/>
                        </a:cubicBezTo>
                        <a:cubicBezTo>
                          <a:pt x="169802" y="30623"/>
                          <a:pt x="169354" y="24536"/>
                          <a:pt x="164763" y="24489"/>
                        </a:cubicBezTo>
                        <a:cubicBezTo>
                          <a:pt x="163335" y="25117"/>
                          <a:pt x="162211" y="25594"/>
                          <a:pt x="161725" y="27118"/>
                        </a:cubicBezTo>
                        <a:close/>
                        <a:moveTo>
                          <a:pt x="223438" y="30823"/>
                        </a:moveTo>
                        <a:cubicBezTo>
                          <a:pt x="226447" y="30070"/>
                          <a:pt x="226057" y="25098"/>
                          <a:pt x="222371" y="25241"/>
                        </a:cubicBezTo>
                        <a:cubicBezTo>
                          <a:pt x="218504" y="26918"/>
                          <a:pt x="219942" y="31690"/>
                          <a:pt x="223438" y="30823"/>
                        </a:cubicBezTo>
                        <a:close/>
                        <a:moveTo>
                          <a:pt x="105023" y="27118"/>
                        </a:moveTo>
                        <a:cubicBezTo>
                          <a:pt x="104308" y="29061"/>
                          <a:pt x="106108" y="31090"/>
                          <a:pt x="108061" y="30651"/>
                        </a:cubicBezTo>
                        <a:cubicBezTo>
                          <a:pt x="111100" y="29975"/>
                          <a:pt x="110604" y="25203"/>
                          <a:pt x="107080" y="25308"/>
                        </a:cubicBezTo>
                        <a:cubicBezTo>
                          <a:pt x="106213" y="25746"/>
                          <a:pt x="105365" y="26194"/>
                          <a:pt x="105023" y="27118"/>
                        </a:cubicBezTo>
                        <a:close/>
                        <a:moveTo>
                          <a:pt x="139370" y="31642"/>
                        </a:moveTo>
                        <a:cubicBezTo>
                          <a:pt x="138703" y="34119"/>
                          <a:pt x="141094" y="36824"/>
                          <a:pt x="143808" y="36166"/>
                        </a:cubicBezTo>
                        <a:cubicBezTo>
                          <a:pt x="147981" y="35157"/>
                          <a:pt x="147533" y="28670"/>
                          <a:pt x="142246" y="28851"/>
                        </a:cubicBezTo>
                        <a:cubicBezTo>
                          <a:pt x="140941" y="29499"/>
                          <a:pt x="139789" y="30128"/>
                          <a:pt x="139370" y="31642"/>
                        </a:cubicBezTo>
                        <a:close/>
                        <a:moveTo>
                          <a:pt x="197148" y="31309"/>
                        </a:moveTo>
                        <a:cubicBezTo>
                          <a:pt x="196291" y="33633"/>
                          <a:pt x="198453" y="36424"/>
                          <a:pt x="200758" y="36081"/>
                        </a:cubicBezTo>
                        <a:cubicBezTo>
                          <a:pt x="205330" y="35404"/>
                          <a:pt x="205121" y="28832"/>
                          <a:pt x="200263" y="28927"/>
                        </a:cubicBezTo>
                        <a:cubicBezTo>
                          <a:pt x="198825" y="29508"/>
                          <a:pt x="197672" y="29870"/>
                          <a:pt x="197148" y="31309"/>
                        </a:cubicBezTo>
                        <a:close/>
                        <a:moveTo>
                          <a:pt x="83248" y="31890"/>
                        </a:moveTo>
                        <a:cubicBezTo>
                          <a:pt x="82772" y="33185"/>
                          <a:pt x="84296" y="34947"/>
                          <a:pt x="85715" y="34604"/>
                        </a:cubicBezTo>
                        <a:cubicBezTo>
                          <a:pt x="88220" y="34004"/>
                          <a:pt x="87782" y="30490"/>
                          <a:pt x="85134" y="30251"/>
                        </a:cubicBezTo>
                        <a:cubicBezTo>
                          <a:pt x="84325" y="30632"/>
                          <a:pt x="83563" y="31032"/>
                          <a:pt x="83248" y="31890"/>
                        </a:cubicBezTo>
                        <a:close/>
                        <a:moveTo>
                          <a:pt x="256394" y="32547"/>
                        </a:moveTo>
                        <a:cubicBezTo>
                          <a:pt x="256765" y="33233"/>
                          <a:pt x="257032" y="33804"/>
                          <a:pt x="257785" y="34109"/>
                        </a:cubicBezTo>
                        <a:cubicBezTo>
                          <a:pt x="258956" y="34642"/>
                          <a:pt x="260004" y="33242"/>
                          <a:pt x="260004" y="32223"/>
                        </a:cubicBezTo>
                        <a:cubicBezTo>
                          <a:pt x="259632" y="31299"/>
                          <a:pt x="259128" y="30632"/>
                          <a:pt x="257785" y="30661"/>
                        </a:cubicBezTo>
                        <a:cubicBezTo>
                          <a:pt x="257127" y="31166"/>
                          <a:pt x="256508" y="31480"/>
                          <a:pt x="256394" y="32547"/>
                        </a:cubicBezTo>
                        <a:close/>
                        <a:moveTo>
                          <a:pt x="174460" y="35919"/>
                        </a:moveTo>
                        <a:cubicBezTo>
                          <a:pt x="173660" y="38633"/>
                          <a:pt x="176222" y="41500"/>
                          <a:pt x="178898" y="41015"/>
                        </a:cubicBezTo>
                        <a:cubicBezTo>
                          <a:pt x="183709" y="40148"/>
                          <a:pt x="183509" y="32737"/>
                          <a:pt x="177908" y="32880"/>
                        </a:cubicBezTo>
                        <a:cubicBezTo>
                          <a:pt x="176308" y="33595"/>
                          <a:pt x="174984" y="34166"/>
                          <a:pt x="174460" y="35919"/>
                        </a:cubicBezTo>
                        <a:close/>
                        <a:moveTo>
                          <a:pt x="117348" y="36081"/>
                        </a:moveTo>
                        <a:cubicBezTo>
                          <a:pt x="116662" y="38405"/>
                          <a:pt x="118919" y="40872"/>
                          <a:pt x="121130" y="40519"/>
                        </a:cubicBezTo>
                        <a:cubicBezTo>
                          <a:pt x="125663" y="39795"/>
                          <a:pt x="125473" y="33223"/>
                          <a:pt x="120310" y="33366"/>
                        </a:cubicBezTo>
                        <a:cubicBezTo>
                          <a:pt x="118910" y="33985"/>
                          <a:pt x="117805" y="34547"/>
                          <a:pt x="117348" y="36081"/>
                        </a:cubicBezTo>
                        <a:close/>
                        <a:moveTo>
                          <a:pt x="233296" y="35585"/>
                        </a:moveTo>
                        <a:cubicBezTo>
                          <a:pt x="232115" y="37824"/>
                          <a:pt x="234544" y="40472"/>
                          <a:pt x="236829" y="39862"/>
                        </a:cubicBezTo>
                        <a:cubicBezTo>
                          <a:pt x="240116" y="38986"/>
                          <a:pt x="239706" y="33766"/>
                          <a:pt x="235353" y="33947"/>
                        </a:cubicBezTo>
                        <a:cubicBezTo>
                          <a:pt x="234544" y="34395"/>
                          <a:pt x="233734" y="34776"/>
                          <a:pt x="233296" y="35585"/>
                        </a:cubicBezTo>
                        <a:close/>
                        <a:moveTo>
                          <a:pt x="61884" y="36652"/>
                        </a:moveTo>
                        <a:cubicBezTo>
                          <a:pt x="61979" y="38186"/>
                          <a:pt x="63865" y="38557"/>
                          <a:pt x="64351" y="37147"/>
                        </a:cubicBezTo>
                        <a:cubicBezTo>
                          <a:pt x="64665" y="36443"/>
                          <a:pt x="63960" y="35843"/>
                          <a:pt x="63446" y="35671"/>
                        </a:cubicBezTo>
                        <a:cubicBezTo>
                          <a:pt x="63246" y="35643"/>
                          <a:pt x="63055" y="35614"/>
                          <a:pt x="62865" y="35585"/>
                        </a:cubicBezTo>
                        <a:cubicBezTo>
                          <a:pt x="62474" y="35938"/>
                          <a:pt x="62217" y="36233"/>
                          <a:pt x="61884" y="36652"/>
                        </a:cubicBezTo>
                        <a:close/>
                        <a:moveTo>
                          <a:pt x="152276" y="39691"/>
                        </a:moveTo>
                        <a:cubicBezTo>
                          <a:pt x="151076" y="42548"/>
                          <a:pt x="153457" y="46234"/>
                          <a:pt x="156543" y="45768"/>
                        </a:cubicBezTo>
                        <a:cubicBezTo>
                          <a:pt x="162087" y="44939"/>
                          <a:pt x="161839" y="36966"/>
                          <a:pt x="155886" y="37052"/>
                        </a:cubicBezTo>
                        <a:cubicBezTo>
                          <a:pt x="154219" y="37757"/>
                          <a:pt x="152962" y="38071"/>
                          <a:pt x="152276" y="39691"/>
                        </a:cubicBezTo>
                        <a:close/>
                        <a:moveTo>
                          <a:pt x="210045" y="40519"/>
                        </a:moveTo>
                        <a:cubicBezTo>
                          <a:pt x="209264" y="43396"/>
                          <a:pt x="212284" y="46053"/>
                          <a:pt x="215065" y="45120"/>
                        </a:cubicBezTo>
                        <a:cubicBezTo>
                          <a:pt x="219103" y="43767"/>
                          <a:pt x="218456" y="37309"/>
                          <a:pt x="213255" y="37481"/>
                        </a:cubicBezTo>
                        <a:cubicBezTo>
                          <a:pt x="211798" y="38195"/>
                          <a:pt x="210503" y="38833"/>
                          <a:pt x="210045" y="40519"/>
                        </a:cubicBezTo>
                        <a:close/>
                        <a:moveTo>
                          <a:pt x="95488" y="40519"/>
                        </a:moveTo>
                        <a:cubicBezTo>
                          <a:pt x="94850" y="42672"/>
                          <a:pt x="96974" y="45044"/>
                          <a:pt x="99270" y="44548"/>
                        </a:cubicBezTo>
                        <a:cubicBezTo>
                          <a:pt x="102879" y="43777"/>
                          <a:pt x="102518" y="38109"/>
                          <a:pt x="98450" y="38052"/>
                        </a:cubicBezTo>
                        <a:cubicBezTo>
                          <a:pt x="97088" y="38633"/>
                          <a:pt x="95926" y="39043"/>
                          <a:pt x="95488" y="40519"/>
                        </a:cubicBezTo>
                        <a:close/>
                        <a:moveTo>
                          <a:pt x="269872" y="40929"/>
                        </a:moveTo>
                        <a:cubicBezTo>
                          <a:pt x="269843" y="42158"/>
                          <a:pt x="270453" y="42605"/>
                          <a:pt x="271263" y="42986"/>
                        </a:cubicBezTo>
                        <a:cubicBezTo>
                          <a:pt x="273806" y="43015"/>
                          <a:pt x="273834" y="39472"/>
                          <a:pt x="271263" y="39529"/>
                        </a:cubicBezTo>
                        <a:cubicBezTo>
                          <a:pt x="270615" y="39957"/>
                          <a:pt x="270224" y="40205"/>
                          <a:pt x="269872" y="40929"/>
                        </a:cubicBezTo>
                        <a:close/>
                        <a:moveTo>
                          <a:pt x="187452" y="44377"/>
                        </a:moveTo>
                        <a:cubicBezTo>
                          <a:pt x="186433" y="47330"/>
                          <a:pt x="189004" y="50911"/>
                          <a:pt x="192138" y="50378"/>
                        </a:cubicBezTo>
                        <a:cubicBezTo>
                          <a:pt x="197768" y="49425"/>
                          <a:pt x="197444" y="41148"/>
                          <a:pt x="191071" y="41338"/>
                        </a:cubicBezTo>
                        <a:cubicBezTo>
                          <a:pt x="189376" y="42091"/>
                          <a:pt x="188061" y="42605"/>
                          <a:pt x="187452" y="44377"/>
                        </a:cubicBezTo>
                        <a:close/>
                        <a:moveTo>
                          <a:pt x="129930" y="44710"/>
                        </a:moveTo>
                        <a:cubicBezTo>
                          <a:pt x="129026" y="47787"/>
                          <a:pt x="131864" y="50854"/>
                          <a:pt x="135026" y="50130"/>
                        </a:cubicBezTo>
                        <a:cubicBezTo>
                          <a:pt x="139998" y="48997"/>
                          <a:pt x="139608" y="41319"/>
                          <a:pt x="133464" y="41500"/>
                        </a:cubicBezTo>
                        <a:cubicBezTo>
                          <a:pt x="131816" y="42243"/>
                          <a:pt x="130454" y="42901"/>
                          <a:pt x="129930" y="44710"/>
                        </a:cubicBezTo>
                        <a:close/>
                        <a:moveTo>
                          <a:pt x="246450" y="44625"/>
                        </a:moveTo>
                        <a:cubicBezTo>
                          <a:pt x="245535" y="46787"/>
                          <a:pt x="247593" y="49339"/>
                          <a:pt x="249898" y="48816"/>
                        </a:cubicBezTo>
                        <a:cubicBezTo>
                          <a:pt x="253517" y="47987"/>
                          <a:pt x="253089" y="42558"/>
                          <a:pt x="248583" y="42729"/>
                        </a:cubicBezTo>
                        <a:cubicBezTo>
                          <a:pt x="247745" y="43243"/>
                          <a:pt x="246840" y="43701"/>
                          <a:pt x="246450" y="44625"/>
                        </a:cubicBezTo>
                        <a:close/>
                        <a:moveTo>
                          <a:pt x="74123" y="44625"/>
                        </a:moveTo>
                        <a:cubicBezTo>
                          <a:pt x="73133" y="46349"/>
                          <a:pt x="74943" y="48759"/>
                          <a:pt x="76838" y="48406"/>
                        </a:cubicBezTo>
                        <a:cubicBezTo>
                          <a:pt x="79915" y="47835"/>
                          <a:pt x="79715" y="43091"/>
                          <a:pt x="76257" y="43062"/>
                        </a:cubicBezTo>
                        <a:cubicBezTo>
                          <a:pt x="75343" y="43501"/>
                          <a:pt x="74609" y="43777"/>
                          <a:pt x="74123" y="44625"/>
                        </a:cubicBezTo>
                        <a:close/>
                        <a:moveTo>
                          <a:pt x="164763" y="49149"/>
                        </a:moveTo>
                        <a:cubicBezTo>
                          <a:pt x="163944" y="52349"/>
                          <a:pt x="167107" y="55845"/>
                          <a:pt x="170431" y="55150"/>
                        </a:cubicBezTo>
                        <a:cubicBezTo>
                          <a:pt x="176003" y="53988"/>
                          <a:pt x="175746" y="45272"/>
                          <a:pt x="168955" y="45453"/>
                        </a:cubicBezTo>
                        <a:cubicBezTo>
                          <a:pt x="166926" y="46292"/>
                          <a:pt x="165345" y="46911"/>
                          <a:pt x="164763" y="49149"/>
                        </a:cubicBezTo>
                        <a:close/>
                        <a:moveTo>
                          <a:pt x="107985" y="49149"/>
                        </a:moveTo>
                        <a:cubicBezTo>
                          <a:pt x="107185" y="51978"/>
                          <a:pt x="109747" y="54902"/>
                          <a:pt x="112509" y="54407"/>
                        </a:cubicBezTo>
                        <a:cubicBezTo>
                          <a:pt x="117538" y="53502"/>
                          <a:pt x="117272" y="45920"/>
                          <a:pt x="111442" y="46111"/>
                        </a:cubicBezTo>
                        <a:cubicBezTo>
                          <a:pt x="109833" y="46787"/>
                          <a:pt x="108480" y="47406"/>
                          <a:pt x="107985" y="49149"/>
                        </a:cubicBezTo>
                        <a:close/>
                        <a:moveTo>
                          <a:pt x="223361" y="48730"/>
                        </a:moveTo>
                        <a:cubicBezTo>
                          <a:pt x="222170" y="51454"/>
                          <a:pt x="224685" y="54712"/>
                          <a:pt x="227390" y="54321"/>
                        </a:cubicBezTo>
                        <a:cubicBezTo>
                          <a:pt x="232515" y="53569"/>
                          <a:pt x="232391" y="46272"/>
                          <a:pt x="226895" y="46187"/>
                        </a:cubicBezTo>
                        <a:cubicBezTo>
                          <a:pt x="225247" y="46834"/>
                          <a:pt x="224028" y="47187"/>
                          <a:pt x="223361" y="48730"/>
                        </a:cubicBezTo>
                        <a:close/>
                        <a:moveTo>
                          <a:pt x="52597" y="49968"/>
                        </a:moveTo>
                        <a:cubicBezTo>
                          <a:pt x="52664" y="51044"/>
                          <a:pt x="53340" y="51540"/>
                          <a:pt x="54159" y="51854"/>
                        </a:cubicBezTo>
                        <a:cubicBezTo>
                          <a:pt x="55169" y="51787"/>
                          <a:pt x="55636" y="51197"/>
                          <a:pt x="55969" y="50454"/>
                        </a:cubicBezTo>
                        <a:cubicBezTo>
                          <a:pt x="56007" y="49168"/>
                          <a:pt x="55226" y="48482"/>
                          <a:pt x="54073" y="48396"/>
                        </a:cubicBezTo>
                        <a:cubicBezTo>
                          <a:pt x="53359" y="48863"/>
                          <a:pt x="52940" y="49130"/>
                          <a:pt x="52597" y="49968"/>
                        </a:cubicBezTo>
                        <a:close/>
                        <a:moveTo>
                          <a:pt x="283350" y="49968"/>
                        </a:moveTo>
                        <a:cubicBezTo>
                          <a:pt x="283397" y="50730"/>
                          <a:pt x="283836" y="51216"/>
                          <a:pt x="284416" y="51445"/>
                        </a:cubicBezTo>
                        <a:cubicBezTo>
                          <a:pt x="285388" y="51873"/>
                          <a:pt x="285988" y="50835"/>
                          <a:pt x="286302" y="50292"/>
                        </a:cubicBezTo>
                        <a:cubicBezTo>
                          <a:pt x="286255" y="49320"/>
                          <a:pt x="285588" y="48673"/>
                          <a:pt x="284578" y="48644"/>
                        </a:cubicBezTo>
                        <a:cubicBezTo>
                          <a:pt x="284016" y="49082"/>
                          <a:pt x="283673" y="49282"/>
                          <a:pt x="283350" y="49968"/>
                        </a:cubicBezTo>
                        <a:close/>
                        <a:moveTo>
                          <a:pt x="142742" y="52845"/>
                        </a:moveTo>
                        <a:cubicBezTo>
                          <a:pt x="141303" y="56245"/>
                          <a:pt x="144351" y="60398"/>
                          <a:pt x="147999" y="59750"/>
                        </a:cubicBezTo>
                        <a:cubicBezTo>
                          <a:pt x="154019" y="58674"/>
                          <a:pt x="153762" y="49778"/>
                          <a:pt x="147256" y="49644"/>
                        </a:cubicBezTo>
                        <a:cubicBezTo>
                          <a:pt x="145123" y="50483"/>
                          <a:pt x="143608" y="50797"/>
                          <a:pt x="142742" y="52845"/>
                        </a:cubicBezTo>
                        <a:close/>
                        <a:moveTo>
                          <a:pt x="200349" y="53416"/>
                        </a:moveTo>
                        <a:cubicBezTo>
                          <a:pt x="199311" y="56540"/>
                          <a:pt x="202301" y="60036"/>
                          <a:pt x="205445" y="59493"/>
                        </a:cubicBezTo>
                        <a:cubicBezTo>
                          <a:pt x="211388" y="58474"/>
                          <a:pt x="211103" y="50006"/>
                          <a:pt x="204702" y="49882"/>
                        </a:cubicBezTo>
                        <a:cubicBezTo>
                          <a:pt x="202482" y="50759"/>
                          <a:pt x="201111" y="51149"/>
                          <a:pt x="200349" y="53416"/>
                        </a:cubicBezTo>
                        <a:close/>
                        <a:moveTo>
                          <a:pt x="86287" y="53664"/>
                        </a:moveTo>
                        <a:cubicBezTo>
                          <a:pt x="85525" y="56169"/>
                          <a:pt x="87859" y="58883"/>
                          <a:pt x="90392" y="58341"/>
                        </a:cubicBezTo>
                        <a:cubicBezTo>
                          <a:pt x="94555" y="57464"/>
                          <a:pt x="94412" y="50778"/>
                          <a:pt x="89325" y="50949"/>
                        </a:cubicBezTo>
                        <a:cubicBezTo>
                          <a:pt x="87935" y="51635"/>
                          <a:pt x="86763" y="52092"/>
                          <a:pt x="86287" y="53664"/>
                        </a:cubicBezTo>
                        <a:close/>
                        <a:moveTo>
                          <a:pt x="259680" y="53912"/>
                        </a:moveTo>
                        <a:cubicBezTo>
                          <a:pt x="259099" y="56178"/>
                          <a:pt x="261433" y="58264"/>
                          <a:pt x="263547" y="57531"/>
                        </a:cubicBezTo>
                        <a:cubicBezTo>
                          <a:pt x="266748" y="56417"/>
                          <a:pt x="266176" y="51521"/>
                          <a:pt x="261909" y="51692"/>
                        </a:cubicBezTo>
                        <a:cubicBezTo>
                          <a:pt x="261004" y="52226"/>
                          <a:pt x="259966" y="52807"/>
                          <a:pt x="259680" y="53912"/>
                        </a:cubicBezTo>
                        <a:close/>
                        <a:moveTo>
                          <a:pt x="177832" y="57445"/>
                        </a:moveTo>
                        <a:cubicBezTo>
                          <a:pt x="176527" y="61227"/>
                          <a:pt x="179670" y="65218"/>
                          <a:pt x="183747" y="64427"/>
                        </a:cubicBezTo>
                        <a:cubicBezTo>
                          <a:pt x="189862" y="63246"/>
                          <a:pt x="189471" y="53969"/>
                          <a:pt x="182518" y="53826"/>
                        </a:cubicBezTo>
                        <a:cubicBezTo>
                          <a:pt x="180261" y="54721"/>
                          <a:pt x="178622" y="55159"/>
                          <a:pt x="177832" y="57445"/>
                        </a:cubicBezTo>
                        <a:close/>
                        <a:moveTo>
                          <a:pt x="120558" y="57693"/>
                        </a:moveTo>
                        <a:cubicBezTo>
                          <a:pt x="119548" y="60931"/>
                          <a:pt x="122606" y="64713"/>
                          <a:pt x="125901" y="64103"/>
                        </a:cubicBezTo>
                        <a:cubicBezTo>
                          <a:pt x="131883" y="62998"/>
                          <a:pt x="131636" y="54054"/>
                          <a:pt x="124511" y="54245"/>
                        </a:cubicBezTo>
                        <a:cubicBezTo>
                          <a:pt x="122672" y="55074"/>
                          <a:pt x="121177" y="55693"/>
                          <a:pt x="120558" y="57693"/>
                        </a:cubicBezTo>
                        <a:close/>
                        <a:moveTo>
                          <a:pt x="236420" y="58103"/>
                        </a:moveTo>
                        <a:cubicBezTo>
                          <a:pt x="235553" y="61160"/>
                          <a:pt x="238525" y="63903"/>
                          <a:pt x="241516" y="63113"/>
                        </a:cubicBezTo>
                        <a:cubicBezTo>
                          <a:pt x="245974" y="61932"/>
                          <a:pt x="245335" y="54807"/>
                          <a:pt x="239878" y="54978"/>
                        </a:cubicBezTo>
                        <a:cubicBezTo>
                          <a:pt x="238239" y="55674"/>
                          <a:pt x="236925" y="56321"/>
                          <a:pt x="236420" y="58103"/>
                        </a:cubicBezTo>
                        <a:close/>
                        <a:moveTo>
                          <a:pt x="65008" y="57693"/>
                        </a:moveTo>
                        <a:cubicBezTo>
                          <a:pt x="63856" y="59626"/>
                          <a:pt x="65751" y="62455"/>
                          <a:pt x="67970" y="62046"/>
                        </a:cubicBezTo>
                        <a:cubicBezTo>
                          <a:pt x="71438" y="61417"/>
                          <a:pt x="71361" y="56016"/>
                          <a:pt x="67313" y="56045"/>
                        </a:cubicBezTo>
                        <a:cubicBezTo>
                          <a:pt x="66284" y="56493"/>
                          <a:pt x="65541" y="56798"/>
                          <a:pt x="65008" y="57693"/>
                        </a:cubicBezTo>
                        <a:close/>
                        <a:moveTo>
                          <a:pt x="155972" y="60646"/>
                        </a:moveTo>
                        <a:cubicBezTo>
                          <a:pt x="153829" y="64103"/>
                          <a:pt x="156248" y="68475"/>
                          <a:pt x="159506" y="69113"/>
                        </a:cubicBezTo>
                        <a:cubicBezTo>
                          <a:pt x="167592" y="70685"/>
                          <a:pt x="168783" y="57950"/>
                          <a:pt x="160325" y="58017"/>
                        </a:cubicBezTo>
                        <a:cubicBezTo>
                          <a:pt x="158353" y="58807"/>
                          <a:pt x="157001" y="58988"/>
                          <a:pt x="155972" y="60646"/>
                        </a:cubicBezTo>
                        <a:close/>
                        <a:moveTo>
                          <a:pt x="297313" y="58674"/>
                        </a:moveTo>
                        <a:cubicBezTo>
                          <a:pt x="297313" y="58864"/>
                          <a:pt x="297313" y="59055"/>
                          <a:pt x="297313" y="59255"/>
                        </a:cubicBezTo>
                        <a:cubicBezTo>
                          <a:pt x="297447" y="59417"/>
                          <a:pt x="297590" y="59579"/>
                          <a:pt x="297723" y="59750"/>
                        </a:cubicBezTo>
                        <a:cubicBezTo>
                          <a:pt x="297942" y="59779"/>
                          <a:pt x="298161" y="59807"/>
                          <a:pt x="298380" y="59836"/>
                        </a:cubicBezTo>
                        <a:cubicBezTo>
                          <a:pt x="298542" y="59703"/>
                          <a:pt x="298704" y="59560"/>
                          <a:pt x="298875" y="59426"/>
                        </a:cubicBezTo>
                        <a:cubicBezTo>
                          <a:pt x="298895" y="59207"/>
                          <a:pt x="298923" y="58988"/>
                          <a:pt x="298952" y="58769"/>
                        </a:cubicBezTo>
                        <a:cubicBezTo>
                          <a:pt x="298761" y="58607"/>
                          <a:pt x="298571" y="58436"/>
                          <a:pt x="298380" y="58274"/>
                        </a:cubicBezTo>
                        <a:cubicBezTo>
                          <a:pt x="298180" y="58245"/>
                          <a:pt x="297999" y="58217"/>
                          <a:pt x="297799" y="58188"/>
                        </a:cubicBezTo>
                        <a:cubicBezTo>
                          <a:pt x="297647" y="58350"/>
                          <a:pt x="297475" y="58512"/>
                          <a:pt x="297313" y="58674"/>
                        </a:cubicBezTo>
                        <a:close/>
                        <a:moveTo>
                          <a:pt x="213417" y="62455"/>
                        </a:moveTo>
                        <a:cubicBezTo>
                          <a:pt x="212522" y="65932"/>
                          <a:pt x="215589" y="69218"/>
                          <a:pt x="219085" y="68532"/>
                        </a:cubicBezTo>
                        <a:cubicBezTo>
                          <a:pt x="224904" y="67408"/>
                          <a:pt x="224476" y="58398"/>
                          <a:pt x="217522" y="58588"/>
                        </a:cubicBezTo>
                        <a:cubicBezTo>
                          <a:pt x="215560" y="59569"/>
                          <a:pt x="214008" y="60150"/>
                          <a:pt x="213417" y="62455"/>
                        </a:cubicBezTo>
                        <a:close/>
                        <a:moveTo>
                          <a:pt x="98612" y="62617"/>
                        </a:moveTo>
                        <a:cubicBezTo>
                          <a:pt x="97917" y="65541"/>
                          <a:pt x="100946" y="68590"/>
                          <a:pt x="103622" y="68123"/>
                        </a:cubicBezTo>
                        <a:cubicBezTo>
                          <a:pt x="109347" y="67123"/>
                          <a:pt x="109004" y="58826"/>
                          <a:pt x="102556" y="58998"/>
                        </a:cubicBezTo>
                        <a:cubicBezTo>
                          <a:pt x="100603" y="59827"/>
                          <a:pt x="99136" y="60417"/>
                          <a:pt x="98612" y="62617"/>
                        </a:cubicBezTo>
                        <a:close/>
                        <a:moveTo>
                          <a:pt x="273234" y="62617"/>
                        </a:moveTo>
                        <a:cubicBezTo>
                          <a:pt x="272415" y="64703"/>
                          <a:pt x="274729" y="66770"/>
                          <a:pt x="276606" y="66237"/>
                        </a:cubicBezTo>
                        <a:cubicBezTo>
                          <a:pt x="279721" y="65342"/>
                          <a:pt x="279254" y="60550"/>
                          <a:pt x="275292" y="60731"/>
                        </a:cubicBezTo>
                        <a:cubicBezTo>
                          <a:pt x="274453" y="61227"/>
                          <a:pt x="273606" y="61674"/>
                          <a:pt x="273234" y="62617"/>
                        </a:cubicBezTo>
                        <a:close/>
                        <a:moveTo>
                          <a:pt x="43472" y="63275"/>
                        </a:moveTo>
                        <a:cubicBezTo>
                          <a:pt x="43529" y="64637"/>
                          <a:pt x="44510" y="65475"/>
                          <a:pt x="46025" y="65408"/>
                        </a:cubicBezTo>
                        <a:cubicBezTo>
                          <a:pt x="46577" y="64856"/>
                          <a:pt x="47044" y="64618"/>
                          <a:pt x="47425" y="63846"/>
                        </a:cubicBezTo>
                        <a:cubicBezTo>
                          <a:pt x="47473" y="62341"/>
                          <a:pt x="46596" y="61436"/>
                          <a:pt x="45120" y="61465"/>
                        </a:cubicBezTo>
                        <a:cubicBezTo>
                          <a:pt x="44282" y="61998"/>
                          <a:pt x="43834" y="62265"/>
                          <a:pt x="43472" y="63275"/>
                        </a:cubicBezTo>
                        <a:close/>
                        <a:moveTo>
                          <a:pt x="133293" y="66151"/>
                        </a:moveTo>
                        <a:cubicBezTo>
                          <a:pt x="131893" y="69656"/>
                          <a:pt x="134664" y="73019"/>
                          <a:pt x="137398" y="73542"/>
                        </a:cubicBezTo>
                        <a:cubicBezTo>
                          <a:pt x="145609" y="75124"/>
                          <a:pt x="146713" y="62284"/>
                          <a:pt x="138141" y="62446"/>
                        </a:cubicBezTo>
                        <a:cubicBezTo>
                          <a:pt x="135731" y="63370"/>
                          <a:pt x="134217" y="63837"/>
                          <a:pt x="133293" y="66151"/>
                        </a:cubicBezTo>
                        <a:close/>
                        <a:moveTo>
                          <a:pt x="190814" y="66151"/>
                        </a:moveTo>
                        <a:cubicBezTo>
                          <a:pt x="189376" y="69685"/>
                          <a:pt x="192253" y="73133"/>
                          <a:pt x="194843" y="73628"/>
                        </a:cubicBezTo>
                        <a:cubicBezTo>
                          <a:pt x="202902" y="75162"/>
                          <a:pt x="204559" y="62236"/>
                          <a:pt x="195424" y="62455"/>
                        </a:cubicBezTo>
                        <a:cubicBezTo>
                          <a:pt x="193195" y="63360"/>
                          <a:pt x="191710" y="63970"/>
                          <a:pt x="190814" y="66151"/>
                        </a:cubicBezTo>
                        <a:close/>
                        <a:moveTo>
                          <a:pt x="77248" y="66484"/>
                        </a:moveTo>
                        <a:cubicBezTo>
                          <a:pt x="76152" y="69180"/>
                          <a:pt x="78572" y="72495"/>
                          <a:pt x="81439" y="71990"/>
                        </a:cubicBezTo>
                        <a:cubicBezTo>
                          <a:pt x="86115" y="71171"/>
                          <a:pt x="85963" y="64017"/>
                          <a:pt x="80696" y="63941"/>
                        </a:cubicBezTo>
                        <a:cubicBezTo>
                          <a:pt x="79134" y="64570"/>
                          <a:pt x="77867" y="64960"/>
                          <a:pt x="77248" y="66484"/>
                        </a:cubicBezTo>
                        <a:close/>
                        <a:moveTo>
                          <a:pt x="249812" y="66894"/>
                        </a:moveTo>
                        <a:cubicBezTo>
                          <a:pt x="248936" y="69713"/>
                          <a:pt x="251546" y="72504"/>
                          <a:pt x="254251" y="71990"/>
                        </a:cubicBezTo>
                        <a:cubicBezTo>
                          <a:pt x="258842" y="71114"/>
                          <a:pt x="258861" y="63779"/>
                          <a:pt x="253346" y="63941"/>
                        </a:cubicBezTo>
                        <a:cubicBezTo>
                          <a:pt x="251612" y="64618"/>
                          <a:pt x="250384" y="65084"/>
                          <a:pt x="249812" y="66894"/>
                        </a:cubicBezTo>
                        <a:close/>
                        <a:moveTo>
                          <a:pt x="170269" y="67637"/>
                        </a:moveTo>
                        <a:cubicBezTo>
                          <a:pt x="167126" y="69952"/>
                          <a:pt x="168307" y="75086"/>
                          <a:pt x="169774" y="78648"/>
                        </a:cubicBezTo>
                        <a:cubicBezTo>
                          <a:pt x="170869" y="78857"/>
                          <a:pt x="176584" y="77676"/>
                          <a:pt x="177832" y="77248"/>
                        </a:cubicBezTo>
                        <a:cubicBezTo>
                          <a:pt x="178489" y="77019"/>
                          <a:pt x="179441" y="76219"/>
                          <a:pt x="179718" y="75609"/>
                        </a:cubicBezTo>
                        <a:cubicBezTo>
                          <a:pt x="180080" y="74819"/>
                          <a:pt x="179975" y="73438"/>
                          <a:pt x="179794" y="72571"/>
                        </a:cubicBezTo>
                        <a:cubicBezTo>
                          <a:pt x="179079" y="69009"/>
                          <a:pt x="178041" y="66427"/>
                          <a:pt x="173793" y="66494"/>
                        </a:cubicBezTo>
                        <a:cubicBezTo>
                          <a:pt x="172564" y="67018"/>
                          <a:pt x="171250" y="66913"/>
                          <a:pt x="170269" y="67637"/>
                        </a:cubicBezTo>
                        <a:close/>
                        <a:moveTo>
                          <a:pt x="111185" y="71247"/>
                        </a:moveTo>
                        <a:cubicBezTo>
                          <a:pt x="110204" y="74943"/>
                          <a:pt x="113690" y="78600"/>
                          <a:pt x="117519" y="77743"/>
                        </a:cubicBezTo>
                        <a:cubicBezTo>
                          <a:pt x="123749" y="76333"/>
                          <a:pt x="123215" y="66951"/>
                          <a:pt x="115462" y="67142"/>
                        </a:cubicBezTo>
                        <a:cubicBezTo>
                          <a:pt x="113405" y="68170"/>
                          <a:pt x="111833" y="68837"/>
                          <a:pt x="111185" y="71247"/>
                        </a:cubicBezTo>
                        <a:close/>
                        <a:moveTo>
                          <a:pt x="226647" y="71085"/>
                        </a:moveTo>
                        <a:cubicBezTo>
                          <a:pt x="225657" y="74285"/>
                          <a:pt x="228895" y="77972"/>
                          <a:pt x="231819" y="77495"/>
                        </a:cubicBezTo>
                        <a:cubicBezTo>
                          <a:pt x="238249" y="76448"/>
                          <a:pt x="237963" y="67227"/>
                          <a:pt x="231077" y="67389"/>
                        </a:cubicBezTo>
                        <a:cubicBezTo>
                          <a:pt x="228943" y="68285"/>
                          <a:pt x="227352" y="68818"/>
                          <a:pt x="226647" y="71085"/>
                        </a:cubicBezTo>
                        <a:close/>
                        <a:moveTo>
                          <a:pt x="55721" y="71495"/>
                        </a:moveTo>
                        <a:cubicBezTo>
                          <a:pt x="55064" y="73571"/>
                          <a:pt x="57112" y="75905"/>
                          <a:pt x="59169" y="75524"/>
                        </a:cubicBezTo>
                        <a:cubicBezTo>
                          <a:pt x="62960" y="74819"/>
                          <a:pt x="62760" y="69018"/>
                          <a:pt x="58179" y="69199"/>
                        </a:cubicBezTo>
                        <a:cubicBezTo>
                          <a:pt x="57102" y="69799"/>
                          <a:pt x="56121" y="70228"/>
                          <a:pt x="55721" y="71495"/>
                        </a:cubicBezTo>
                        <a:close/>
                        <a:moveTo>
                          <a:pt x="286883" y="71495"/>
                        </a:moveTo>
                        <a:cubicBezTo>
                          <a:pt x="286140" y="73238"/>
                          <a:pt x="287998" y="75219"/>
                          <a:pt x="289760" y="74781"/>
                        </a:cubicBezTo>
                        <a:cubicBezTo>
                          <a:pt x="292522" y="74104"/>
                          <a:pt x="292237" y="69771"/>
                          <a:pt x="288693" y="69933"/>
                        </a:cubicBezTo>
                        <a:cubicBezTo>
                          <a:pt x="288007" y="70333"/>
                          <a:pt x="287198" y="70752"/>
                          <a:pt x="286883" y="71495"/>
                        </a:cubicBezTo>
                        <a:close/>
                        <a:moveTo>
                          <a:pt x="146028" y="74457"/>
                        </a:moveTo>
                        <a:cubicBezTo>
                          <a:pt x="145037" y="77695"/>
                          <a:pt x="148952" y="82191"/>
                          <a:pt x="145456" y="83658"/>
                        </a:cubicBezTo>
                        <a:cubicBezTo>
                          <a:pt x="144085" y="84230"/>
                          <a:pt x="137179" y="85658"/>
                          <a:pt x="136417" y="84649"/>
                        </a:cubicBezTo>
                        <a:cubicBezTo>
                          <a:pt x="134388" y="81944"/>
                          <a:pt x="136141" y="78096"/>
                          <a:pt x="132883" y="76105"/>
                        </a:cubicBezTo>
                        <a:cubicBezTo>
                          <a:pt x="131807" y="75448"/>
                          <a:pt x="130130" y="75162"/>
                          <a:pt x="128444" y="75524"/>
                        </a:cubicBezTo>
                        <a:cubicBezTo>
                          <a:pt x="127759" y="75771"/>
                          <a:pt x="127083" y="76019"/>
                          <a:pt x="126397" y="76267"/>
                        </a:cubicBezTo>
                        <a:cubicBezTo>
                          <a:pt x="125473" y="76829"/>
                          <a:pt x="124387" y="78057"/>
                          <a:pt x="124015" y="79143"/>
                        </a:cubicBezTo>
                        <a:cubicBezTo>
                          <a:pt x="123158" y="81620"/>
                          <a:pt x="124930" y="86658"/>
                          <a:pt x="126644" y="87192"/>
                        </a:cubicBezTo>
                        <a:cubicBezTo>
                          <a:pt x="129207" y="87992"/>
                          <a:pt x="132617" y="85315"/>
                          <a:pt x="135436" y="86039"/>
                        </a:cubicBezTo>
                        <a:cubicBezTo>
                          <a:pt x="136846" y="86716"/>
                          <a:pt x="136846" y="88763"/>
                          <a:pt x="137246" y="90478"/>
                        </a:cubicBezTo>
                        <a:cubicBezTo>
                          <a:pt x="137474" y="91459"/>
                          <a:pt x="137951" y="92659"/>
                          <a:pt x="137655" y="93850"/>
                        </a:cubicBezTo>
                        <a:cubicBezTo>
                          <a:pt x="137084" y="96212"/>
                          <a:pt x="133921" y="98593"/>
                          <a:pt x="130588" y="98041"/>
                        </a:cubicBezTo>
                        <a:cubicBezTo>
                          <a:pt x="124635" y="97069"/>
                          <a:pt x="127702" y="92307"/>
                          <a:pt x="125168" y="89087"/>
                        </a:cubicBezTo>
                        <a:cubicBezTo>
                          <a:pt x="123911" y="87487"/>
                          <a:pt x="120596" y="88678"/>
                          <a:pt x="118834" y="89087"/>
                        </a:cubicBezTo>
                        <a:cubicBezTo>
                          <a:pt x="117615" y="89373"/>
                          <a:pt x="116786" y="89449"/>
                          <a:pt x="115957" y="90078"/>
                        </a:cubicBezTo>
                        <a:cubicBezTo>
                          <a:pt x="112766" y="92478"/>
                          <a:pt x="116881" y="96707"/>
                          <a:pt x="115633" y="99774"/>
                        </a:cubicBezTo>
                        <a:cubicBezTo>
                          <a:pt x="114300" y="103022"/>
                          <a:pt x="108842" y="101346"/>
                          <a:pt x="106509" y="103308"/>
                        </a:cubicBezTo>
                        <a:cubicBezTo>
                          <a:pt x="104194" y="105261"/>
                          <a:pt x="107309" y="108909"/>
                          <a:pt x="106756" y="111852"/>
                        </a:cubicBezTo>
                        <a:cubicBezTo>
                          <a:pt x="106156" y="115062"/>
                          <a:pt x="103279" y="115043"/>
                          <a:pt x="100184" y="115795"/>
                        </a:cubicBezTo>
                        <a:cubicBezTo>
                          <a:pt x="99346" y="115995"/>
                          <a:pt x="98079" y="116405"/>
                          <a:pt x="97060" y="116129"/>
                        </a:cubicBezTo>
                        <a:cubicBezTo>
                          <a:pt x="93897" y="114481"/>
                          <a:pt x="97307" y="105004"/>
                          <a:pt x="89497" y="106432"/>
                        </a:cubicBezTo>
                        <a:cubicBezTo>
                          <a:pt x="88897" y="106594"/>
                          <a:pt x="88297" y="106756"/>
                          <a:pt x="87697" y="106918"/>
                        </a:cubicBezTo>
                        <a:cubicBezTo>
                          <a:pt x="86801" y="107251"/>
                          <a:pt x="85935" y="107709"/>
                          <a:pt x="85401" y="108404"/>
                        </a:cubicBezTo>
                        <a:cubicBezTo>
                          <a:pt x="83077" y="111376"/>
                          <a:pt x="84049" y="117300"/>
                          <a:pt x="87868" y="118100"/>
                        </a:cubicBezTo>
                        <a:cubicBezTo>
                          <a:pt x="89554" y="118453"/>
                          <a:pt x="93526" y="117119"/>
                          <a:pt x="95345" y="116862"/>
                        </a:cubicBezTo>
                        <a:cubicBezTo>
                          <a:pt x="96593" y="117719"/>
                          <a:pt x="96650" y="118577"/>
                          <a:pt x="97069" y="120320"/>
                        </a:cubicBezTo>
                        <a:cubicBezTo>
                          <a:pt x="97889" y="123739"/>
                          <a:pt x="98403" y="127359"/>
                          <a:pt x="94926" y="128454"/>
                        </a:cubicBezTo>
                        <a:cubicBezTo>
                          <a:pt x="92793" y="129121"/>
                          <a:pt x="88611" y="128826"/>
                          <a:pt x="87859" y="130835"/>
                        </a:cubicBezTo>
                        <a:cubicBezTo>
                          <a:pt x="87639" y="131426"/>
                          <a:pt x="87992" y="132226"/>
                          <a:pt x="88106" y="132731"/>
                        </a:cubicBezTo>
                        <a:cubicBezTo>
                          <a:pt x="88725" y="135388"/>
                          <a:pt x="89926" y="139417"/>
                          <a:pt x="87782" y="141027"/>
                        </a:cubicBezTo>
                        <a:cubicBezTo>
                          <a:pt x="85535" y="142723"/>
                          <a:pt x="80686" y="141675"/>
                          <a:pt x="79400" y="144313"/>
                        </a:cubicBezTo>
                        <a:cubicBezTo>
                          <a:pt x="78057" y="147056"/>
                          <a:pt x="81353" y="151562"/>
                          <a:pt x="80629" y="154257"/>
                        </a:cubicBezTo>
                        <a:cubicBezTo>
                          <a:pt x="75076" y="155353"/>
                          <a:pt x="69037" y="155496"/>
                          <a:pt x="71018" y="163049"/>
                        </a:cubicBezTo>
                        <a:cubicBezTo>
                          <a:pt x="71247" y="163916"/>
                          <a:pt x="71599" y="164725"/>
                          <a:pt x="72085" y="165354"/>
                        </a:cubicBezTo>
                        <a:cubicBezTo>
                          <a:pt x="74990" y="169116"/>
                          <a:pt x="78648" y="164821"/>
                          <a:pt x="81867" y="166011"/>
                        </a:cubicBezTo>
                        <a:cubicBezTo>
                          <a:pt x="83915" y="166773"/>
                          <a:pt x="84239" y="170907"/>
                          <a:pt x="84658" y="173250"/>
                        </a:cubicBezTo>
                        <a:cubicBezTo>
                          <a:pt x="85535" y="178060"/>
                          <a:pt x="79877" y="176860"/>
                          <a:pt x="77095" y="178175"/>
                        </a:cubicBezTo>
                        <a:cubicBezTo>
                          <a:pt x="74428" y="179442"/>
                          <a:pt x="74571" y="183613"/>
                          <a:pt x="75781" y="186557"/>
                        </a:cubicBezTo>
                        <a:cubicBezTo>
                          <a:pt x="78276" y="192662"/>
                          <a:pt x="86220" y="184718"/>
                          <a:pt x="88106" y="190586"/>
                        </a:cubicBezTo>
                        <a:cubicBezTo>
                          <a:pt x="88849" y="192891"/>
                          <a:pt x="89926" y="197291"/>
                          <a:pt x="88021" y="198720"/>
                        </a:cubicBezTo>
                        <a:cubicBezTo>
                          <a:pt x="87192" y="199339"/>
                          <a:pt x="86106" y="199339"/>
                          <a:pt x="84896" y="199625"/>
                        </a:cubicBezTo>
                        <a:cubicBezTo>
                          <a:pt x="80724" y="200625"/>
                          <a:pt x="78467" y="201406"/>
                          <a:pt x="79715" y="206778"/>
                        </a:cubicBezTo>
                        <a:cubicBezTo>
                          <a:pt x="79991" y="207521"/>
                          <a:pt x="80267" y="208255"/>
                          <a:pt x="80534" y="208998"/>
                        </a:cubicBezTo>
                        <a:cubicBezTo>
                          <a:pt x="82029" y="211407"/>
                          <a:pt x="84706" y="211360"/>
                          <a:pt x="87925" y="210645"/>
                        </a:cubicBezTo>
                        <a:cubicBezTo>
                          <a:pt x="88725" y="210474"/>
                          <a:pt x="90440" y="209750"/>
                          <a:pt x="91211" y="210236"/>
                        </a:cubicBezTo>
                        <a:cubicBezTo>
                          <a:pt x="93983" y="211969"/>
                          <a:pt x="92078" y="218656"/>
                          <a:pt x="95164" y="220180"/>
                        </a:cubicBezTo>
                        <a:cubicBezTo>
                          <a:pt x="98384" y="221771"/>
                          <a:pt x="102708" y="216846"/>
                          <a:pt x="105518" y="221085"/>
                        </a:cubicBezTo>
                        <a:cubicBezTo>
                          <a:pt x="106070" y="221913"/>
                          <a:pt x="107270" y="227238"/>
                          <a:pt x="107080" y="228562"/>
                        </a:cubicBezTo>
                        <a:cubicBezTo>
                          <a:pt x="106994" y="229162"/>
                          <a:pt x="106299" y="229791"/>
                          <a:pt x="105851" y="230038"/>
                        </a:cubicBezTo>
                        <a:cubicBezTo>
                          <a:pt x="103918" y="231134"/>
                          <a:pt x="100746" y="230505"/>
                          <a:pt x="99031" y="231762"/>
                        </a:cubicBezTo>
                        <a:cubicBezTo>
                          <a:pt x="96364" y="233724"/>
                          <a:pt x="97060" y="238973"/>
                          <a:pt x="99355" y="240802"/>
                        </a:cubicBezTo>
                        <a:cubicBezTo>
                          <a:pt x="102032" y="242935"/>
                          <a:pt x="108128" y="242192"/>
                          <a:pt x="108966" y="238744"/>
                        </a:cubicBezTo>
                        <a:cubicBezTo>
                          <a:pt x="109633" y="236029"/>
                          <a:pt x="107118" y="233239"/>
                          <a:pt x="107899" y="230686"/>
                        </a:cubicBezTo>
                        <a:cubicBezTo>
                          <a:pt x="108290" y="229410"/>
                          <a:pt x="114510" y="227781"/>
                          <a:pt x="116443" y="228467"/>
                        </a:cubicBezTo>
                        <a:cubicBezTo>
                          <a:pt x="117348" y="228781"/>
                          <a:pt x="118424" y="229676"/>
                          <a:pt x="118910" y="230438"/>
                        </a:cubicBezTo>
                        <a:cubicBezTo>
                          <a:pt x="119596" y="231496"/>
                          <a:pt x="120720" y="236849"/>
                          <a:pt x="119815" y="238077"/>
                        </a:cubicBezTo>
                        <a:cubicBezTo>
                          <a:pt x="117491" y="241240"/>
                          <a:pt x="109290" y="238134"/>
                          <a:pt x="110452" y="244897"/>
                        </a:cubicBezTo>
                        <a:cubicBezTo>
                          <a:pt x="110614" y="245612"/>
                          <a:pt x="110776" y="246326"/>
                          <a:pt x="110938" y="247040"/>
                        </a:cubicBezTo>
                        <a:cubicBezTo>
                          <a:pt x="111242" y="248012"/>
                          <a:pt x="111595" y="248822"/>
                          <a:pt x="112252" y="249422"/>
                        </a:cubicBezTo>
                        <a:cubicBezTo>
                          <a:pt x="114852" y="251793"/>
                          <a:pt x="121368" y="251365"/>
                          <a:pt x="122272" y="247612"/>
                        </a:cubicBezTo>
                        <a:cubicBezTo>
                          <a:pt x="123063" y="244373"/>
                          <a:pt x="119520" y="240525"/>
                          <a:pt x="122358" y="238573"/>
                        </a:cubicBezTo>
                        <a:cubicBezTo>
                          <a:pt x="123168" y="238020"/>
                          <a:pt x="124282" y="238001"/>
                          <a:pt x="125397" y="237744"/>
                        </a:cubicBezTo>
                        <a:cubicBezTo>
                          <a:pt x="131293" y="236430"/>
                          <a:pt x="132045" y="238258"/>
                          <a:pt x="133207" y="243421"/>
                        </a:cubicBezTo>
                        <a:cubicBezTo>
                          <a:pt x="133407" y="244316"/>
                          <a:pt x="133902" y="245745"/>
                          <a:pt x="133617" y="246793"/>
                        </a:cubicBezTo>
                        <a:cubicBezTo>
                          <a:pt x="131778" y="250307"/>
                          <a:pt x="122311" y="246374"/>
                          <a:pt x="123835" y="254270"/>
                        </a:cubicBezTo>
                        <a:cubicBezTo>
                          <a:pt x="124053" y="255003"/>
                          <a:pt x="124273" y="255746"/>
                          <a:pt x="124492" y="256489"/>
                        </a:cubicBezTo>
                        <a:cubicBezTo>
                          <a:pt x="124930" y="257556"/>
                          <a:pt x="125587" y="258347"/>
                          <a:pt x="126464" y="258947"/>
                        </a:cubicBezTo>
                        <a:cubicBezTo>
                          <a:pt x="129635" y="261166"/>
                          <a:pt x="134884" y="259023"/>
                          <a:pt x="135502" y="255832"/>
                        </a:cubicBezTo>
                        <a:cubicBezTo>
                          <a:pt x="136055" y="252994"/>
                          <a:pt x="134121" y="250622"/>
                          <a:pt x="134512" y="248021"/>
                        </a:cubicBezTo>
                        <a:cubicBezTo>
                          <a:pt x="137103" y="246383"/>
                          <a:pt x="144094" y="244535"/>
                          <a:pt x="145685" y="248098"/>
                        </a:cubicBezTo>
                        <a:cubicBezTo>
                          <a:pt x="146809" y="250622"/>
                          <a:pt x="146047" y="254241"/>
                          <a:pt x="148314" y="255575"/>
                        </a:cubicBezTo>
                        <a:cubicBezTo>
                          <a:pt x="150524" y="256880"/>
                          <a:pt x="155667" y="253984"/>
                          <a:pt x="158172" y="254508"/>
                        </a:cubicBezTo>
                        <a:cubicBezTo>
                          <a:pt x="159325" y="256527"/>
                          <a:pt x="158991" y="260004"/>
                          <a:pt x="160220" y="262061"/>
                        </a:cubicBezTo>
                        <a:cubicBezTo>
                          <a:pt x="162192" y="265347"/>
                          <a:pt x="168307" y="264757"/>
                          <a:pt x="170412" y="261899"/>
                        </a:cubicBezTo>
                        <a:cubicBezTo>
                          <a:pt x="172183" y="259499"/>
                          <a:pt x="169631" y="256546"/>
                          <a:pt x="170002" y="253841"/>
                        </a:cubicBezTo>
                        <a:cubicBezTo>
                          <a:pt x="170393" y="251003"/>
                          <a:pt x="174793" y="250803"/>
                          <a:pt x="177479" y="250307"/>
                        </a:cubicBezTo>
                        <a:cubicBezTo>
                          <a:pt x="182070" y="249460"/>
                          <a:pt x="181118" y="254870"/>
                          <a:pt x="182251" y="257623"/>
                        </a:cubicBezTo>
                        <a:cubicBezTo>
                          <a:pt x="183423" y="260471"/>
                          <a:pt x="187595" y="260471"/>
                          <a:pt x="190633" y="259175"/>
                        </a:cubicBezTo>
                        <a:cubicBezTo>
                          <a:pt x="196253" y="256794"/>
                          <a:pt x="190881" y="252155"/>
                          <a:pt x="192519" y="248574"/>
                        </a:cubicBezTo>
                        <a:cubicBezTo>
                          <a:pt x="193348" y="246755"/>
                          <a:pt x="195862" y="246793"/>
                          <a:pt x="198025" y="246269"/>
                        </a:cubicBezTo>
                        <a:cubicBezTo>
                          <a:pt x="198930" y="246050"/>
                          <a:pt x="200368" y="245431"/>
                          <a:pt x="201644" y="245774"/>
                        </a:cubicBezTo>
                        <a:cubicBezTo>
                          <a:pt x="203997" y="246412"/>
                          <a:pt x="203473" y="250346"/>
                          <a:pt x="204273" y="252593"/>
                        </a:cubicBezTo>
                        <a:cubicBezTo>
                          <a:pt x="205178" y="255137"/>
                          <a:pt x="208169" y="256013"/>
                          <a:pt x="211341" y="255137"/>
                        </a:cubicBezTo>
                        <a:cubicBezTo>
                          <a:pt x="212160" y="254908"/>
                          <a:pt x="213065" y="254422"/>
                          <a:pt x="213636" y="253908"/>
                        </a:cubicBezTo>
                        <a:cubicBezTo>
                          <a:pt x="214303" y="253308"/>
                          <a:pt x="215046" y="252279"/>
                          <a:pt x="215274" y="251279"/>
                        </a:cubicBezTo>
                        <a:cubicBezTo>
                          <a:pt x="215751" y="249279"/>
                          <a:pt x="214236" y="244097"/>
                          <a:pt x="212979" y="243554"/>
                        </a:cubicBezTo>
                        <a:cubicBezTo>
                          <a:pt x="210931" y="242659"/>
                          <a:pt x="207083" y="245097"/>
                          <a:pt x="204844" y="244783"/>
                        </a:cubicBezTo>
                        <a:cubicBezTo>
                          <a:pt x="201539" y="244316"/>
                          <a:pt x="200663" y="237525"/>
                          <a:pt x="202549" y="235087"/>
                        </a:cubicBezTo>
                        <a:cubicBezTo>
                          <a:pt x="204388" y="232705"/>
                          <a:pt x="209864" y="231848"/>
                          <a:pt x="211912" y="234591"/>
                        </a:cubicBezTo>
                        <a:cubicBezTo>
                          <a:pt x="213160" y="236258"/>
                          <a:pt x="212636" y="239192"/>
                          <a:pt x="213550" y="241249"/>
                        </a:cubicBezTo>
                        <a:cubicBezTo>
                          <a:pt x="214579" y="243516"/>
                          <a:pt x="221304" y="242078"/>
                          <a:pt x="222999" y="240840"/>
                        </a:cubicBezTo>
                        <a:cubicBezTo>
                          <a:pt x="226523" y="238277"/>
                          <a:pt x="222104" y="234029"/>
                          <a:pt x="223580" y="230810"/>
                        </a:cubicBezTo>
                        <a:cubicBezTo>
                          <a:pt x="225009" y="227705"/>
                          <a:pt x="231495" y="229505"/>
                          <a:pt x="233277" y="226790"/>
                        </a:cubicBezTo>
                        <a:cubicBezTo>
                          <a:pt x="234591" y="224790"/>
                          <a:pt x="231239" y="220075"/>
                          <a:pt x="232877" y="217418"/>
                        </a:cubicBezTo>
                        <a:cubicBezTo>
                          <a:pt x="234572" y="214655"/>
                          <a:pt x="241230" y="215779"/>
                          <a:pt x="242326" y="213474"/>
                        </a:cubicBezTo>
                        <a:cubicBezTo>
                          <a:pt x="243354" y="211303"/>
                          <a:pt x="240030" y="206712"/>
                          <a:pt x="241745" y="204025"/>
                        </a:cubicBezTo>
                        <a:cubicBezTo>
                          <a:pt x="243507" y="201273"/>
                          <a:pt x="249869" y="202635"/>
                          <a:pt x="251031" y="199834"/>
                        </a:cubicBezTo>
                        <a:cubicBezTo>
                          <a:pt x="252127" y="197196"/>
                          <a:pt x="248698" y="192748"/>
                          <a:pt x="250289" y="190471"/>
                        </a:cubicBezTo>
                        <a:cubicBezTo>
                          <a:pt x="252203" y="187738"/>
                          <a:pt x="258080" y="189728"/>
                          <a:pt x="259575" y="186033"/>
                        </a:cubicBezTo>
                        <a:cubicBezTo>
                          <a:pt x="260004" y="184966"/>
                          <a:pt x="259728" y="183594"/>
                          <a:pt x="259490" y="182585"/>
                        </a:cubicBezTo>
                        <a:cubicBezTo>
                          <a:pt x="258975" y="180337"/>
                          <a:pt x="258956" y="177784"/>
                          <a:pt x="256937" y="177079"/>
                        </a:cubicBezTo>
                        <a:cubicBezTo>
                          <a:pt x="254089" y="176079"/>
                          <a:pt x="250955" y="179337"/>
                          <a:pt x="248145" y="177241"/>
                        </a:cubicBezTo>
                        <a:cubicBezTo>
                          <a:pt x="245364" y="175165"/>
                          <a:pt x="245088" y="168993"/>
                          <a:pt x="248145" y="167135"/>
                        </a:cubicBezTo>
                        <a:cubicBezTo>
                          <a:pt x="250260" y="165849"/>
                          <a:pt x="253708" y="166240"/>
                          <a:pt x="255622" y="164916"/>
                        </a:cubicBezTo>
                        <a:cubicBezTo>
                          <a:pt x="256184" y="162477"/>
                          <a:pt x="253537" y="156963"/>
                          <a:pt x="254308" y="155219"/>
                        </a:cubicBezTo>
                        <a:cubicBezTo>
                          <a:pt x="255232" y="153133"/>
                          <a:pt x="258975" y="153638"/>
                          <a:pt x="261214" y="152838"/>
                        </a:cubicBezTo>
                        <a:cubicBezTo>
                          <a:pt x="265414" y="151324"/>
                          <a:pt x="264328" y="144447"/>
                          <a:pt x="261376" y="142399"/>
                        </a:cubicBezTo>
                        <a:cubicBezTo>
                          <a:pt x="258861" y="140646"/>
                          <a:pt x="253584" y="143970"/>
                          <a:pt x="252013" y="142475"/>
                        </a:cubicBezTo>
                        <a:cubicBezTo>
                          <a:pt x="250012" y="140580"/>
                          <a:pt x="251088" y="134169"/>
                          <a:pt x="248888" y="132617"/>
                        </a:cubicBezTo>
                        <a:cubicBezTo>
                          <a:pt x="248078" y="132045"/>
                          <a:pt x="246412" y="132731"/>
                          <a:pt x="245516" y="132940"/>
                        </a:cubicBezTo>
                        <a:cubicBezTo>
                          <a:pt x="242145" y="133721"/>
                          <a:pt x="239087" y="133626"/>
                          <a:pt x="237792" y="130883"/>
                        </a:cubicBezTo>
                        <a:cubicBezTo>
                          <a:pt x="237572" y="130064"/>
                          <a:pt x="237354" y="129245"/>
                          <a:pt x="237134" y="128416"/>
                        </a:cubicBezTo>
                        <a:cubicBezTo>
                          <a:pt x="235220" y="120663"/>
                          <a:pt x="242078" y="123530"/>
                          <a:pt x="245431" y="121015"/>
                        </a:cubicBezTo>
                        <a:cubicBezTo>
                          <a:pt x="247279" y="119634"/>
                          <a:pt x="246459" y="115319"/>
                          <a:pt x="245593" y="113214"/>
                        </a:cubicBezTo>
                        <a:cubicBezTo>
                          <a:pt x="243202" y="107375"/>
                          <a:pt x="237268" y="113500"/>
                          <a:pt x="234334" y="111242"/>
                        </a:cubicBezTo>
                        <a:cubicBezTo>
                          <a:pt x="231991" y="109433"/>
                          <a:pt x="233410" y="103727"/>
                          <a:pt x="230962" y="101956"/>
                        </a:cubicBezTo>
                        <a:cubicBezTo>
                          <a:pt x="228619" y="100260"/>
                          <a:pt x="223914" y="103994"/>
                          <a:pt x="221351" y="102127"/>
                        </a:cubicBezTo>
                        <a:cubicBezTo>
                          <a:pt x="218932" y="100355"/>
                          <a:pt x="220199" y="95536"/>
                          <a:pt x="218227" y="93335"/>
                        </a:cubicBezTo>
                        <a:cubicBezTo>
                          <a:pt x="216170" y="91030"/>
                          <a:pt x="211017" y="95059"/>
                          <a:pt x="208283" y="93421"/>
                        </a:cubicBezTo>
                        <a:cubicBezTo>
                          <a:pt x="205492" y="91754"/>
                          <a:pt x="206893" y="86068"/>
                          <a:pt x="204340" y="84220"/>
                        </a:cubicBezTo>
                        <a:cubicBezTo>
                          <a:pt x="202044" y="82563"/>
                          <a:pt x="197644" y="85963"/>
                          <a:pt x="194967" y="84963"/>
                        </a:cubicBezTo>
                        <a:cubicBezTo>
                          <a:pt x="191376" y="83620"/>
                          <a:pt x="194710" y="73990"/>
                          <a:pt x="187823" y="75181"/>
                        </a:cubicBezTo>
                        <a:cubicBezTo>
                          <a:pt x="185547" y="75571"/>
                          <a:pt x="182146" y="75924"/>
                          <a:pt x="181327" y="77810"/>
                        </a:cubicBezTo>
                        <a:cubicBezTo>
                          <a:pt x="179880" y="81162"/>
                          <a:pt x="184461" y="84630"/>
                          <a:pt x="180508" y="87668"/>
                        </a:cubicBezTo>
                        <a:cubicBezTo>
                          <a:pt x="179794" y="88211"/>
                          <a:pt x="179070" y="88392"/>
                          <a:pt x="178041" y="88659"/>
                        </a:cubicBezTo>
                        <a:cubicBezTo>
                          <a:pt x="171936" y="90211"/>
                          <a:pt x="171460" y="87192"/>
                          <a:pt x="170316" y="82496"/>
                        </a:cubicBezTo>
                        <a:cubicBezTo>
                          <a:pt x="170050" y="81372"/>
                          <a:pt x="169774" y="80248"/>
                          <a:pt x="169497" y="79124"/>
                        </a:cubicBezTo>
                        <a:cubicBezTo>
                          <a:pt x="166640" y="78600"/>
                          <a:pt x="162992" y="80629"/>
                          <a:pt x="159468" y="80601"/>
                        </a:cubicBezTo>
                        <a:cubicBezTo>
                          <a:pt x="155962" y="77476"/>
                          <a:pt x="159058" y="70771"/>
                          <a:pt x="151990" y="70818"/>
                        </a:cubicBezTo>
                        <a:cubicBezTo>
                          <a:pt x="149362" y="71990"/>
                          <a:pt x="146952" y="71447"/>
                          <a:pt x="146028" y="74457"/>
                        </a:cubicBezTo>
                        <a:close/>
                        <a:moveTo>
                          <a:pt x="203968" y="74619"/>
                        </a:moveTo>
                        <a:cubicBezTo>
                          <a:pt x="202720" y="77572"/>
                          <a:pt x="204987" y="82220"/>
                          <a:pt x="207331" y="82677"/>
                        </a:cubicBezTo>
                        <a:cubicBezTo>
                          <a:pt x="208464" y="82896"/>
                          <a:pt x="209607" y="82372"/>
                          <a:pt x="210455" y="82182"/>
                        </a:cubicBezTo>
                        <a:cubicBezTo>
                          <a:pt x="217970" y="80496"/>
                          <a:pt x="215989" y="71047"/>
                          <a:pt x="208893" y="71085"/>
                        </a:cubicBezTo>
                        <a:cubicBezTo>
                          <a:pt x="206664" y="71980"/>
                          <a:pt x="204864" y="72485"/>
                          <a:pt x="203968" y="74619"/>
                        </a:cubicBezTo>
                        <a:close/>
                        <a:moveTo>
                          <a:pt x="89573" y="75524"/>
                        </a:moveTo>
                        <a:cubicBezTo>
                          <a:pt x="88449" y="79048"/>
                          <a:pt x="91783" y="82458"/>
                          <a:pt x="95250" y="81686"/>
                        </a:cubicBezTo>
                        <a:cubicBezTo>
                          <a:pt x="100879" y="80429"/>
                          <a:pt x="100489" y="71790"/>
                          <a:pt x="93364" y="71990"/>
                        </a:cubicBezTo>
                        <a:cubicBezTo>
                          <a:pt x="91650" y="72857"/>
                          <a:pt x="90192" y="73600"/>
                          <a:pt x="89573" y="75524"/>
                        </a:cubicBezTo>
                        <a:close/>
                        <a:moveTo>
                          <a:pt x="263376" y="75438"/>
                        </a:moveTo>
                        <a:cubicBezTo>
                          <a:pt x="262319" y="78057"/>
                          <a:pt x="264690" y="81201"/>
                          <a:pt x="267653" y="80620"/>
                        </a:cubicBezTo>
                        <a:cubicBezTo>
                          <a:pt x="272006" y="79762"/>
                          <a:pt x="271720" y="72971"/>
                          <a:pt x="266833" y="72895"/>
                        </a:cubicBezTo>
                        <a:cubicBezTo>
                          <a:pt x="265204" y="73504"/>
                          <a:pt x="264005" y="73895"/>
                          <a:pt x="263376" y="75438"/>
                        </a:cubicBezTo>
                        <a:close/>
                        <a:moveTo>
                          <a:pt x="36243" y="78810"/>
                        </a:moveTo>
                        <a:cubicBezTo>
                          <a:pt x="39300" y="78915"/>
                          <a:pt x="39214" y="74628"/>
                          <a:pt x="36243" y="74695"/>
                        </a:cubicBezTo>
                        <a:cubicBezTo>
                          <a:pt x="34299" y="75867"/>
                          <a:pt x="33852" y="77733"/>
                          <a:pt x="36243" y="78810"/>
                        </a:cubicBezTo>
                        <a:close/>
                        <a:moveTo>
                          <a:pt x="239878" y="80372"/>
                        </a:moveTo>
                        <a:cubicBezTo>
                          <a:pt x="239106" y="83582"/>
                          <a:pt x="242564" y="86887"/>
                          <a:pt x="245793" y="86211"/>
                        </a:cubicBezTo>
                        <a:cubicBezTo>
                          <a:pt x="251384" y="85030"/>
                          <a:pt x="251117" y="76152"/>
                          <a:pt x="244069" y="76352"/>
                        </a:cubicBezTo>
                        <a:cubicBezTo>
                          <a:pt x="242049" y="77248"/>
                          <a:pt x="240430" y="78057"/>
                          <a:pt x="239878" y="80372"/>
                        </a:cubicBezTo>
                        <a:close/>
                        <a:moveTo>
                          <a:pt x="68046" y="80210"/>
                        </a:moveTo>
                        <a:cubicBezTo>
                          <a:pt x="67170" y="83306"/>
                          <a:pt x="70104" y="86106"/>
                          <a:pt x="73057" y="85382"/>
                        </a:cubicBezTo>
                        <a:cubicBezTo>
                          <a:pt x="77762" y="84239"/>
                          <a:pt x="77343" y="76905"/>
                          <a:pt x="71494" y="77086"/>
                        </a:cubicBezTo>
                        <a:cubicBezTo>
                          <a:pt x="69894" y="77810"/>
                          <a:pt x="68551" y="78419"/>
                          <a:pt x="68046" y="80210"/>
                        </a:cubicBezTo>
                        <a:close/>
                        <a:moveTo>
                          <a:pt x="300599" y="80782"/>
                        </a:moveTo>
                        <a:cubicBezTo>
                          <a:pt x="300571" y="82191"/>
                          <a:pt x="301238" y="82744"/>
                          <a:pt x="302162" y="83163"/>
                        </a:cubicBezTo>
                        <a:cubicBezTo>
                          <a:pt x="305133" y="83287"/>
                          <a:pt x="305172" y="79143"/>
                          <a:pt x="302323" y="79143"/>
                        </a:cubicBezTo>
                        <a:cubicBezTo>
                          <a:pt x="301485" y="79610"/>
                          <a:pt x="301028" y="79896"/>
                          <a:pt x="300599" y="80782"/>
                        </a:cubicBezTo>
                        <a:close/>
                        <a:moveTo>
                          <a:pt x="217199" y="83249"/>
                        </a:moveTo>
                        <a:cubicBezTo>
                          <a:pt x="216760" y="84249"/>
                          <a:pt x="217075" y="85506"/>
                          <a:pt x="217275" y="86449"/>
                        </a:cubicBezTo>
                        <a:cubicBezTo>
                          <a:pt x="217827" y="89011"/>
                          <a:pt x="217999" y="91192"/>
                          <a:pt x="220647" y="91630"/>
                        </a:cubicBezTo>
                        <a:cubicBezTo>
                          <a:pt x="221685" y="91440"/>
                          <a:pt x="222723" y="91250"/>
                          <a:pt x="223771" y="91059"/>
                        </a:cubicBezTo>
                        <a:cubicBezTo>
                          <a:pt x="224819" y="90821"/>
                          <a:pt x="225657" y="90811"/>
                          <a:pt x="226400" y="90316"/>
                        </a:cubicBezTo>
                        <a:cubicBezTo>
                          <a:pt x="231077" y="87201"/>
                          <a:pt x="228067" y="79829"/>
                          <a:pt x="221799" y="79962"/>
                        </a:cubicBezTo>
                        <a:cubicBezTo>
                          <a:pt x="219808" y="80810"/>
                          <a:pt x="218046" y="81324"/>
                          <a:pt x="217199" y="83249"/>
                        </a:cubicBezTo>
                        <a:close/>
                        <a:moveTo>
                          <a:pt x="102146" y="84068"/>
                        </a:moveTo>
                        <a:cubicBezTo>
                          <a:pt x="101079" y="87497"/>
                          <a:pt x="103918" y="91983"/>
                          <a:pt x="107652" y="91297"/>
                        </a:cubicBezTo>
                        <a:cubicBezTo>
                          <a:pt x="109737" y="90916"/>
                          <a:pt x="111709" y="90440"/>
                          <a:pt x="112662" y="88916"/>
                        </a:cubicBezTo>
                        <a:cubicBezTo>
                          <a:pt x="115291" y="84706"/>
                          <a:pt x="111300" y="79943"/>
                          <a:pt x="106832" y="80039"/>
                        </a:cubicBezTo>
                        <a:cubicBezTo>
                          <a:pt x="104613" y="81048"/>
                          <a:pt x="102908" y="81658"/>
                          <a:pt x="102146" y="84068"/>
                        </a:cubicBezTo>
                        <a:close/>
                        <a:moveTo>
                          <a:pt x="159506" y="86449"/>
                        </a:moveTo>
                        <a:cubicBezTo>
                          <a:pt x="159668" y="87154"/>
                          <a:pt x="160049" y="88068"/>
                          <a:pt x="159839" y="89078"/>
                        </a:cubicBezTo>
                        <a:cubicBezTo>
                          <a:pt x="159268" y="91850"/>
                          <a:pt x="155477" y="94498"/>
                          <a:pt x="151867" y="93107"/>
                        </a:cubicBezTo>
                        <a:cubicBezTo>
                          <a:pt x="150904" y="92735"/>
                          <a:pt x="149885" y="92069"/>
                          <a:pt x="149323" y="91297"/>
                        </a:cubicBezTo>
                        <a:cubicBezTo>
                          <a:pt x="148123" y="89649"/>
                          <a:pt x="147238" y="84677"/>
                          <a:pt x="148990" y="83325"/>
                        </a:cubicBezTo>
                        <a:cubicBezTo>
                          <a:pt x="150743" y="81982"/>
                          <a:pt x="154029" y="82410"/>
                          <a:pt x="156220" y="81515"/>
                        </a:cubicBezTo>
                        <a:cubicBezTo>
                          <a:pt x="158915" y="81867"/>
                          <a:pt x="158944" y="83963"/>
                          <a:pt x="159506" y="86449"/>
                        </a:cubicBezTo>
                        <a:close/>
                        <a:moveTo>
                          <a:pt x="276854" y="84887"/>
                        </a:moveTo>
                        <a:cubicBezTo>
                          <a:pt x="276215" y="87144"/>
                          <a:pt x="278444" y="89592"/>
                          <a:pt x="280635" y="89240"/>
                        </a:cubicBezTo>
                        <a:cubicBezTo>
                          <a:pt x="284817" y="88583"/>
                          <a:pt x="284864" y="81934"/>
                          <a:pt x="279892" y="82096"/>
                        </a:cubicBezTo>
                        <a:cubicBezTo>
                          <a:pt x="278482" y="82725"/>
                          <a:pt x="277292" y="83334"/>
                          <a:pt x="276854" y="84887"/>
                        </a:cubicBezTo>
                        <a:close/>
                        <a:moveTo>
                          <a:pt x="46844" y="84563"/>
                        </a:moveTo>
                        <a:cubicBezTo>
                          <a:pt x="45968" y="86897"/>
                          <a:pt x="48330" y="89459"/>
                          <a:pt x="50702" y="88840"/>
                        </a:cubicBezTo>
                        <a:cubicBezTo>
                          <a:pt x="54283" y="87897"/>
                          <a:pt x="53959" y="82248"/>
                          <a:pt x="49311" y="82429"/>
                        </a:cubicBezTo>
                        <a:cubicBezTo>
                          <a:pt x="48282" y="82934"/>
                          <a:pt x="47254" y="83468"/>
                          <a:pt x="46844" y="84563"/>
                        </a:cubicBezTo>
                        <a:close/>
                        <a:moveTo>
                          <a:pt x="80458" y="88916"/>
                        </a:moveTo>
                        <a:cubicBezTo>
                          <a:pt x="79419" y="92631"/>
                          <a:pt x="83344" y="96060"/>
                          <a:pt x="86868" y="95079"/>
                        </a:cubicBezTo>
                        <a:cubicBezTo>
                          <a:pt x="92412" y="93535"/>
                          <a:pt x="91573" y="84868"/>
                          <a:pt x="84649" y="85058"/>
                        </a:cubicBezTo>
                        <a:cubicBezTo>
                          <a:pt x="82610" y="85982"/>
                          <a:pt x="81096" y="86649"/>
                          <a:pt x="80458" y="88916"/>
                        </a:cubicBezTo>
                        <a:close/>
                        <a:moveTo>
                          <a:pt x="253517" y="88754"/>
                        </a:moveTo>
                        <a:cubicBezTo>
                          <a:pt x="252403" y="91983"/>
                          <a:pt x="255470" y="95545"/>
                          <a:pt x="258775" y="94917"/>
                        </a:cubicBezTo>
                        <a:cubicBezTo>
                          <a:pt x="264328" y="93859"/>
                          <a:pt x="264243" y="85220"/>
                          <a:pt x="257708" y="85382"/>
                        </a:cubicBezTo>
                        <a:cubicBezTo>
                          <a:pt x="255670" y="86192"/>
                          <a:pt x="254222" y="86697"/>
                          <a:pt x="253517" y="88754"/>
                        </a:cubicBezTo>
                        <a:close/>
                        <a:moveTo>
                          <a:pt x="194843" y="90068"/>
                        </a:moveTo>
                        <a:cubicBezTo>
                          <a:pt x="195063" y="91050"/>
                          <a:pt x="195606" y="92278"/>
                          <a:pt x="195339" y="93602"/>
                        </a:cubicBezTo>
                        <a:cubicBezTo>
                          <a:pt x="194872" y="95907"/>
                          <a:pt x="192034" y="98327"/>
                          <a:pt x="188681" y="97707"/>
                        </a:cubicBezTo>
                        <a:cubicBezTo>
                          <a:pt x="185118" y="97060"/>
                          <a:pt x="181908" y="91954"/>
                          <a:pt x="184737" y="88259"/>
                        </a:cubicBezTo>
                        <a:cubicBezTo>
                          <a:pt x="186042" y="86544"/>
                          <a:pt x="188643" y="87106"/>
                          <a:pt x="190728" y="86125"/>
                        </a:cubicBezTo>
                        <a:cubicBezTo>
                          <a:pt x="193891" y="86039"/>
                          <a:pt x="194281" y="87554"/>
                          <a:pt x="194843" y="90068"/>
                        </a:cubicBezTo>
                        <a:close/>
                        <a:moveTo>
                          <a:pt x="25727" y="89735"/>
                        </a:moveTo>
                        <a:cubicBezTo>
                          <a:pt x="25441" y="90916"/>
                          <a:pt x="26937" y="92402"/>
                          <a:pt x="28194" y="92040"/>
                        </a:cubicBezTo>
                        <a:cubicBezTo>
                          <a:pt x="30385" y="91402"/>
                          <a:pt x="30089" y="87944"/>
                          <a:pt x="27289" y="88097"/>
                        </a:cubicBezTo>
                        <a:cubicBezTo>
                          <a:pt x="26641" y="88497"/>
                          <a:pt x="25927" y="88916"/>
                          <a:pt x="25727" y="89735"/>
                        </a:cubicBezTo>
                        <a:close/>
                        <a:moveTo>
                          <a:pt x="314573" y="90145"/>
                        </a:moveTo>
                        <a:cubicBezTo>
                          <a:pt x="314954" y="90678"/>
                          <a:pt x="315182" y="90926"/>
                          <a:pt x="315725" y="91297"/>
                        </a:cubicBezTo>
                        <a:cubicBezTo>
                          <a:pt x="316573" y="91202"/>
                          <a:pt x="316754" y="90783"/>
                          <a:pt x="317125" y="90230"/>
                        </a:cubicBezTo>
                        <a:cubicBezTo>
                          <a:pt x="317078" y="89373"/>
                          <a:pt x="316544" y="88840"/>
                          <a:pt x="315725" y="88754"/>
                        </a:cubicBezTo>
                        <a:cubicBezTo>
                          <a:pt x="315144" y="89125"/>
                          <a:pt x="314715" y="89335"/>
                          <a:pt x="314573" y="90145"/>
                        </a:cubicBezTo>
                        <a:close/>
                        <a:moveTo>
                          <a:pt x="230505" y="92288"/>
                        </a:moveTo>
                        <a:cubicBezTo>
                          <a:pt x="229333" y="95240"/>
                          <a:pt x="231648" y="99879"/>
                          <a:pt x="233791" y="100336"/>
                        </a:cubicBezTo>
                        <a:cubicBezTo>
                          <a:pt x="235001" y="100594"/>
                          <a:pt x="236220" y="100117"/>
                          <a:pt x="237077" y="99927"/>
                        </a:cubicBezTo>
                        <a:cubicBezTo>
                          <a:pt x="244059" y="98346"/>
                          <a:pt x="242688" y="88697"/>
                          <a:pt x="235515" y="88830"/>
                        </a:cubicBezTo>
                        <a:cubicBezTo>
                          <a:pt x="233239" y="89706"/>
                          <a:pt x="231381" y="90097"/>
                          <a:pt x="230505" y="92288"/>
                        </a:cubicBezTo>
                        <a:close/>
                        <a:moveTo>
                          <a:pt x="59169" y="93354"/>
                        </a:moveTo>
                        <a:cubicBezTo>
                          <a:pt x="58245" y="96403"/>
                          <a:pt x="61141" y="99641"/>
                          <a:pt x="64427" y="98698"/>
                        </a:cubicBezTo>
                        <a:cubicBezTo>
                          <a:pt x="69094" y="97355"/>
                          <a:pt x="68475" y="90126"/>
                          <a:pt x="62455" y="90316"/>
                        </a:cubicBezTo>
                        <a:cubicBezTo>
                          <a:pt x="60960" y="91069"/>
                          <a:pt x="59684" y="91659"/>
                          <a:pt x="59169" y="93354"/>
                        </a:cubicBezTo>
                        <a:close/>
                        <a:moveTo>
                          <a:pt x="168135" y="101822"/>
                        </a:moveTo>
                        <a:cubicBezTo>
                          <a:pt x="164135" y="102594"/>
                          <a:pt x="160668" y="98050"/>
                          <a:pt x="162211" y="94259"/>
                        </a:cubicBezTo>
                        <a:cubicBezTo>
                          <a:pt x="163144" y="91973"/>
                          <a:pt x="164744" y="91850"/>
                          <a:pt x="167059" y="90887"/>
                        </a:cubicBezTo>
                        <a:cubicBezTo>
                          <a:pt x="174374" y="90726"/>
                          <a:pt x="174517" y="100584"/>
                          <a:pt x="168135" y="101822"/>
                        </a:cubicBezTo>
                        <a:close/>
                        <a:moveTo>
                          <a:pt x="290579" y="93850"/>
                        </a:moveTo>
                        <a:cubicBezTo>
                          <a:pt x="290055" y="95974"/>
                          <a:pt x="292037" y="98012"/>
                          <a:pt x="294027" y="97631"/>
                        </a:cubicBezTo>
                        <a:cubicBezTo>
                          <a:pt x="297609" y="96945"/>
                          <a:pt x="297523" y="91440"/>
                          <a:pt x="293456" y="91383"/>
                        </a:cubicBezTo>
                        <a:cubicBezTo>
                          <a:pt x="292075" y="91916"/>
                          <a:pt x="290941" y="92364"/>
                          <a:pt x="290579" y="93850"/>
                        </a:cubicBezTo>
                        <a:close/>
                        <a:moveTo>
                          <a:pt x="93193" y="96974"/>
                        </a:moveTo>
                        <a:cubicBezTo>
                          <a:pt x="91792" y="100412"/>
                          <a:pt x="94412" y="104318"/>
                          <a:pt x="96974" y="104775"/>
                        </a:cubicBezTo>
                        <a:cubicBezTo>
                          <a:pt x="98145" y="104985"/>
                          <a:pt x="99479" y="104432"/>
                          <a:pt x="100422" y="104204"/>
                        </a:cubicBezTo>
                        <a:cubicBezTo>
                          <a:pt x="102222" y="103765"/>
                          <a:pt x="103975" y="103689"/>
                          <a:pt x="104613" y="102146"/>
                        </a:cubicBezTo>
                        <a:cubicBezTo>
                          <a:pt x="104994" y="101232"/>
                          <a:pt x="104518" y="99879"/>
                          <a:pt x="104365" y="99184"/>
                        </a:cubicBezTo>
                        <a:cubicBezTo>
                          <a:pt x="103537" y="95450"/>
                          <a:pt x="102908" y="93031"/>
                          <a:pt x="98365" y="93107"/>
                        </a:cubicBezTo>
                        <a:cubicBezTo>
                          <a:pt x="95860" y="94174"/>
                          <a:pt x="94212" y="94478"/>
                          <a:pt x="93193" y="96974"/>
                        </a:cubicBezTo>
                        <a:close/>
                        <a:moveTo>
                          <a:pt x="267072" y="97707"/>
                        </a:moveTo>
                        <a:cubicBezTo>
                          <a:pt x="266052" y="100975"/>
                          <a:pt x="269043" y="104013"/>
                          <a:pt x="272244" y="103384"/>
                        </a:cubicBezTo>
                        <a:cubicBezTo>
                          <a:pt x="277339" y="102384"/>
                          <a:pt x="276930" y="94421"/>
                          <a:pt x="271015" y="94507"/>
                        </a:cubicBezTo>
                        <a:cubicBezTo>
                          <a:pt x="269148" y="95279"/>
                          <a:pt x="267691" y="95736"/>
                          <a:pt x="267072" y="97707"/>
                        </a:cubicBezTo>
                        <a:close/>
                        <a:moveTo>
                          <a:pt x="202159" y="106499"/>
                        </a:moveTo>
                        <a:cubicBezTo>
                          <a:pt x="198796" y="105880"/>
                          <a:pt x="195710" y="101632"/>
                          <a:pt x="198053" y="97784"/>
                        </a:cubicBezTo>
                        <a:cubicBezTo>
                          <a:pt x="199254" y="95812"/>
                          <a:pt x="201016" y="96107"/>
                          <a:pt x="203311" y="95155"/>
                        </a:cubicBezTo>
                        <a:cubicBezTo>
                          <a:pt x="211026" y="94974"/>
                          <a:pt x="209778" y="107909"/>
                          <a:pt x="202159" y="106499"/>
                        </a:cubicBezTo>
                        <a:close/>
                        <a:moveTo>
                          <a:pt x="145456" y="106251"/>
                        </a:moveTo>
                        <a:cubicBezTo>
                          <a:pt x="142046" y="106813"/>
                          <a:pt x="138836" y="102794"/>
                          <a:pt x="139789" y="99346"/>
                        </a:cubicBezTo>
                        <a:cubicBezTo>
                          <a:pt x="140465" y="96898"/>
                          <a:pt x="142189" y="96384"/>
                          <a:pt x="144389" y="95402"/>
                        </a:cubicBezTo>
                        <a:cubicBezTo>
                          <a:pt x="152305" y="95231"/>
                          <a:pt x="152295" y="105127"/>
                          <a:pt x="145456" y="106251"/>
                        </a:cubicBezTo>
                        <a:close/>
                        <a:moveTo>
                          <a:pt x="37976" y="98041"/>
                        </a:moveTo>
                        <a:cubicBezTo>
                          <a:pt x="37300" y="100146"/>
                          <a:pt x="39348" y="102480"/>
                          <a:pt x="41338" y="102146"/>
                        </a:cubicBezTo>
                        <a:cubicBezTo>
                          <a:pt x="45206" y="101508"/>
                          <a:pt x="45139" y="95774"/>
                          <a:pt x="40757" y="95736"/>
                        </a:cubicBezTo>
                        <a:cubicBezTo>
                          <a:pt x="39453" y="96307"/>
                          <a:pt x="38414" y="96650"/>
                          <a:pt x="37976" y="98041"/>
                        </a:cubicBezTo>
                        <a:close/>
                        <a:moveTo>
                          <a:pt x="243821" y="101898"/>
                        </a:moveTo>
                        <a:cubicBezTo>
                          <a:pt x="242640" y="106080"/>
                          <a:pt x="246440" y="109823"/>
                          <a:pt x="250393" y="108880"/>
                        </a:cubicBezTo>
                        <a:cubicBezTo>
                          <a:pt x="256870" y="107347"/>
                          <a:pt x="256061" y="97679"/>
                          <a:pt x="248250" y="97869"/>
                        </a:cubicBezTo>
                        <a:cubicBezTo>
                          <a:pt x="246221" y="98898"/>
                          <a:pt x="244478" y="99546"/>
                          <a:pt x="243821" y="101898"/>
                        </a:cubicBezTo>
                        <a:close/>
                        <a:moveTo>
                          <a:pt x="71580" y="102146"/>
                        </a:moveTo>
                        <a:cubicBezTo>
                          <a:pt x="70599" y="105356"/>
                          <a:pt x="73857" y="109128"/>
                          <a:pt x="77162" y="108556"/>
                        </a:cubicBezTo>
                        <a:cubicBezTo>
                          <a:pt x="83572" y="107442"/>
                          <a:pt x="83144" y="98136"/>
                          <a:pt x="76257" y="98203"/>
                        </a:cubicBezTo>
                        <a:cubicBezTo>
                          <a:pt x="73876" y="99146"/>
                          <a:pt x="72342" y="99651"/>
                          <a:pt x="71580" y="102146"/>
                        </a:cubicBezTo>
                        <a:close/>
                        <a:moveTo>
                          <a:pt x="122282" y="111023"/>
                        </a:moveTo>
                        <a:cubicBezTo>
                          <a:pt x="119034" y="110480"/>
                          <a:pt x="118158" y="108985"/>
                          <a:pt x="117357" y="105928"/>
                        </a:cubicBezTo>
                        <a:cubicBezTo>
                          <a:pt x="116977" y="104470"/>
                          <a:pt x="116967" y="102822"/>
                          <a:pt x="117767" y="101737"/>
                        </a:cubicBezTo>
                        <a:cubicBezTo>
                          <a:pt x="118996" y="100041"/>
                          <a:pt x="121339" y="100470"/>
                          <a:pt x="123434" y="99593"/>
                        </a:cubicBezTo>
                        <a:cubicBezTo>
                          <a:pt x="130693" y="99470"/>
                          <a:pt x="129730" y="112262"/>
                          <a:pt x="122282" y="111023"/>
                        </a:cubicBezTo>
                        <a:close/>
                        <a:moveTo>
                          <a:pt x="181365" y="110280"/>
                        </a:moveTo>
                        <a:cubicBezTo>
                          <a:pt x="177708" y="110947"/>
                          <a:pt x="174803" y="107232"/>
                          <a:pt x="175784" y="103794"/>
                        </a:cubicBezTo>
                        <a:cubicBezTo>
                          <a:pt x="176393" y="101632"/>
                          <a:pt x="177984" y="101022"/>
                          <a:pt x="179975" y="100184"/>
                        </a:cubicBezTo>
                        <a:cubicBezTo>
                          <a:pt x="187319" y="100003"/>
                          <a:pt x="187547" y="109176"/>
                          <a:pt x="181365" y="110280"/>
                        </a:cubicBezTo>
                        <a:close/>
                        <a:moveTo>
                          <a:pt x="304552" y="102556"/>
                        </a:moveTo>
                        <a:cubicBezTo>
                          <a:pt x="303895" y="104165"/>
                          <a:pt x="305429" y="106318"/>
                          <a:pt x="307267" y="105928"/>
                        </a:cubicBezTo>
                        <a:cubicBezTo>
                          <a:pt x="310210" y="105299"/>
                          <a:pt x="310144" y="100660"/>
                          <a:pt x="306448" y="100832"/>
                        </a:cubicBezTo>
                        <a:cubicBezTo>
                          <a:pt x="305629" y="101289"/>
                          <a:pt x="304905" y="101679"/>
                          <a:pt x="304552" y="102556"/>
                        </a:cubicBezTo>
                        <a:close/>
                        <a:moveTo>
                          <a:pt x="17097" y="103051"/>
                        </a:moveTo>
                        <a:cubicBezTo>
                          <a:pt x="17078" y="104318"/>
                          <a:pt x="17764" y="104842"/>
                          <a:pt x="18659" y="105194"/>
                        </a:cubicBezTo>
                        <a:cubicBezTo>
                          <a:pt x="19907" y="105146"/>
                          <a:pt x="20593" y="104327"/>
                          <a:pt x="20717" y="103137"/>
                        </a:cubicBezTo>
                        <a:cubicBezTo>
                          <a:pt x="20231" y="102365"/>
                          <a:pt x="19907" y="101603"/>
                          <a:pt x="18659" y="101584"/>
                        </a:cubicBezTo>
                        <a:cubicBezTo>
                          <a:pt x="17945" y="102022"/>
                          <a:pt x="17488" y="102270"/>
                          <a:pt x="17097" y="103051"/>
                        </a:cubicBezTo>
                        <a:close/>
                        <a:moveTo>
                          <a:pt x="50302" y="106747"/>
                        </a:moveTo>
                        <a:cubicBezTo>
                          <a:pt x="49359" y="109890"/>
                          <a:pt x="52406" y="112728"/>
                          <a:pt x="55483" y="111919"/>
                        </a:cubicBezTo>
                        <a:cubicBezTo>
                          <a:pt x="60207" y="110690"/>
                          <a:pt x="59550" y="103451"/>
                          <a:pt x="53759" y="103622"/>
                        </a:cubicBezTo>
                        <a:cubicBezTo>
                          <a:pt x="52073" y="104365"/>
                          <a:pt x="50844" y="104927"/>
                          <a:pt x="50302" y="106747"/>
                        </a:cubicBezTo>
                        <a:close/>
                        <a:moveTo>
                          <a:pt x="280797" y="106832"/>
                        </a:moveTo>
                        <a:cubicBezTo>
                          <a:pt x="279997" y="109595"/>
                          <a:pt x="282588" y="112433"/>
                          <a:pt x="285397" y="111852"/>
                        </a:cubicBezTo>
                        <a:cubicBezTo>
                          <a:pt x="290103" y="110871"/>
                          <a:pt x="289884" y="103603"/>
                          <a:pt x="284007" y="103794"/>
                        </a:cubicBezTo>
                        <a:cubicBezTo>
                          <a:pt x="282530" y="104518"/>
                          <a:pt x="281292" y="105156"/>
                          <a:pt x="280797" y="106832"/>
                        </a:cubicBezTo>
                        <a:close/>
                        <a:moveTo>
                          <a:pt x="215960" y="115462"/>
                        </a:moveTo>
                        <a:cubicBezTo>
                          <a:pt x="212360" y="114891"/>
                          <a:pt x="208931" y="110890"/>
                          <a:pt x="211360" y="106832"/>
                        </a:cubicBezTo>
                        <a:cubicBezTo>
                          <a:pt x="212731" y="104537"/>
                          <a:pt x="214113" y="105080"/>
                          <a:pt x="216618" y="104042"/>
                        </a:cubicBezTo>
                        <a:cubicBezTo>
                          <a:pt x="224314" y="103861"/>
                          <a:pt x="223085" y="116596"/>
                          <a:pt x="215960" y="115462"/>
                        </a:cubicBezTo>
                        <a:close/>
                        <a:moveTo>
                          <a:pt x="158687" y="114472"/>
                        </a:moveTo>
                        <a:cubicBezTo>
                          <a:pt x="155686" y="114919"/>
                          <a:pt x="152828" y="111700"/>
                          <a:pt x="153762" y="108471"/>
                        </a:cubicBezTo>
                        <a:cubicBezTo>
                          <a:pt x="154429" y="106137"/>
                          <a:pt x="155838" y="105718"/>
                          <a:pt x="158029" y="104851"/>
                        </a:cubicBezTo>
                        <a:cubicBezTo>
                          <a:pt x="164554" y="104746"/>
                          <a:pt x="164906" y="113538"/>
                          <a:pt x="158687" y="114472"/>
                        </a:cubicBezTo>
                        <a:close/>
                        <a:moveTo>
                          <a:pt x="257461" y="110699"/>
                        </a:moveTo>
                        <a:cubicBezTo>
                          <a:pt x="256270" y="114129"/>
                          <a:pt x="259566" y="118262"/>
                          <a:pt x="263128" y="117596"/>
                        </a:cubicBezTo>
                        <a:cubicBezTo>
                          <a:pt x="269453" y="116415"/>
                          <a:pt x="269196" y="106890"/>
                          <a:pt x="262223" y="106994"/>
                        </a:cubicBezTo>
                        <a:cubicBezTo>
                          <a:pt x="259890" y="107899"/>
                          <a:pt x="258270" y="108337"/>
                          <a:pt x="257461" y="110699"/>
                        </a:cubicBezTo>
                        <a:close/>
                        <a:moveTo>
                          <a:pt x="29337" y="111185"/>
                        </a:moveTo>
                        <a:cubicBezTo>
                          <a:pt x="28565" y="113233"/>
                          <a:pt x="30451" y="115700"/>
                          <a:pt x="32623" y="115300"/>
                        </a:cubicBezTo>
                        <a:cubicBezTo>
                          <a:pt x="36186" y="114633"/>
                          <a:pt x="35843" y="109509"/>
                          <a:pt x="32128" y="109137"/>
                        </a:cubicBezTo>
                        <a:cubicBezTo>
                          <a:pt x="30880" y="109614"/>
                          <a:pt x="29804" y="109966"/>
                          <a:pt x="29337" y="111185"/>
                        </a:cubicBezTo>
                        <a:close/>
                        <a:moveTo>
                          <a:pt x="137074" y="119072"/>
                        </a:moveTo>
                        <a:cubicBezTo>
                          <a:pt x="133693" y="119805"/>
                          <a:pt x="130178" y="116567"/>
                          <a:pt x="131235" y="112909"/>
                        </a:cubicBezTo>
                        <a:cubicBezTo>
                          <a:pt x="131874" y="110709"/>
                          <a:pt x="133369" y="110033"/>
                          <a:pt x="135350" y="109128"/>
                        </a:cubicBezTo>
                        <a:cubicBezTo>
                          <a:pt x="142446" y="108966"/>
                          <a:pt x="142923" y="117815"/>
                          <a:pt x="137074" y="119072"/>
                        </a:cubicBezTo>
                        <a:close/>
                        <a:moveTo>
                          <a:pt x="195091" y="118910"/>
                        </a:moveTo>
                        <a:cubicBezTo>
                          <a:pt x="191653" y="119748"/>
                          <a:pt x="188366" y="116443"/>
                          <a:pt x="189338" y="112909"/>
                        </a:cubicBezTo>
                        <a:cubicBezTo>
                          <a:pt x="189938" y="110709"/>
                          <a:pt x="191510" y="110138"/>
                          <a:pt x="193529" y="109299"/>
                        </a:cubicBezTo>
                        <a:cubicBezTo>
                          <a:pt x="200158" y="109147"/>
                          <a:pt x="200577" y="117577"/>
                          <a:pt x="195091" y="118910"/>
                        </a:cubicBezTo>
                        <a:close/>
                        <a:moveTo>
                          <a:pt x="318516" y="111928"/>
                        </a:moveTo>
                        <a:cubicBezTo>
                          <a:pt x="318516" y="113100"/>
                          <a:pt x="319135" y="113614"/>
                          <a:pt x="319916" y="113986"/>
                        </a:cubicBezTo>
                        <a:cubicBezTo>
                          <a:pt x="321097" y="114033"/>
                          <a:pt x="322545" y="113033"/>
                          <a:pt x="321964" y="111766"/>
                        </a:cubicBezTo>
                        <a:cubicBezTo>
                          <a:pt x="321707" y="111014"/>
                          <a:pt x="321040" y="110442"/>
                          <a:pt x="319992" y="110452"/>
                        </a:cubicBezTo>
                        <a:cubicBezTo>
                          <a:pt x="319345" y="110890"/>
                          <a:pt x="318878" y="111195"/>
                          <a:pt x="318516" y="111928"/>
                        </a:cubicBezTo>
                        <a:close/>
                        <a:moveTo>
                          <a:pt x="62951" y="114805"/>
                        </a:moveTo>
                        <a:cubicBezTo>
                          <a:pt x="61608" y="118148"/>
                          <a:pt x="64684" y="122434"/>
                          <a:pt x="68123" y="121872"/>
                        </a:cubicBezTo>
                        <a:cubicBezTo>
                          <a:pt x="74476" y="120834"/>
                          <a:pt x="74295" y="111652"/>
                          <a:pt x="67628" y="111519"/>
                        </a:cubicBezTo>
                        <a:cubicBezTo>
                          <a:pt x="65408" y="112395"/>
                          <a:pt x="63827" y="112643"/>
                          <a:pt x="62951" y="114805"/>
                        </a:cubicBezTo>
                        <a:close/>
                        <a:moveTo>
                          <a:pt x="235029" y="118005"/>
                        </a:moveTo>
                        <a:cubicBezTo>
                          <a:pt x="235220" y="118824"/>
                          <a:pt x="235648" y="119901"/>
                          <a:pt x="235363" y="120967"/>
                        </a:cubicBezTo>
                        <a:cubicBezTo>
                          <a:pt x="234810" y="122977"/>
                          <a:pt x="231715" y="125063"/>
                          <a:pt x="228705" y="124501"/>
                        </a:cubicBezTo>
                        <a:cubicBezTo>
                          <a:pt x="224637" y="123739"/>
                          <a:pt x="222094" y="118167"/>
                          <a:pt x="225257" y="114643"/>
                        </a:cubicBezTo>
                        <a:cubicBezTo>
                          <a:pt x="226543" y="113214"/>
                          <a:pt x="228828" y="113595"/>
                          <a:pt x="230762" y="112757"/>
                        </a:cubicBezTo>
                        <a:cubicBezTo>
                          <a:pt x="234544" y="112652"/>
                          <a:pt x="234324" y="115033"/>
                          <a:pt x="235029" y="118005"/>
                        </a:cubicBezTo>
                        <a:close/>
                        <a:moveTo>
                          <a:pt x="114881" y="124168"/>
                        </a:moveTo>
                        <a:cubicBezTo>
                          <a:pt x="110738" y="125111"/>
                          <a:pt x="107061" y="120282"/>
                          <a:pt x="108633" y="116367"/>
                        </a:cubicBezTo>
                        <a:cubicBezTo>
                          <a:pt x="109709" y="113690"/>
                          <a:pt x="111233" y="114138"/>
                          <a:pt x="113814" y="113081"/>
                        </a:cubicBezTo>
                        <a:cubicBezTo>
                          <a:pt x="120967" y="112947"/>
                          <a:pt x="121053" y="122768"/>
                          <a:pt x="114881" y="124168"/>
                        </a:cubicBezTo>
                        <a:close/>
                        <a:moveTo>
                          <a:pt x="294608" y="115948"/>
                        </a:moveTo>
                        <a:cubicBezTo>
                          <a:pt x="294027" y="118300"/>
                          <a:pt x="296361" y="120558"/>
                          <a:pt x="298552" y="120139"/>
                        </a:cubicBezTo>
                        <a:cubicBezTo>
                          <a:pt x="302590" y="119367"/>
                          <a:pt x="302333" y="112995"/>
                          <a:pt x="297571" y="113157"/>
                        </a:cubicBezTo>
                        <a:cubicBezTo>
                          <a:pt x="296218" y="113757"/>
                          <a:pt x="294980" y="114433"/>
                          <a:pt x="294608" y="115948"/>
                        </a:cubicBezTo>
                        <a:close/>
                        <a:moveTo>
                          <a:pt x="172984" y="122691"/>
                        </a:moveTo>
                        <a:cubicBezTo>
                          <a:pt x="169774" y="123625"/>
                          <a:pt x="166678" y="120634"/>
                          <a:pt x="167640" y="117434"/>
                        </a:cubicBezTo>
                        <a:cubicBezTo>
                          <a:pt x="168154" y="115710"/>
                          <a:pt x="169440" y="115024"/>
                          <a:pt x="171012" y="114309"/>
                        </a:cubicBezTo>
                        <a:cubicBezTo>
                          <a:pt x="176936" y="114138"/>
                          <a:pt x="177660" y="121329"/>
                          <a:pt x="172984" y="122691"/>
                        </a:cubicBezTo>
                        <a:close/>
                        <a:moveTo>
                          <a:pt x="8554" y="116443"/>
                        </a:moveTo>
                        <a:cubicBezTo>
                          <a:pt x="8639" y="117386"/>
                          <a:pt x="9230" y="117948"/>
                          <a:pt x="10115" y="118091"/>
                        </a:cubicBezTo>
                        <a:cubicBezTo>
                          <a:pt x="10639" y="117834"/>
                          <a:pt x="11039" y="117586"/>
                          <a:pt x="11268" y="117024"/>
                        </a:cubicBezTo>
                        <a:cubicBezTo>
                          <a:pt x="11297" y="116776"/>
                          <a:pt x="11325" y="116529"/>
                          <a:pt x="11344" y="116281"/>
                        </a:cubicBezTo>
                        <a:cubicBezTo>
                          <a:pt x="10916" y="115767"/>
                          <a:pt x="10696" y="115281"/>
                          <a:pt x="9782" y="115214"/>
                        </a:cubicBezTo>
                        <a:cubicBezTo>
                          <a:pt x="9201" y="115605"/>
                          <a:pt x="8972" y="115910"/>
                          <a:pt x="8554" y="116443"/>
                        </a:cubicBezTo>
                        <a:close/>
                        <a:moveTo>
                          <a:pt x="271101" y="119815"/>
                        </a:moveTo>
                        <a:cubicBezTo>
                          <a:pt x="270110" y="123063"/>
                          <a:pt x="273425" y="126568"/>
                          <a:pt x="276520" y="125968"/>
                        </a:cubicBezTo>
                        <a:cubicBezTo>
                          <a:pt x="282254" y="124882"/>
                          <a:pt x="281959" y="116081"/>
                          <a:pt x="275130" y="116272"/>
                        </a:cubicBezTo>
                        <a:cubicBezTo>
                          <a:pt x="273253" y="117119"/>
                          <a:pt x="271729" y="117777"/>
                          <a:pt x="271101" y="119815"/>
                        </a:cubicBezTo>
                        <a:close/>
                        <a:moveTo>
                          <a:pt x="41662" y="119815"/>
                        </a:moveTo>
                        <a:cubicBezTo>
                          <a:pt x="40767" y="122606"/>
                          <a:pt x="43167" y="125778"/>
                          <a:pt x="46187" y="125158"/>
                        </a:cubicBezTo>
                        <a:cubicBezTo>
                          <a:pt x="50873" y="124177"/>
                          <a:pt x="50559" y="116843"/>
                          <a:pt x="44958" y="117024"/>
                        </a:cubicBezTo>
                        <a:cubicBezTo>
                          <a:pt x="43501" y="117738"/>
                          <a:pt x="42186" y="118196"/>
                          <a:pt x="41662" y="119815"/>
                        </a:cubicBezTo>
                        <a:close/>
                        <a:moveTo>
                          <a:pt x="207826" y="127949"/>
                        </a:moveTo>
                        <a:cubicBezTo>
                          <a:pt x="204778" y="128464"/>
                          <a:pt x="201835" y="124816"/>
                          <a:pt x="202730" y="121787"/>
                        </a:cubicBezTo>
                        <a:cubicBezTo>
                          <a:pt x="203425" y="119424"/>
                          <a:pt x="204854" y="119043"/>
                          <a:pt x="207093" y="118167"/>
                        </a:cubicBezTo>
                        <a:cubicBezTo>
                          <a:pt x="213751" y="118062"/>
                          <a:pt x="213951" y="126921"/>
                          <a:pt x="207826" y="127949"/>
                        </a:cubicBezTo>
                        <a:close/>
                        <a:moveTo>
                          <a:pt x="150143" y="127216"/>
                        </a:moveTo>
                        <a:cubicBezTo>
                          <a:pt x="147009" y="127835"/>
                          <a:pt x="144628" y="124663"/>
                          <a:pt x="145456" y="121796"/>
                        </a:cubicBezTo>
                        <a:cubicBezTo>
                          <a:pt x="145999" y="119920"/>
                          <a:pt x="147523" y="119443"/>
                          <a:pt x="149323" y="118758"/>
                        </a:cubicBezTo>
                        <a:cubicBezTo>
                          <a:pt x="154829" y="119120"/>
                          <a:pt x="155048" y="126235"/>
                          <a:pt x="150143" y="127216"/>
                        </a:cubicBezTo>
                        <a:close/>
                        <a:moveTo>
                          <a:pt x="75943" y="122606"/>
                        </a:moveTo>
                        <a:cubicBezTo>
                          <a:pt x="73961" y="125825"/>
                          <a:pt x="76086" y="130454"/>
                          <a:pt x="78895" y="131235"/>
                        </a:cubicBezTo>
                        <a:cubicBezTo>
                          <a:pt x="80819" y="131769"/>
                          <a:pt x="86668" y="130178"/>
                          <a:pt x="87030" y="129016"/>
                        </a:cubicBezTo>
                        <a:cubicBezTo>
                          <a:pt x="87373" y="127921"/>
                          <a:pt x="86792" y="126568"/>
                          <a:pt x="86620" y="125816"/>
                        </a:cubicBezTo>
                        <a:cubicBezTo>
                          <a:pt x="85820" y="122234"/>
                          <a:pt x="85658" y="119605"/>
                          <a:pt x="81277" y="119653"/>
                        </a:cubicBezTo>
                        <a:cubicBezTo>
                          <a:pt x="78515" y="120710"/>
                          <a:pt x="77476" y="120101"/>
                          <a:pt x="75943" y="122606"/>
                        </a:cubicBezTo>
                        <a:close/>
                        <a:moveTo>
                          <a:pt x="248831" y="121291"/>
                        </a:moveTo>
                        <a:cubicBezTo>
                          <a:pt x="246488" y="123168"/>
                          <a:pt x="249060" y="129330"/>
                          <a:pt x="249812" y="131312"/>
                        </a:cubicBezTo>
                        <a:cubicBezTo>
                          <a:pt x="250831" y="131921"/>
                          <a:pt x="252384" y="131502"/>
                          <a:pt x="253594" y="131235"/>
                        </a:cubicBezTo>
                        <a:cubicBezTo>
                          <a:pt x="256384" y="130607"/>
                          <a:pt x="258175" y="130369"/>
                          <a:pt x="259185" y="128025"/>
                        </a:cubicBezTo>
                        <a:cubicBezTo>
                          <a:pt x="261004" y="123806"/>
                          <a:pt x="257746" y="119634"/>
                          <a:pt x="253679" y="119729"/>
                        </a:cubicBezTo>
                        <a:cubicBezTo>
                          <a:pt x="251955" y="120482"/>
                          <a:pt x="250136" y="120253"/>
                          <a:pt x="248831" y="121291"/>
                        </a:cubicBezTo>
                        <a:close/>
                        <a:moveTo>
                          <a:pt x="308905" y="124168"/>
                        </a:moveTo>
                        <a:cubicBezTo>
                          <a:pt x="307648" y="126149"/>
                          <a:pt x="309667" y="128883"/>
                          <a:pt x="312106" y="128273"/>
                        </a:cubicBezTo>
                        <a:cubicBezTo>
                          <a:pt x="315192" y="127511"/>
                          <a:pt x="314668" y="122701"/>
                          <a:pt x="310953" y="122682"/>
                        </a:cubicBezTo>
                        <a:cubicBezTo>
                          <a:pt x="310106" y="123101"/>
                          <a:pt x="309381" y="123415"/>
                          <a:pt x="308905" y="124168"/>
                        </a:cubicBezTo>
                        <a:close/>
                        <a:moveTo>
                          <a:pt x="20717" y="124577"/>
                        </a:moveTo>
                        <a:cubicBezTo>
                          <a:pt x="19945" y="126502"/>
                          <a:pt x="21898" y="128664"/>
                          <a:pt x="23755" y="128273"/>
                        </a:cubicBezTo>
                        <a:cubicBezTo>
                          <a:pt x="26946" y="127606"/>
                          <a:pt x="26661" y="122606"/>
                          <a:pt x="22765" y="122768"/>
                        </a:cubicBezTo>
                        <a:cubicBezTo>
                          <a:pt x="21927" y="123196"/>
                          <a:pt x="21069" y="123692"/>
                          <a:pt x="20717" y="124577"/>
                        </a:cubicBezTo>
                        <a:close/>
                        <a:moveTo>
                          <a:pt x="128606" y="132064"/>
                        </a:moveTo>
                        <a:cubicBezTo>
                          <a:pt x="125301" y="133036"/>
                          <a:pt x="121729" y="130254"/>
                          <a:pt x="122529" y="126635"/>
                        </a:cubicBezTo>
                        <a:cubicBezTo>
                          <a:pt x="123025" y="124368"/>
                          <a:pt x="124530" y="123768"/>
                          <a:pt x="126311" y="122768"/>
                        </a:cubicBezTo>
                        <a:cubicBezTo>
                          <a:pt x="132902" y="122606"/>
                          <a:pt x="133683" y="130550"/>
                          <a:pt x="128606" y="132064"/>
                        </a:cubicBezTo>
                        <a:close/>
                        <a:moveTo>
                          <a:pt x="185395" y="131397"/>
                        </a:moveTo>
                        <a:cubicBezTo>
                          <a:pt x="182861" y="131778"/>
                          <a:pt x="180546" y="128816"/>
                          <a:pt x="181451" y="126225"/>
                        </a:cubicBezTo>
                        <a:cubicBezTo>
                          <a:pt x="182013" y="124616"/>
                          <a:pt x="183223" y="124149"/>
                          <a:pt x="184823" y="123511"/>
                        </a:cubicBezTo>
                        <a:cubicBezTo>
                          <a:pt x="190262" y="123539"/>
                          <a:pt x="190481" y="130635"/>
                          <a:pt x="185395" y="131397"/>
                        </a:cubicBezTo>
                        <a:close/>
                        <a:moveTo>
                          <a:pt x="53997" y="128940"/>
                        </a:moveTo>
                        <a:cubicBezTo>
                          <a:pt x="53045" y="132645"/>
                          <a:pt x="56702" y="135684"/>
                          <a:pt x="60245" y="134769"/>
                        </a:cubicBezTo>
                        <a:cubicBezTo>
                          <a:pt x="65665" y="133369"/>
                          <a:pt x="64941" y="124882"/>
                          <a:pt x="58026" y="125073"/>
                        </a:cubicBezTo>
                        <a:cubicBezTo>
                          <a:pt x="56074" y="126044"/>
                          <a:pt x="54588" y="126644"/>
                          <a:pt x="53997" y="128940"/>
                        </a:cubicBezTo>
                        <a:close/>
                        <a:moveTo>
                          <a:pt x="284988" y="128854"/>
                        </a:moveTo>
                        <a:cubicBezTo>
                          <a:pt x="284045" y="131931"/>
                          <a:pt x="286969" y="135103"/>
                          <a:pt x="290246" y="134198"/>
                        </a:cubicBezTo>
                        <a:cubicBezTo>
                          <a:pt x="294942" y="132902"/>
                          <a:pt x="294294" y="125482"/>
                          <a:pt x="288436" y="125654"/>
                        </a:cubicBezTo>
                        <a:cubicBezTo>
                          <a:pt x="286845" y="126435"/>
                          <a:pt x="285540" y="127044"/>
                          <a:pt x="284988" y="128854"/>
                        </a:cubicBezTo>
                        <a:close/>
                        <a:moveTo>
                          <a:pt x="105680" y="137570"/>
                        </a:moveTo>
                        <a:cubicBezTo>
                          <a:pt x="101956" y="138293"/>
                          <a:pt x="98517" y="134036"/>
                          <a:pt x="99603" y="130178"/>
                        </a:cubicBezTo>
                        <a:cubicBezTo>
                          <a:pt x="100308" y="127645"/>
                          <a:pt x="102118" y="127445"/>
                          <a:pt x="104451" y="126473"/>
                        </a:cubicBezTo>
                        <a:cubicBezTo>
                          <a:pt x="112195" y="126292"/>
                          <a:pt x="112233" y="136293"/>
                          <a:pt x="105680" y="137570"/>
                        </a:cubicBezTo>
                        <a:close/>
                        <a:moveTo>
                          <a:pt x="221552" y="137074"/>
                        </a:moveTo>
                        <a:cubicBezTo>
                          <a:pt x="218199" y="137731"/>
                          <a:pt x="214894" y="134131"/>
                          <a:pt x="215884" y="130664"/>
                        </a:cubicBezTo>
                        <a:cubicBezTo>
                          <a:pt x="216541" y="128368"/>
                          <a:pt x="217980" y="127778"/>
                          <a:pt x="220075" y="126883"/>
                        </a:cubicBezTo>
                        <a:cubicBezTo>
                          <a:pt x="227419" y="126702"/>
                          <a:pt x="227647" y="135884"/>
                          <a:pt x="221552" y="137074"/>
                        </a:cubicBezTo>
                        <a:close/>
                        <a:moveTo>
                          <a:pt x="163201" y="135350"/>
                        </a:moveTo>
                        <a:cubicBezTo>
                          <a:pt x="160954" y="135750"/>
                          <a:pt x="158905" y="133236"/>
                          <a:pt x="159506" y="130997"/>
                        </a:cubicBezTo>
                        <a:cubicBezTo>
                          <a:pt x="159877" y="129578"/>
                          <a:pt x="161144" y="129045"/>
                          <a:pt x="162382" y="128445"/>
                        </a:cubicBezTo>
                        <a:cubicBezTo>
                          <a:pt x="167278" y="128283"/>
                          <a:pt x="167345" y="134617"/>
                          <a:pt x="163201" y="135350"/>
                        </a:cubicBezTo>
                        <a:close/>
                        <a:moveTo>
                          <a:pt x="261652" y="132636"/>
                        </a:moveTo>
                        <a:cubicBezTo>
                          <a:pt x="260366" y="136350"/>
                          <a:pt x="263795" y="140580"/>
                          <a:pt x="267491" y="139941"/>
                        </a:cubicBezTo>
                        <a:cubicBezTo>
                          <a:pt x="274453" y="138741"/>
                          <a:pt x="273920" y="128664"/>
                          <a:pt x="266338" y="128845"/>
                        </a:cubicBezTo>
                        <a:cubicBezTo>
                          <a:pt x="264157" y="129769"/>
                          <a:pt x="262423" y="130388"/>
                          <a:pt x="261652" y="132636"/>
                        </a:cubicBezTo>
                        <a:close/>
                        <a:moveTo>
                          <a:pt x="32956" y="133626"/>
                        </a:moveTo>
                        <a:cubicBezTo>
                          <a:pt x="32328" y="136036"/>
                          <a:pt x="34652" y="138617"/>
                          <a:pt x="37147" y="138151"/>
                        </a:cubicBezTo>
                        <a:cubicBezTo>
                          <a:pt x="41729" y="137284"/>
                          <a:pt x="41329" y="130492"/>
                          <a:pt x="36319" y="130588"/>
                        </a:cubicBezTo>
                        <a:cubicBezTo>
                          <a:pt x="34709" y="131254"/>
                          <a:pt x="33423" y="131836"/>
                          <a:pt x="32956" y="133626"/>
                        </a:cubicBezTo>
                        <a:close/>
                        <a:moveTo>
                          <a:pt x="199368" y="140275"/>
                        </a:moveTo>
                        <a:cubicBezTo>
                          <a:pt x="196453" y="140970"/>
                          <a:pt x="193986" y="138113"/>
                          <a:pt x="194767" y="135341"/>
                        </a:cubicBezTo>
                        <a:cubicBezTo>
                          <a:pt x="195243" y="133645"/>
                          <a:pt x="196425" y="133140"/>
                          <a:pt x="197968" y="132464"/>
                        </a:cubicBezTo>
                        <a:cubicBezTo>
                          <a:pt x="203578" y="132340"/>
                          <a:pt x="203816" y="139217"/>
                          <a:pt x="199368" y="140275"/>
                        </a:cubicBezTo>
                        <a:close/>
                        <a:moveTo>
                          <a:pt x="324517" y="136331"/>
                        </a:moveTo>
                        <a:cubicBezTo>
                          <a:pt x="327250" y="136246"/>
                          <a:pt x="327260" y="132312"/>
                          <a:pt x="324193" y="132464"/>
                        </a:cubicBezTo>
                        <a:cubicBezTo>
                          <a:pt x="322278" y="133921"/>
                          <a:pt x="322354" y="135207"/>
                          <a:pt x="324517" y="136331"/>
                        </a:cubicBezTo>
                        <a:close/>
                        <a:moveTo>
                          <a:pt x="141351" y="140113"/>
                        </a:moveTo>
                        <a:cubicBezTo>
                          <a:pt x="138560" y="140722"/>
                          <a:pt x="136169" y="138074"/>
                          <a:pt x="136827" y="135512"/>
                        </a:cubicBezTo>
                        <a:cubicBezTo>
                          <a:pt x="137284" y="133750"/>
                          <a:pt x="138570" y="133198"/>
                          <a:pt x="140198" y="132550"/>
                        </a:cubicBezTo>
                        <a:cubicBezTo>
                          <a:pt x="145256" y="132569"/>
                          <a:pt x="145666" y="139170"/>
                          <a:pt x="141351" y="140113"/>
                        </a:cubicBezTo>
                        <a:close/>
                        <a:moveTo>
                          <a:pt x="66732" y="136912"/>
                        </a:moveTo>
                        <a:cubicBezTo>
                          <a:pt x="65322" y="140456"/>
                          <a:pt x="68142" y="143904"/>
                          <a:pt x="70837" y="144466"/>
                        </a:cubicBezTo>
                        <a:cubicBezTo>
                          <a:pt x="71895" y="144685"/>
                          <a:pt x="73047" y="144323"/>
                          <a:pt x="73790" y="144142"/>
                        </a:cubicBezTo>
                        <a:cubicBezTo>
                          <a:pt x="76876" y="143380"/>
                          <a:pt x="78391" y="141903"/>
                          <a:pt x="77571" y="138227"/>
                        </a:cubicBezTo>
                        <a:cubicBezTo>
                          <a:pt x="76838" y="134941"/>
                          <a:pt x="75743" y="132969"/>
                          <a:pt x="71733" y="133045"/>
                        </a:cubicBezTo>
                        <a:cubicBezTo>
                          <a:pt x="69361" y="134045"/>
                          <a:pt x="67675" y="134541"/>
                          <a:pt x="66732" y="136912"/>
                        </a:cubicBezTo>
                        <a:close/>
                        <a:moveTo>
                          <a:pt x="298961" y="137808"/>
                        </a:moveTo>
                        <a:cubicBezTo>
                          <a:pt x="298209" y="140351"/>
                          <a:pt x="300542" y="143047"/>
                          <a:pt x="303238" y="142408"/>
                        </a:cubicBezTo>
                        <a:cubicBezTo>
                          <a:pt x="307115" y="141484"/>
                          <a:pt x="306876" y="135246"/>
                          <a:pt x="302333" y="135169"/>
                        </a:cubicBezTo>
                        <a:cubicBezTo>
                          <a:pt x="300695" y="135817"/>
                          <a:pt x="299466" y="136112"/>
                          <a:pt x="298961" y="137808"/>
                        </a:cubicBezTo>
                        <a:close/>
                        <a:moveTo>
                          <a:pt x="234858" y="146437"/>
                        </a:moveTo>
                        <a:cubicBezTo>
                          <a:pt x="231362" y="147104"/>
                          <a:pt x="227724" y="143075"/>
                          <a:pt x="228781" y="139455"/>
                        </a:cubicBezTo>
                        <a:cubicBezTo>
                          <a:pt x="229533" y="136865"/>
                          <a:pt x="231219" y="136360"/>
                          <a:pt x="233629" y="135350"/>
                        </a:cubicBezTo>
                        <a:cubicBezTo>
                          <a:pt x="241202" y="135207"/>
                          <a:pt x="241487" y="145180"/>
                          <a:pt x="234858" y="146437"/>
                        </a:cubicBezTo>
                        <a:close/>
                        <a:moveTo>
                          <a:pt x="118748" y="145532"/>
                        </a:moveTo>
                        <a:cubicBezTo>
                          <a:pt x="115786" y="146028"/>
                          <a:pt x="112938" y="143123"/>
                          <a:pt x="113652" y="139941"/>
                        </a:cubicBezTo>
                        <a:cubicBezTo>
                          <a:pt x="114176" y="137627"/>
                          <a:pt x="115786" y="137017"/>
                          <a:pt x="117843" y="136160"/>
                        </a:cubicBezTo>
                        <a:cubicBezTo>
                          <a:pt x="124311" y="136055"/>
                          <a:pt x="124616" y="144542"/>
                          <a:pt x="118748" y="145532"/>
                        </a:cubicBezTo>
                        <a:close/>
                        <a:moveTo>
                          <a:pt x="14964" y="141094"/>
                        </a:moveTo>
                        <a:cubicBezTo>
                          <a:pt x="17516" y="140418"/>
                          <a:pt x="17097" y="136779"/>
                          <a:pt x="14392" y="136493"/>
                        </a:cubicBezTo>
                        <a:cubicBezTo>
                          <a:pt x="10849" y="137913"/>
                          <a:pt x="12316" y="141808"/>
                          <a:pt x="14964" y="141094"/>
                        </a:cubicBezTo>
                        <a:close/>
                        <a:moveTo>
                          <a:pt x="176927" y="143646"/>
                        </a:moveTo>
                        <a:cubicBezTo>
                          <a:pt x="174612" y="144180"/>
                          <a:pt x="172679" y="141580"/>
                          <a:pt x="173641" y="139618"/>
                        </a:cubicBezTo>
                        <a:cubicBezTo>
                          <a:pt x="174079" y="138732"/>
                          <a:pt x="174955" y="138332"/>
                          <a:pt x="175860" y="137893"/>
                        </a:cubicBezTo>
                        <a:cubicBezTo>
                          <a:pt x="179679" y="137779"/>
                          <a:pt x="180184" y="142894"/>
                          <a:pt x="176927" y="143646"/>
                        </a:cubicBezTo>
                        <a:close/>
                        <a:moveTo>
                          <a:pt x="275454" y="141761"/>
                        </a:moveTo>
                        <a:cubicBezTo>
                          <a:pt x="274225" y="145304"/>
                          <a:pt x="277492" y="148895"/>
                          <a:pt x="281121" y="148171"/>
                        </a:cubicBezTo>
                        <a:cubicBezTo>
                          <a:pt x="286979" y="146990"/>
                          <a:pt x="286493" y="138113"/>
                          <a:pt x="279397" y="138312"/>
                        </a:cubicBezTo>
                        <a:cubicBezTo>
                          <a:pt x="277616" y="139189"/>
                          <a:pt x="276130" y="139798"/>
                          <a:pt x="275454" y="141761"/>
                        </a:cubicBezTo>
                        <a:close/>
                        <a:moveTo>
                          <a:pt x="45453" y="142084"/>
                        </a:moveTo>
                        <a:cubicBezTo>
                          <a:pt x="44558" y="145123"/>
                          <a:pt x="47692" y="148485"/>
                          <a:pt x="50711" y="147914"/>
                        </a:cubicBezTo>
                        <a:cubicBezTo>
                          <a:pt x="56321" y="146866"/>
                          <a:pt x="55988" y="138446"/>
                          <a:pt x="49321" y="138627"/>
                        </a:cubicBezTo>
                        <a:cubicBezTo>
                          <a:pt x="47492" y="139398"/>
                          <a:pt x="46025" y="140141"/>
                          <a:pt x="45453" y="142084"/>
                        </a:cubicBezTo>
                        <a:close/>
                        <a:moveTo>
                          <a:pt x="96641" y="151124"/>
                        </a:moveTo>
                        <a:cubicBezTo>
                          <a:pt x="92964" y="151790"/>
                          <a:pt x="91440" y="148876"/>
                          <a:pt x="90811" y="146190"/>
                        </a:cubicBezTo>
                        <a:cubicBezTo>
                          <a:pt x="90602" y="145304"/>
                          <a:pt x="90183" y="144104"/>
                          <a:pt x="90564" y="143066"/>
                        </a:cubicBezTo>
                        <a:cubicBezTo>
                          <a:pt x="91516" y="140475"/>
                          <a:pt x="93516" y="140741"/>
                          <a:pt x="96069" y="139694"/>
                        </a:cubicBezTo>
                        <a:cubicBezTo>
                          <a:pt x="103527" y="139627"/>
                          <a:pt x="103403" y="149904"/>
                          <a:pt x="96641" y="151124"/>
                        </a:cubicBezTo>
                        <a:close/>
                        <a:moveTo>
                          <a:pt x="212512" y="149647"/>
                        </a:moveTo>
                        <a:cubicBezTo>
                          <a:pt x="209360" y="150257"/>
                          <a:pt x="206969" y="146933"/>
                          <a:pt x="207826" y="143980"/>
                        </a:cubicBezTo>
                        <a:cubicBezTo>
                          <a:pt x="208312" y="142284"/>
                          <a:pt x="209731" y="141722"/>
                          <a:pt x="211274" y="141018"/>
                        </a:cubicBezTo>
                        <a:cubicBezTo>
                          <a:pt x="217532" y="140846"/>
                          <a:pt x="217675" y="148638"/>
                          <a:pt x="212512" y="149647"/>
                        </a:cubicBezTo>
                        <a:close/>
                        <a:moveTo>
                          <a:pt x="154496" y="147999"/>
                        </a:moveTo>
                        <a:cubicBezTo>
                          <a:pt x="152448" y="148514"/>
                          <a:pt x="150571" y="146371"/>
                          <a:pt x="151295" y="144389"/>
                        </a:cubicBezTo>
                        <a:cubicBezTo>
                          <a:pt x="151619" y="143485"/>
                          <a:pt x="152600" y="142932"/>
                          <a:pt x="153429" y="142494"/>
                        </a:cubicBezTo>
                        <a:cubicBezTo>
                          <a:pt x="157239" y="142351"/>
                          <a:pt x="157582" y="147228"/>
                          <a:pt x="154496" y="147999"/>
                        </a:cubicBezTo>
                        <a:close/>
                        <a:moveTo>
                          <a:pt x="250965" y="143808"/>
                        </a:moveTo>
                        <a:cubicBezTo>
                          <a:pt x="252403" y="144637"/>
                          <a:pt x="253470" y="151000"/>
                          <a:pt x="253355" y="153343"/>
                        </a:cubicBezTo>
                        <a:cubicBezTo>
                          <a:pt x="252165" y="154619"/>
                          <a:pt x="251165" y="154734"/>
                          <a:pt x="249079" y="155238"/>
                        </a:cubicBezTo>
                        <a:cubicBezTo>
                          <a:pt x="245126" y="156201"/>
                          <a:pt x="242811" y="154800"/>
                          <a:pt x="241849" y="151371"/>
                        </a:cubicBezTo>
                        <a:cubicBezTo>
                          <a:pt x="241649" y="150666"/>
                          <a:pt x="241335" y="149609"/>
                          <a:pt x="241525" y="148580"/>
                        </a:cubicBezTo>
                        <a:cubicBezTo>
                          <a:pt x="242392" y="143866"/>
                          <a:pt x="245640" y="145199"/>
                          <a:pt x="249412" y="143646"/>
                        </a:cubicBezTo>
                        <a:cubicBezTo>
                          <a:pt x="249926" y="143704"/>
                          <a:pt x="250450" y="143761"/>
                          <a:pt x="250965" y="143808"/>
                        </a:cubicBezTo>
                        <a:close/>
                        <a:moveTo>
                          <a:pt x="24498" y="146933"/>
                        </a:moveTo>
                        <a:cubicBezTo>
                          <a:pt x="23908" y="149333"/>
                          <a:pt x="26108" y="151609"/>
                          <a:pt x="28527" y="151038"/>
                        </a:cubicBezTo>
                        <a:cubicBezTo>
                          <a:pt x="32290" y="150152"/>
                          <a:pt x="31928" y="144351"/>
                          <a:pt x="27461" y="144304"/>
                        </a:cubicBezTo>
                        <a:cubicBezTo>
                          <a:pt x="26060" y="144913"/>
                          <a:pt x="24879" y="145361"/>
                          <a:pt x="24498" y="146933"/>
                        </a:cubicBezTo>
                        <a:close/>
                        <a:moveTo>
                          <a:pt x="313258" y="146437"/>
                        </a:moveTo>
                        <a:cubicBezTo>
                          <a:pt x="312125" y="148428"/>
                          <a:pt x="314144" y="150952"/>
                          <a:pt x="316382" y="150466"/>
                        </a:cubicBezTo>
                        <a:cubicBezTo>
                          <a:pt x="319621" y="149762"/>
                          <a:pt x="319221" y="144771"/>
                          <a:pt x="315401" y="144875"/>
                        </a:cubicBezTo>
                        <a:cubicBezTo>
                          <a:pt x="314487" y="145323"/>
                          <a:pt x="313744" y="145590"/>
                          <a:pt x="313258" y="146437"/>
                        </a:cubicBezTo>
                        <a:close/>
                        <a:moveTo>
                          <a:pt x="132312" y="153505"/>
                        </a:moveTo>
                        <a:cubicBezTo>
                          <a:pt x="129664" y="154038"/>
                          <a:pt x="127311" y="151419"/>
                          <a:pt x="127959" y="148904"/>
                        </a:cubicBezTo>
                        <a:cubicBezTo>
                          <a:pt x="128416" y="147133"/>
                          <a:pt x="129769" y="146666"/>
                          <a:pt x="131407" y="146028"/>
                        </a:cubicBezTo>
                        <a:cubicBezTo>
                          <a:pt x="136293" y="145990"/>
                          <a:pt x="136398" y="152676"/>
                          <a:pt x="132312" y="153505"/>
                        </a:cubicBezTo>
                        <a:close/>
                        <a:moveTo>
                          <a:pt x="58026" y="150714"/>
                        </a:moveTo>
                        <a:cubicBezTo>
                          <a:pt x="56864" y="154505"/>
                          <a:pt x="60531" y="158315"/>
                          <a:pt x="64275" y="157534"/>
                        </a:cubicBezTo>
                        <a:cubicBezTo>
                          <a:pt x="70799" y="156181"/>
                          <a:pt x="70237" y="146495"/>
                          <a:pt x="62379" y="146685"/>
                        </a:cubicBezTo>
                        <a:cubicBezTo>
                          <a:pt x="60312" y="147723"/>
                          <a:pt x="58741" y="148361"/>
                          <a:pt x="58026" y="150714"/>
                        </a:cubicBezTo>
                        <a:close/>
                        <a:moveTo>
                          <a:pt x="190319" y="152610"/>
                        </a:moveTo>
                        <a:cubicBezTo>
                          <a:pt x="188023" y="153171"/>
                          <a:pt x="186099" y="150724"/>
                          <a:pt x="186957" y="148666"/>
                        </a:cubicBezTo>
                        <a:cubicBezTo>
                          <a:pt x="187347" y="147714"/>
                          <a:pt x="188214" y="147342"/>
                          <a:pt x="189090" y="146856"/>
                        </a:cubicBezTo>
                        <a:cubicBezTo>
                          <a:pt x="193195" y="146685"/>
                          <a:pt x="193605" y="151800"/>
                          <a:pt x="190319" y="152610"/>
                        </a:cubicBezTo>
                        <a:close/>
                        <a:moveTo>
                          <a:pt x="289341" y="151124"/>
                        </a:moveTo>
                        <a:cubicBezTo>
                          <a:pt x="288569" y="154067"/>
                          <a:pt x="291246" y="156953"/>
                          <a:pt x="294275" y="156381"/>
                        </a:cubicBezTo>
                        <a:cubicBezTo>
                          <a:pt x="299342" y="155419"/>
                          <a:pt x="298990" y="147647"/>
                          <a:pt x="292884" y="147837"/>
                        </a:cubicBezTo>
                        <a:cubicBezTo>
                          <a:pt x="291236" y="148580"/>
                          <a:pt x="289836" y="149266"/>
                          <a:pt x="289341" y="151124"/>
                        </a:cubicBezTo>
                        <a:close/>
                        <a:moveTo>
                          <a:pt x="110280" y="159096"/>
                        </a:moveTo>
                        <a:cubicBezTo>
                          <a:pt x="106489" y="159839"/>
                          <a:pt x="103461" y="156143"/>
                          <a:pt x="104689" y="152686"/>
                        </a:cubicBezTo>
                        <a:cubicBezTo>
                          <a:pt x="105404" y="150705"/>
                          <a:pt x="106832" y="150171"/>
                          <a:pt x="108718" y="149314"/>
                        </a:cubicBezTo>
                        <a:cubicBezTo>
                          <a:pt x="115500" y="149152"/>
                          <a:pt x="116053" y="157963"/>
                          <a:pt x="110280" y="159096"/>
                        </a:cubicBezTo>
                        <a:close/>
                        <a:moveTo>
                          <a:pt x="226724" y="158934"/>
                        </a:moveTo>
                        <a:cubicBezTo>
                          <a:pt x="223152" y="159972"/>
                          <a:pt x="219608" y="156820"/>
                          <a:pt x="220561" y="153095"/>
                        </a:cubicBezTo>
                        <a:cubicBezTo>
                          <a:pt x="221113" y="150943"/>
                          <a:pt x="222618" y="150257"/>
                          <a:pt x="224504" y="149400"/>
                        </a:cubicBezTo>
                        <a:cubicBezTo>
                          <a:pt x="231105" y="149238"/>
                          <a:pt x="231972" y="157401"/>
                          <a:pt x="226724" y="158934"/>
                        </a:cubicBezTo>
                        <a:close/>
                        <a:moveTo>
                          <a:pt x="3867" y="151857"/>
                        </a:moveTo>
                        <a:cubicBezTo>
                          <a:pt x="3877" y="152962"/>
                          <a:pt x="4505" y="153400"/>
                          <a:pt x="5258" y="153753"/>
                        </a:cubicBezTo>
                        <a:cubicBezTo>
                          <a:pt x="6448" y="153753"/>
                          <a:pt x="6868" y="153086"/>
                          <a:pt x="7230" y="152276"/>
                        </a:cubicBezTo>
                        <a:cubicBezTo>
                          <a:pt x="7201" y="151181"/>
                          <a:pt x="6382" y="150381"/>
                          <a:pt x="5258" y="150381"/>
                        </a:cubicBezTo>
                        <a:cubicBezTo>
                          <a:pt x="4601" y="150819"/>
                          <a:pt x="4201" y="151095"/>
                          <a:pt x="3867" y="151857"/>
                        </a:cubicBezTo>
                        <a:close/>
                        <a:moveTo>
                          <a:pt x="266167" y="154248"/>
                        </a:moveTo>
                        <a:cubicBezTo>
                          <a:pt x="264528" y="157963"/>
                          <a:pt x="267976" y="162754"/>
                          <a:pt x="272006" y="162058"/>
                        </a:cubicBezTo>
                        <a:cubicBezTo>
                          <a:pt x="278787" y="160877"/>
                          <a:pt x="278311" y="150886"/>
                          <a:pt x="271015" y="150962"/>
                        </a:cubicBezTo>
                        <a:cubicBezTo>
                          <a:pt x="268824" y="151838"/>
                          <a:pt x="267090" y="152171"/>
                          <a:pt x="266167" y="154248"/>
                        </a:cubicBezTo>
                        <a:close/>
                        <a:moveTo>
                          <a:pt x="36986" y="155400"/>
                        </a:moveTo>
                        <a:cubicBezTo>
                          <a:pt x="36128" y="158315"/>
                          <a:pt x="38729" y="161306"/>
                          <a:pt x="41510" y="160830"/>
                        </a:cubicBezTo>
                        <a:cubicBezTo>
                          <a:pt x="46920" y="159906"/>
                          <a:pt x="46587" y="152095"/>
                          <a:pt x="40443" y="152286"/>
                        </a:cubicBezTo>
                        <a:cubicBezTo>
                          <a:pt x="38891" y="153038"/>
                          <a:pt x="37500" y="153638"/>
                          <a:pt x="36986" y="155400"/>
                        </a:cubicBezTo>
                        <a:close/>
                        <a:moveTo>
                          <a:pt x="169040" y="154000"/>
                        </a:moveTo>
                        <a:cubicBezTo>
                          <a:pt x="168973" y="154867"/>
                          <a:pt x="168402" y="155467"/>
                          <a:pt x="167726" y="155724"/>
                        </a:cubicBezTo>
                        <a:cubicBezTo>
                          <a:pt x="167449" y="155753"/>
                          <a:pt x="167173" y="155781"/>
                          <a:pt x="166907" y="155810"/>
                        </a:cubicBezTo>
                        <a:cubicBezTo>
                          <a:pt x="166421" y="155381"/>
                          <a:pt x="165992" y="155115"/>
                          <a:pt x="165668" y="154496"/>
                        </a:cubicBezTo>
                        <a:cubicBezTo>
                          <a:pt x="165659" y="153191"/>
                          <a:pt x="166326" y="152895"/>
                          <a:pt x="167154" y="152448"/>
                        </a:cubicBezTo>
                        <a:cubicBezTo>
                          <a:pt x="168221" y="152505"/>
                          <a:pt x="168726" y="153181"/>
                          <a:pt x="169040" y="154000"/>
                        </a:cubicBezTo>
                        <a:close/>
                        <a:moveTo>
                          <a:pt x="89906" y="164030"/>
                        </a:moveTo>
                        <a:cubicBezTo>
                          <a:pt x="87268" y="165087"/>
                          <a:pt x="83486" y="165144"/>
                          <a:pt x="82505" y="162706"/>
                        </a:cubicBezTo>
                        <a:cubicBezTo>
                          <a:pt x="82315" y="161639"/>
                          <a:pt x="82125" y="160572"/>
                          <a:pt x="81934" y="159506"/>
                        </a:cubicBezTo>
                        <a:cubicBezTo>
                          <a:pt x="81572" y="157982"/>
                          <a:pt x="80896" y="156105"/>
                          <a:pt x="81029" y="154486"/>
                        </a:cubicBezTo>
                        <a:cubicBezTo>
                          <a:pt x="83030" y="153534"/>
                          <a:pt x="85792" y="153762"/>
                          <a:pt x="87935" y="152848"/>
                        </a:cubicBezTo>
                        <a:cubicBezTo>
                          <a:pt x="94097" y="152733"/>
                          <a:pt x="94574" y="162144"/>
                          <a:pt x="89906" y="164030"/>
                        </a:cubicBezTo>
                        <a:close/>
                        <a:moveTo>
                          <a:pt x="327308" y="156381"/>
                        </a:moveTo>
                        <a:cubicBezTo>
                          <a:pt x="327384" y="159210"/>
                          <a:pt x="331623" y="158477"/>
                          <a:pt x="330918" y="156134"/>
                        </a:cubicBezTo>
                        <a:cubicBezTo>
                          <a:pt x="330622" y="155362"/>
                          <a:pt x="330003" y="154753"/>
                          <a:pt x="329022" y="154657"/>
                        </a:cubicBezTo>
                        <a:cubicBezTo>
                          <a:pt x="328165" y="155134"/>
                          <a:pt x="327698" y="155419"/>
                          <a:pt x="327308" y="156381"/>
                        </a:cubicBezTo>
                        <a:close/>
                        <a:moveTo>
                          <a:pt x="203797" y="162135"/>
                        </a:moveTo>
                        <a:cubicBezTo>
                          <a:pt x="201330" y="162735"/>
                          <a:pt x="199063" y="160411"/>
                          <a:pt x="199606" y="158029"/>
                        </a:cubicBezTo>
                        <a:cubicBezTo>
                          <a:pt x="199968" y="156439"/>
                          <a:pt x="201139" y="155924"/>
                          <a:pt x="202397" y="155229"/>
                        </a:cubicBezTo>
                        <a:cubicBezTo>
                          <a:pt x="207531" y="155057"/>
                          <a:pt x="207731" y="161173"/>
                          <a:pt x="203797" y="162135"/>
                        </a:cubicBezTo>
                        <a:close/>
                        <a:moveTo>
                          <a:pt x="145294" y="161401"/>
                        </a:moveTo>
                        <a:cubicBezTo>
                          <a:pt x="143580" y="161744"/>
                          <a:pt x="141827" y="159687"/>
                          <a:pt x="142418" y="157944"/>
                        </a:cubicBezTo>
                        <a:cubicBezTo>
                          <a:pt x="142780" y="156896"/>
                          <a:pt x="143723" y="156429"/>
                          <a:pt x="144723" y="155972"/>
                        </a:cubicBezTo>
                        <a:cubicBezTo>
                          <a:pt x="148304" y="156020"/>
                          <a:pt x="148380" y="160782"/>
                          <a:pt x="145294" y="161401"/>
                        </a:cubicBezTo>
                        <a:close/>
                        <a:moveTo>
                          <a:pt x="303476" y="160001"/>
                        </a:moveTo>
                        <a:cubicBezTo>
                          <a:pt x="302714" y="162430"/>
                          <a:pt x="305067" y="165021"/>
                          <a:pt x="307581" y="164440"/>
                        </a:cubicBezTo>
                        <a:cubicBezTo>
                          <a:pt x="311620" y="163506"/>
                          <a:pt x="311125" y="157286"/>
                          <a:pt x="306267" y="157458"/>
                        </a:cubicBezTo>
                        <a:cubicBezTo>
                          <a:pt x="305038" y="158058"/>
                          <a:pt x="303914" y="158620"/>
                          <a:pt x="303476" y="160001"/>
                        </a:cubicBezTo>
                        <a:close/>
                        <a:moveTo>
                          <a:pt x="239058" y="168707"/>
                        </a:moveTo>
                        <a:cubicBezTo>
                          <a:pt x="235382" y="169288"/>
                          <a:pt x="232029" y="164830"/>
                          <a:pt x="233467" y="161230"/>
                        </a:cubicBezTo>
                        <a:cubicBezTo>
                          <a:pt x="234420" y="158839"/>
                          <a:pt x="235915" y="158544"/>
                          <a:pt x="238401" y="157610"/>
                        </a:cubicBezTo>
                        <a:cubicBezTo>
                          <a:pt x="245554" y="157639"/>
                          <a:pt x="245974" y="167621"/>
                          <a:pt x="239058" y="168707"/>
                        </a:cubicBezTo>
                        <a:close/>
                        <a:moveTo>
                          <a:pt x="16116" y="160249"/>
                        </a:moveTo>
                        <a:cubicBezTo>
                          <a:pt x="15507" y="162087"/>
                          <a:pt x="17450" y="164135"/>
                          <a:pt x="19317" y="163782"/>
                        </a:cubicBezTo>
                        <a:cubicBezTo>
                          <a:pt x="22641" y="163135"/>
                          <a:pt x="22269" y="158134"/>
                          <a:pt x="18583" y="158105"/>
                        </a:cubicBezTo>
                        <a:cubicBezTo>
                          <a:pt x="17497" y="158629"/>
                          <a:pt x="16497" y="159077"/>
                          <a:pt x="16116" y="160249"/>
                        </a:cubicBezTo>
                        <a:close/>
                        <a:moveTo>
                          <a:pt x="123349" y="167230"/>
                        </a:moveTo>
                        <a:cubicBezTo>
                          <a:pt x="120539" y="167783"/>
                          <a:pt x="118043" y="164954"/>
                          <a:pt x="118748" y="162211"/>
                        </a:cubicBezTo>
                        <a:cubicBezTo>
                          <a:pt x="119186" y="160496"/>
                          <a:pt x="120444" y="159858"/>
                          <a:pt x="121949" y="159172"/>
                        </a:cubicBezTo>
                        <a:cubicBezTo>
                          <a:pt x="128016" y="158991"/>
                          <a:pt x="128121" y="166297"/>
                          <a:pt x="123349" y="167230"/>
                        </a:cubicBezTo>
                        <a:close/>
                        <a:moveTo>
                          <a:pt x="49549" y="164030"/>
                        </a:moveTo>
                        <a:cubicBezTo>
                          <a:pt x="48606" y="167345"/>
                          <a:pt x="51435" y="170993"/>
                          <a:pt x="54816" y="170431"/>
                        </a:cubicBezTo>
                        <a:cubicBezTo>
                          <a:pt x="61255" y="169383"/>
                          <a:pt x="60912" y="160249"/>
                          <a:pt x="54073" y="160325"/>
                        </a:cubicBezTo>
                        <a:cubicBezTo>
                          <a:pt x="51845" y="161211"/>
                          <a:pt x="50235" y="161658"/>
                          <a:pt x="49549" y="164030"/>
                        </a:cubicBezTo>
                        <a:close/>
                        <a:moveTo>
                          <a:pt x="279892" y="164192"/>
                        </a:moveTo>
                        <a:cubicBezTo>
                          <a:pt x="278920" y="167373"/>
                          <a:pt x="282283" y="170831"/>
                          <a:pt x="285312" y="170278"/>
                        </a:cubicBezTo>
                        <a:cubicBezTo>
                          <a:pt x="291084" y="169231"/>
                          <a:pt x="290932" y="160401"/>
                          <a:pt x="284083" y="160582"/>
                        </a:cubicBezTo>
                        <a:cubicBezTo>
                          <a:pt x="282026" y="161430"/>
                          <a:pt x="280568" y="162001"/>
                          <a:pt x="279892" y="164192"/>
                        </a:cubicBezTo>
                        <a:close/>
                        <a:moveTo>
                          <a:pt x="182594" y="162878"/>
                        </a:moveTo>
                        <a:cubicBezTo>
                          <a:pt x="182585" y="164030"/>
                          <a:pt x="181880" y="164525"/>
                          <a:pt x="181032" y="164849"/>
                        </a:cubicBezTo>
                        <a:cubicBezTo>
                          <a:pt x="179908" y="164830"/>
                          <a:pt x="179422" y="164144"/>
                          <a:pt x="179061" y="163373"/>
                        </a:cubicBezTo>
                        <a:cubicBezTo>
                          <a:pt x="179070" y="162354"/>
                          <a:pt x="179632" y="161763"/>
                          <a:pt x="180384" y="161487"/>
                        </a:cubicBezTo>
                        <a:cubicBezTo>
                          <a:pt x="180518" y="161430"/>
                          <a:pt x="180651" y="161373"/>
                          <a:pt x="180794" y="161315"/>
                        </a:cubicBezTo>
                        <a:cubicBezTo>
                          <a:pt x="181746" y="161620"/>
                          <a:pt x="182194" y="162039"/>
                          <a:pt x="182594" y="162878"/>
                        </a:cubicBezTo>
                        <a:close/>
                        <a:moveTo>
                          <a:pt x="100994" y="172898"/>
                        </a:moveTo>
                        <a:cubicBezTo>
                          <a:pt x="97660" y="173450"/>
                          <a:pt x="94393" y="169793"/>
                          <a:pt x="95326" y="166326"/>
                        </a:cubicBezTo>
                        <a:cubicBezTo>
                          <a:pt x="95974" y="163897"/>
                          <a:pt x="97631" y="163220"/>
                          <a:pt x="99841" y="162296"/>
                        </a:cubicBezTo>
                        <a:cubicBezTo>
                          <a:pt x="107366" y="162154"/>
                          <a:pt x="107709" y="171774"/>
                          <a:pt x="100994" y="172898"/>
                        </a:cubicBezTo>
                        <a:close/>
                        <a:moveTo>
                          <a:pt x="216618" y="171907"/>
                        </a:moveTo>
                        <a:cubicBezTo>
                          <a:pt x="213998" y="172326"/>
                          <a:pt x="211455" y="169345"/>
                          <a:pt x="212265" y="166564"/>
                        </a:cubicBezTo>
                        <a:cubicBezTo>
                          <a:pt x="212788" y="164763"/>
                          <a:pt x="214084" y="164097"/>
                          <a:pt x="215713" y="163363"/>
                        </a:cubicBezTo>
                        <a:cubicBezTo>
                          <a:pt x="222018" y="163192"/>
                          <a:pt x="222142" y="171040"/>
                          <a:pt x="216618" y="171907"/>
                        </a:cubicBezTo>
                        <a:close/>
                        <a:moveTo>
                          <a:pt x="258689" y="164849"/>
                        </a:moveTo>
                        <a:cubicBezTo>
                          <a:pt x="258032" y="165125"/>
                          <a:pt x="257375" y="165402"/>
                          <a:pt x="256718" y="165668"/>
                        </a:cubicBezTo>
                        <a:cubicBezTo>
                          <a:pt x="256051" y="166830"/>
                          <a:pt x="256765" y="168669"/>
                          <a:pt x="257042" y="169945"/>
                        </a:cubicBezTo>
                        <a:cubicBezTo>
                          <a:pt x="257289" y="171231"/>
                          <a:pt x="257537" y="172517"/>
                          <a:pt x="257785" y="173803"/>
                        </a:cubicBezTo>
                        <a:cubicBezTo>
                          <a:pt x="258813" y="176403"/>
                          <a:pt x="262947" y="176089"/>
                          <a:pt x="265509" y="174955"/>
                        </a:cubicBezTo>
                        <a:cubicBezTo>
                          <a:pt x="270272" y="172850"/>
                          <a:pt x="269091" y="163897"/>
                          <a:pt x="262795" y="164030"/>
                        </a:cubicBezTo>
                        <a:cubicBezTo>
                          <a:pt x="261433" y="164306"/>
                          <a:pt x="260061" y="164573"/>
                          <a:pt x="258689" y="164849"/>
                        </a:cubicBezTo>
                        <a:close/>
                        <a:moveTo>
                          <a:pt x="28603" y="168878"/>
                        </a:moveTo>
                        <a:cubicBezTo>
                          <a:pt x="27804" y="171479"/>
                          <a:pt x="30271" y="174184"/>
                          <a:pt x="32956" y="173565"/>
                        </a:cubicBezTo>
                        <a:cubicBezTo>
                          <a:pt x="37090" y="172612"/>
                          <a:pt x="36814" y="165925"/>
                          <a:pt x="31804" y="166087"/>
                        </a:cubicBezTo>
                        <a:cubicBezTo>
                          <a:pt x="30299" y="166735"/>
                          <a:pt x="29099" y="167250"/>
                          <a:pt x="28603" y="168878"/>
                        </a:cubicBezTo>
                        <a:close/>
                        <a:moveTo>
                          <a:pt x="158601" y="166326"/>
                        </a:moveTo>
                        <a:cubicBezTo>
                          <a:pt x="159144" y="166516"/>
                          <a:pt x="159430" y="166907"/>
                          <a:pt x="159668" y="167392"/>
                        </a:cubicBezTo>
                        <a:cubicBezTo>
                          <a:pt x="159610" y="168250"/>
                          <a:pt x="159144" y="168659"/>
                          <a:pt x="158515" y="168954"/>
                        </a:cubicBezTo>
                        <a:cubicBezTo>
                          <a:pt x="157620" y="168907"/>
                          <a:pt x="157001" y="168288"/>
                          <a:pt x="156953" y="167392"/>
                        </a:cubicBezTo>
                        <a:cubicBezTo>
                          <a:pt x="157343" y="166954"/>
                          <a:pt x="157658" y="166611"/>
                          <a:pt x="158105" y="166240"/>
                        </a:cubicBezTo>
                        <a:cubicBezTo>
                          <a:pt x="158277" y="166268"/>
                          <a:pt x="158439" y="166306"/>
                          <a:pt x="158601" y="166326"/>
                        </a:cubicBezTo>
                        <a:close/>
                        <a:moveTo>
                          <a:pt x="317773" y="168954"/>
                        </a:moveTo>
                        <a:cubicBezTo>
                          <a:pt x="317049" y="170774"/>
                          <a:pt x="318935" y="172869"/>
                          <a:pt x="320812" y="172403"/>
                        </a:cubicBezTo>
                        <a:cubicBezTo>
                          <a:pt x="323783" y="171679"/>
                          <a:pt x="323326" y="167135"/>
                          <a:pt x="319583" y="167307"/>
                        </a:cubicBezTo>
                        <a:cubicBezTo>
                          <a:pt x="318868" y="167745"/>
                          <a:pt x="318097" y="168154"/>
                          <a:pt x="317773" y="168954"/>
                        </a:cubicBezTo>
                        <a:close/>
                        <a:moveTo>
                          <a:pt x="62379" y="172326"/>
                        </a:moveTo>
                        <a:cubicBezTo>
                          <a:pt x="60855" y="176232"/>
                          <a:pt x="64218" y="180623"/>
                          <a:pt x="68456" y="179880"/>
                        </a:cubicBezTo>
                        <a:cubicBezTo>
                          <a:pt x="71980" y="179270"/>
                          <a:pt x="73923" y="177355"/>
                          <a:pt x="73057" y="173307"/>
                        </a:cubicBezTo>
                        <a:cubicBezTo>
                          <a:pt x="72361" y="170031"/>
                          <a:pt x="71323" y="168459"/>
                          <a:pt x="67304" y="168545"/>
                        </a:cubicBezTo>
                        <a:cubicBezTo>
                          <a:pt x="64865" y="169564"/>
                          <a:pt x="63332" y="169878"/>
                          <a:pt x="62379" y="172326"/>
                        </a:cubicBezTo>
                        <a:close/>
                        <a:moveTo>
                          <a:pt x="136750" y="175279"/>
                        </a:moveTo>
                        <a:cubicBezTo>
                          <a:pt x="134407" y="175851"/>
                          <a:pt x="132188" y="173346"/>
                          <a:pt x="132969" y="171088"/>
                        </a:cubicBezTo>
                        <a:cubicBezTo>
                          <a:pt x="133350" y="169993"/>
                          <a:pt x="134436" y="169383"/>
                          <a:pt x="135436" y="168869"/>
                        </a:cubicBezTo>
                        <a:cubicBezTo>
                          <a:pt x="140122" y="168707"/>
                          <a:pt x="140436" y="174393"/>
                          <a:pt x="136750" y="175279"/>
                        </a:cubicBezTo>
                        <a:close/>
                        <a:moveTo>
                          <a:pt x="194434" y="174955"/>
                        </a:moveTo>
                        <a:cubicBezTo>
                          <a:pt x="192538" y="175279"/>
                          <a:pt x="190557" y="172945"/>
                          <a:pt x="191471" y="171012"/>
                        </a:cubicBezTo>
                        <a:cubicBezTo>
                          <a:pt x="191881" y="170155"/>
                          <a:pt x="192757" y="169726"/>
                          <a:pt x="193615" y="169288"/>
                        </a:cubicBezTo>
                        <a:cubicBezTo>
                          <a:pt x="197768" y="169116"/>
                          <a:pt x="197863" y="174355"/>
                          <a:pt x="194434" y="174955"/>
                        </a:cubicBezTo>
                        <a:close/>
                        <a:moveTo>
                          <a:pt x="294113" y="173060"/>
                        </a:moveTo>
                        <a:cubicBezTo>
                          <a:pt x="293246" y="175784"/>
                          <a:pt x="295656" y="178813"/>
                          <a:pt x="298466" y="178327"/>
                        </a:cubicBezTo>
                        <a:cubicBezTo>
                          <a:pt x="303219" y="177498"/>
                          <a:pt x="303114" y="170097"/>
                          <a:pt x="297647" y="170183"/>
                        </a:cubicBezTo>
                        <a:cubicBezTo>
                          <a:pt x="295951" y="170879"/>
                          <a:pt x="294675" y="171298"/>
                          <a:pt x="294113" y="173060"/>
                        </a:cubicBezTo>
                        <a:close/>
                        <a:moveTo>
                          <a:pt x="230010" y="181613"/>
                        </a:moveTo>
                        <a:cubicBezTo>
                          <a:pt x="226466" y="182128"/>
                          <a:pt x="223618" y="178032"/>
                          <a:pt x="225000" y="174631"/>
                        </a:cubicBezTo>
                        <a:cubicBezTo>
                          <a:pt x="225847" y="172536"/>
                          <a:pt x="227352" y="172279"/>
                          <a:pt x="229524" y="171421"/>
                        </a:cubicBezTo>
                        <a:cubicBezTo>
                          <a:pt x="236258" y="171421"/>
                          <a:pt x="236496" y="180670"/>
                          <a:pt x="230010" y="181613"/>
                        </a:cubicBezTo>
                        <a:close/>
                        <a:moveTo>
                          <a:pt x="114395" y="181204"/>
                        </a:moveTo>
                        <a:cubicBezTo>
                          <a:pt x="111214" y="181775"/>
                          <a:pt x="108261" y="178308"/>
                          <a:pt x="109385" y="175127"/>
                        </a:cubicBezTo>
                        <a:cubicBezTo>
                          <a:pt x="110061" y="173174"/>
                          <a:pt x="111509" y="172707"/>
                          <a:pt x="113405" y="171917"/>
                        </a:cubicBezTo>
                        <a:cubicBezTo>
                          <a:pt x="119739" y="171802"/>
                          <a:pt x="119948" y="180213"/>
                          <a:pt x="114395" y="181204"/>
                        </a:cubicBezTo>
                        <a:close/>
                        <a:moveTo>
                          <a:pt x="7811" y="173965"/>
                        </a:moveTo>
                        <a:cubicBezTo>
                          <a:pt x="7515" y="175193"/>
                          <a:pt x="9001" y="176660"/>
                          <a:pt x="10192" y="176432"/>
                        </a:cubicBezTo>
                        <a:cubicBezTo>
                          <a:pt x="12763" y="175936"/>
                          <a:pt x="12725" y="171983"/>
                          <a:pt x="9458" y="172155"/>
                        </a:cubicBezTo>
                        <a:cubicBezTo>
                          <a:pt x="8801" y="172631"/>
                          <a:pt x="8029" y="173079"/>
                          <a:pt x="7811" y="173965"/>
                        </a:cubicBezTo>
                        <a:close/>
                        <a:moveTo>
                          <a:pt x="270605" y="177498"/>
                        </a:moveTo>
                        <a:cubicBezTo>
                          <a:pt x="269729" y="180813"/>
                          <a:pt x="273072" y="184490"/>
                          <a:pt x="276197" y="183994"/>
                        </a:cubicBezTo>
                        <a:cubicBezTo>
                          <a:pt x="282959" y="182909"/>
                          <a:pt x="282588" y="173231"/>
                          <a:pt x="275206" y="173393"/>
                        </a:cubicBezTo>
                        <a:cubicBezTo>
                          <a:pt x="272863" y="174327"/>
                          <a:pt x="271281" y="174955"/>
                          <a:pt x="270605" y="177498"/>
                        </a:cubicBezTo>
                        <a:close/>
                        <a:moveTo>
                          <a:pt x="41338" y="177013"/>
                        </a:moveTo>
                        <a:cubicBezTo>
                          <a:pt x="40062" y="180099"/>
                          <a:pt x="42729" y="183861"/>
                          <a:pt x="46272" y="183175"/>
                        </a:cubicBezTo>
                        <a:cubicBezTo>
                          <a:pt x="51540" y="182156"/>
                          <a:pt x="51245" y="174241"/>
                          <a:pt x="45453" y="174136"/>
                        </a:cubicBezTo>
                        <a:cubicBezTo>
                          <a:pt x="43482" y="174908"/>
                          <a:pt x="42120" y="175127"/>
                          <a:pt x="41338" y="177013"/>
                        </a:cubicBezTo>
                        <a:close/>
                        <a:moveTo>
                          <a:pt x="173403" y="176927"/>
                        </a:moveTo>
                        <a:cubicBezTo>
                          <a:pt x="173031" y="177355"/>
                          <a:pt x="172821" y="177765"/>
                          <a:pt x="172250" y="177994"/>
                        </a:cubicBezTo>
                        <a:cubicBezTo>
                          <a:pt x="172002" y="178022"/>
                          <a:pt x="171755" y="178051"/>
                          <a:pt x="171507" y="178079"/>
                        </a:cubicBezTo>
                        <a:cubicBezTo>
                          <a:pt x="171117" y="177670"/>
                          <a:pt x="170755" y="177432"/>
                          <a:pt x="170440" y="176927"/>
                        </a:cubicBezTo>
                        <a:cubicBezTo>
                          <a:pt x="170364" y="175908"/>
                          <a:pt x="171021" y="175565"/>
                          <a:pt x="171755" y="175117"/>
                        </a:cubicBezTo>
                        <a:cubicBezTo>
                          <a:pt x="172688" y="175251"/>
                          <a:pt x="173374" y="175889"/>
                          <a:pt x="173403" y="176927"/>
                        </a:cubicBezTo>
                        <a:close/>
                        <a:moveTo>
                          <a:pt x="92535" y="186538"/>
                        </a:moveTo>
                        <a:cubicBezTo>
                          <a:pt x="91754" y="186738"/>
                          <a:pt x="90745" y="187023"/>
                          <a:pt x="89745" y="186785"/>
                        </a:cubicBezTo>
                        <a:cubicBezTo>
                          <a:pt x="88592" y="186500"/>
                          <a:pt x="87439" y="185595"/>
                          <a:pt x="86954" y="184642"/>
                        </a:cubicBezTo>
                        <a:cubicBezTo>
                          <a:pt x="86249" y="183271"/>
                          <a:pt x="85611" y="178899"/>
                          <a:pt x="86458" y="177575"/>
                        </a:cubicBezTo>
                        <a:cubicBezTo>
                          <a:pt x="87621" y="175765"/>
                          <a:pt x="89468" y="176070"/>
                          <a:pt x="91640" y="175193"/>
                        </a:cubicBezTo>
                        <a:cubicBezTo>
                          <a:pt x="98593" y="175070"/>
                          <a:pt x="99746" y="184747"/>
                          <a:pt x="92535" y="186538"/>
                        </a:cubicBezTo>
                        <a:close/>
                        <a:moveTo>
                          <a:pt x="208236" y="184899"/>
                        </a:moveTo>
                        <a:cubicBezTo>
                          <a:pt x="205464" y="185557"/>
                          <a:pt x="203073" y="182604"/>
                          <a:pt x="203711" y="180051"/>
                        </a:cubicBezTo>
                        <a:cubicBezTo>
                          <a:pt x="204159" y="178289"/>
                          <a:pt x="205502" y="177784"/>
                          <a:pt x="207083" y="177089"/>
                        </a:cubicBezTo>
                        <a:cubicBezTo>
                          <a:pt x="212341" y="177060"/>
                          <a:pt x="212655" y="183852"/>
                          <a:pt x="208236" y="184899"/>
                        </a:cubicBezTo>
                        <a:close/>
                        <a:moveTo>
                          <a:pt x="332327" y="178575"/>
                        </a:moveTo>
                        <a:cubicBezTo>
                          <a:pt x="332118" y="179260"/>
                          <a:pt x="333061" y="179851"/>
                          <a:pt x="333642" y="180051"/>
                        </a:cubicBezTo>
                        <a:cubicBezTo>
                          <a:pt x="334328" y="179775"/>
                          <a:pt x="334642" y="179461"/>
                          <a:pt x="334956" y="178822"/>
                        </a:cubicBezTo>
                        <a:cubicBezTo>
                          <a:pt x="334880" y="178022"/>
                          <a:pt x="334499" y="177822"/>
                          <a:pt x="334051" y="177422"/>
                        </a:cubicBezTo>
                        <a:cubicBezTo>
                          <a:pt x="333803" y="177394"/>
                          <a:pt x="333556" y="177375"/>
                          <a:pt x="333308" y="177336"/>
                        </a:cubicBezTo>
                        <a:cubicBezTo>
                          <a:pt x="332851" y="177698"/>
                          <a:pt x="332470" y="177879"/>
                          <a:pt x="332327" y="178575"/>
                        </a:cubicBezTo>
                        <a:close/>
                        <a:moveTo>
                          <a:pt x="150143" y="183585"/>
                        </a:moveTo>
                        <a:cubicBezTo>
                          <a:pt x="148199" y="184156"/>
                          <a:pt x="146256" y="181994"/>
                          <a:pt x="147018" y="180137"/>
                        </a:cubicBezTo>
                        <a:cubicBezTo>
                          <a:pt x="147342" y="179356"/>
                          <a:pt x="148123" y="178918"/>
                          <a:pt x="148819" y="178489"/>
                        </a:cubicBezTo>
                        <a:cubicBezTo>
                          <a:pt x="152419" y="178337"/>
                          <a:pt x="152990" y="182737"/>
                          <a:pt x="150143" y="183585"/>
                        </a:cubicBezTo>
                        <a:close/>
                        <a:moveTo>
                          <a:pt x="248421" y="184899"/>
                        </a:moveTo>
                        <a:cubicBezTo>
                          <a:pt x="248660" y="185814"/>
                          <a:pt x="249088" y="187204"/>
                          <a:pt x="248669" y="188271"/>
                        </a:cubicBezTo>
                        <a:cubicBezTo>
                          <a:pt x="248002" y="189967"/>
                          <a:pt x="246602" y="190262"/>
                          <a:pt x="244640" y="190729"/>
                        </a:cubicBezTo>
                        <a:cubicBezTo>
                          <a:pt x="243821" y="190929"/>
                          <a:pt x="242744" y="191357"/>
                          <a:pt x="241602" y="191148"/>
                        </a:cubicBezTo>
                        <a:cubicBezTo>
                          <a:pt x="238135" y="190500"/>
                          <a:pt x="235886" y="185538"/>
                          <a:pt x="238230" y="182109"/>
                        </a:cubicBezTo>
                        <a:cubicBezTo>
                          <a:pt x="239487" y="180270"/>
                          <a:pt x="240982" y="180423"/>
                          <a:pt x="243326" y="179556"/>
                        </a:cubicBezTo>
                        <a:cubicBezTo>
                          <a:pt x="247202" y="179565"/>
                          <a:pt x="247602" y="181746"/>
                          <a:pt x="248421" y="184899"/>
                        </a:cubicBezTo>
                        <a:close/>
                        <a:moveTo>
                          <a:pt x="20383" y="182185"/>
                        </a:moveTo>
                        <a:cubicBezTo>
                          <a:pt x="19593" y="184347"/>
                          <a:pt x="21660" y="186614"/>
                          <a:pt x="23755" y="186214"/>
                        </a:cubicBezTo>
                        <a:cubicBezTo>
                          <a:pt x="27375" y="185518"/>
                          <a:pt x="27241" y="179822"/>
                          <a:pt x="22936" y="179965"/>
                        </a:cubicBezTo>
                        <a:cubicBezTo>
                          <a:pt x="21812" y="180470"/>
                          <a:pt x="20812" y="181023"/>
                          <a:pt x="20383" y="182185"/>
                        </a:cubicBezTo>
                        <a:close/>
                        <a:moveTo>
                          <a:pt x="308324" y="182109"/>
                        </a:moveTo>
                        <a:cubicBezTo>
                          <a:pt x="307448" y="184252"/>
                          <a:pt x="309658" y="186776"/>
                          <a:pt x="311944" y="186300"/>
                        </a:cubicBezTo>
                        <a:cubicBezTo>
                          <a:pt x="315658" y="185518"/>
                          <a:pt x="315182" y="179794"/>
                          <a:pt x="310715" y="179965"/>
                        </a:cubicBezTo>
                        <a:cubicBezTo>
                          <a:pt x="309705" y="180480"/>
                          <a:pt x="308762" y="181042"/>
                          <a:pt x="308324" y="182109"/>
                        </a:cubicBezTo>
                        <a:close/>
                        <a:moveTo>
                          <a:pt x="127702" y="189500"/>
                        </a:moveTo>
                        <a:cubicBezTo>
                          <a:pt x="125025" y="189995"/>
                          <a:pt x="122482" y="187157"/>
                          <a:pt x="123263" y="184404"/>
                        </a:cubicBezTo>
                        <a:cubicBezTo>
                          <a:pt x="123815" y="182461"/>
                          <a:pt x="125254" y="182051"/>
                          <a:pt x="127121" y="181366"/>
                        </a:cubicBezTo>
                        <a:cubicBezTo>
                          <a:pt x="132188" y="181718"/>
                          <a:pt x="132340" y="188652"/>
                          <a:pt x="127702" y="189500"/>
                        </a:cubicBezTo>
                        <a:close/>
                        <a:moveTo>
                          <a:pt x="53826" y="186300"/>
                        </a:moveTo>
                        <a:cubicBezTo>
                          <a:pt x="52835" y="189624"/>
                          <a:pt x="56302" y="193281"/>
                          <a:pt x="59503" y="192710"/>
                        </a:cubicBezTo>
                        <a:cubicBezTo>
                          <a:pt x="65837" y="191576"/>
                          <a:pt x="65580" y="182166"/>
                          <a:pt x="58274" y="182356"/>
                        </a:cubicBezTo>
                        <a:cubicBezTo>
                          <a:pt x="56055" y="183337"/>
                          <a:pt x="54550" y="183861"/>
                          <a:pt x="53826" y="186300"/>
                        </a:cubicBezTo>
                        <a:close/>
                        <a:moveTo>
                          <a:pt x="185556" y="188271"/>
                        </a:moveTo>
                        <a:cubicBezTo>
                          <a:pt x="183680" y="188624"/>
                          <a:pt x="181756" y="186290"/>
                          <a:pt x="182680" y="184404"/>
                        </a:cubicBezTo>
                        <a:cubicBezTo>
                          <a:pt x="183080" y="183594"/>
                          <a:pt x="183909" y="183175"/>
                          <a:pt x="184737" y="182756"/>
                        </a:cubicBezTo>
                        <a:cubicBezTo>
                          <a:pt x="188690" y="182604"/>
                          <a:pt x="188843" y="187652"/>
                          <a:pt x="185556" y="188271"/>
                        </a:cubicBezTo>
                        <a:close/>
                        <a:moveTo>
                          <a:pt x="284750" y="186376"/>
                        </a:moveTo>
                        <a:cubicBezTo>
                          <a:pt x="283836" y="189357"/>
                          <a:pt x="286579" y="192653"/>
                          <a:pt x="289760" y="192043"/>
                        </a:cubicBezTo>
                        <a:cubicBezTo>
                          <a:pt x="295142" y="191014"/>
                          <a:pt x="294818" y="183118"/>
                          <a:pt x="288779" y="183004"/>
                        </a:cubicBezTo>
                        <a:cubicBezTo>
                          <a:pt x="286750" y="183804"/>
                          <a:pt x="285379" y="184261"/>
                          <a:pt x="284750" y="186376"/>
                        </a:cubicBezTo>
                        <a:close/>
                        <a:moveTo>
                          <a:pt x="106013" y="195167"/>
                        </a:moveTo>
                        <a:cubicBezTo>
                          <a:pt x="102070" y="196072"/>
                          <a:pt x="98822" y="192005"/>
                          <a:pt x="99851" y="188347"/>
                        </a:cubicBezTo>
                        <a:cubicBezTo>
                          <a:pt x="100517" y="185995"/>
                          <a:pt x="102251" y="185452"/>
                          <a:pt x="104451" y="184566"/>
                        </a:cubicBezTo>
                        <a:cubicBezTo>
                          <a:pt x="111557" y="184433"/>
                          <a:pt x="111995" y="193796"/>
                          <a:pt x="106013" y="195167"/>
                        </a:cubicBezTo>
                        <a:close/>
                        <a:moveTo>
                          <a:pt x="221714" y="194681"/>
                        </a:moveTo>
                        <a:cubicBezTo>
                          <a:pt x="218227" y="195501"/>
                          <a:pt x="215303" y="191805"/>
                          <a:pt x="216208" y="188604"/>
                        </a:cubicBezTo>
                        <a:cubicBezTo>
                          <a:pt x="216789" y="186547"/>
                          <a:pt x="218304" y="185909"/>
                          <a:pt x="220151" y="185071"/>
                        </a:cubicBezTo>
                        <a:cubicBezTo>
                          <a:pt x="226838" y="184899"/>
                          <a:pt x="227304" y="193367"/>
                          <a:pt x="221714" y="194681"/>
                        </a:cubicBezTo>
                        <a:close/>
                        <a:moveTo>
                          <a:pt x="261490" y="189824"/>
                        </a:moveTo>
                        <a:cubicBezTo>
                          <a:pt x="260128" y="193586"/>
                          <a:pt x="263728" y="198234"/>
                          <a:pt x="267576" y="197549"/>
                        </a:cubicBezTo>
                        <a:cubicBezTo>
                          <a:pt x="274453" y="196329"/>
                          <a:pt x="274101" y="186185"/>
                          <a:pt x="266510" y="186376"/>
                        </a:cubicBezTo>
                        <a:cubicBezTo>
                          <a:pt x="264185" y="187347"/>
                          <a:pt x="262337" y="187471"/>
                          <a:pt x="261490" y="189824"/>
                        </a:cubicBezTo>
                        <a:close/>
                        <a:moveTo>
                          <a:pt x="86" y="187281"/>
                        </a:moveTo>
                        <a:cubicBezTo>
                          <a:pt x="57" y="187385"/>
                          <a:pt x="38" y="187500"/>
                          <a:pt x="0" y="187604"/>
                        </a:cubicBezTo>
                        <a:cubicBezTo>
                          <a:pt x="238" y="188071"/>
                          <a:pt x="476" y="188328"/>
                          <a:pt x="905" y="188595"/>
                        </a:cubicBezTo>
                        <a:cubicBezTo>
                          <a:pt x="1581" y="188576"/>
                          <a:pt x="1857" y="188328"/>
                          <a:pt x="2057" y="187852"/>
                        </a:cubicBezTo>
                        <a:cubicBezTo>
                          <a:pt x="2086" y="187662"/>
                          <a:pt x="2114" y="187471"/>
                          <a:pt x="2143" y="187281"/>
                        </a:cubicBezTo>
                        <a:cubicBezTo>
                          <a:pt x="1810" y="186919"/>
                          <a:pt x="1610" y="186633"/>
                          <a:pt x="1067" y="186461"/>
                        </a:cubicBezTo>
                        <a:cubicBezTo>
                          <a:pt x="743" y="186728"/>
                          <a:pt x="419" y="187004"/>
                          <a:pt x="86" y="187281"/>
                        </a:cubicBezTo>
                        <a:close/>
                        <a:moveTo>
                          <a:pt x="163373" y="192624"/>
                        </a:moveTo>
                        <a:cubicBezTo>
                          <a:pt x="161477" y="193053"/>
                          <a:pt x="159715" y="191005"/>
                          <a:pt x="160334" y="189176"/>
                        </a:cubicBezTo>
                        <a:cubicBezTo>
                          <a:pt x="160639" y="188290"/>
                          <a:pt x="161525" y="187804"/>
                          <a:pt x="162306" y="187366"/>
                        </a:cubicBezTo>
                        <a:cubicBezTo>
                          <a:pt x="165964" y="187214"/>
                          <a:pt x="166392" y="191929"/>
                          <a:pt x="163373" y="192624"/>
                        </a:cubicBezTo>
                        <a:close/>
                        <a:moveTo>
                          <a:pt x="32871" y="190976"/>
                        </a:moveTo>
                        <a:cubicBezTo>
                          <a:pt x="31985" y="193805"/>
                          <a:pt x="34880" y="196386"/>
                          <a:pt x="37557" y="195748"/>
                        </a:cubicBezTo>
                        <a:cubicBezTo>
                          <a:pt x="41891" y="194710"/>
                          <a:pt x="41472" y="187919"/>
                          <a:pt x="35995" y="188100"/>
                        </a:cubicBezTo>
                        <a:cubicBezTo>
                          <a:pt x="34633" y="188862"/>
                          <a:pt x="33376" y="189376"/>
                          <a:pt x="32871" y="190976"/>
                        </a:cubicBezTo>
                        <a:close/>
                        <a:moveTo>
                          <a:pt x="322631" y="191634"/>
                        </a:moveTo>
                        <a:cubicBezTo>
                          <a:pt x="322536" y="193719"/>
                          <a:pt x="325012" y="194843"/>
                          <a:pt x="326241" y="193272"/>
                        </a:cubicBezTo>
                        <a:cubicBezTo>
                          <a:pt x="327393" y="191805"/>
                          <a:pt x="326241" y="189805"/>
                          <a:pt x="324269" y="189900"/>
                        </a:cubicBezTo>
                        <a:cubicBezTo>
                          <a:pt x="323488" y="190414"/>
                          <a:pt x="323031" y="190767"/>
                          <a:pt x="322631" y="191634"/>
                        </a:cubicBezTo>
                        <a:close/>
                        <a:moveTo>
                          <a:pt x="199196" y="198206"/>
                        </a:moveTo>
                        <a:cubicBezTo>
                          <a:pt x="196453" y="198749"/>
                          <a:pt x="194091" y="196034"/>
                          <a:pt x="194920" y="193272"/>
                        </a:cubicBezTo>
                        <a:cubicBezTo>
                          <a:pt x="195377" y="191767"/>
                          <a:pt x="196558" y="191233"/>
                          <a:pt x="197882" y="190567"/>
                        </a:cubicBezTo>
                        <a:cubicBezTo>
                          <a:pt x="203473" y="190395"/>
                          <a:pt x="203749" y="197310"/>
                          <a:pt x="199196" y="198206"/>
                        </a:cubicBezTo>
                        <a:close/>
                        <a:moveTo>
                          <a:pt x="67304" y="193358"/>
                        </a:moveTo>
                        <a:cubicBezTo>
                          <a:pt x="64970" y="197129"/>
                          <a:pt x="67885" y="201435"/>
                          <a:pt x="71333" y="202073"/>
                        </a:cubicBezTo>
                        <a:cubicBezTo>
                          <a:pt x="79400" y="203559"/>
                          <a:pt x="80124" y="190481"/>
                          <a:pt x="72152" y="190652"/>
                        </a:cubicBezTo>
                        <a:cubicBezTo>
                          <a:pt x="69952" y="191538"/>
                          <a:pt x="68456" y="191510"/>
                          <a:pt x="67304" y="193358"/>
                        </a:cubicBezTo>
                        <a:close/>
                        <a:moveTo>
                          <a:pt x="141427" y="197958"/>
                        </a:moveTo>
                        <a:cubicBezTo>
                          <a:pt x="138798" y="198663"/>
                          <a:pt x="136322" y="196139"/>
                          <a:pt x="136988" y="193519"/>
                        </a:cubicBezTo>
                        <a:cubicBezTo>
                          <a:pt x="137389" y="191967"/>
                          <a:pt x="138541" y="191376"/>
                          <a:pt x="139865" y="190729"/>
                        </a:cubicBezTo>
                        <a:cubicBezTo>
                          <a:pt x="144951" y="190576"/>
                          <a:pt x="145637" y="196844"/>
                          <a:pt x="141427" y="197958"/>
                        </a:cubicBezTo>
                        <a:close/>
                        <a:moveTo>
                          <a:pt x="299285" y="194681"/>
                        </a:moveTo>
                        <a:cubicBezTo>
                          <a:pt x="297723" y="197263"/>
                          <a:pt x="300352" y="200568"/>
                          <a:pt x="303143" y="199939"/>
                        </a:cubicBezTo>
                        <a:cubicBezTo>
                          <a:pt x="307381" y="198987"/>
                          <a:pt x="307038" y="192681"/>
                          <a:pt x="301752" y="192872"/>
                        </a:cubicBezTo>
                        <a:cubicBezTo>
                          <a:pt x="300714" y="193348"/>
                          <a:pt x="299856" y="193748"/>
                          <a:pt x="299285" y="194681"/>
                        </a:cubicBezTo>
                        <a:close/>
                        <a:moveTo>
                          <a:pt x="233134" y="204368"/>
                        </a:moveTo>
                        <a:cubicBezTo>
                          <a:pt x="229800" y="203749"/>
                          <a:pt x="227028" y="199349"/>
                          <a:pt x="229353" y="195739"/>
                        </a:cubicBezTo>
                        <a:cubicBezTo>
                          <a:pt x="230457" y="194024"/>
                          <a:pt x="231838" y="193900"/>
                          <a:pt x="233953" y="193110"/>
                        </a:cubicBezTo>
                        <a:cubicBezTo>
                          <a:pt x="241963" y="193138"/>
                          <a:pt x="241468" y="205921"/>
                          <a:pt x="233134" y="204368"/>
                        </a:cubicBezTo>
                        <a:close/>
                        <a:moveTo>
                          <a:pt x="119567" y="203549"/>
                        </a:moveTo>
                        <a:cubicBezTo>
                          <a:pt x="115767" y="204568"/>
                          <a:pt x="112576" y="201016"/>
                          <a:pt x="113652" y="197387"/>
                        </a:cubicBezTo>
                        <a:cubicBezTo>
                          <a:pt x="114262" y="195339"/>
                          <a:pt x="115748" y="194777"/>
                          <a:pt x="117596" y="193938"/>
                        </a:cubicBezTo>
                        <a:cubicBezTo>
                          <a:pt x="124253" y="193777"/>
                          <a:pt x="124901" y="202121"/>
                          <a:pt x="119567" y="203549"/>
                        </a:cubicBezTo>
                        <a:close/>
                        <a:moveTo>
                          <a:pt x="12164" y="195996"/>
                        </a:moveTo>
                        <a:cubicBezTo>
                          <a:pt x="11744" y="197615"/>
                          <a:pt x="13659" y="199025"/>
                          <a:pt x="15040" y="198625"/>
                        </a:cubicBezTo>
                        <a:cubicBezTo>
                          <a:pt x="17602" y="197891"/>
                          <a:pt x="17002" y="194034"/>
                          <a:pt x="13888" y="194186"/>
                        </a:cubicBezTo>
                        <a:cubicBezTo>
                          <a:pt x="13211" y="194672"/>
                          <a:pt x="12411" y="195072"/>
                          <a:pt x="12164" y="195996"/>
                        </a:cubicBezTo>
                        <a:close/>
                        <a:moveTo>
                          <a:pt x="177012" y="202149"/>
                        </a:moveTo>
                        <a:cubicBezTo>
                          <a:pt x="174507" y="202768"/>
                          <a:pt x="172421" y="200292"/>
                          <a:pt x="173069" y="197958"/>
                        </a:cubicBezTo>
                        <a:cubicBezTo>
                          <a:pt x="173469" y="196501"/>
                          <a:pt x="174660" y="196139"/>
                          <a:pt x="176031" y="195577"/>
                        </a:cubicBezTo>
                        <a:cubicBezTo>
                          <a:pt x="180222" y="195539"/>
                          <a:pt x="180499" y="201301"/>
                          <a:pt x="177012" y="202149"/>
                        </a:cubicBezTo>
                        <a:close/>
                        <a:moveTo>
                          <a:pt x="275615" y="199444"/>
                        </a:moveTo>
                        <a:cubicBezTo>
                          <a:pt x="274701" y="202463"/>
                          <a:pt x="277549" y="206083"/>
                          <a:pt x="280378" y="205692"/>
                        </a:cubicBezTo>
                        <a:cubicBezTo>
                          <a:pt x="286750" y="204797"/>
                          <a:pt x="286607" y="195786"/>
                          <a:pt x="279397" y="195996"/>
                        </a:cubicBezTo>
                        <a:cubicBezTo>
                          <a:pt x="277644" y="196872"/>
                          <a:pt x="276225" y="197444"/>
                          <a:pt x="275615" y="199444"/>
                        </a:cubicBezTo>
                        <a:close/>
                        <a:moveTo>
                          <a:pt x="45615" y="199520"/>
                        </a:moveTo>
                        <a:cubicBezTo>
                          <a:pt x="44682" y="202663"/>
                          <a:pt x="47425" y="206092"/>
                          <a:pt x="50959" y="205273"/>
                        </a:cubicBezTo>
                        <a:cubicBezTo>
                          <a:pt x="56197" y="204064"/>
                          <a:pt x="55654" y="196129"/>
                          <a:pt x="49149" y="196320"/>
                        </a:cubicBezTo>
                        <a:cubicBezTo>
                          <a:pt x="47577" y="197101"/>
                          <a:pt x="46139" y="197749"/>
                          <a:pt x="45615" y="199520"/>
                        </a:cubicBezTo>
                        <a:close/>
                        <a:moveTo>
                          <a:pt x="101737" y="205607"/>
                        </a:moveTo>
                        <a:cubicBezTo>
                          <a:pt x="100870" y="207750"/>
                          <a:pt x="99460" y="208121"/>
                          <a:pt x="96974" y="208731"/>
                        </a:cubicBezTo>
                        <a:cubicBezTo>
                          <a:pt x="95831" y="209007"/>
                          <a:pt x="94136" y="209636"/>
                          <a:pt x="92707" y="209226"/>
                        </a:cubicBezTo>
                        <a:cubicBezTo>
                          <a:pt x="91192" y="208493"/>
                          <a:pt x="89678" y="200958"/>
                          <a:pt x="90897" y="199368"/>
                        </a:cubicBezTo>
                        <a:cubicBezTo>
                          <a:pt x="92059" y="197853"/>
                          <a:pt x="94126" y="198187"/>
                          <a:pt x="96069" y="197396"/>
                        </a:cubicBezTo>
                        <a:cubicBezTo>
                          <a:pt x="100051" y="197301"/>
                          <a:pt x="103441" y="201425"/>
                          <a:pt x="101737" y="205607"/>
                        </a:cubicBezTo>
                        <a:close/>
                        <a:moveTo>
                          <a:pt x="212265" y="208074"/>
                        </a:moveTo>
                        <a:cubicBezTo>
                          <a:pt x="209036" y="208616"/>
                          <a:pt x="206426" y="205073"/>
                          <a:pt x="207331" y="201911"/>
                        </a:cubicBezTo>
                        <a:cubicBezTo>
                          <a:pt x="207940" y="199806"/>
                          <a:pt x="209522" y="199330"/>
                          <a:pt x="211522" y="198549"/>
                        </a:cubicBezTo>
                        <a:cubicBezTo>
                          <a:pt x="218104" y="198425"/>
                          <a:pt x="218322" y="207054"/>
                          <a:pt x="212265" y="208074"/>
                        </a:cubicBezTo>
                        <a:close/>
                        <a:moveTo>
                          <a:pt x="252527" y="201997"/>
                        </a:moveTo>
                        <a:cubicBezTo>
                          <a:pt x="252079" y="202778"/>
                          <a:pt x="252346" y="204159"/>
                          <a:pt x="252527" y="204949"/>
                        </a:cubicBezTo>
                        <a:cubicBezTo>
                          <a:pt x="253336" y="208540"/>
                          <a:pt x="253670" y="210550"/>
                          <a:pt x="257461" y="211112"/>
                        </a:cubicBezTo>
                        <a:cubicBezTo>
                          <a:pt x="265071" y="212236"/>
                          <a:pt x="266109" y="199358"/>
                          <a:pt x="258528" y="199520"/>
                        </a:cubicBezTo>
                        <a:cubicBezTo>
                          <a:pt x="256204" y="200463"/>
                          <a:pt x="253708" y="199949"/>
                          <a:pt x="252527" y="201997"/>
                        </a:cubicBezTo>
                        <a:close/>
                        <a:moveTo>
                          <a:pt x="154657" y="207007"/>
                        </a:moveTo>
                        <a:cubicBezTo>
                          <a:pt x="151990" y="207607"/>
                          <a:pt x="149695" y="204921"/>
                          <a:pt x="150381" y="202406"/>
                        </a:cubicBezTo>
                        <a:cubicBezTo>
                          <a:pt x="150857" y="200663"/>
                          <a:pt x="152095" y="200235"/>
                          <a:pt x="153753" y="199615"/>
                        </a:cubicBezTo>
                        <a:cubicBezTo>
                          <a:pt x="158477" y="199920"/>
                          <a:pt x="158820" y="206073"/>
                          <a:pt x="154657" y="207007"/>
                        </a:cubicBezTo>
                        <a:close/>
                        <a:moveTo>
                          <a:pt x="24908" y="204130"/>
                        </a:moveTo>
                        <a:cubicBezTo>
                          <a:pt x="23889" y="206416"/>
                          <a:pt x="26051" y="208826"/>
                          <a:pt x="28442" y="208321"/>
                        </a:cubicBezTo>
                        <a:cubicBezTo>
                          <a:pt x="31928" y="207578"/>
                          <a:pt x="31480" y="202016"/>
                          <a:pt x="27375" y="202149"/>
                        </a:cubicBezTo>
                        <a:cubicBezTo>
                          <a:pt x="26318" y="202635"/>
                          <a:pt x="25365" y="203092"/>
                          <a:pt x="24908" y="204130"/>
                        </a:cubicBezTo>
                        <a:close/>
                        <a:moveTo>
                          <a:pt x="313420" y="204368"/>
                        </a:moveTo>
                        <a:cubicBezTo>
                          <a:pt x="312611" y="206007"/>
                          <a:pt x="314449" y="208255"/>
                          <a:pt x="316297" y="207816"/>
                        </a:cubicBezTo>
                        <a:cubicBezTo>
                          <a:pt x="319230" y="207121"/>
                          <a:pt x="318897" y="202625"/>
                          <a:pt x="315230" y="202806"/>
                        </a:cubicBezTo>
                        <a:cubicBezTo>
                          <a:pt x="314535" y="203225"/>
                          <a:pt x="313782" y="203645"/>
                          <a:pt x="313420" y="204368"/>
                        </a:cubicBezTo>
                        <a:close/>
                        <a:moveTo>
                          <a:pt x="132312" y="212341"/>
                        </a:moveTo>
                        <a:cubicBezTo>
                          <a:pt x="128921" y="212960"/>
                          <a:pt x="126387" y="209664"/>
                          <a:pt x="127216" y="206502"/>
                        </a:cubicBezTo>
                        <a:cubicBezTo>
                          <a:pt x="127749" y="204473"/>
                          <a:pt x="129226" y="203902"/>
                          <a:pt x="131073" y="203130"/>
                        </a:cubicBezTo>
                        <a:cubicBezTo>
                          <a:pt x="137579" y="202997"/>
                          <a:pt x="137893" y="211322"/>
                          <a:pt x="132312" y="212341"/>
                        </a:cubicBezTo>
                        <a:close/>
                        <a:moveTo>
                          <a:pt x="190405" y="211846"/>
                        </a:moveTo>
                        <a:cubicBezTo>
                          <a:pt x="187347" y="212455"/>
                          <a:pt x="184766" y="209636"/>
                          <a:pt x="185633" y="206588"/>
                        </a:cubicBezTo>
                        <a:cubicBezTo>
                          <a:pt x="186166" y="204711"/>
                          <a:pt x="187700" y="204235"/>
                          <a:pt x="189490" y="203549"/>
                        </a:cubicBezTo>
                        <a:cubicBezTo>
                          <a:pt x="194739" y="203921"/>
                          <a:pt x="195215" y="210893"/>
                          <a:pt x="190405" y="211846"/>
                        </a:cubicBezTo>
                        <a:close/>
                        <a:moveTo>
                          <a:pt x="58426" y="208321"/>
                        </a:moveTo>
                        <a:cubicBezTo>
                          <a:pt x="57369" y="211798"/>
                          <a:pt x="60408" y="215408"/>
                          <a:pt x="64018" y="214732"/>
                        </a:cubicBezTo>
                        <a:cubicBezTo>
                          <a:pt x="70161" y="213589"/>
                          <a:pt x="69894" y="204426"/>
                          <a:pt x="62294" y="204626"/>
                        </a:cubicBezTo>
                        <a:cubicBezTo>
                          <a:pt x="60522" y="205521"/>
                          <a:pt x="59046" y="206302"/>
                          <a:pt x="58426" y="208321"/>
                        </a:cubicBezTo>
                        <a:close/>
                        <a:moveTo>
                          <a:pt x="289750" y="208731"/>
                        </a:moveTo>
                        <a:cubicBezTo>
                          <a:pt x="288950" y="211560"/>
                          <a:pt x="291722" y="214236"/>
                          <a:pt x="294522" y="213503"/>
                        </a:cubicBezTo>
                        <a:cubicBezTo>
                          <a:pt x="298904" y="212350"/>
                          <a:pt x="298304" y="205616"/>
                          <a:pt x="292960" y="205778"/>
                        </a:cubicBezTo>
                        <a:cubicBezTo>
                          <a:pt x="291484" y="206492"/>
                          <a:pt x="290236" y="207045"/>
                          <a:pt x="289750" y="208731"/>
                        </a:cubicBezTo>
                        <a:close/>
                        <a:moveTo>
                          <a:pt x="109461" y="217846"/>
                        </a:moveTo>
                        <a:cubicBezTo>
                          <a:pt x="105861" y="218494"/>
                          <a:pt x="102984" y="213903"/>
                          <a:pt x="103956" y="210369"/>
                        </a:cubicBezTo>
                        <a:cubicBezTo>
                          <a:pt x="104565" y="208150"/>
                          <a:pt x="106480" y="207416"/>
                          <a:pt x="108480" y="206512"/>
                        </a:cubicBezTo>
                        <a:cubicBezTo>
                          <a:pt x="116805" y="206331"/>
                          <a:pt x="117491" y="216408"/>
                          <a:pt x="109461" y="217846"/>
                        </a:cubicBezTo>
                        <a:close/>
                        <a:moveTo>
                          <a:pt x="225580" y="217684"/>
                        </a:moveTo>
                        <a:cubicBezTo>
                          <a:pt x="222037" y="218313"/>
                          <a:pt x="218875" y="214389"/>
                          <a:pt x="219742" y="210864"/>
                        </a:cubicBezTo>
                        <a:cubicBezTo>
                          <a:pt x="220399" y="208207"/>
                          <a:pt x="222256" y="207550"/>
                          <a:pt x="224590" y="206502"/>
                        </a:cubicBezTo>
                        <a:cubicBezTo>
                          <a:pt x="231924" y="206350"/>
                          <a:pt x="233658" y="216246"/>
                          <a:pt x="225580" y="217684"/>
                        </a:cubicBezTo>
                        <a:close/>
                        <a:moveTo>
                          <a:pt x="167802" y="216294"/>
                        </a:moveTo>
                        <a:cubicBezTo>
                          <a:pt x="165087" y="216780"/>
                          <a:pt x="162678" y="213970"/>
                          <a:pt x="163363" y="211274"/>
                        </a:cubicBezTo>
                        <a:cubicBezTo>
                          <a:pt x="163849" y="209398"/>
                          <a:pt x="165183" y="208864"/>
                          <a:pt x="166897" y="208150"/>
                        </a:cubicBezTo>
                        <a:cubicBezTo>
                          <a:pt x="172488" y="208036"/>
                          <a:pt x="172841" y="215379"/>
                          <a:pt x="167802" y="216294"/>
                        </a:cubicBezTo>
                        <a:close/>
                        <a:moveTo>
                          <a:pt x="4439" y="209636"/>
                        </a:moveTo>
                        <a:cubicBezTo>
                          <a:pt x="4524" y="210445"/>
                          <a:pt x="4972" y="210617"/>
                          <a:pt x="5515" y="210950"/>
                        </a:cubicBezTo>
                        <a:cubicBezTo>
                          <a:pt x="6172" y="210693"/>
                          <a:pt x="6601" y="210426"/>
                          <a:pt x="6667" y="209550"/>
                        </a:cubicBezTo>
                        <a:cubicBezTo>
                          <a:pt x="6296" y="209112"/>
                          <a:pt x="6172" y="208740"/>
                          <a:pt x="5429" y="208645"/>
                        </a:cubicBezTo>
                        <a:cubicBezTo>
                          <a:pt x="4972" y="208969"/>
                          <a:pt x="4705" y="209112"/>
                          <a:pt x="4439" y="209636"/>
                        </a:cubicBezTo>
                        <a:close/>
                        <a:moveTo>
                          <a:pt x="266500" y="212760"/>
                        </a:moveTo>
                        <a:cubicBezTo>
                          <a:pt x="265500" y="216027"/>
                          <a:pt x="268796" y="219827"/>
                          <a:pt x="272329" y="219094"/>
                        </a:cubicBezTo>
                        <a:cubicBezTo>
                          <a:pt x="278063" y="217894"/>
                          <a:pt x="277673" y="208883"/>
                          <a:pt x="270767" y="209064"/>
                        </a:cubicBezTo>
                        <a:cubicBezTo>
                          <a:pt x="268719" y="209931"/>
                          <a:pt x="267167" y="210550"/>
                          <a:pt x="266500" y="212760"/>
                        </a:cubicBezTo>
                        <a:close/>
                        <a:moveTo>
                          <a:pt x="37481" y="212998"/>
                        </a:moveTo>
                        <a:cubicBezTo>
                          <a:pt x="36690" y="215484"/>
                          <a:pt x="38891" y="218389"/>
                          <a:pt x="41510" y="217932"/>
                        </a:cubicBezTo>
                        <a:cubicBezTo>
                          <a:pt x="45891" y="217160"/>
                          <a:pt x="45968" y="210207"/>
                          <a:pt x="40691" y="210369"/>
                        </a:cubicBezTo>
                        <a:cubicBezTo>
                          <a:pt x="39186" y="210988"/>
                          <a:pt x="37976" y="211446"/>
                          <a:pt x="37481" y="212998"/>
                        </a:cubicBezTo>
                        <a:close/>
                        <a:moveTo>
                          <a:pt x="203635" y="221628"/>
                        </a:moveTo>
                        <a:cubicBezTo>
                          <a:pt x="200044" y="222285"/>
                          <a:pt x="197244" y="218656"/>
                          <a:pt x="198215" y="215217"/>
                        </a:cubicBezTo>
                        <a:cubicBezTo>
                          <a:pt x="198825" y="213046"/>
                          <a:pt x="200453" y="212569"/>
                          <a:pt x="202406" y="211684"/>
                        </a:cubicBezTo>
                        <a:cubicBezTo>
                          <a:pt x="209398" y="211512"/>
                          <a:pt x="209645" y="220532"/>
                          <a:pt x="203635" y="221628"/>
                        </a:cubicBezTo>
                        <a:close/>
                        <a:moveTo>
                          <a:pt x="146190" y="221218"/>
                        </a:moveTo>
                        <a:cubicBezTo>
                          <a:pt x="142827" y="222066"/>
                          <a:pt x="139570" y="219027"/>
                          <a:pt x="140522" y="215551"/>
                        </a:cubicBezTo>
                        <a:cubicBezTo>
                          <a:pt x="141075" y="213541"/>
                          <a:pt x="142513" y="212922"/>
                          <a:pt x="144304" y="212103"/>
                        </a:cubicBezTo>
                        <a:cubicBezTo>
                          <a:pt x="150828" y="211931"/>
                          <a:pt x="151286" y="219942"/>
                          <a:pt x="146190" y="221218"/>
                        </a:cubicBezTo>
                        <a:close/>
                        <a:moveTo>
                          <a:pt x="243411" y="214808"/>
                        </a:moveTo>
                        <a:cubicBezTo>
                          <a:pt x="242821" y="215665"/>
                          <a:pt x="243487" y="217503"/>
                          <a:pt x="243659" y="218256"/>
                        </a:cubicBezTo>
                        <a:cubicBezTo>
                          <a:pt x="244354" y="221342"/>
                          <a:pt x="244469" y="223495"/>
                          <a:pt x="247440" y="224257"/>
                        </a:cubicBezTo>
                        <a:cubicBezTo>
                          <a:pt x="256213" y="226495"/>
                          <a:pt x="257680" y="212627"/>
                          <a:pt x="249984" y="212750"/>
                        </a:cubicBezTo>
                        <a:cubicBezTo>
                          <a:pt x="247974" y="213608"/>
                          <a:pt x="244554" y="213131"/>
                          <a:pt x="243411" y="214808"/>
                        </a:cubicBezTo>
                        <a:close/>
                        <a:moveTo>
                          <a:pt x="71494" y="216370"/>
                        </a:moveTo>
                        <a:cubicBezTo>
                          <a:pt x="69875" y="220170"/>
                          <a:pt x="73085" y="224704"/>
                          <a:pt x="77410" y="223933"/>
                        </a:cubicBezTo>
                        <a:cubicBezTo>
                          <a:pt x="84011" y="222752"/>
                          <a:pt x="83534" y="212817"/>
                          <a:pt x="76010" y="212998"/>
                        </a:cubicBezTo>
                        <a:cubicBezTo>
                          <a:pt x="73943" y="213846"/>
                          <a:pt x="72352" y="214379"/>
                          <a:pt x="71494" y="216370"/>
                        </a:cubicBezTo>
                        <a:close/>
                        <a:moveTo>
                          <a:pt x="328213" y="213903"/>
                        </a:moveTo>
                        <a:cubicBezTo>
                          <a:pt x="328184" y="214093"/>
                          <a:pt x="328155" y="214284"/>
                          <a:pt x="328127" y="214484"/>
                        </a:cubicBezTo>
                        <a:cubicBezTo>
                          <a:pt x="328431" y="214760"/>
                          <a:pt x="328736" y="215036"/>
                          <a:pt x="329032" y="215313"/>
                        </a:cubicBezTo>
                        <a:cubicBezTo>
                          <a:pt x="329117" y="215313"/>
                          <a:pt x="329203" y="215313"/>
                          <a:pt x="329279" y="215313"/>
                        </a:cubicBezTo>
                        <a:cubicBezTo>
                          <a:pt x="329775" y="215065"/>
                          <a:pt x="330022" y="214827"/>
                          <a:pt x="330270" y="214322"/>
                        </a:cubicBezTo>
                        <a:cubicBezTo>
                          <a:pt x="330194" y="213570"/>
                          <a:pt x="329765" y="213189"/>
                          <a:pt x="329032" y="213084"/>
                        </a:cubicBezTo>
                        <a:cubicBezTo>
                          <a:pt x="328660" y="213370"/>
                          <a:pt x="328403" y="213427"/>
                          <a:pt x="328213" y="213903"/>
                        </a:cubicBezTo>
                        <a:close/>
                        <a:moveTo>
                          <a:pt x="123511" y="226562"/>
                        </a:moveTo>
                        <a:cubicBezTo>
                          <a:pt x="119739" y="227247"/>
                          <a:pt x="116396" y="223152"/>
                          <a:pt x="117510" y="219494"/>
                        </a:cubicBezTo>
                        <a:cubicBezTo>
                          <a:pt x="118291" y="216903"/>
                          <a:pt x="120005" y="216503"/>
                          <a:pt x="122520" y="215551"/>
                        </a:cubicBezTo>
                        <a:cubicBezTo>
                          <a:pt x="129692" y="215570"/>
                          <a:pt x="130035" y="225371"/>
                          <a:pt x="123511" y="226562"/>
                        </a:cubicBezTo>
                        <a:close/>
                        <a:moveTo>
                          <a:pt x="304381" y="217189"/>
                        </a:moveTo>
                        <a:cubicBezTo>
                          <a:pt x="303171" y="219094"/>
                          <a:pt x="305162" y="221856"/>
                          <a:pt x="307334" y="221466"/>
                        </a:cubicBezTo>
                        <a:cubicBezTo>
                          <a:pt x="310696" y="220856"/>
                          <a:pt x="310391" y="215684"/>
                          <a:pt x="306753" y="215627"/>
                        </a:cubicBezTo>
                        <a:cubicBezTo>
                          <a:pt x="305667" y="216046"/>
                          <a:pt x="304952" y="216294"/>
                          <a:pt x="304381" y="217189"/>
                        </a:cubicBezTo>
                        <a:close/>
                        <a:moveTo>
                          <a:pt x="17926" y="220561"/>
                        </a:moveTo>
                        <a:cubicBezTo>
                          <a:pt x="19507" y="221475"/>
                          <a:pt x="20974" y="219799"/>
                          <a:pt x="21041" y="218342"/>
                        </a:cubicBezTo>
                        <a:cubicBezTo>
                          <a:pt x="20460" y="217227"/>
                          <a:pt x="20174" y="216408"/>
                          <a:pt x="18412" y="216446"/>
                        </a:cubicBezTo>
                        <a:cubicBezTo>
                          <a:pt x="16897" y="217360"/>
                          <a:pt x="15907" y="219389"/>
                          <a:pt x="17926" y="220561"/>
                        </a:cubicBezTo>
                        <a:close/>
                        <a:moveTo>
                          <a:pt x="181365" y="225819"/>
                        </a:moveTo>
                        <a:cubicBezTo>
                          <a:pt x="178079" y="226457"/>
                          <a:pt x="175260" y="223152"/>
                          <a:pt x="176193" y="219818"/>
                        </a:cubicBezTo>
                        <a:cubicBezTo>
                          <a:pt x="176727" y="217903"/>
                          <a:pt x="178222" y="217341"/>
                          <a:pt x="179803" y="216446"/>
                        </a:cubicBezTo>
                        <a:cubicBezTo>
                          <a:pt x="186814" y="216275"/>
                          <a:pt x="187033" y="224714"/>
                          <a:pt x="181365" y="225819"/>
                        </a:cubicBezTo>
                        <a:close/>
                        <a:moveTo>
                          <a:pt x="50302" y="221790"/>
                        </a:moveTo>
                        <a:cubicBezTo>
                          <a:pt x="49416" y="224704"/>
                          <a:pt x="51968" y="227943"/>
                          <a:pt x="55064" y="227295"/>
                        </a:cubicBezTo>
                        <a:cubicBezTo>
                          <a:pt x="60188" y="226247"/>
                          <a:pt x="59998" y="218475"/>
                          <a:pt x="53578" y="218665"/>
                        </a:cubicBezTo>
                        <a:cubicBezTo>
                          <a:pt x="52092" y="219437"/>
                          <a:pt x="50816" y="220085"/>
                          <a:pt x="50302" y="221790"/>
                        </a:cubicBezTo>
                        <a:close/>
                        <a:moveTo>
                          <a:pt x="280721" y="221875"/>
                        </a:moveTo>
                        <a:cubicBezTo>
                          <a:pt x="279892" y="224800"/>
                          <a:pt x="282473" y="227609"/>
                          <a:pt x="285407" y="227057"/>
                        </a:cubicBezTo>
                        <a:cubicBezTo>
                          <a:pt x="290313" y="226114"/>
                          <a:pt x="289903" y="218656"/>
                          <a:pt x="284016" y="218846"/>
                        </a:cubicBezTo>
                        <a:cubicBezTo>
                          <a:pt x="282502" y="219570"/>
                          <a:pt x="281197" y="220170"/>
                          <a:pt x="280721" y="221875"/>
                        </a:cubicBezTo>
                        <a:close/>
                        <a:moveTo>
                          <a:pt x="220723" y="221713"/>
                        </a:moveTo>
                        <a:cubicBezTo>
                          <a:pt x="222199" y="223609"/>
                          <a:pt x="222733" y="228124"/>
                          <a:pt x="220723" y="229686"/>
                        </a:cubicBezTo>
                        <a:cubicBezTo>
                          <a:pt x="219951" y="230295"/>
                          <a:pt x="219189" y="230381"/>
                          <a:pt x="218008" y="230667"/>
                        </a:cubicBezTo>
                        <a:cubicBezTo>
                          <a:pt x="217103" y="230886"/>
                          <a:pt x="215941" y="231391"/>
                          <a:pt x="214722" y="231162"/>
                        </a:cubicBezTo>
                        <a:cubicBezTo>
                          <a:pt x="211884" y="230629"/>
                          <a:pt x="209531" y="226685"/>
                          <a:pt x="211017" y="223190"/>
                        </a:cubicBezTo>
                        <a:cubicBezTo>
                          <a:pt x="211969" y="220971"/>
                          <a:pt x="213617" y="220656"/>
                          <a:pt x="215951" y="219742"/>
                        </a:cubicBezTo>
                        <a:cubicBezTo>
                          <a:pt x="218094" y="219713"/>
                          <a:pt x="219799" y="220513"/>
                          <a:pt x="220723" y="221713"/>
                        </a:cubicBezTo>
                        <a:close/>
                        <a:moveTo>
                          <a:pt x="158772" y="230505"/>
                        </a:moveTo>
                        <a:cubicBezTo>
                          <a:pt x="155915" y="230943"/>
                          <a:pt x="152819" y="227524"/>
                          <a:pt x="153600" y="224504"/>
                        </a:cubicBezTo>
                        <a:cubicBezTo>
                          <a:pt x="154248" y="221999"/>
                          <a:pt x="155867" y="221532"/>
                          <a:pt x="158201" y="220637"/>
                        </a:cubicBezTo>
                        <a:cubicBezTo>
                          <a:pt x="164763" y="220704"/>
                          <a:pt x="164935" y="229543"/>
                          <a:pt x="158772" y="230505"/>
                        </a:cubicBezTo>
                        <a:close/>
                        <a:moveTo>
                          <a:pt x="85134" y="224018"/>
                        </a:moveTo>
                        <a:cubicBezTo>
                          <a:pt x="82363" y="227867"/>
                          <a:pt x="85372" y="232458"/>
                          <a:pt x="89087" y="233143"/>
                        </a:cubicBezTo>
                        <a:cubicBezTo>
                          <a:pt x="92078" y="233696"/>
                          <a:pt x="94917" y="231477"/>
                          <a:pt x="95488" y="229524"/>
                        </a:cubicBezTo>
                        <a:cubicBezTo>
                          <a:pt x="95783" y="228524"/>
                          <a:pt x="95412" y="227362"/>
                          <a:pt x="95250" y="226571"/>
                        </a:cubicBezTo>
                        <a:cubicBezTo>
                          <a:pt x="94631" y="223685"/>
                          <a:pt x="94279" y="221494"/>
                          <a:pt x="90726" y="221551"/>
                        </a:cubicBezTo>
                        <a:cubicBezTo>
                          <a:pt x="88364" y="222533"/>
                          <a:pt x="86506" y="222123"/>
                          <a:pt x="85134" y="224018"/>
                        </a:cubicBezTo>
                        <a:close/>
                        <a:moveTo>
                          <a:pt x="257546" y="226152"/>
                        </a:moveTo>
                        <a:cubicBezTo>
                          <a:pt x="256689" y="229476"/>
                          <a:pt x="259956" y="233096"/>
                          <a:pt x="263214" y="232477"/>
                        </a:cubicBezTo>
                        <a:cubicBezTo>
                          <a:pt x="269310" y="231324"/>
                          <a:pt x="268910" y="222133"/>
                          <a:pt x="262147" y="222209"/>
                        </a:cubicBezTo>
                        <a:cubicBezTo>
                          <a:pt x="259852" y="223114"/>
                          <a:pt x="258185" y="223666"/>
                          <a:pt x="257546" y="226152"/>
                        </a:cubicBezTo>
                        <a:close/>
                        <a:moveTo>
                          <a:pt x="29337" y="226724"/>
                        </a:moveTo>
                        <a:cubicBezTo>
                          <a:pt x="28794" y="228543"/>
                          <a:pt x="30727" y="230743"/>
                          <a:pt x="32785" y="230257"/>
                        </a:cubicBezTo>
                        <a:cubicBezTo>
                          <a:pt x="35985" y="229505"/>
                          <a:pt x="35547" y="224838"/>
                          <a:pt x="32128" y="224504"/>
                        </a:cubicBezTo>
                        <a:cubicBezTo>
                          <a:pt x="30851" y="225000"/>
                          <a:pt x="29737" y="225400"/>
                          <a:pt x="29337" y="226724"/>
                        </a:cubicBezTo>
                        <a:close/>
                        <a:moveTo>
                          <a:pt x="136827" y="235439"/>
                        </a:moveTo>
                        <a:cubicBezTo>
                          <a:pt x="132864" y="236163"/>
                          <a:pt x="129740" y="232258"/>
                          <a:pt x="130826" y="228533"/>
                        </a:cubicBezTo>
                        <a:cubicBezTo>
                          <a:pt x="131540" y="226095"/>
                          <a:pt x="133160" y="225495"/>
                          <a:pt x="135350" y="224504"/>
                        </a:cubicBezTo>
                        <a:cubicBezTo>
                          <a:pt x="143142" y="224333"/>
                          <a:pt x="143646" y="234191"/>
                          <a:pt x="136827" y="235439"/>
                        </a:cubicBezTo>
                        <a:close/>
                        <a:moveTo>
                          <a:pt x="195005" y="235353"/>
                        </a:moveTo>
                        <a:cubicBezTo>
                          <a:pt x="191243" y="236144"/>
                          <a:pt x="187881" y="232134"/>
                          <a:pt x="188843" y="228619"/>
                        </a:cubicBezTo>
                        <a:cubicBezTo>
                          <a:pt x="189481" y="226285"/>
                          <a:pt x="191081" y="225666"/>
                          <a:pt x="193119" y="224676"/>
                        </a:cubicBezTo>
                        <a:cubicBezTo>
                          <a:pt x="200987" y="224495"/>
                          <a:pt x="201311" y="234029"/>
                          <a:pt x="195005" y="235353"/>
                        </a:cubicBezTo>
                        <a:close/>
                        <a:moveTo>
                          <a:pt x="318678" y="227543"/>
                        </a:moveTo>
                        <a:cubicBezTo>
                          <a:pt x="319021" y="228257"/>
                          <a:pt x="319373" y="228676"/>
                          <a:pt x="320078" y="229019"/>
                        </a:cubicBezTo>
                        <a:cubicBezTo>
                          <a:pt x="321031" y="229019"/>
                          <a:pt x="321555" y="228552"/>
                          <a:pt x="321802" y="227867"/>
                        </a:cubicBezTo>
                        <a:cubicBezTo>
                          <a:pt x="322212" y="226971"/>
                          <a:pt x="321250" y="226181"/>
                          <a:pt x="320650" y="225981"/>
                        </a:cubicBezTo>
                        <a:cubicBezTo>
                          <a:pt x="320430" y="225952"/>
                          <a:pt x="320212" y="225923"/>
                          <a:pt x="319992" y="225895"/>
                        </a:cubicBezTo>
                        <a:cubicBezTo>
                          <a:pt x="319354" y="226333"/>
                          <a:pt x="318840" y="226619"/>
                          <a:pt x="318678" y="227543"/>
                        </a:cubicBezTo>
                        <a:close/>
                        <a:moveTo>
                          <a:pt x="234696" y="228448"/>
                        </a:moveTo>
                        <a:cubicBezTo>
                          <a:pt x="234162" y="229305"/>
                          <a:pt x="234591" y="230753"/>
                          <a:pt x="234782" y="231572"/>
                        </a:cubicBezTo>
                        <a:cubicBezTo>
                          <a:pt x="235553" y="235001"/>
                          <a:pt x="236010" y="236982"/>
                          <a:pt x="239468" y="237658"/>
                        </a:cubicBezTo>
                        <a:cubicBezTo>
                          <a:pt x="247297" y="239173"/>
                          <a:pt x="248621" y="225942"/>
                          <a:pt x="241106" y="226066"/>
                        </a:cubicBezTo>
                        <a:cubicBezTo>
                          <a:pt x="238820" y="227028"/>
                          <a:pt x="235915" y="226466"/>
                          <a:pt x="234696" y="228448"/>
                        </a:cubicBezTo>
                        <a:close/>
                        <a:moveTo>
                          <a:pt x="63113" y="230667"/>
                        </a:moveTo>
                        <a:cubicBezTo>
                          <a:pt x="62217" y="233886"/>
                          <a:pt x="65141" y="237058"/>
                          <a:pt x="68294" y="236506"/>
                        </a:cubicBezTo>
                        <a:cubicBezTo>
                          <a:pt x="74028" y="235487"/>
                          <a:pt x="73857" y="226943"/>
                          <a:pt x="67065" y="227133"/>
                        </a:cubicBezTo>
                        <a:cubicBezTo>
                          <a:pt x="65113" y="227962"/>
                          <a:pt x="63713" y="228533"/>
                          <a:pt x="63113" y="230667"/>
                        </a:cubicBezTo>
                        <a:close/>
                        <a:moveTo>
                          <a:pt x="295180" y="230753"/>
                        </a:moveTo>
                        <a:cubicBezTo>
                          <a:pt x="294342" y="232772"/>
                          <a:pt x="296246" y="235458"/>
                          <a:pt x="298628" y="234944"/>
                        </a:cubicBezTo>
                        <a:cubicBezTo>
                          <a:pt x="302257" y="234163"/>
                          <a:pt x="301780" y="228609"/>
                          <a:pt x="297399" y="228781"/>
                        </a:cubicBezTo>
                        <a:cubicBezTo>
                          <a:pt x="296485" y="229314"/>
                          <a:pt x="295608" y="229734"/>
                          <a:pt x="295180" y="230753"/>
                        </a:cubicBezTo>
                        <a:close/>
                        <a:moveTo>
                          <a:pt x="172326" y="239792"/>
                        </a:moveTo>
                        <a:cubicBezTo>
                          <a:pt x="168802" y="240392"/>
                          <a:pt x="165706" y="236420"/>
                          <a:pt x="166649" y="232972"/>
                        </a:cubicBezTo>
                        <a:cubicBezTo>
                          <a:pt x="167326" y="230505"/>
                          <a:pt x="169021" y="230029"/>
                          <a:pt x="171336" y="229114"/>
                        </a:cubicBezTo>
                        <a:cubicBezTo>
                          <a:pt x="178584" y="229010"/>
                          <a:pt x="178937" y="238658"/>
                          <a:pt x="172326" y="239792"/>
                        </a:cubicBezTo>
                        <a:close/>
                        <a:moveTo>
                          <a:pt x="271844" y="235029"/>
                        </a:moveTo>
                        <a:cubicBezTo>
                          <a:pt x="270958" y="237734"/>
                          <a:pt x="273406" y="240935"/>
                          <a:pt x="276197" y="240449"/>
                        </a:cubicBezTo>
                        <a:cubicBezTo>
                          <a:pt x="281483" y="239544"/>
                          <a:pt x="281188" y="231981"/>
                          <a:pt x="275454" y="232067"/>
                        </a:cubicBezTo>
                        <a:cubicBezTo>
                          <a:pt x="273739" y="232772"/>
                          <a:pt x="272424" y="233248"/>
                          <a:pt x="271844" y="235029"/>
                        </a:cubicBezTo>
                        <a:close/>
                        <a:moveTo>
                          <a:pt x="42158" y="235515"/>
                        </a:moveTo>
                        <a:cubicBezTo>
                          <a:pt x="41520" y="237782"/>
                          <a:pt x="43805" y="240211"/>
                          <a:pt x="46272" y="239630"/>
                        </a:cubicBezTo>
                        <a:cubicBezTo>
                          <a:pt x="50082" y="238716"/>
                          <a:pt x="49759" y="232705"/>
                          <a:pt x="44958" y="232886"/>
                        </a:cubicBezTo>
                        <a:cubicBezTo>
                          <a:pt x="43701" y="233505"/>
                          <a:pt x="42567" y="234086"/>
                          <a:pt x="42158" y="235515"/>
                        </a:cubicBezTo>
                        <a:close/>
                        <a:moveTo>
                          <a:pt x="150628" y="244145"/>
                        </a:moveTo>
                        <a:cubicBezTo>
                          <a:pt x="149866" y="244278"/>
                          <a:pt x="149095" y="244421"/>
                          <a:pt x="148333" y="244554"/>
                        </a:cubicBezTo>
                        <a:cubicBezTo>
                          <a:pt x="145618" y="244154"/>
                          <a:pt x="142780" y="240316"/>
                          <a:pt x="144142" y="236906"/>
                        </a:cubicBezTo>
                        <a:cubicBezTo>
                          <a:pt x="145066" y="234601"/>
                          <a:pt x="146695" y="234134"/>
                          <a:pt x="149076" y="233210"/>
                        </a:cubicBezTo>
                        <a:cubicBezTo>
                          <a:pt x="156162" y="233143"/>
                          <a:pt x="157705" y="242564"/>
                          <a:pt x="150628" y="244145"/>
                        </a:cubicBezTo>
                        <a:close/>
                        <a:moveTo>
                          <a:pt x="76428" y="238563"/>
                        </a:moveTo>
                        <a:cubicBezTo>
                          <a:pt x="74838" y="242087"/>
                          <a:pt x="77772" y="246364"/>
                          <a:pt x="81772" y="245631"/>
                        </a:cubicBezTo>
                        <a:cubicBezTo>
                          <a:pt x="87811" y="244526"/>
                          <a:pt x="87287" y="235420"/>
                          <a:pt x="80458" y="235601"/>
                        </a:cubicBezTo>
                        <a:cubicBezTo>
                          <a:pt x="78705" y="236382"/>
                          <a:pt x="77200" y="236849"/>
                          <a:pt x="76428" y="238563"/>
                        </a:cubicBezTo>
                        <a:close/>
                        <a:moveTo>
                          <a:pt x="248755" y="239297"/>
                        </a:moveTo>
                        <a:cubicBezTo>
                          <a:pt x="247802" y="242630"/>
                          <a:pt x="251012" y="246450"/>
                          <a:pt x="254584" y="245707"/>
                        </a:cubicBezTo>
                        <a:cubicBezTo>
                          <a:pt x="260461" y="244488"/>
                          <a:pt x="260061" y="235401"/>
                          <a:pt x="252774" y="235601"/>
                        </a:cubicBezTo>
                        <a:cubicBezTo>
                          <a:pt x="250936" y="236515"/>
                          <a:pt x="249355" y="237191"/>
                          <a:pt x="248755" y="239297"/>
                        </a:cubicBezTo>
                        <a:close/>
                        <a:moveTo>
                          <a:pt x="190814" y="242916"/>
                        </a:moveTo>
                        <a:cubicBezTo>
                          <a:pt x="191110" y="244107"/>
                          <a:pt x="191157" y="245669"/>
                          <a:pt x="190567" y="246612"/>
                        </a:cubicBezTo>
                        <a:cubicBezTo>
                          <a:pt x="189662" y="248050"/>
                          <a:pt x="188090" y="248155"/>
                          <a:pt x="186128" y="248583"/>
                        </a:cubicBezTo>
                        <a:cubicBezTo>
                          <a:pt x="185204" y="248793"/>
                          <a:pt x="184013" y="249345"/>
                          <a:pt x="182756" y="249079"/>
                        </a:cubicBezTo>
                        <a:cubicBezTo>
                          <a:pt x="180661" y="248631"/>
                          <a:pt x="178498" y="244230"/>
                          <a:pt x="179556" y="241354"/>
                        </a:cubicBezTo>
                        <a:cubicBezTo>
                          <a:pt x="180422" y="238973"/>
                          <a:pt x="182013" y="238430"/>
                          <a:pt x="184404" y="237487"/>
                        </a:cubicBezTo>
                        <a:cubicBezTo>
                          <a:pt x="188833" y="237392"/>
                          <a:pt x="189947" y="239382"/>
                          <a:pt x="190814" y="242916"/>
                        </a:cubicBezTo>
                        <a:close/>
                        <a:moveTo>
                          <a:pt x="309553" y="240535"/>
                        </a:moveTo>
                        <a:cubicBezTo>
                          <a:pt x="309601" y="241726"/>
                          <a:pt x="310429" y="242592"/>
                          <a:pt x="311696" y="242592"/>
                        </a:cubicBezTo>
                        <a:cubicBezTo>
                          <a:pt x="312515" y="242268"/>
                          <a:pt x="313525" y="241487"/>
                          <a:pt x="313172" y="240287"/>
                        </a:cubicBezTo>
                        <a:cubicBezTo>
                          <a:pt x="312877" y="239516"/>
                          <a:pt x="312201" y="238887"/>
                          <a:pt x="311115" y="238887"/>
                        </a:cubicBezTo>
                        <a:cubicBezTo>
                          <a:pt x="310372" y="239373"/>
                          <a:pt x="309962" y="239687"/>
                          <a:pt x="309553" y="240535"/>
                        </a:cubicBezTo>
                        <a:close/>
                        <a:moveTo>
                          <a:pt x="21536" y="240611"/>
                        </a:moveTo>
                        <a:cubicBezTo>
                          <a:pt x="21593" y="241678"/>
                          <a:pt x="22231" y="242183"/>
                          <a:pt x="23012" y="242506"/>
                        </a:cubicBezTo>
                        <a:cubicBezTo>
                          <a:pt x="24203" y="242506"/>
                          <a:pt x="24727" y="241783"/>
                          <a:pt x="25070" y="240944"/>
                        </a:cubicBezTo>
                        <a:cubicBezTo>
                          <a:pt x="25041" y="239820"/>
                          <a:pt x="24270" y="239058"/>
                          <a:pt x="23184" y="238973"/>
                        </a:cubicBezTo>
                        <a:cubicBezTo>
                          <a:pt x="22250" y="239478"/>
                          <a:pt x="22041" y="239678"/>
                          <a:pt x="21536" y="240611"/>
                        </a:cubicBezTo>
                        <a:close/>
                        <a:moveTo>
                          <a:pt x="226314" y="242087"/>
                        </a:moveTo>
                        <a:cubicBezTo>
                          <a:pt x="225819" y="242916"/>
                          <a:pt x="225742" y="244278"/>
                          <a:pt x="225981" y="245383"/>
                        </a:cubicBezTo>
                        <a:cubicBezTo>
                          <a:pt x="226686" y="248631"/>
                          <a:pt x="227895" y="250336"/>
                          <a:pt x="231324" y="250803"/>
                        </a:cubicBezTo>
                        <a:cubicBezTo>
                          <a:pt x="238211" y="251755"/>
                          <a:pt x="239449" y="239325"/>
                          <a:pt x="231905" y="239459"/>
                        </a:cubicBezTo>
                        <a:cubicBezTo>
                          <a:pt x="229486" y="240440"/>
                          <a:pt x="227562" y="240001"/>
                          <a:pt x="226314" y="242087"/>
                        </a:cubicBezTo>
                        <a:close/>
                        <a:moveTo>
                          <a:pt x="55150" y="243897"/>
                        </a:moveTo>
                        <a:cubicBezTo>
                          <a:pt x="54264" y="246469"/>
                          <a:pt x="56607" y="249460"/>
                          <a:pt x="59255" y="248993"/>
                        </a:cubicBezTo>
                        <a:cubicBezTo>
                          <a:pt x="63837" y="248193"/>
                          <a:pt x="63693" y="241087"/>
                          <a:pt x="58274" y="241268"/>
                        </a:cubicBezTo>
                        <a:cubicBezTo>
                          <a:pt x="56902" y="241935"/>
                          <a:pt x="55654" y="242421"/>
                          <a:pt x="55150" y="243897"/>
                        </a:cubicBezTo>
                        <a:close/>
                        <a:moveTo>
                          <a:pt x="168545" y="247021"/>
                        </a:moveTo>
                        <a:cubicBezTo>
                          <a:pt x="168831" y="248098"/>
                          <a:pt x="169173" y="249650"/>
                          <a:pt x="168707" y="250803"/>
                        </a:cubicBezTo>
                        <a:cubicBezTo>
                          <a:pt x="168421" y="251498"/>
                          <a:pt x="167535" y="252279"/>
                          <a:pt x="166821" y="252527"/>
                        </a:cubicBezTo>
                        <a:cubicBezTo>
                          <a:pt x="165383" y="253022"/>
                          <a:pt x="159972" y="254203"/>
                          <a:pt x="158687" y="253755"/>
                        </a:cubicBezTo>
                        <a:cubicBezTo>
                          <a:pt x="157782" y="250041"/>
                          <a:pt x="155619" y="245707"/>
                          <a:pt x="159020" y="243078"/>
                        </a:cubicBezTo>
                        <a:cubicBezTo>
                          <a:pt x="160039" y="242287"/>
                          <a:pt x="161287" y="242325"/>
                          <a:pt x="162639" y="241764"/>
                        </a:cubicBezTo>
                        <a:cubicBezTo>
                          <a:pt x="166630" y="241678"/>
                          <a:pt x="167707" y="243821"/>
                          <a:pt x="168545" y="247021"/>
                        </a:cubicBezTo>
                        <a:close/>
                        <a:moveTo>
                          <a:pt x="286140" y="244316"/>
                        </a:moveTo>
                        <a:cubicBezTo>
                          <a:pt x="285426" y="246402"/>
                          <a:pt x="287569" y="248660"/>
                          <a:pt x="289512" y="248336"/>
                        </a:cubicBezTo>
                        <a:cubicBezTo>
                          <a:pt x="293437" y="247698"/>
                          <a:pt x="293227" y="242345"/>
                          <a:pt x="289017" y="241935"/>
                        </a:cubicBezTo>
                        <a:cubicBezTo>
                          <a:pt x="287674" y="242516"/>
                          <a:pt x="286626" y="242897"/>
                          <a:pt x="286140" y="244316"/>
                        </a:cubicBezTo>
                        <a:close/>
                        <a:moveTo>
                          <a:pt x="89240" y="248088"/>
                        </a:moveTo>
                        <a:cubicBezTo>
                          <a:pt x="88325" y="251327"/>
                          <a:pt x="91364" y="255184"/>
                          <a:pt x="94507" y="254746"/>
                        </a:cubicBezTo>
                        <a:cubicBezTo>
                          <a:pt x="101355" y="253784"/>
                          <a:pt x="101165" y="244107"/>
                          <a:pt x="93440" y="244307"/>
                        </a:cubicBezTo>
                        <a:cubicBezTo>
                          <a:pt x="91526" y="245269"/>
                          <a:pt x="89868" y="245878"/>
                          <a:pt x="89240" y="248088"/>
                        </a:cubicBezTo>
                        <a:close/>
                        <a:moveTo>
                          <a:pt x="262966" y="248421"/>
                        </a:moveTo>
                        <a:cubicBezTo>
                          <a:pt x="262109" y="251346"/>
                          <a:pt x="264757" y="254232"/>
                          <a:pt x="267653" y="253679"/>
                        </a:cubicBezTo>
                        <a:cubicBezTo>
                          <a:pt x="272577" y="252736"/>
                          <a:pt x="272348" y="245269"/>
                          <a:pt x="266262" y="245459"/>
                        </a:cubicBezTo>
                        <a:cubicBezTo>
                          <a:pt x="264738" y="246145"/>
                          <a:pt x="263462" y="246755"/>
                          <a:pt x="262966" y="248421"/>
                        </a:cubicBezTo>
                        <a:close/>
                        <a:moveTo>
                          <a:pt x="34357" y="248745"/>
                        </a:moveTo>
                        <a:cubicBezTo>
                          <a:pt x="33652" y="250222"/>
                          <a:pt x="35290" y="252213"/>
                          <a:pt x="36824" y="251946"/>
                        </a:cubicBezTo>
                        <a:cubicBezTo>
                          <a:pt x="39700" y="251460"/>
                          <a:pt x="39538" y="247488"/>
                          <a:pt x="36576" y="247174"/>
                        </a:cubicBezTo>
                        <a:cubicBezTo>
                          <a:pt x="35576" y="247564"/>
                          <a:pt x="34785" y="247850"/>
                          <a:pt x="34357" y="248745"/>
                        </a:cubicBezTo>
                        <a:close/>
                        <a:moveTo>
                          <a:pt x="240125" y="252527"/>
                        </a:moveTo>
                        <a:cubicBezTo>
                          <a:pt x="239182" y="255718"/>
                          <a:pt x="242135" y="259461"/>
                          <a:pt x="245383" y="258851"/>
                        </a:cubicBezTo>
                        <a:cubicBezTo>
                          <a:pt x="251346" y="257737"/>
                          <a:pt x="251222" y="248879"/>
                          <a:pt x="244069" y="249079"/>
                        </a:cubicBezTo>
                        <a:cubicBezTo>
                          <a:pt x="242268" y="249898"/>
                          <a:pt x="240706" y="250546"/>
                          <a:pt x="240125" y="252527"/>
                        </a:cubicBezTo>
                        <a:close/>
                        <a:moveTo>
                          <a:pt x="68046" y="253022"/>
                        </a:moveTo>
                        <a:cubicBezTo>
                          <a:pt x="67265" y="255775"/>
                          <a:pt x="69990" y="258699"/>
                          <a:pt x="72809" y="258118"/>
                        </a:cubicBezTo>
                        <a:cubicBezTo>
                          <a:pt x="77600" y="257127"/>
                          <a:pt x="77391" y="249717"/>
                          <a:pt x="71494" y="249907"/>
                        </a:cubicBezTo>
                        <a:cubicBezTo>
                          <a:pt x="69856" y="250631"/>
                          <a:pt x="68561" y="251203"/>
                          <a:pt x="68046" y="253022"/>
                        </a:cubicBezTo>
                        <a:close/>
                        <a:moveTo>
                          <a:pt x="303066" y="255899"/>
                        </a:moveTo>
                        <a:cubicBezTo>
                          <a:pt x="303867" y="255632"/>
                          <a:pt x="304733" y="254651"/>
                          <a:pt x="304390" y="253508"/>
                        </a:cubicBezTo>
                        <a:cubicBezTo>
                          <a:pt x="304076" y="252708"/>
                          <a:pt x="303409" y="252089"/>
                          <a:pt x="302247" y="252117"/>
                        </a:cubicBezTo>
                        <a:cubicBezTo>
                          <a:pt x="299428" y="253736"/>
                          <a:pt x="301200" y="256746"/>
                          <a:pt x="303066" y="255899"/>
                        </a:cubicBezTo>
                        <a:close/>
                        <a:moveTo>
                          <a:pt x="217446" y="256880"/>
                        </a:moveTo>
                        <a:cubicBezTo>
                          <a:pt x="216408" y="260366"/>
                          <a:pt x="219751" y="264414"/>
                          <a:pt x="223276" y="263785"/>
                        </a:cubicBezTo>
                        <a:cubicBezTo>
                          <a:pt x="229810" y="262614"/>
                          <a:pt x="229591" y="252755"/>
                          <a:pt x="222209" y="252936"/>
                        </a:cubicBezTo>
                        <a:cubicBezTo>
                          <a:pt x="219837" y="253889"/>
                          <a:pt x="218189" y="254375"/>
                          <a:pt x="217446" y="256880"/>
                        </a:cubicBezTo>
                        <a:close/>
                        <a:moveTo>
                          <a:pt x="102480" y="257127"/>
                        </a:moveTo>
                        <a:cubicBezTo>
                          <a:pt x="101394" y="260795"/>
                          <a:pt x="105203" y="264271"/>
                          <a:pt x="108633" y="263538"/>
                        </a:cubicBezTo>
                        <a:cubicBezTo>
                          <a:pt x="114633" y="262261"/>
                          <a:pt x="114186" y="252908"/>
                          <a:pt x="106832" y="253108"/>
                        </a:cubicBezTo>
                        <a:cubicBezTo>
                          <a:pt x="104689" y="254060"/>
                          <a:pt x="103175" y="254765"/>
                          <a:pt x="102480" y="257127"/>
                        </a:cubicBezTo>
                        <a:close/>
                        <a:moveTo>
                          <a:pt x="277263" y="257785"/>
                        </a:moveTo>
                        <a:cubicBezTo>
                          <a:pt x="276711" y="260042"/>
                          <a:pt x="279082" y="262157"/>
                          <a:pt x="281207" y="261480"/>
                        </a:cubicBezTo>
                        <a:cubicBezTo>
                          <a:pt x="284531" y="260423"/>
                          <a:pt x="283883" y="255156"/>
                          <a:pt x="279730" y="255327"/>
                        </a:cubicBezTo>
                        <a:cubicBezTo>
                          <a:pt x="278616" y="255946"/>
                          <a:pt x="277606" y="256413"/>
                          <a:pt x="277263" y="257785"/>
                        </a:cubicBezTo>
                        <a:close/>
                        <a:moveTo>
                          <a:pt x="50711" y="261242"/>
                        </a:moveTo>
                        <a:cubicBezTo>
                          <a:pt x="53683" y="260318"/>
                          <a:pt x="53187" y="255489"/>
                          <a:pt x="49397" y="255651"/>
                        </a:cubicBezTo>
                        <a:cubicBezTo>
                          <a:pt x="45644" y="257556"/>
                          <a:pt x="47339" y="262290"/>
                          <a:pt x="50711" y="261242"/>
                        </a:cubicBezTo>
                        <a:close/>
                        <a:moveTo>
                          <a:pt x="138141" y="259347"/>
                        </a:moveTo>
                        <a:cubicBezTo>
                          <a:pt x="135293" y="263481"/>
                          <a:pt x="138732" y="267881"/>
                          <a:pt x="142580" y="268548"/>
                        </a:cubicBezTo>
                        <a:cubicBezTo>
                          <a:pt x="149676" y="269767"/>
                          <a:pt x="151057" y="256880"/>
                          <a:pt x="143808" y="257042"/>
                        </a:cubicBezTo>
                        <a:cubicBezTo>
                          <a:pt x="141665" y="258070"/>
                          <a:pt x="139408" y="257508"/>
                          <a:pt x="138141" y="259347"/>
                        </a:cubicBezTo>
                        <a:close/>
                        <a:moveTo>
                          <a:pt x="195834" y="259271"/>
                        </a:moveTo>
                        <a:cubicBezTo>
                          <a:pt x="193167" y="262880"/>
                          <a:pt x="196101" y="267662"/>
                          <a:pt x="199530" y="268395"/>
                        </a:cubicBezTo>
                        <a:cubicBezTo>
                          <a:pt x="207197" y="270034"/>
                          <a:pt x="208864" y="257023"/>
                          <a:pt x="200682" y="257213"/>
                        </a:cubicBezTo>
                        <a:cubicBezTo>
                          <a:pt x="198777" y="258061"/>
                          <a:pt x="196977" y="257718"/>
                          <a:pt x="195834" y="259271"/>
                        </a:cubicBezTo>
                        <a:close/>
                        <a:moveTo>
                          <a:pt x="81191" y="261899"/>
                        </a:moveTo>
                        <a:cubicBezTo>
                          <a:pt x="80372" y="264957"/>
                          <a:pt x="83363" y="267805"/>
                          <a:pt x="86363" y="267072"/>
                        </a:cubicBezTo>
                        <a:cubicBezTo>
                          <a:pt x="91173" y="265900"/>
                          <a:pt x="90811" y="258337"/>
                          <a:pt x="84811" y="258528"/>
                        </a:cubicBezTo>
                        <a:cubicBezTo>
                          <a:pt x="83058" y="259318"/>
                          <a:pt x="81724" y="259918"/>
                          <a:pt x="81191" y="261899"/>
                        </a:cubicBezTo>
                        <a:close/>
                        <a:moveTo>
                          <a:pt x="254251" y="261899"/>
                        </a:moveTo>
                        <a:cubicBezTo>
                          <a:pt x="253517" y="264490"/>
                          <a:pt x="255918" y="267262"/>
                          <a:pt x="258442" y="266833"/>
                        </a:cubicBezTo>
                        <a:cubicBezTo>
                          <a:pt x="263480" y="265976"/>
                          <a:pt x="263300" y="258680"/>
                          <a:pt x="257461" y="258861"/>
                        </a:cubicBezTo>
                        <a:cubicBezTo>
                          <a:pt x="256003" y="259575"/>
                          <a:pt x="254727" y="260233"/>
                          <a:pt x="254251" y="261899"/>
                        </a:cubicBezTo>
                        <a:close/>
                        <a:moveTo>
                          <a:pt x="173803" y="263538"/>
                        </a:moveTo>
                        <a:cubicBezTo>
                          <a:pt x="170907" y="267271"/>
                          <a:pt x="173927" y="272205"/>
                          <a:pt x="177746" y="272901"/>
                        </a:cubicBezTo>
                        <a:cubicBezTo>
                          <a:pt x="184995" y="274234"/>
                          <a:pt x="186480" y="261404"/>
                          <a:pt x="178975" y="261566"/>
                        </a:cubicBezTo>
                        <a:cubicBezTo>
                          <a:pt x="177041" y="262385"/>
                          <a:pt x="174984" y="262023"/>
                          <a:pt x="173803" y="263538"/>
                        </a:cubicBezTo>
                        <a:close/>
                        <a:moveTo>
                          <a:pt x="115957" y="265509"/>
                        </a:moveTo>
                        <a:cubicBezTo>
                          <a:pt x="114786" y="268891"/>
                          <a:pt x="117891" y="273034"/>
                          <a:pt x="121377" y="272415"/>
                        </a:cubicBezTo>
                        <a:cubicBezTo>
                          <a:pt x="127806" y="271272"/>
                          <a:pt x="127416" y="261823"/>
                          <a:pt x="120387" y="261985"/>
                        </a:cubicBezTo>
                        <a:cubicBezTo>
                          <a:pt x="118310" y="262852"/>
                          <a:pt x="116700" y="263366"/>
                          <a:pt x="115957" y="265509"/>
                        </a:cubicBezTo>
                        <a:close/>
                        <a:moveTo>
                          <a:pt x="27041" y="262719"/>
                        </a:moveTo>
                        <a:cubicBezTo>
                          <a:pt x="26841" y="263138"/>
                          <a:pt x="27032" y="263423"/>
                          <a:pt x="27289" y="263623"/>
                        </a:cubicBezTo>
                        <a:cubicBezTo>
                          <a:pt x="27508" y="263652"/>
                          <a:pt x="27727" y="263681"/>
                          <a:pt x="27946" y="263709"/>
                        </a:cubicBezTo>
                        <a:cubicBezTo>
                          <a:pt x="28184" y="263385"/>
                          <a:pt x="28318" y="263376"/>
                          <a:pt x="28356" y="262804"/>
                        </a:cubicBezTo>
                        <a:cubicBezTo>
                          <a:pt x="28051" y="262471"/>
                          <a:pt x="28032" y="262328"/>
                          <a:pt x="27365" y="262309"/>
                        </a:cubicBezTo>
                        <a:cubicBezTo>
                          <a:pt x="27261" y="262442"/>
                          <a:pt x="27156" y="262585"/>
                          <a:pt x="27041" y="262719"/>
                        </a:cubicBezTo>
                        <a:close/>
                        <a:moveTo>
                          <a:pt x="231581" y="265757"/>
                        </a:moveTo>
                        <a:cubicBezTo>
                          <a:pt x="230438" y="269053"/>
                          <a:pt x="233381" y="272491"/>
                          <a:pt x="236753" y="271843"/>
                        </a:cubicBezTo>
                        <a:cubicBezTo>
                          <a:pt x="242164" y="270796"/>
                          <a:pt x="241754" y="262480"/>
                          <a:pt x="235525" y="262633"/>
                        </a:cubicBezTo>
                        <a:cubicBezTo>
                          <a:pt x="233648" y="263404"/>
                          <a:pt x="232238" y="263833"/>
                          <a:pt x="231581" y="265757"/>
                        </a:cubicBezTo>
                        <a:close/>
                        <a:moveTo>
                          <a:pt x="60245" y="266252"/>
                        </a:moveTo>
                        <a:cubicBezTo>
                          <a:pt x="59407" y="268329"/>
                          <a:pt x="61455" y="270910"/>
                          <a:pt x="63693" y="270443"/>
                        </a:cubicBezTo>
                        <a:cubicBezTo>
                          <a:pt x="67256" y="269691"/>
                          <a:pt x="67113" y="264023"/>
                          <a:pt x="62703" y="264195"/>
                        </a:cubicBezTo>
                        <a:cubicBezTo>
                          <a:pt x="61655" y="264709"/>
                          <a:pt x="60674" y="265167"/>
                          <a:pt x="60245" y="266252"/>
                        </a:cubicBezTo>
                        <a:close/>
                        <a:moveTo>
                          <a:pt x="291808" y="267157"/>
                        </a:moveTo>
                        <a:cubicBezTo>
                          <a:pt x="291846" y="268262"/>
                          <a:pt x="292513" y="268843"/>
                          <a:pt x="293284" y="269205"/>
                        </a:cubicBezTo>
                        <a:cubicBezTo>
                          <a:pt x="294684" y="269234"/>
                          <a:pt x="295218" y="268472"/>
                          <a:pt x="295589" y="267481"/>
                        </a:cubicBezTo>
                        <a:cubicBezTo>
                          <a:pt x="295532" y="266309"/>
                          <a:pt x="294637" y="265490"/>
                          <a:pt x="293370" y="265509"/>
                        </a:cubicBezTo>
                        <a:cubicBezTo>
                          <a:pt x="292627" y="265995"/>
                          <a:pt x="292208" y="266319"/>
                          <a:pt x="291808" y="267157"/>
                        </a:cubicBezTo>
                        <a:close/>
                        <a:moveTo>
                          <a:pt x="151124" y="269786"/>
                        </a:moveTo>
                        <a:cubicBezTo>
                          <a:pt x="149647" y="273367"/>
                          <a:pt x="153171" y="277787"/>
                          <a:pt x="156953" y="277101"/>
                        </a:cubicBezTo>
                        <a:cubicBezTo>
                          <a:pt x="163468" y="275920"/>
                          <a:pt x="163287" y="266005"/>
                          <a:pt x="156048" y="266176"/>
                        </a:cubicBezTo>
                        <a:cubicBezTo>
                          <a:pt x="153476" y="267233"/>
                          <a:pt x="152200" y="267167"/>
                          <a:pt x="151124" y="269786"/>
                        </a:cubicBezTo>
                        <a:close/>
                        <a:moveTo>
                          <a:pt x="209064" y="270196"/>
                        </a:moveTo>
                        <a:cubicBezTo>
                          <a:pt x="208054" y="273510"/>
                          <a:pt x="210845" y="277139"/>
                          <a:pt x="214074" y="276682"/>
                        </a:cubicBezTo>
                        <a:cubicBezTo>
                          <a:pt x="220542" y="275768"/>
                          <a:pt x="220361" y="266462"/>
                          <a:pt x="213084" y="266662"/>
                        </a:cubicBezTo>
                        <a:cubicBezTo>
                          <a:pt x="211141" y="267529"/>
                          <a:pt x="209702" y="268081"/>
                          <a:pt x="209064" y="270196"/>
                        </a:cubicBezTo>
                        <a:close/>
                        <a:moveTo>
                          <a:pt x="94421" y="270605"/>
                        </a:moveTo>
                        <a:cubicBezTo>
                          <a:pt x="93469" y="273777"/>
                          <a:pt x="96650" y="276768"/>
                          <a:pt x="99765" y="275949"/>
                        </a:cubicBezTo>
                        <a:cubicBezTo>
                          <a:pt x="104556" y="274692"/>
                          <a:pt x="104022" y="267167"/>
                          <a:pt x="98203" y="267319"/>
                        </a:cubicBezTo>
                        <a:cubicBezTo>
                          <a:pt x="96364" y="268081"/>
                          <a:pt x="95012" y="268653"/>
                          <a:pt x="94421" y="270605"/>
                        </a:cubicBezTo>
                        <a:close/>
                        <a:moveTo>
                          <a:pt x="268634" y="270853"/>
                        </a:moveTo>
                        <a:cubicBezTo>
                          <a:pt x="267843" y="272872"/>
                          <a:pt x="269967" y="275053"/>
                          <a:pt x="271844" y="274711"/>
                        </a:cubicBezTo>
                        <a:cubicBezTo>
                          <a:pt x="275311" y="274072"/>
                          <a:pt x="275130" y="268634"/>
                          <a:pt x="271024" y="268796"/>
                        </a:cubicBezTo>
                        <a:cubicBezTo>
                          <a:pt x="270005" y="269310"/>
                          <a:pt x="269062" y="269777"/>
                          <a:pt x="268634" y="270853"/>
                        </a:cubicBezTo>
                        <a:close/>
                        <a:moveTo>
                          <a:pt x="39453" y="271920"/>
                        </a:moveTo>
                        <a:cubicBezTo>
                          <a:pt x="39814" y="272644"/>
                          <a:pt x="40186" y="272891"/>
                          <a:pt x="40853" y="273310"/>
                        </a:cubicBezTo>
                        <a:cubicBezTo>
                          <a:pt x="41805" y="273253"/>
                          <a:pt x="42481" y="272577"/>
                          <a:pt x="42577" y="271663"/>
                        </a:cubicBezTo>
                        <a:cubicBezTo>
                          <a:pt x="42243" y="270872"/>
                          <a:pt x="41824" y="270262"/>
                          <a:pt x="40681" y="270262"/>
                        </a:cubicBezTo>
                        <a:cubicBezTo>
                          <a:pt x="40100" y="270767"/>
                          <a:pt x="39605" y="270986"/>
                          <a:pt x="39453" y="271920"/>
                        </a:cubicBezTo>
                        <a:close/>
                        <a:moveTo>
                          <a:pt x="186709" y="274711"/>
                        </a:moveTo>
                        <a:cubicBezTo>
                          <a:pt x="185566" y="278340"/>
                          <a:pt x="189128" y="282092"/>
                          <a:pt x="192872" y="281121"/>
                        </a:cubicBezTo>
                        <a:cubicBezTo>
                          <a:pt x="198625" y="279616"/>
                          <a:pt x="198044" y="270739"/>
                          <a:pt x="190814" y="270929"/>
                        </a:cubicBezTo>
                        <a:cubicBezTo>
                          <a:pt x="188862" y="271920"/>
                          <a:pt x="187404" y="272501"/>
                          <a:pt x="186709" y="274711"/>
                        </a:cubicBezTo>
                        <a:close/>
                        <a:moveTo>
                          <a:pt x="129264" y="274882"/>
                        </a:moveTo>
                        <a:cubicBezTo>
                          <a:pt x="128311" y="278073"/>
                          <a:pt x="131616" y="281530"/>
                          <a:pt x="134445" y="281130"/>
                        </a:cubicBezTo>
                        <a:cubicBezTo>
                          <a:pt x="140856" y="280225"/>
                          <a:pt x="140732" y="270910"/>
                          <a:pt x="133378" y="271110"/>
                        </a:cubicBezTo>
                        <a:cubicBezTo>
                          <a:pt x="131378" y="271996"/>
                          <a:pt x="129921" y="272691"/>
                          <a:pt x="129264" y="274882"/>
                        </a:cubicBezTo>
                        <a:close/>
                        <a:moveTo>
                          <a:pt x="245707" y="275130"/>
                        </a:moveTo>
                        <a:cubicBezTo>
                          <a:pt x="244897" y="277673"/>
                          <a:pt x="247307" y="280359"/>
                          <a:pt x="249898" y="279816"/>
                        </a:cubicBezTo>
                        <a:cubicBezTo>
                          <a:pt x="254108" y="278940"/>
                          <a:pt x="253775" y="272263"/>
                          <a:pt x="248831" y="272415"/>
                        </a:cubicBezTo>
                        <a:cubicBezTo>
                          <a:pt x="247440" y="273034"/>
                          <a:pt x="246183" y="273634"/>
                          <a:pt x="245707" y="275130"/>
                        </a:cubicBezTo>
                        <a:close/>
                        <a:moveTo>
                          <a:pt x="73304" y="275206"/>
                        </a:moveTo>
                        <a:cubicBezTo>
                          <a:pt x="72476" y="277644"/>
                          <a:pt x="75019" y="280035"/>
                          <a:pt x="77333" y="279397"/>
                        </a:cubicBezTo>
                        <a:cubicBezTo>
                          <a:pt x="81029" y="278378"/>
                          <a:pt x="80648" y="272720"/>
                          <a:pt x="75771" y="272901"/>
                        </a:cubicBezTo>
                        <a:cubicBezTo>
                          <a:pt x="74752" y="273510"/>
                          <a:pt x="73714" y="274025"/>
                          <a:pt x="73304" y="275206"/>
                        </a:cubicBezTo>
                        <a:close/>
                        <a:moveTo>
                          <a:pt x="164678" y="279149"/>
                        </a:moveTo>
                        <a:cubicBezTo>
                          <a:pt x="163744" y="282435"/>
                          <a:pt x="166564" y="286112"/>
                          <a:pt x="169936" y="285559"/>
                        </a:cubicBezTo>
                        <a:cubicBezTo>
                          <a:pt x="176241" y="284521"/>
                          <a:pt x="176031" y="275368"/>
                          <a:pt x="169193" y="275444"/>
                        </a:cubicBezTo>
                        <a:cubicBezTo>
                          <a:pt x="166973" y="276339"/>
                          <a:pt x="165354" y="276787"/>
                          <a:pt x="164678" y="279149"/>
                        </a:cubicBezTo>
                        <a:close/>
                        <a:moveTo>
                          <a:pt x="107823" y="279397"/>
                        </a:moveTo>
                        <a:cubicBezTo>
                          <a:pt x="106861" y="282645"/>
                          <a:pt x="109890" y="285531"/>
                          <a:pt x="112995" y="284740"/>
                        </a:cubicBezTo>
                        <a:cubicBezTo>
                          <a:pt x="117758" y="283531"/>
                          <a:pt x="117348" y="276092"/>
                          <a:pt x="111271" y="276273"/>
                        </a:cubicBezTo>
                        <a:cubicBezTo>
                          <a:pt x="109690" y="277063"/>
                          <a:pt x="108347" y="277606"/>
                          <a:pt x="107823" y="279397"/>
                        </a:cubicBezTo>
                        <a:close/>
                        <a:moveTo>
                          <a:pt x="223114" y="279397"/>
                        </a:moveTo>
                        <a:cubicBezTo>
                          <a:pt x="222275" y="282235"/>
                          <a:pt x="224647" y="285331"/>
                          <a:pt x="227714" y="284740"/>
                        </a:cubicBezTo>
                        <a:cubicBezTo>
                          <a:pt x="232810" y="283759"/>
                          <a:pt x="232496" y="276168"/>
                          <a:pt x="226323" y="276358"/>
                        </a:cubicBezTo>
                        <a:cubicBezTo>
                          <a:pt x="224914" y="277158"/>
                          <a:pt x="223609" y="277730"/>
                          <a:pt x="223114" y="279397"/>
                        </a:cubicBezTo>
                        <a:close/>
                        <a:moveTo>
                          <a:pt x="53997" y="282521"/>
                        </a:moveTo>
                        <a:cubicBezTo>
                          <a:pt x="55216" y="282559"/>
                          <a:pt x="56064" y="281883"/>
                          <a:pt x="56217" y="280873"/>
                        </a:cubicBezTo>
                        <a:cubicBezTo>
                          <a:pt x="56579" y="279768"/>
                          <a:pt x="55112" y="278692"/>
                          <a:pt x="53912" y="278740"/>
                        </a:cubicBezTo>
                        <a:cubicBezTo>
                          <a:pt x="52388" y="279864"/>
                          <a:pt x="51873" y="281578"/>
                          <a:pt x="53997" y="282521"/>
                        </a:cubicBezTo>
                        <a:close/>
                        <a:moveTo>
                          <a:pt x="283188" y="280464"/>
                        </a:moveTo>
                        <a:cubicBezTo>
                          <a:pt x="283235" y="281550"/>
                          <a:pt x="284007" y="282207"/>
                          <a:pt x="284997" y="282359"/>
                        </a:cubicBezTo>
                        <a:cubicBezTo>
                          <a:pt x="285702" y="282026"/>
                          <a:pt x="286131" y="281654"/>
                          <a:pt x="286474" y="280959"/>
                        </a:cubicBezTo>
                        <a:cubicBezTo>
                          <a:pt x="286493" y="279778"/>
                          <a:pt x="285712" y="279006"/>
                          <a:pt x="284588" y="278987"/>
                        </a:cubicBezTo>
                        <a:cubicBezTo>
                          <a:pt x="283978" y="279463"/>
                          <a:pt x="283540" y="279730"/>
                          <a:pt x="283188" y="280464"/>
                        </a:cubicBezTo>
                        <a:close/>
                        <a:moveTo>
                          <a:pt x="142827" y="283921"/>
                        </a:moveTo>
                        <a:cubicBezTo>
                          <a:pt x="141922" y="286988"/>
                          <a:pt x="145218" y="290332"/>
                          <a:pt x="148419" y="289589"/>
                        </a:cubicBezTo>
                        <a:cubicBezTo>
                          <a:pt x="153743" y="288350"/>
                          <a:pt x="153219" y="280035"/>
                          <a:pt x="146780" y="280216"/>
                        </a:cubicBezTo>
                        <a:cubicBezTo>
                          <a:pt x="144799" y="281111"/>
                          <a:pt x="143465" y="281730"/>
                          <a:pt x="142827" y="283921"/>
                        </a:cubicBezTo>
                        <a:close/>
                        <a:moveTo>
                          <a:pt x="200682" y="283750"/>
                        </a:moveTo>
                        <a:cubicBezTo>
                          <a:pt x="199768" y="286760"/>
                          <a:pt x="202511" y="290065"/>
                          <a:pt x="205769" y="289427"/>
                        </a:cubicBezTo>
                        <a:cubicBezTo>
                          <a:pt x="210931" y="288417"/>
                          <a:pt x="210560" y="280311"/>
                          <a:pt x="204454" y="280473"/>
                        </a:cubicBezTo>
                        <a:cubicBezTo>
                          <a:pt x="202654" y="281273"/>
                          <a:pt x="201282" y="281778"/>
                          <a:pt x="200682" y="283750"/>
                        </a:cubicBezTo>
                        <a:close/>
                        <a:moveTo>
                          <a:pt x="86449" y="284493"/>
                        </a:moveTo>
                        <a:cubicBezTo>
                          <a:pt x="85897" y="286807"/>
                          <a:pt x="88516" y="289027"/>
                          <a:pt x="90811" y="288265"/>
                        </a:cubicBezTo>
                        <a:cubicBezTo>
                          <a:pt x="94355" y="287093"/>
                          <a:pt x="93916" y="281521"/>
                          <a:pt x="89163" y="281692"/>
                        </a:cubicBezTo>
                        <a:cubicBezTo>
                          <a:pt x="87897" y="282350"/>
                          <a:pt x="86820" y="282969"/>
                          <a:pt x="86449" y="284493"/>
                        </a:cubicBezTo>
                        <a:close/>
                        <a:moveTo>
                          <a:pt x="260004" y="284493"/>
                        </a:moveTo>
                        <a:cubicBezTo>
                          <a:pt x="259547" y="286264"/>
                          <a:pt x="261452" y="288122"/>
                          <a:pt x="263204" y="287693"/>
                        </a:cubicBezTo>
                        <a:cubicBezTo>
                          <a:pt x="266214" y="286960"/>
                          <a:pt x="265738" y="282264"/>
                          <a:pt x="261976" y="282435"/>
                        </a:cubicBezTo>
                        <a:cubicBezTo>
                          <a:pt x="261166" y="282921"/>
                          <a:pt x="260270" y="283483"/>
                          <a:pt x="260004" y="284493"/>
                        </a:cubicBezTo>
                        <a:close/>
                        <a:moveTo>
                          <a:pt x="178489" y="288198"/>
                        </a:moveTo>
                        <a:cubicBezTo>
                          <a:pt x="177565" y="291217"/>
                          <a:pt x="180318" y="294494"/>
                          <a:pt x="183585" y="293865"/>
                        </a:cubicBezTo>
                        <a:cubicBezTo>
                          <a:pt x="188843" y="292856"/>
                          <a:pt x="188547" y="284721"/>
                          <a:pt x="182185" y="284902"/>
                        </a:cubicBezTo>
                        <a:cubicBezTo>
                          <a:pt x="180432" y="285702"/>
                          <a:pt x="179079" y="286264"/>
                          <a:pt x="178489" y="288198"/>
                        </a:cubicBezTo>
                        <a:close/>
                        <a:moveTo>
                          <a:pt x="121291" y="288274"/>
                        </a:moveTo>
                        <a:cubicBezTo>
                          <a:pt x="120501" y="290960"/>
                          <a:pt x="122901" y="294132"/>
                          <a:pt x="125816" y="293532"/>
                        </a:cubicBezTo>
                        <a:cubicBezTo>
                          <a:pt x="130693" y="292532"/>
                          <a:pt x="130540" y="285140"/>
                          <a:pt x="124749" y="285321"/>
                        </a:cubicBezTo>
                        <a:cubicBezTo>
                          <a:pt x="123111" y="285998"/>
                          <a:pt x="121815" y="286531"/>
                          <a:pt x="121291" y="288274"/>
                        </a:cubicBezTo>
                        <a:close/>
                        <a:moveTo>
                          <a:pt x="237249" y="288608"/>
                        </a:moveTo>
                        <a:cubicBezTo>
                          <a:pt x="236515" y="290941"/>
                          <a:pt x="238792" y="293237"/>
                          <a:pt x="241192" y="292722"/>
                        </a:cubicBezTo>
                        <a:cubicBezTo>
                          <a:pt x="244973" y="291894"/>
                          <a:pt x="244412" y="285988"/>
                          <a:pt x="239878" y="286150"/>
                        </a:cubicBezTo>
                        <a:cubicBezTo>
                          <a:pt x="238725" y="286779"/>
                          <a:pt x="237668" y="287255"/>
                          <a:pt x="237249" y="288608"/>
                        </a:cubicBezTo>
                        <a:close/>
                        <a:moveTo>
                          <a:pt x="65494" y="289179"/>
                        </a:moveTo>
                        <a:cubicBezTo>
                          <a:pt x="65189" y="290417"/>
                          <a:pt x="66713" y="291865"/>
                          <a:pt x="67885" y="291646"/>
                        </a:cubicBezTo>
                        <a:cubicBezTo>
                          <a:pt x="70342" y="291170"/>
                          <a:pt x="70247" y="287369"/>
                          <a:pt x="67389" y="287369"/>
                        </a:cubicBezTo>
                        <a:cubicBezTo>
                          <a:pt x="66580" y="287769"/>
                          <a:pt x="65732" y="288226"/>
                          <a:pt x="65494" y="289179"/>
                        </a:cubicBezTo>
                        <a:close/>
                        <a:moveTo>
                          <a:pt x="156543" y="292713"/>
                        </a:moveTo>
                        <a:cubicBezTo>
                          <a:pt x="155648" y="295751"/>
                          <a:pt x="158439" y="298713"/>
                          <a:pt x="161563" y="298056"/>
                        </a:cubicBezTo>
                        <a:cubicBezTo>
                          <a:pt x="166259" y="297066"/>
                          <a:pt x="165802" y="289608"/>
                          <a:pt x="160572" y="289512"/>
                        </a:cubicBezTo>
                        <a:cubicBezTo>
                          <a:pt x="158639" y="290255"/>
                          <a:pt x="157143" y="290684"/>
                          <a:pt x="156543" y="292713"/>
                        </a:cubicBezTo>
                        <a:close/>
                        <a:moveTo>
                          <a:pt x="214732" y="292875"/>
                        </a:moveTo>
                        <a:cubicBezTo>
                          <a:pt x="213874" y="295599"/>
                          <a:pt x="216608" y="298199"/>
                          <a:pt x="219247" y="297475"/>
                        </a:cubicBezTo>
                        <a:cubicBezTo>
                          <a:pt x="223314" y="296361"/>
                          <a:pt x="222752" y="289979"/>
                          <a:pt x="217522" y="290160"/>
                        </a:cubicBezTo>
                        <a:cubicBezTo>
                          <a:pt x="216332" y="290874"/>
                          <a:pt x="215179" y="291446"/>
                          <a:pt x="214732" y="292875"/>
                        </a:cubicBezTo>
                        <a:close/>
                        <a:moveTo>
                          <a:pt x="99851" y="293122"/>
                        </a:moveTo>
                        <a:cubicBezTo>
                          <a:pt x="99241" y="295323"/>
                          <a:pt x="101403" y="297675"/>
                          <a:pt x="103794" y="297142"/>
                        </a:cubicBezTo>
                        <a:cubicBezTo>
                          <a:pt x="107528" y="296332"/>
                          <a:pt x="107032" y="290427"/>
                          <a:pt x="102641" y="290570"/>
                        </a:cubicBezTo>
                        <a:cubicBezTo>
                          <a:pt x="101441" y="291160"/>
                          <a:pt x="100222" y="291751"/>
                          <a:pt x="99851" y="293122"/>
                        </a:cubicBezTo>
                        <a:close/>
                        <a:moveTo>
                          <a:pt x="274720" y="294027"/>
                        </a:moveTo>
                        <a:cubicBezTo>
                          <a:pt x="274958" y="294542"/>
                          <a:pt x="275158" y="294884"/>
                          <a:pt x="275701" y="295094"/>
                        </a:cubicBezTo>
                        <a:cubicBezTo>
                          <a:pt x="275892" y="295123"/>
                          <a:pt x="276082" y="295151"/>
                          <a:pt x="276282" y="295170"/>
                        </a:cubicBezTo>
                        <a:cubicBezTo>
                          <a:pt x="276635" y="294875"/>
                          <a:pt x="276911" y="294742"/>
                          <a:pt x="277101" y="294265"/>
                        </a:cubicBezTo>
                        <a:cubicBezTo>
                          <a:pt x="277406" y="293560"/>
                          <a:pt x="276730" y="293103"/>
                          <a:pt x="276358" y="292789"/>
                        </a:cubicBezTo>
                        <a:cubicBezTo>
                          <a:pt x="276168" y="292760"/>
                          <a:pt x="275977" y="292741"/>
                          <a:pt x="275777" y="292713"/>
                        </a:cubicBezTo>
                        <a:cubicBezTo>
                          <a:pt x="275244" y="293075"/>
                          <a:pt x="274853" y="293246"/>
                          <a:pt x="274720" y="294027"/>
                        </a:cubicBezTo>
                        <a:close/>
                        <a:moveTo>
                          <a:pt x="192462" y="297237"/>
                        </a:moveTo>
                        <a:cubicBezTo>
                          <a:pt x="191605" y="299971"/>
                          <a:pt x="194148" y="302676"/>
                          <a:pt x="196901" y="302085"/>
                        </a:cubicBezTo>
                        <a:cubicBezTo>
                          <a:pt x="201187" y="301171"/>
                          <a:pt x="200882" y="294513"/>
                          <a:pt x="195834" y="294446"/>
                        </a:cubicBezTo>
                        <a:cubicBezTo>
                          <a:pt x="194243" y="295123"/>
                          <a:pt x="192995" y="295532"/>
                          <a:pt x="192462" y="297237"/>
                        </a:cubicBezTo>
                        <a:close/>
                        <a:moveTo>
                          <a:pt x="134855" y="297313"/>
                        </a:moveTo>
                        <a:cubicBezTo>
                          <a:pt x="134074" y="299809"/>
                          <a:pt x="136436" y="302495"/>
                          <a:pt x="138884" y="302076"/>
                        </a:cubicBezTo>
                        <a:cubicBezTo>
                          <a:pt x="143551" y="301285"/>
                          <a:pt x="143437" y="294332"/>
                          <a:pt x="137893" y="294513"/>
                        </a:cubicBezTo>
                        <a:cubicBezTo>
                          <a:pt x="136550" y="295189"/>
                          <a:pt x="135331" y="295808"/>
                          <a:pt x="134855" y="297313"/>
                        </a:cubicBezTo>
                        <a:close/>
                        <a:moveTo>
                          <a:pt x="78895" y="297561"/>
                        </a:moveTo>
                        <a:cubicBezTo>
                          <a:pt x="78229" y="298971"/>
                          <a:pt x="79781" y="301000"/>
                          <a:pt x="81448" y="300514"/>
                        </a:cubicBezTo>
                        <a:cubicBezTo>
                          <a:pt x="83734" y="299857"/>
                          <a:pt x="83486" y="296075"/>
                          <a:pt x="80620" y="296161"/>
                        </a:cubicBezTo>
                        <a:cubicBezTo>
                          <a:pt x="80000" y="296513"/>
                          <a:pt x="79200" y="296904"/>
                          <a:pt x="78895" y="297561"/>
                        </a:cubicBezTo>
                        <a:close/>
                        <a:moveTo>
                          <a:pt x="251622" y="297809"/>
                        </a:moveTo>
                        <a:cubicBezTo>
                          <a:pt x="251108" y="299218"/>
                          <a:pt x="252651" y="301009"/>
                          <a:pt x="254251" y="300600"/>
                        </a:cubicBezTo>
                        <a:cubicBezTo>
                          <a:pt x="256708" y="299980"/>
                          <a:pt x="256356" y="296037"/>
                          <a:pt x="253346" y="296170"/>
                        </a:cubicBezTo>
                        <a:cubicBezTo>
                          <a:pt x="252679" y="296551"/>
                          <a:pt x="251908" y="297047"/>
                          <a:pt x="251622" y="297809"/>
                        </a:cubicBezTo>
                        <a:close/>
                        <a:moveTo>
                          <a:pt x="170355" y="301838"/>
                        </a:moveTo>
                        <a:cubicBezTo>
                          <a:pt x="169659" y="304314"/>
                          <a:pt x="172060" y="307057"/>
                          <a:pt x="174717" y="306438"/>
                        </a:cubicBezTo>
                        <a:cubicBezTo>
                          <a:pt x="178803" y="305486"/>
                          <a:pt x="178536" y="298952"/>
                          <a:pt x="173736" y="298961"/>
                        </a:cubicBezTo>
                        <a:cubicBezTo>
                          <a:pt x="172117" y="299590"/>
                          <a:pt x="170840" y="300133"/>
                          <a:pt x="170355" y="301838"/>
                        </a:cubicBezTo>
                        <a:close/>
                        <a:moveTo>
                          <a:pt x="113329" y="302162"/>
                        </a:moveTo>
                        <a:cubicBezTo>
                          <a:pt x="112795" y="304305"/>
                          <a:pt x="114900" y="306238"/>
                          <a:pt x="117024" y="305772"/>
                        </a:cubicBezTo>
                        <a:cubicBezTo>
                          <a:pt x="120482" y="305000"/>
                          <a:pt x="120148" y="299647"/>
                          <a:pt x="116205" y="299609"/>
                        </a:cubicBezTo>
                        <a:cubicBezTo>
                          <a:pt x="114833" y="300209"/>
                          <a:pt x="113700" y="300619"/>
                          <a:pt x="113329" y="302162"/>
                        </a:cubicBezTo>
                        <a:close/>
                        <a:moveTo>
                          <a:pt x="228943" y="301914"/>
                        </a:moveTo>
                        <a:cubicBezTo>
                          <a:pt x="228171" y="303876"/>
                          <a:pt x="230200" y="305981"/>
                          <a:pt x="232143" y="305533"/>
                        </a:cubicBezTo>
                        <a:cubicBezTo>
                          <a:pt x="235344" y="304790"/>
                          <a:pt x="234820" y="299866"/>
                          <a:pt x="230991" y="300028"/>
                        </a:cubicBezTo>
                        <a:cubicBezTo>
                          <a:pt x="230162" y="300514"/>
                          <a:pt x="229314" y="300971"/>
                          <a:pt x="228943" y="301914"/>
                        </a:cubicBezTo>
                        <a:close/>
                        <a:moveTo>
                          <a:pt x="148580" y="306267"/>
                        </a:moveTo>
                        <a:cubicBezTo>
                          <a:pt x="147904" y="308534"/>
                          <a:pt x="150038" y="311020"/>
                          <a:pt x="152352" y="310534"/>
                        </a:cubicBezTo>
                        <a:cubicBezTo>
                          <a:pt x="156324" y="309724"/>
                          <a:pt x="156029" y="303619"/>
                          <a:pt x="151200" y="303800"/>
                        </a:cubicBezTo>
                        <a:cubicBezTo>
                          <a:pt x="150009" y="304409"/>
                          <a:pt x="148980" y="304905"/>
                          <a:pt x="148580" y="306267"/>
                        </a:cubicBezTo>
                        <a:close/>
                        <a:moveTo>
                          <a:pt x="206512" y="306438"/>
                        </a:moveTo>
                        <a:cubicBezTo>
                          <a:pt x="205959" y="308581"/>
                          <a:pt x="207921" y="310582"/>
                          <a:pt x="209883" y="310220"/>
                        </a:cubicBezTo>
                        <a:cubicBezTo>
                          <a:pt x="213446" y="309553"/>
                          <a:pt x="213141" y="304171"/>
                          <a:pt x="209140" y="304143"/>
                        </a:cubicBezTo>
                        <a:cubicBezTo>
                          <a:pt x="207959" y="304648"/>
                          <a:pt x="206855" y="305114"/>
                          <a:pt x="206512" y="306438"/>
                        </a:cubicBezTo>
                        <a:close/>
                        <a:moveTo>
                          <a:pt x="92126" y="306838"/>
                        </a:moveTo>
                        <a:cubicBezTo>
                          <a:pt x="91802" y="308124"/>
                          <a:pt x="93316" y="309620"/>
                          <a:pt x="94507" y="309391"/>
                        </a:cubicBezTo>
                        <a:cubicBezTo>
                          <a:pt x="96964" y="308915"/>
                          <a:pt x="96793" y="305029"/>
                          <a:pt x="93850" y="305114"/>
                        </a:cubicBezTo>
                        <a:cubicBezTo>
                          <a:pt x="93154" y="305524"/>
                          <a:pt x="92345" y="305991"/>
                          <a:pt x="92126" y="306838"/>
                        </a:cubicBezTo>
                        <a:close/>
                        <a:moveTo>
                          <a:pt x="184404" y="310620"/>
                        </a:moveTo>
                        <a:cubicBezTo>
                          <a:pt x="183604" y="312782"/>
                          <a:pt x="185652" y="315030"/>
                          <a:pt x="187690" y="314649"/>
                        </a:cubicBezTo>
                        <a:cubicBezTo>
                          <a:pt x="191253" y="313982"/>
                          <a:pt x="191024" y="308467"/>
                          <a:pt x="186947" y="308562"/>
                        </a:cubicBezTo>
                        <a:cubicBezTo>
                          <a:pt x="185842" y="309058"/>
                          <a:pt x="184833" y="309496"/>
                          <a:pt x="184404" y="310620"/>
                        </a:cubicBezTo>
                        <a:close/>
                        <a:moveTo>
                          <a:pt x="127054" y="310620"/>
                        </a:moveTo>
                        <a:cubicBezTo>
                          <a:pt x="126178" y="312506"/>
                          <a:pt x="128197" y="314858"/>
                          <a:pt x="130254" y="314401"/>
                        </a:cubicBezTo>
                        <a:cubicBezTo>
                          <a:pt x="133388" y="313706"/>
                          <a:pt x="132969" y="308715"/>
                          <a:pt x="129264" y="308810"/>
                        </a:cubicBezTo>
                        <a:cubicBezTo>
                          <a:pt x="128330" y="309277"/>
                          <a:pt x="127483" y="309696"/>
                          <a:pt x="127054" y="310620"/>
                        </a:cubicBezTo>
                        <a:close/>
                        <a:moveTo>
                          <a:pt x="243326" y="311534"/>
                        </a:moveTo>
                        <a:cubicBezTo>
                          <a:pt x="243392" y="312449"/>
                          <a:pt x="243973" y="312944"/>
                          <a:pt x="244640" y="313258"/>
                        </a:cubicBezTo>
                        <a:cubicBezTo>
                          <a:pt x="245754" y="313258"/>
                          <a:pt x="246183" y="312687"/>
                          <a:pt x="246526" y="311944"/>
                        </a:cubicBezTo>
                        <a:cubicBezTo>
                          <a:pt x="246526" y="310782"/>
                          <a:pt x="245774" y="310096"/>
                          <a:pt x="244554" y="310144"/>
                        </a:cubicBezTo>
                        <a:cubicBezTo>
                          <a:pt x="244030" y="310563"/>
                          <a:pt x="243630" y="310848"/>
                          <a:pt x="243326" y="311534"/>
                        </a:cubicBezTo>
                        <a:close/>
                        <a:moveTo>
                          <a:pt x="162544" y="314982"/>
                        </a:moveTo>
                        <a:cubicBezTo>
                          <a:pt x="161668" y="316944"/>
                          <a:pt x="163525" y="319288"/>
                          <a:pt x="165497" y="318926"/>
                        </a:cubicBezTo>
                        <a:cubicBezTo>
                          <a:pt x="168831" y="318325"/>
                          <a:pt x="168631" y="313087"/>
                          <a:pt x="164592" y="313258"/>
                        </a:cubicBezTo>
                        <a:cubicBezTo>
                          <a:pt x="163773" y="313725"/>
                          <a:pt x="162944" y="314106"/>
                          <a:pt x="162544" y="314982"/>
                        </a:cubicBezTo>
                        <a:close/>
                        <a:moveTo>
                          <a:pt x="220723" y="315563"/>
                        </a:moveTo>
                        <a:cubicBezTo>
                          <a:pt x="220275" y="316973"/>
                          <a:pt x="221828" y="318487"/>
                          <a:pt x="223114" y="318192"/>
                        </a:cubicBezTo>
                        <a:cubicBezTo>
                          <a:pt x="225695" y="317592"/>
                          <a:pt x="225047" y="314592"/>
                          <a:pt x="222618" y="314001"/>
                        </a:cubicBezTo>
                        <a:cubicBezTo>
                          <a:pt x="221856" y="314363"/>
                          <a:pt x="220989" y="314735"/>
                          <a:pt x="220723" y="315563"/>
                        </a:cubicBezTo>
                        <a:close/>
                        <a:moveTo>
                          <a:pt x="105604" y="315963"/>
                        </a:moveTo>
                        <a:cubicBezTo>
                          <a:pt x="105642" y="317906"/>
                          <a:pt x="107890" y="318602"/>
                          <a:pt x="108966" y="317202"/>
                        </a:cubicBezTo>
                        <a:cubicBezTo>
                          <a:pt x="109966" y="315906"/>
                          <a:pt x="108861" y="314211"/>
                          <a:pt x="107242" y="314239"/>
                        </a:cubicBezTo>
                        <a:cubicBezTo>
                          <a:pt x="106423" y="314773"/>
                          <a:pt x="106089" y="315096"/>
                          <a:pt x="105604" y="315963"/>
                        </a:cubicBezTo>
                        <a:close/>
                        <a:moveTo>
                          <a:pt x="140770" y="319830"/>
                        </a:moveTo>
                        <a:cubicBezTo>
                          <a:pt x="140141" y="321412"/>
                          <a:pt x="141741" y="323202"/>
                          <a:pt x="143313" y="322869"/>
                        </a:cubicBezTo>
                        <a:cubicBezTo>
                          <a:pt x="145999" y="322307"/>
                          <a:pt x="145799" y="318059"/>
                          <a:pt x="142570" y="318183"/>
                        </a:cubicBezTo>
                        <a:cubicBezTo>
                          <a:pt x="141856" y="318611"/>
                          <a:pt x="141094" y="319011"/>
                          <a:pt x="140770" y="319830"/>
                        </a:cubicBezTo>
                        <a:close/>
                        <a:moveTo>
                          <a:pt x="200015" y="322707"/>
                        </a:moveTo>
                        <a:cubicBezTo>
                          <a:pt x="201587" y="323336"/>
                          <a:pt x="203216" y="321459"/>
                          <a:pt x="202730" y="319916"/>
                        </a:cubicBezTo>
                        <a:cubicBezTo>
                          <a:pt x="202340" y="318916"/>
                          <a:pt x="201578" y="318306"/>
                          <a:pt x="200101" y="318354"/>
                        </a:cubicBezTo>
                        <a:cubicBezTo>
                          <a:pt x="198377" y="319354"/>
                          <a:pt x="197701" y="321774"/>
                          <a:pt x="200015" y="322707"/>
                        </a:cubicBezTo>
                        <a:close/>
                        <a:moveTo>
                          <a:pt x="178003" y="327060"/>
                        </a:moveTo>
                        <a:cubicBezTo>
                          <a:pt x="181232" y="327203"/>
                          <a:pt x="181203" y="322793"/>
                          <a:pt x="178079" y="322869"/>
                        </a:cubicBezTo>
                        <a:cubicBezTo>
                          <a:pt x="176165" y="324050"/>
                          <a:pt x="175470" y="325917"/>
                          <a:pt x="178003" y="327060"/>
                        </a:cubicBezTo>
                        <a:close/>
                        <a:moveTo>
                          <a:pt x="119329" y="324841"/>
                        </a:moveTo>
                        <a:cubicBezTo>
                          <a:pt x="119396" y="325765"/>
                          <a:pt x="119958" y="326174"/>
                          <a:pt x="120644" y="326479"/>
                        </a:cubicBezTo>
                        <a:cubicBezTo>
                          <a:pt x="121501" y="326460"/>
                          <a:pt x="121977" y="325955"/>
                          <a:pt x="122206" y="325326"/>
                        </a:cubicBezTo>
                        <a:cubicBezTo>
                          <a:pt x="122234" y="325107"/>
                          <a:pt x="122263" y="324888"/>
                          <a:pt x="122282" y="324669"/>
                        </a:cubicBezTo>
                        <a:cubicBezTo>
                          <a:pt x="121806" y="324107"/>
                          <a:pt x="121586" y="323564"/>
                          <a:pt x="120558" y="323526"/>
                        </a:cubicBezTo>
                        <a:cubicBezTo>
                          <a:pt x="119986" y="323926"/>
                          <a:pt x="119624" y="324155"/>
                          <a:pt x="119329" y="324841"/>
                        </a:cubicBezTo>
                        <a:close/>
                        <a:moveTo>
                          <a:pt x="154581" y="329279"/>
                        </a:moveTo>
                        <a:cubicBezTo>
                          <a:pt x="154648" y="330356"/>
                          <a:pt x="155467" y="331108"/>
                          <a:pt x="156639" y="331089"/>
                        </a:cubicBezTo>
                        <a:cubicBezTo>
                          <a:pt x="157172" y="330622"/>
                          <a:pt x="157620" y="330365"/>
                          <a:pt x="157953" y="329698"/>
                        </a:cubicBezTo>
                        <a:cubicBezTo>
                          <a:pt x="157953" y="328498"/>
                          <a:pt x="157143" y="327689"/>
                          <a:pt x="155896" y="327727"/>
                        </a:cubicBezTo>
                        <a:cubicBezTo>
                          <a:pt x="155257" y="328212"/>
                          <a:pt x="154886" y="328432"/>
                          <a:pt x="154581" y="329279"/>
                        </a:cubicBezTo>
                        <a:close/>
                        <a:moveTo>
                          <a:pt x="213084" y="329194"/>
                        </a:moveTo>
                        <a:cubicBezTo>
                          <a:pt x="213055" y="329355"/>
                          <a:pt x="213027" y="329527"/>
                          <a:pt x="213008" y="329689"/>
                        </a:cubicBezTo>
                        <a:cubicBezTo>
                          <a:pt x="213170" y="329879"/>
                          <a:pt x="213331" y="330070"/>
                          <a:pt x="213503" y="330260"/>
                        </a:cubicBezTo>
                        <a:cubicBezTo>
                          <a:pt x="213722" y="330289"/>
                          <a:pt x="213941" y="330317"/>
                          <a:pt x="214160" y="330337"/>
                        </a:cubicBezTo>
                        <a:cubicBezTo>
                          <a:pt x="214217" y="330308"/>
                          <a:pt x="214274" y="330279"/>
                          <a:pt x="214322" y="330260"/>
                        </a:cubicBezTo>
                        <a:cubicBezTo>
                          <a:pt x="214627" y="329879"/>
                          <a:pt x="214808" y="329841"/>
                          <a:pt x="214817" y="329108"/>
                        </a:cubicBezTo>
                        <a:cubicBezTo>
                          <a:pt x="214503" y="328765"/>
                          <a:pt x="214341" y="328527"/>
                          <a:pt x="213751" y="328451"/>
                        </a:cubicBezTo>
                        <a:cubicBezTo>
                          <a:pt x="213455" y="328708"/>
                          <a:pt x="213255" y="328803"/>
                          <a:pt x="213084" y="329194"/>
                        </a:cubicBezTo>
                        <a:close/>
                        <a:moveTo>
                          <a:pt x="190814" y="333632"/>
                        </a:moveTo>
                        <a:cubicBezTo>
                          <a:pt x="190814" y="333823"/>
                          <a:pt x="190814" y="334013"/>
                          <a:pt x="190814" y="334204"/>
                        </a:cubicBezTo>
                        <a:cubicBezTo>
                          <a:pt x="191110" y="334480"/>
                          <a:pt x="191148" y="334661"/>
                          <a:pt x="191633" y="334785"/>
                        </a:cubicBezTo>
                        <a:cubicBezTo>
                          <a:pt x="192652" y="335185"/>
                          <a:pt x="193177" y="333070"/>
                          <a:pt x="191633" y="332889"/>
                        </a:cubicBezTo>
                        <a:cubicBezTo>
                          <a:pt x="191281" y="333146"/>
                          <a:pt x="191062" y="333261"/>
                          <a:pt x="190814" y="333632"/>
                        </a:cubicBezTo>
                        <a:close/>
                        <a:moveTo>
                          <a:pt x="133702" y="334213"/>
                        </a:moveTo>
                        <a:cubicBezTo>
                          <a:pt x="133702" y="334270"/>
                          <a:pt x="133702" y="334328"/>
                          <a:pt x="133702" y="334375"/>
                        </a:cubicBezTo>
                        <a:cubicBezTo>
                          <a:pt x="133950" y="334375"/>
                          <a:pt x="134198" y="334375"/>
                          <a:pt x="134445" y="334375"/>
                        </a:cubicBezTo>
                        <a:cubicBezTo>
                          <a:pt x="134474" y="334080"/>
                          <a:pt x="134503" y="333775"/>
                          <a:pt x="134521" y="333470"/>
                        </a:cubicBezTo>
                        <a:cubicBezTo>
                          <a:pt x="134245" y="333442"/>
                          <a:pt x="133969" y="333423"/>
                          <a:pt x="133702" y="333384"/>
                        </a:cubicBezTo>
                        <a:cubicBezTo>
                          <a:pt x="133702" y="333661"/>
                          <a:pt x="133702" y="333937"/>
                          <a:pt x="133702" y="334213"/>
                        </a:cubicBezTo>
                        <a:close/>
                      </a:path>
                    </a:pathLst>
                  </a:custGeom>
                  <a:solidFill>
                    <a:srgbClr val="62A844"/>
                  </a:solidFill>
                  <a:ln w="9525" cap="flat">
                    <a:noFill/>
                    <a:prstDash val="solid"/>
                    <a:miter/>
                  </a:ln>
                </p:spPr>
                <p:txBody>
                  <a:bodyPr rtlCol="0" anchor="ctr"/>
                  <a:lstStyle/>
                  <a:p>
                    <a:endParaRPr lang="en-US"/>
                  </a:p>
                </p:txBody>
              </p:sp>
              <p:sp>
                <p:nvSpPr>
                  <p:cNvPr id="1153" name="Freeform: Shape 773">
                    <a:extLst>
                      <a:ext uri="{FF2B5EF4-FFF2-40B4-BE49-F238E27FC236}">
                        <a16:creationId xmlns:a16="http://schemas.microsoft.com/office/drawing/2014/main" id="{EBED9D79-1A20-6A6B-A2A9-F101D16FF1A7}"/>
                      </a:ext>
                    </a:extLst>
                  </p:cNvPr>
                  <p:cNvSpPr/>
                  <p:nvPr/>
                </p:nvSpPr>
                <p:spPr>
                  <a:xfrm>
                    <a:off x="-6977372" y="-927727"/>
                    <a:ext cx="334956" cy="334834"/>
                  </a:xfrm>
                  <a:custGeom>
                    <a:avLst/>
                    <a:gdLst>
                      <a:gd name="connsiteX0" fmla="*/ 181527 w 334956"/>
                      <a:gd name="connsiteY0" fmla="*/ 1648 h 334834"/>
                      <a:gd name="connsiteX1" fmla="*/ 182756 w 334956"/>
                      <a:gd name="connsiteY1" fmla="*/ 2715 h 334834"/>
                      <a:gd name="connsiteX2" fmla="*/ 182680 w 334956"/>
                      <a:gd name="connsiteY2" fmla="*/ 0 h 334834"/>
                      <a:gd name="connsiteX3" fmla="*/ 181527 w 334956"/>
                      <a:gd name="connsiteY3" fmla="*/ 1648 h 334834"/>
                      <a:gd name="connsiteX4" fmla="*/ 158848 w 334956"/>
                      <a:gd name="connsiteY4" fmla="*/ 6248 h 334834"/>
                      <a:gd name="connsiteX5" fmla="*/ 162458 w 334956"/>
                      <a:gd name="connsiteY5" fmla="*/ 6334 h 334834"/>
                      <a:gd name="connsiteX6" fmla="*/ 162544 w 334956"/>
                      <a:gd name="connsiteY6" fmla="*/ 5267 h 334834"/>
                      <a:gd name="connsiteX7" fmla="*/ 160411 w 334956"/>
                      <a:gd name="connsiteY7" fmla="*/ 3953 h 334834"/>
                      <a:gd name="connsiteX8" fmla="*/ 158848 w 334956"/>
                      <a:gd name="connsiteY8" fmla="*/ 6248 h 334834"/>
                      <a:gd name="connsiteX9" fmla="*/ 217360 w 334956"/>
                      <a:gd name="connsiteY9" fmla="*/ 5582 h 334834"/>
                      <a:gd name="connsiteX10" fmla="*/ 217932 w 334956"/>
                      <a:gd name="connsiteY10" fmla="*/ 6734 h 334834"/>
                      <a:gd name="connsiteX11" fmla="*/ 218589 w 334956"/>
                      <a:gd name="connsiteY11" fmla="*/ 6734 h 334834"/>
                      <a:gd name="connsiteX12" fmla="*/ 219332 w 334956"/>
                      <a:gd name="connsiteY12" fmla="*/ 5991 h 334834"/>
                      <a:gd name="connsiteX13" fmla="*/ 219332 w 334956"/>
                      <a:gd name="connsiteY13" fmla="*/ 5744 h 334834"/>
                      <a:gd name="connsiteX14" fmla="*/ 218589 w 334956"/>
                      <a:gd name="connsiteY14" fmla="*/ 4924 h 334834"/>
                      <a:gd name="connsiteX15" fmla="*/ 218008 w 334956"/>
                      <a:gd name="connsiteY15" fmla="*/ 4839 h 334834"/>
                      <a:gd name="connsiteX16" fmla="*/ 217360 w 334956"/>
                      <a:gd name="connsiteY16" fmla="*/ 5582 h 334834"/>
                      <a:gd name="connsiteX17" fmla="*/ 136579 w 334956"/>
                      <a:gd name="connsiteY17" fmla="*/ 10106 h 334834"/>
                      <a:gd name="connsiteX18" fmla="*/ 140275 w 334956"/>
                      <a:gd name="connsiteY18" fmla="*/ 11258 h 334834"/>
                      <a:gd name="connsiteX19" fmla="*/ 138303 w 334956"/>
                      <a:gd name="connsiteY19" fmla="*/ 8220 h 334834"/>
                      <a:gd name="connsiteX20" fmla="*/ 136579 w 334956"/>
                      <a:gd name="connsiteY20" fmla="*/ 10106 h 334834"/>
                      <a:gd name="connsiteX21" fmla="*/ 194100 w 334956"/>
                      <a:gd name="connsiteY21" fmla="*/ 9858 h 334834"/>
                      <a:gd name="connsiteX22" fmla="*/ 195824 w 334956"/>
                      <a:gd name="connsiteY22" fmla="*/ 12325 h 334834"/>
                      <a:gd name="connsiteX23" fmla="*/ 195662 w 334956"/>
                      <a:gd name="connsiteY23" fmla="*/ 8220 h 334834"/>
                      <a:gd name="connsiteX24" fmla="*/ 194100 w 334956"/>
                      <a:gd name="connsiteY24" fmla="*/ 9858 h 334834"/>
                      <a:gd name="connsiteX25" fmla="*/ 171593 w 334956"/>
                      <a:gd name="connsiteY25" fmla="*/ 13802 h 334834"/>
                      <a:gd name="connsiteX26" fmla="*/ 174384 w 334956"/>
                      <a:gd name="connsiteY26" fmla="*/ 17335 h 334834"/>
                      <a:gd name="connsiteX27" fmla="*/ 173564 w 334956"/>
                      <a:gd name="connsiteY27" fmla="*/ 12163 h 334834"/>
                      <a:gd name="connsiteX28" fmla="*/ 171593 w 334956"/>
                      <a:gd name="connsiteY28" fmla="*/ 13802 h 334834"/>
                      <a:gd name="connsiteX29" fmla="*/ 114471 w 334956"/>
                      <a:gd name="connsiteY29" fmla="*/ 14297 h 334834"/>
                      <a:gd name="connsiteX30" fmla="*/ 116852 w 334956"/>
                      <a:gd name="connsiteY30" fmla="*/ 16516 h 334834"/>
                      <a:gd name="connsiteX31" fmla="*/ 118338 w 334956"/>
                      <a:gd name="connsiteY31" fmla="*/ 14545 h 334834"/>
                      <a:gd name="connsiteX32" fmla="*/ 116119 w 334956"/>
                      <a:gd name="connsiteY32" fmla="*/ 12735 h 334834"/>
                      <a:gd name="connsiteX33" fmla="*/ 114471 w 334956"/>
                      <a:gd name="connsiteY33" fmla="*/ 14297 h 334834"/>
                      <a:gd name="connsiteX34" fmla="*/ 230181 w 334956"/>
                      <a:gd name="connsiteY34" fmla="*/ 14459 h 334834"/>
                      <a:gd name="connsiteX35" fmla="*/ 233134 w 334956"/>
                      <a:gd name="connsiteY35" fmla="*/ 14545 h 334834"/>
                      <a:gd name="connsiteX36" fmla="*/ 231495 w 334956"/>
                      <a:gd name="connsiteY36" fmla="*/ 13154 h 334834"/>
                      <a:gd name="connsiteX37" fmla="*/ 230181 w 334956"/>
                      <a:gd name="connsiteY37" fmla="*/ 14459 h 334834"/>
                      <a:gd name="connsiteX38" fmla="*/ 149400 w 334956"/>
                      <a:gd name="connsiteY38" fmla="*/ 17669 h 334834"/>
                      <a:gd name="connsiteX39" fmla="*/ 152524 w 334956"/>
                      <a:gd name="connsiteY39" fmla="*/ 22022 h 334834"/>
                      <a:gd name="connsiteX40" fmla="*/ 151457 w 334956"/>
                      <a:gd name="connsiteY40" fmla="*/ 16269 h 334834"/>
                      <a:gd name="connsiteX41" fmla="*/ 149400 w 334956"/>
                      <a:gd name="connsiteY41" fmla="*/ 17669 h 334834"/>
                      <a:gd name="connsiteX42" fmla="*/ 207092 w 334956"/>
                      <a:gd name="connsiteY42" fmla="*/ 18326 h 334834"/>
                      <a:gd name="connsiteX43" fmla="*/ 209969 w 334956"/>
                      <a:gd name="connsiteY43" fmla="*/ 21612 h 334834"/>
                      <a:gd name="connsiteX44" fmla="*/ 208902 w 334956"/>
                      <a:gd name="connsiteY44" fmla="*/ 16678 h 334834"/>
                      <a:gd name="connsiteX45" fmla="*/ 207092 w 334956"/>
                      <a:gd name="connsiteY45" fmla="*/ 18326 h 334834"/>
                      <a:gd name="connsiteX46" fmla="*/ 92783 w 334956"/>
                      <a:gd name="connsiteY46" fmla="*/ 18821 h 334834"/>
                      <a:gd name="connsiteX47" fmla="*/ 95660 w 334956"/>
                      <a:gd name="connsiteY47" fmla="*/ 18736 h 334834"/>
                      <a:gd name="connsiteX48" fmla="*/ 94840 w 334956"/>
                      <a:gd name="connsiteY48" fmla="*/ 17745 h 334834"/>
                      <a:gd name="connsiteX49" fmla="*/ 94012 w 334956"/>
                      <a:gd name="connsiteY49" fmla="*/ 17583 h 334834"/>
                      <a:gd name="connsiteX50" fmla="*/ 92783 w 334956"/>
                      <a:gd name="connsiteY50" fmla="*/ 18821 h 334834"/>
                      <a:gd name="connsiteX51" fmla="*/ 184156 w 334956"/>
                      <a:gd name="connsiteY51" fmla="*/ 23012 h 334834"/>
                      <a:gd name="connsiteX52" fmla="*/ 188176 w 334956"/>
                      <a:gd name="connsiteY52" fmla="*/ 26708 h 334834"/>
                      <a:gd name="connsiteX53" fmla="*/ 186614 w 334956"/>
                      <a:gd name="connsiteY53" fmla="*/ 20460 h 334834"/>
                      <a:gd name="connsiteX54" fmla="*/ 184156 w 334956"/>
                      <a:gd name="connsiteY54" fmla="*/ 23012 h 334834"/>
                      <a:gd name="connsiteX55" fmla="*/ 130330 w 334956"/>
                      <a:gd name="connsiteY55" fmla="*/ 26460 h 334834"/>
                      <a:gd name="connsiteX56" fmla="*/ 129264 w 334956"/>
                      <a:gd name="connsiteY56" fmla="*/ 20707 h 334834"/>
                      <a:gd name="connsiteX57" fmla="*/ 130330 w 334956"/>
                      <a:gd name="connsiteY57" fmla="*/ 26460 h 334834"/>
                      <a:gd name="connsiteX58" fmla="*/ 243240 w 334956"/>
                      <a:gd name="connsiteY58" fmla="*/ 23260 h 334834"/>
                      <a:gd name="connsiteX59" fmla="*/ 246688 w 334956"/>
                      <a:gd name="connsiteY59" fmla="*/ 23670 h 334834"/>
                      <a:gd name="connsiteX60" fmla="*/ 244792 w 334956"/>
                      <a:gd name="connsiteY60" fmla="*/ 21784 h 334834"/>
                      <a:gd name="connsiteX61" fmla="*/ 243240 w 334956"/>
                      <a:gd name="connsiteY61" fmla="*/ 23260 h 334834"/>
                      <a:gd name="connsiteX62" fmla="*/ 161725 w 334956"/>
                      <a:gd name="connsiteY62" fmla="*/ 27118 h 334834"/>
                      <a:gd name="connsiteX63" fmla="*/ 165830 w 334956"/>
                      <a:gd name="connsiteY63" fmla="*/ 31556 h 334834"/>
                      <a:gd name="connsiteX64" fmla="*/ 164763 w 334956"/>
                      <a:gd name="connsiteY64" fmla="*/ 24489 h 334834"/>
                      <a:gd name="connsiteX65" fmla="*/ 161725 w 334956"/>
                      <a:gd name="connsiteY65" fmla="*/ 27118 h 334834"/>
                      <a:gd name="connsiteX66" fmla="*/ 223437 w 334956"/>
                      <a:gd name="connsiteY66" fmla="*/ 30813 h 334834"/>
                      <a:gd name="connsiteX67" fmla="*/ 222370 w 334956"/>
                      <a:gd name="connsiteY67" fmla="*/ 25232 h 334834"/>
                      <a:gd name="connsiteX68" fmla="*/ 223437 w 334956"/>
                      <a:gd name="connsiteY68" fmla="*/ 30813 h 334834"/>
                      <a:gd name="connsiteX69" fmla="*/ 105023 w 334956"/>
                      <a:gd name="connsiteY69" fmla="*/ 27118 h 334834"/>
                      <a:gd name="connsiteX70" fmla="*/ 108061 w 334956"/>
                      <a:gd name="connsiteY70" fmla="*/ 30651 h 334834"/>
                      <a:gd name="connsiteX71" fmla="*/ 107080 w 334956"/>
                      <a:gd name="connsiteY71" fmla="*/ 25308 h 334834"/>
                      <a:gd name="connsiteX72" fmla="*/ 105023 w 334956"/>
                      <a:gd name="connsiteY72" fmla="*/ 27118 h 334834"/>
                      <a:gd name="connsiteX73" fmla="*/ 139370 w 334956"/>
                      <a:gd name="connsiteY73" fmla="*/ 31633 h 334834"/>
                      <a:gd name="connsiteX74" fmla="*/ 143808 w 334956"/>
                      <a:gd name="connsiteY74" fmla="*/ 36157 h 334834"/>
                      <a:gd name="connsiteX75" fmla="*/ 142246 w 334956"/>
                      <a:gd name="connsiteY75" fmla="*/ 28842 h 334834"/>
                      <a:gd name="connsiteX76" fmla="*/ 139370 w 334956"/>
                      <a:gd name="connsiteY76" fmla="*/ 31633 h 334834"/>
                      <a:gd name="connsiteX77" fmla="*/ 197148 w 334956"/>
                      <a:gd name="connsiteY77" fmla="*/ 31309 h 334834"/>
                      <a:gd name="connsiteX78" fmla="*/ 200758 w 334956"/>
                      <a:gd name="connsiteY78" fmla="*/ 36071 h 334834"/>
                      <a:gd name="connsiteX79" fmla="*/ 200263 w 334956"/>
                      <a:gd name="connsiteY79" fmla="*/ 28927 h 334834"/>
                      <a:gd name="connsiteX80" fmla="*/ 197148 w 334956"/>
                      <a:gd name="connsiteY80" fmla="*/ 31309 h 334834"/>
                      <a:gd name="connsiteX81" fmla="*/ 83248 w 334956"/>
                      <a:gd name="connsiteY81" fmla="*/ 31880 h 334834"/>
                      <a:gd name="connsiteX82" fmla="*/ 85715 w 334956"/>
                      <a:gd name="connsiteY82" fmla="*/ 34595 h 334834"/>
                      <a:gd name="connsiteX83" fmla="*/ 85144 w 334956"/>
                      <a:gd name="connsiteY83" fmla="*/ 30242 h 334834"/>
                      <a:gd name="connsiteX84" fmla="*/ 83248 w 334956"/>
                      <a:gd name="connsiteY84" fmla="*/ 31880 h 334834"/>
                      <a:gd name="connsiteX85" fmla="*/ 256394 w 334956"/>
                      <a:gd name="connsiteY85" fmla="*/ 32537 h 334834"/>
                      <a:gd name="connsiteX86" fmla="*/ 257794 w 334956"/>
                      <a:gd name="connsiteY86" fmla="*/ 34099 h 334834"/>
                      <a:gd name="connsiteX87" fmla="*/ 260013 w 334956"/>
                      <a:gd name="connsiteY87" fmla="*/ 32213 h 334834"/>
                      <a:gd name="connsiteX88" fmla="*/ 257794 w 334956"/>
                      <a:gd name="connsiteY88" fmla="*/ 30651 h 334834"/>
                      <a:gd name="connsiteX89" fmla="*/ 256394 w 334956"/>
                      <a:gd name="connsiteY89" fmla="*/ 32537 h 334834"/>
                      <a:gd name="connsiteX90" fmla="*/ 174460 w 334956"/>
                      <a:gd name="connsiteY90" fmla="*/ 35909 h 334834"/>
                      <a:gd name="connsiteX91" fmla="*/ 178898 w 334956"/>
                      <a:gd name="connsiteY91" fmla="*/ 41005 h 334834"/>
                      <a:gd name="connsiteX92" fmla="*/ 177908 w 334956"/>
                      <a:gd name="connsiteY92" fmla="*/ 32871 h 334834"/>
                      <a:gd name="connsiteX93" fmla="*/ 174460 w 334956"/>
                      <a:gd name="connsiteY93" fmla="*/ 35909 h 334834"/>
                      <a:gd name="connsiteX94" fmla="*/ 117348 w 334956"/>
                      <a:gd name="connsiteY94" fmla="*/ 36071 h 334834"/>
                      <a:gd name="connsiteX95" fmla="*/ 121129 w 334956"/>
                      <a:gd name="connsiteY95" fmla="*/ 40510 h 334834"/>
                      <a:gd name="connsiteX96" fmla="*/ 120310 w 334956"/>
                      <a:gd name="connsiteY96" fmla="*/ 33366 h 334834"/>
                      <a:gd name="connsiteX97" fmla="*/ 117348 w 334956"/>
                      <a:gd name="connsiteY97" fmla="*/ 36071 h 334834"/>
                      <a:gd name="connsiteX98" fmla="*/ 233296 w 334956"/>
                      <a:gd name="connsiteY98" fmla="*/ 35576 h 334834"/>
                      <a:gd name="connsiteX99" fmla="*/ 236829 w 334956"/>
                      <a:gd name="connsiteY99" fmla="*/ 39853 h 334834"/>
                      <a:gd name="connsiteX100" fmla="*/ 235353 w 334956"/>
                      <a:gd name="connsiteY100" fmla="*/ 33937 h 334834"/>
                      <a:gd name="connsiteX101" fmla="*/ 233296 w 334956"/>
                      <a:gd name="connsiteY101" fmla="*/ 35576 h 334834"/>
                      <a:gd name="connsiteX102" fmla="*/ 61884 w 334956"/>
                      <a:gd name="connsiteY102" fmla="*/ 36652 h 334834"/>
                      <a:gd name="connsiteX103" fmla="*/ 64351 w 334956"/>
                      <a:gd name="connsiteY103" fmla="*/ 37147 h 334834"/>
                      <a:gd name="connsiteX104" fmla="*/ 63446 w 334956"/>
                      <a:gd name="connsiteY104" fmla="*/ 35671 h 334834"/>
                      <a:gd name="connsiteX105" fmla="*/ 62865 w 334956"/>
                      <a:gd name="connsiteY105" fmla="*/ 35585 h 334834"/>
                      <a:gd name="connsiteX106" fmla="*/ 61884 w 334956"/>
                      <a:gd name="connsiteY106" fmla="*/ 36652 h 334834"/>
                      <a:gd name="connsiteX107" fmla="*/ 152276 w 334956"/>
                      <a:gd name="connsiteY107" fmla="*/ 39691 h 334834"/>
                      <a:gd name="connsiteX108" fmla="*/ 156543 w 334956"/>
                      <a:gd name="connsiteY108" fmla="*/ 45768 h 334834"/>
                      <a:gd name="connsiteX109" fmla="*/ 155886 w 334956"/>
                      <a:gd name="connsiteY109" fmla="*/ 37052 h 334834"/>
                      <a:gd name="connsiteX110" fmla="*/ 152276 w 334956"/>
                      <a:gd name="connsiteY110" fmla="*/ 39691 h 334834"/>
                      <a:gd name="connsiteX111" fmla="*/ 210045 w 334956"/>
                      <a:gd name="connsiteY111" fmla="*/ 40510 h 334834"/>
                      <a:gd name="connsiteX112" fmla="*/ 215065 w 334956"/>
                      <a:gd name="connsiteY112" fmla="*/ 45110 h 334834"/>
                      <a:gd name="connsiteX113" fmla="*/ 213255 w 334956"/>
                      <a:gd name="connsiteY113" fmla="*/ 37471 h 334834"/>
                      <a:gd name="connsiteX114" fmla="*/ 210045 w 334956"/>
                      <a:gd name="connsiteY114" fmla="*/ 40510 h 334834"/>
                      <a:gd name="connsiteX115" fmla="*/ 95488 w 334956"/>
                      <a:gd name="connsiteY115" fmla="*/ 40510 h 334834"/>
                      <a:gd name="connsiteX116" fmla="*/ 99270 w 334956"/>
                      <a:gd name="connsiteY116" fmla="*/ 44539 h 334834"/>
                      <a:gd name="connsiteX117" fmla="*/ 98450 w 334956"/>
                      <a:gd name="connsiteY117" fmla="*/ 38043 h 334834"/>
                      <a:gd name="connsiteX118" fmla="*/ 95488 w 334956"/>
                      <a:gd name="connsiteY118" fmla="*/ 40510 h 334834"/>
                      <a:gd name="connsiteX119" fmla="*/ 269872 w 334956"/>
                      <a:gd name="connsiteY119" fmla="*/ 40929 h 334834"/>
                      <a:gd name="connsiteX120" fmla="*/ 271263 w 334956"/>
                      <a:gd name="connsiteY120" fmla="*/ 42986 h 334834"/>
                      <a:gd name="connsiteX121" fmla="*/ 271263 w 334956"/>
                      <a:gd name="connsiteY121" fmla="*/ 39529 h 334834"/>
                      <a:gd name="connsiteX122" fmla="*/ 269872 w 334956"/>
                      <a:gd name="connsiteY122" fmla="*/ 40929 h 334834"/>
                      <a:gd name="connsiteX123" fmla="*/ 187452 w 334956"/>
                      <a:gd name="connsiteY123" fmla="*/ 44377 h 334834"/>
                      <a:gd name="connsiteX124" fmla="*/ 192138 w 334956"/>
                      <a:gd name="connsiteY124" fmla="*/ 50378 h 334834"/>
                      <a:gd name="connsiteX125" fmla="*/ 191071 w 334956"/>
                      <a:gd name="connsiteY125" fmla="*/ 41338 h 334834"/>
                      <a:gd name="connsiteX126" fmla="*/ 187452 w 334956"/>
                      <a:gd name="connsiteY126" fmla="*/ 44377 h 334834"/>
                      <a:gd name="connsiteX127" fmla="*/ 129921 w 334956"/>
                      <a:gd name="connsiteY127" fmla="*/ 44701 h 334834"/>
                      <a:gd name="connsiteX128" fmla="*/ 135017 w 334956"/>
                      <a:gd name="connsiteY128" fmla="*/ 50120 h 334834"/>
                      <a:gd name="connsiteX129" fmla="*/ 133455 w 334956"/>
                      <a:gd name="connsiteY129" fmla="*/ 41491 h 334834"/>
                      <a:gd name="connsiteX130" fmla="*/ 129921 w 334956"/>
                      <a:gd name="connsiteY130" fmla="*/ 44701 h 334834"/>
                      <a:gd name="connsiteX131" fmla="*/ 246450 w 334956"/>
                      <a:gd name="connsiteY131" fmla="*/ 44625 h 334834"/>
                      <a:gd name="connsiteX132" fmla="*/ 249898 w 334956"/>
                      <a:gd name="connsiteY132" fmla="*/ 48816 h 334834"/>
                      <a:gd name="connsiteX133" fmla="*/ 248583 w 334956"/>
                      <a:gd name="connsiteY133" fmla="*/ 42729 h 334834"/>
                      <a:gd name="connsiteX134" fmla="*/ 246450 w 334956"/>
                      <a:gd name="connsiteY134" fmla="*/ 44625 h 334834"/>
                      <a:gd name="connsiteX135" fmla="*/ 74123 w 334956"/>
                      <a:gd name="connsiteY135" fmla="*/ 44625 h 334834"/>
                      <a:gd name="connsiteX136" fmla="*/ 76838 w 334956"/>
                      <a:gd name="connsiteY136" fmla="*/ 48406 h 334834"/>
                      <a:gd name="connsiteX137" fmla="*/ 76257 w 334956"/>
                      <a:gd name="connsiteY137" fmla="*/ 43062 h 334834"/>
                      <a:gd name="connsiteX138" fmla="*/ 74123 w 334956"/>
                      <a:gd name="connsiteY138" fmla="*/ 44625 h 334834"/>
                      <a:gd name="connsiteX139" fmla="*/ 164763 w 334956"/>
                      <a:gd name="connsiteY139" fmla="*/ 49139 h 334834"/>
                      <a:gd name="connsiteX140" fmla="*/ 170431 w 334956"/>
                      <a:gd name="connsiteY140" fmla="*/ 55140 h 334834"/>
                      <a:gd name="connsiteX141" fmla="*/ 168954 w 334956"/>
                      <a:gd name="connsiteY141" fmla="*/ 45444 h 334834"/>
                      <a:gd name="connsiteX142" fmla="*/ 164763 w 334956"/>
                      <a:gd name="connsiteY142" fmla="*/ 49139 h 334834"/>
                      <a:gd name="connsiteX143" fmla="*/ 107985 w 334956"/>
                      <a:gd name="connsiteY143" fmla="*/ 49139 h 334834"/>
                      <a:gd name="connsiteX144" fmla="*/ 112509 w 334956"/>
                      <a:gd name="connsiteY144" fmla="*/ 54397 h 334834"/>
                      <a:gd name="connsiteX145" fmla="*/ 111442 w 334956"/>
                      <a:gd name="connsiteY145" fmla="*/ 46101 h 334834"/>
                      <a:gd name="connsiteX146" fmla="*/ 107985 w 334956"/>
                      <a:gd name="connsiteY146" fmla="*/ 49139 h 334834"/>
                      <a:gd name="connsiteX147" fmla="*/ 223361 w 334956"/>
                      <a:gd name="connsiteY147" fmla="*/ 48730 h 334834"/>
                      <a:gd name="connsiteX148" fmla="*/ 227390 w 334956"/>
                      <a:gd name="connsiteY148" fmla="*/ 54321 h 334834"/>
                      <a:gd name="connsiteX149" fmla="*/ 226895 w 334956"/>
                      <a:gd name="connsiteY149" fmla="*/ 46187 h 334834"/>
                      <a:gd name="connsiteX150" fmla="*/ 223361 w 334956"/>
                      <a:gd name="connsiteY150" fmla="*/ 48730 h 334834"/>
                      <a:gd name="connsiteX151" fmla="*/ 52597 w 334956"/>
                      <a:gd name="connsiteY151" fmla="*/ 49959 h 334834"/>
                      <a:gd name="connsiteX152" fmla="*/ 54159 w 334956"/>
                      <a:gd name="connsiteY152" fmla="*/ 51854 h 334834"/>
                      <a:gd name="connsiteX153" fmla="*/ 55969 w 334956"/>
                      <a:gd name="connsiteY153" fmla="*/ 50454 h 334834"/>
                      <a:gd name="connsiteX154" fmla="*/ 54073 w 334956"/>
                      <a:gd name="connsiteY154" fmla="*/ 48396 h 334834"/>
                      <a:gd name="connsiteX155" fmla="*/ 52597 w 334956"/>
                      <a:gd name="connsiteY155" fmla="*/ 49959 h 334834"/>
                      <a:gd name="connsiteX156" fmla="*/ 283350 w 334956"/>
                      <a:gd name="connsiteY156" fmla="*/ 49959 h 334834"/>
                      <a:gd name="connsiteX157" fmla="*/ 284416 w 334956"/>
                      <a:gd name="connsiteY157" fmla="*/ 51435 h 334834"/>
                      <a:gd name="connsiteX158" fmla="*/ 286302 w 334956"/>
                      <a:gd name="connsiteY158" fmla="*/ 50282 h 334834"/>
                      <a:gd name="connsiteX159" fmla="*/ 284578 w 334956"/>
                      <a:gd name="connsiteY159" fmla="*/ 48635 h 334834"/>
                      <a:gd name="connsiteX160" fmla="*/ 283350 w 334956"/>
                      <a:gd name="connsiteY160" fmla="*/ 49959 h 334834"/>
                      <a:gd name="connsiteX161" fmla="*/ 142742 w 334956"/>
                      <a:gd name="connsiteY161" fmla="*/ 52835 h 334834"/>
                      <a:gd name="connsiteX162" fmla="*/ 147999 w 334956"/>
                      <a:gd name="connsiteY162" fmla="*/ 59741 h 334834"/>
                      <a:gd name="connsiteX163" fmla="*/ 147256 w 334956"/>
                      <a:gd name="connsiteY163" fmla="*/ 49635 h 334834"/>
                      <a:gd name="connsiteX164" fmla="*/ 142742 w 334956"/>
                      <a:gd name="connsiteY164" fmla="*/ 52835 h 334834"/>
                      <a:gd name="connsiteX165" fmla="*/ 200349 w 334956"/>
                      <a:gd name="connsiteY165" fmla="*/ 53416 h 334834"/>
                      <a:gd name="connsiteX166" fmla="*/ 205445 w 334956"/>
                      <a:gd name="connsiteY166" fmla="*/ 59493 h 334834"/>
                      <a:gd name="connsiteX167" fmla="*/ 204702 w 334956"/>
                      <a:gd name="connsiteY167" fmla="*/ 49882 h 334834"/>
                      <a:gd name="connsiteX168" fmla="*/ 200349 w 334956"/>
                      <a:gd name="connsiteY168" fmla="*/ 53416 h 334834"/>
                      <a:gd name="connsiteX169" fmla="*/ 86287 w 334956"/>
                      <a:gd name="connsiteY169" fmla="*/ 53664 h 334834"/>
                      <a:gd name="connsiteX170" fmla="*/ 90392 w 334956"/>
                      <a:gd name="connsiteY170" fmla="*/ 58341 h 334834"/>
                      <a:gd name="connsiteX171" fmla="*/ 89325 w 334956"/>
                      <a:gd name="connsiteY171" fmla="*/ 50949 h 334834"/>
                      <a:gd name="connsiteX172" fmla="*/ 86287 w 334956"/>
                      <a:gd name="connsiteY172" fmla="*/ 53664 h 334834"/>
                      <a:gd name="connsiteX173" fmla="*/ 259680 w 334956"/>
                      <a:gd name="connsiteY173" fmla="*/ 53902 h 334834"/>
                      <a:gd name="connsiteX174" fmla="*/ 263547 w 334956"/>
                      <a:gd name="connsiteY174" fmla="*/ 57521 h 334834"/>
                      <a:gd name="connsiteX175" fmla="*/ 261909 w 334956"/>
                      <a:gd name="connsiteY175" fmla="*/ 51683 h 334834"/>
                      <a:gd name="connsiteX176" fmla="*/ 259680 w 334956"/>
                      <a:gd name="connsiteY176" fmla="*/ 53902 h 334834"/>
                      <a:gd name="connsiteX177" fmla="*/ 177832 w 334956"/>
                      <a:gd name="connsiteY177" fmla="*/ 57436 h 334834"/>
                      <a:gd name="connsiteX178" fmla="*/ 183747 w 334956"/>
                      <a:gd name="connsiteY178" fmla="*/ 64418 h 334834"/>
                      <a:gd name="connsiteX179" fmla="*/ 182518 w 334956"/>
                      <a:gd name="connsiteY179" fmla="*/ 53816 h 334834"/>
                      <a:gd name="connsiteX180" fmla="*/ 177832 w 334956"/>
                      <a:gd name="connsiteY180" fmla="*/ 57436 h 334834"/>
                      <a:gd name="connsiteX181" fmla="*/ 120558 w 334956"/>
                      <a:gd name="connsiteY181" fmla="*/ 57683 h 334834"/>
                      <a:gd name="connsiteX182" fmla="*/ 125901 w 334956"/>
                      <a:gd name="connsiteY182" fmla="*/ 64094 h 334834"/>
                      <a:gd name="connsiteX183" fmla="*/ 124501 w 334956"/>
                      <a:gd name="connsiteY183" fmla="*/ 54235 h 334834"/>
                      <a:gd name="connsiteX184" fmla="*/ 120558 w 334956"/>
                      <a:gd name="connsiteY184" fmla="*/ 57683 h 334834"/>
                      <a:gd name="connsiteX185" fmla="*/ 236420 w 334956"/>
                      <a:gd name="connsiteY185" fmla="*/ 58093 h 334834"/>
                      <a:gd name="connsiteX186" fmla="*/ 241516 w 334956"/>
                      <a:gd name="connsiteY186" fmla="*/ 63103 h 334834"/>
                      <a:gd name="connsiteX187" fmla="*/ 239878 w 334956"/>
                      <a:gd name="connsiteY187" fmla="*/ 54969 h 334834"/>
                      <a:gd name="connsiteX188" fmla="*/ 236420 w 334956"/>
                      <a:gd name="connsiteY188" fmla="*/ 58093 h 334834"/>
                      <a:gd name="connsiteX189" fmla="*/ 65008 w 334956"/>
                      <a:gd name="connsiteY189" fmla="*/ 57683 h 334834"/>
                      <a:gd name="connsiteX190" fmla="*/ 67970 w 334956"/>
                      <a:gd name="connsiteY190" fmla="*/ 62036 h 334834"/>
                      <a:gd name="connsiteX191" fmla="*/ 67313 w 334956"/>
                      <a:gd name="connsiteY191" fmla="*/ 56036 h 334834"/>
                      <a:gd name="connsiteX192" fmla="*/ 65008 w 334956"/>
                      <a:gd name="connsiteY192" fmla="*/ 57683 h 334834"/>
                      <a:gd name="connsiteX193" fmla="*/ 155972 w 334956"/>
                      <a:gd name="connsiteY193" fmla="*/ 60646 h 334834"/>
                      <a:gd name="connsiteX194" fmla="*/ 159506 w 334956"/>
                      <a:gd name="connsiteY194" fmla="*/ 69113 h 334834"/>
                      <a:gd name="connsiteX195" fmla="*/ 160325 w 334956"/>
                      <a:gd name="connsiteY195" fmla="*/ 58017 h 334834"/>
                      <a:gd name="connsiteX196" fmla="*/ 155972 w 334956"/>
                      <a:gd name="connsiteY196" fmla="*/ 60646 h 334834"/>
                      <a:gd name="connsiteX197" fmla="*/ 297313 w 334956"/>
                      <a:gd name="connsiteY197" fmla="*/ 58674 h 334834"/>
                      <a:gd name="connsiteX198" fmla="*/ 297313 w 334956"/>
                      <a:gd name="connsiteY198" fmla="*/ 59255 h 334834"/>
                      <a:gd name="connsiteX199" fmla="*/ 297723 w 334956"/>
                      <a:gd name="connsiteY199" fmla="*/ 59750 h 334834"/>
                      <a:gd name="connsiteX200" fmla="*/ 298380 w 334956"/>
                      <a:gd name="connsiteY200" fmla="*/ 59826 h 334834"/>
                      <a:gd name="connsiteX201" fmla="*/ 298875 w 334956"/>
                      <a:gd name="connsiteY201" fmla="*/ 59417 h 334834"/>
                      <a:gd name="connsiteX202" fmla="*/ 298952 w 334956"/>
                      <a:gd name="connsiteY202" fmla="*/ 58760 h 334834"/>
                      <a:gd name="connsiteX203" fmla="*/ 298380 w 334956"/>
                      <a:gd name="connsiteY203" fmla="*/ 58264 h 334834"/>
                      <a:gd name="connsiteX204" fmla="*/ 297799 w 334956"/>
                      <a:gd name="connsiteY204" fmla="*/ 58179 h 334834"/>
                      <a:gd name="connsiteX205" fmla="*/ 297313 w 334956"/>
                      <a:gd name="connsiteY205" fmla="*/ 58674 h 334834"/>
                      <a:gd name="connsiteX206" fmla="*/ 213417 w 334956"/>
                      <a:gd name="connsiteY206" fmla="*/ 62455 h 334834"/>
                      <a:gd name="connsiteX207" fmla="*/ 219084 w 334956"/>
                      <a:gd name="connsiteY207" fmla="*/ 68532 h 334834"/>
                      <a:gd name="connsiteX208" fmla="*/ 217522 w 334956"/>
                      <a:gd name="connsiteY208" fmla="*/ 58588 h 334834"/>
                      <a:gd name="connsiteX209" fmla="*/ 213417 w 334956"/>
                      <a:gd name="connsiteY209" fmla="*/ 62455 h 334834"/>
                      <a:gd name="connsiteX210" fmla="*/ 98612 w 334956"/>
                      <a:gd name="connsiteY210" fmla="*/ 62617 h 334834"/>
                      <a:gd name="connsiteX211" fmla="*/ 103622 w 334956"/>
                      <a:gd name="connsiteY211" fmla="*/ 68123 h 334834"/>
                      <a:gd name="connsiteX212" fmla="*/ 102556 w 334956"/>
                      <a:gd name="connsiteY212" fmla="*/ 58998 h 334834"/>
                      <a:gd name="connsiteX213" fmla="*/ 98612 w 334956"/>
                      <a:gd name="connsiteY213" fmla="*/ 62617 h 334834"/>
                      <a:gd name="connsiteX214" fmla="*/ 273244 w 334956"/>
                      <a:gd name="connsiteY214" fmla="*/ 62617 h 334834"/>
                      <a:gd name="connsiteX215" fmla="*/ 276606 w 334956"/>
                      <a:gd name="connsiteY215" fmla="*/ 66237 h 334834"/>
                      <a:gd name="connsiteX216" fmla="*/ 275291 w 334956"/>
                      <a:gd name="connsiteY216" fmla="*/ 60731 h 334834"/>
                      <a:gd name="connsiteX217" fmla="*/ 273244 w 334956"/>
                      <a:gd name="connsiteY217" fmla="*/ 62617 h 334834"/>
                      <a:gd name="connsiteX218" fmla="*/ 43472 w 334956"/>
                      <a:gd name="connsiteY218" fmla="*/ 63274 h 334834"/>
                      <a:gd name="connsiteX219" fmla="*/ 46025 w 334956"/>
                      <a:gd name="connsiteY219" fmla="*/ 65408 h 334834"/>
                      <a:gd name="connsiteX220" fmla="*/ 47425 w 334956"/>
                      <a:gd name="connsiteY220" fmla="*/ 63846 h 334834"/>
                      <a:gd name="connsiteX221" fmla="*/ 45120 w 334956"/>
                      <a:gd name="connsiteY221" fmla="*/ 61465 h 334834"/>
                      <a:gd name="connsiteX222" fmla="*/ 43472 w 334956"/>
                      <a:gd name="connsiteY222" fmla="*/ 63274 h 334834"/>
                      <a:gd name="connsiteX223" fmla="*/ 133293 w 334956"/>
                      <a:gd name="connsiteY223" fmla="*/ 66151 h 334834"/>
                      <a:gd name="connsiteX224" fmla="*/ 137398 w 334956"/>
                      <a:gd name="connsiteY224" fmla="*/ 73542 h 334834"/>
                      <a:gd name="connsiteX225" fmla="*/ 138141 w 334956"/>
                      <a:gd name="connsiteY225" fmla="*/ 62446 h 334834"/>
                      <a:gd name="connsiteX226" fmla="*/ 133293 w 334956"/>
                      <a:gd name="connsiteY226" fmla="*/ 66151 h 334834"/>
                      <a:gd name="connsiteX227" fmla="*/ 190814 w 334956"/>
                      <a:gd name="connsiteY227" fmla="*/ 66151 h 334834"/>
                      <a:gd name="connsiteX228" fmla="*/ 194843 w 334956"/>
                      <a:gd name="connsiteY228" fmla="*/ 73628 h 334834"/>
                      <a:gd name="connsiteX229" fmla="*/ 195415 w 334956"/>
                      <a:gd name="connsiteY229" fmla="*/ 62455 h 334834"/>
                      <a:gd name="connsiteX230" fmla="*/ 190814 w 334956"/>
                      <a:gd name="connsiteY230" fmla="*/ 66151 h 334834"/>
                      <a:gd name="connsiteX231" fmla="*/ 77248 w 334956"/>
                      <a:gd name="connsiteY231" fmla="*/ 66475 h 334834"/>
                      <a:gd name="connsiteX232" fmla="*/ 81439 w 334956"/>
                      <a:gd name="connsiteY232" fmla="*/ 71980 h 334834"/>
                      <a:gd name="connsiteX233" fmla="*/ 80696 w 334956"/>
                      <a:gd name="connsiteY233" fmla="*/ 63932 h 334834"/>
                      <a:gd name="connsiteX234" fmla="*/ 77248 w 334956"/>
                      <a:gd name="connsiteY234" fmla="*/ 66475 h 334834"/>
                      <a:gd name="connsiteX235" fmla="*/ 249812 w 334956"/>
                      <a:gd name="connsiteY235" fmla="*/ 66894 h 334834"/>
                      <a:gd name="connsiteX236" fmla="*/ 254251 w 334956"/>
                      <a:gd name="connsiteY236" fmla="*/ 71990 h 334834"/>
                      <a:gd name="connsiteX237" fmla="*/ 253346 w 334956"/>
                      <a:gd name="connsiteY237" fmla="*/ 63941 h 334834"/>
                      <a:gd name="connsiteX238" fmla="*/ 249812 w 334956"/>
                      <a:gd name="connsiteY238" fmla="*/ 66894 h 334834"/>
                      <a:gd name="connsiteX239" fmla="*/ 170269 w 334956"/>
                      <a:gd name="connsiteY239" fmla="*/ 67627 h 334834"/>
                      <a:gd name="connsiteX240" fmla="*/ 169773 w 334956"/>
                      <a:gd name="connsiteY240" fmla="*/ 78638 h 334834"/>
                      <a:gd name="connsiteX241" fmla="*/ 177832 w 334956"/>
                      <a:gd name="connsiteY241" fmla="*/ 77238 h 334834"/>
                      <a:gd name="connsiteX242" fmla="*/ 179718 w 334956"/>
                      <a:gd name="connsiteY242" fmla="*/ 75600 h 334834"/>
                      <a:gd name="connsiteX243" fmla="*/ 179794 w 334956"/>
                      <a:gd name="connsiteY243" fmla="*/ 72561 h 334834"/>
                      <a:gd name="connsiteX244" fmla="*/ 173793 w 334956"/>
                      <a:gd name="connsiteY244" fmla="*/ 66484 h 334834"/>
                      <a:gd name="connsiteX245" fmla="*/ 170269 w 334956"/>
                      <a:gd name="connsiteY245" fmla="*/ 67627 h 334834"/>
                      <a:gd name="connsiteX246" fmla="*/ 111185 w 334956"/>
                      <a:gd name="connsiteY246" fmla="*/ 71247 h 334834"/>
                      <a:gd name="connsiteX247" fmla="*/ 117510 w 334956"/>
                      <a:gd name="connsiteY247" fmla="*/ 77743 h 334834"/>
                      <a:gd name="connsiteX248" fmla="*/ 115453 w 334956"/>
                      <a:gd name="connsiteY248" fmla="*/ 67142 h 334834"/>
                      <a:gd name="connsiteX249" fmla="*/ 111185 w 334956"/>
                      <a:gd name="connsiteY249" fmla="*/ 71247 h 334834"/>
                      <a:gd name="connsiteX250" fmla="*/ 226647 w 334956"/>
                      <a:gd name="connsiteY250" fmla="*/ 71085 h 334834"/>
                      <a:gd name="connsiteX251" fmla="*/ 231819 w 334956"/>
                      <a:gd name="connsiteY251" fmla="*/ 77495 h 334834"/>
                      <a:gd name="connsiteX252" fmla="*/ 231076 w 334956"/>
                      <a:gd name="connsiteY252" fmla="*/ 67389 h 334834"/>
                      <a:gd name="connsiteX253" fmla="*/ 226647 w 334956"/>
                      <a:gd name="connsiteY253" fmla="*/ 71085 h 334834"/>
                      <a:gd name="connsiteX254" fmla="*/ 55721 w 334956"/>
                      <a:gd name="connsiteY254" fmla="*/ 71495 h 334834"/>
                      <a:gd name="connsiteX255" fmla="*/ 59169 w 334956"/>
                      <a:gd name="connsiteY255" fmla="*/ 75524 h 334834"/>
                      <a:gd name="connsiteX256" fmla="*/ 58179 w 334956"/>
                      <a:gd name="connsiteY256" fmla="*/ 69199 h 334834"/>
                      <a:gd name="connsiteX257" fmla="*/ 55721 w 334956"/>
                      <a:gd name="connsiteY257" fmla="*/ 71495 h 334834"/>
                      <a:gd name="connsiteX258" fmla="*/ 286883 w 334956"/>
                      <a:gd name="connsiteY258" fmla="*/ 71495 h 334834"/>
                      <a:gd name="connsiteX259" fmla="*/ 289760 w 334956"/>
                      <a:gd name="connsiteY259" fmla="*/ 74781 h 334834"/>
                      <a:gd name="connsiteX260" fmla="*/ 288693 w 334956"/>
                      <a:gd name="connsiteY260" fmla="*/ 69933 h 334834"/>
                      <a:gd name="connsiteX261" fmla="*/ 286883 w 334956"/>
                      <a:gd name="connsiteY261" fmla="*/ 71495 h 334834"/>
                      <a:gd name="connsiteX262" fmla="*/ 146028 w 334956"/>
                      <a:gd name="connsiteY262" fmla="*/ 74447 h 334834"/>
                      <a:gd name="connsiteX263" fmla="*/ 145447 w 334956"/>
                      <a:gd name="connsiteY263" fmla="*/ 83649 h 334834"/>
                      <a:gd name="connsiteX264" fmla="*/ 136407 w 334956"/>
                      <a:gd name="connsiteY264" fmla="*/ 84639 h 334834"/>
                      <a:gd name="connsiteX265" fmla="*/ 132874 w 334956"/>
                      <a:gd name="connsiteY265" fmla="*/ 76095 h 334834"/>
                      <a:gd name="connsiteX266" fmla="*/ 128435 w 334956"/>
                      <a:gd name="connsiteY266" fmla="*/ 75514 h 334834"/>
                      <a:gd name="connsiteX267" fmla="*/ 126387 w 334956"/>
                      <a:gd name="connsiteY267" fmla="*/ 76257 h 334834"/>
                      <a:gd name="connsiteX268" fmla="*/ 124006 w 334956"/>
                      <a:gd name="connsiteY268" fmla="*/ 79134 h 334834"/>
                      <a:gd name="connsiteX269" fmla="*/ 126635 w 334956"/>
                      <a:gd name="connsiteY269" fmla="*/ 87182 h 334834"/>
                      <a:gd name="connsiteX270" fmla="*/ 135426 w 334956"/>
                      <a:gd name="connsiteY270" fmla="*/ 86030 h 334834"/>
                      <a:gd name="connsiteX271" fmla="*/ 137236 w 334956"/>
                      <a:gd name="connsiteY271" fmla="*/ 90468 h 334834"/>
                      <a:gd name="connsiteX272" fmla="*/ 137646 w 334956"/>
                      <a:gd name="connsiteY272" fmla="*/ 93840 h 334834"/>
                      <a:gd name="connsiteX273" fmla="*/ 130578 w 334956"/>
                      <a:gd name="connsiteY273" fmla="*/ 98031 h 334834"/>
                      <a:gd name="connsiteX274" fmla="*/ 125158 w 334956"/>
                      <a:gd name="connsiteY274" fmla="*/ 89078 h 334834"/>
                      <a:gd name="connsiteX275" fmla="*/ 118824 w 334956"/>
                      <a:gd name="connsiteY275" fmla="*/ 89078 h 334834"/>
                      <a:gd name="connsiteX276" fmla="*/ 115948 w 334956"/>
                      <a:gd name="connsiteY276" fmla="*/ 90068 h 334834"/>
                      <a:gd name="connsiteX277" fmla="*/ 115624 w 334956"/>
                      <a:gd name="connsiteY277" fmla="*/ 99765 h 334834"/>
                      <a:gd name="connsiteX278" fmla="*/ 106499 w 334956"/>
                      <a:gd name="connsiteY278" fmla="*/ 103298 h 334834"/>
                      <a:gd name="connsiteX279" fmla="*/ 106747 w 334956"/>
                      <a:gd name="connsiteY279" fmla="*/ 111842 h 334834"/>
                      <a:gd name="connsiteX280" fmla="*/ 100174 w 334956"/>
                      <a:gd name="connsiteY280" fmla="*/ 115786 h 334834"/>
                      <a:gd name="connsiteX281" fmla="*/ 97050 w 334956"/>
                      <a:gd name="connsiteY281" fmla="*/ 116119 h 334834"/>
                      <a:gd name="connsiteX282" fmla="*/ 89487 w 334956"/>
                      <a:gd name="connsiteY282" fmla="*/ 106423 h 334834"/>
                      <a:gd name="connsiteX283" fmla="*/ 87687 w 334956"/>
                      <a:gd name="connsiteY283" fmla="*/ 106909 h 334834"/>
                      <a:gd name="connsiteX284" fmla="*/ 85392 w 334956"/>
                      <a:gd name="connsiteY284" fmla="*/ 108385 h 334834"/>
                      <a:gd name="connsiteX285" fmla="*/ 87859 w 334956"/>
                      <a:gd name="connsiteY285" fmla="*/ 118081 h 334834"/>
                      <a:gd name="connsiteX286" fmla="*/ 95336 w 334956"/>
                      <a:gd name="connsiteY286" fmla="*/ 116843 h 334834"/>
                      <a:gd name="connsiteX287" fmla="*/ 97060 w 334956"/>
                      <a:gd name="connsiteY287" fmla="*/ 120291 h 334834"/>
                      <a:gd name="connsiteX288" fmla="*/ 94917 w 334956"/>
                      <a:gd name="connsiteY288" fmla="*/ 128425 h 334834"/>
                      <a:gd name="connsiteX289" fmla="*/ 87849 w 334956"/>
                      <a:gd name="connsiteY289" fmla="*/ 130807 h 334834"/>
                      <a:gd name="connsiteX290" fmla="*/ 88097 w 334956"/>
                      <a:gd name="connsiteY290" fmla="*/ 132702 h 334834"/>
                      <a:gd name="connsiteX291" fmla="*/ 87773 w 334956"/>
                      <a:gd name="connsiteY291" fmla="*/ 140999 h 334834"/>
                      <a:gd name="connsiteX292" fmla="*/ 79391 w 334956"/>
                      <a:gd name="connsiteY292" fmla="*/ 144285 h 334834"/>
                      <a:gd name="connsiteX293" fmla="*/ 80620 w 334956"/>
                      <a:gd name="connsiteY293" fmla="*/ 154229 h 334834"/>
                      <a:gd name="connsiteX294" fmla="*/ 71009 w 334956"/>
                      <a:gd name="connsiteY294" fmla="*/ 163020 h 334834"/>
                      <a:gd name="connsiteX295" fmla="*/ 72076 w 334956"/>
                      <a:gd name="connsiteY295" fmla="*/ 165325 h 334834"/>
                      <a:gd name="connsiteX296" fmla="*/ 81858 w 334956"/>
                      <a:gd name="connsiteY296" fmla="*/ 165983 h 334834"/>
                      <a:gd name="connsiteX297" fmla="*/ 84649 w 334956"/>
                      <a:gd name="connsiteY297" fmla="*/ 173212 h 334834"/>
                      <a:gd name="connsiteX298" fmla="*/ 77095 w 334956"/>
                      <a:gd name="connsiteY298" fmla="*/ 178137 h 334834"/>
                      <a:gd name="connsiteX299" fmla="*/ 75781 w 334956"/>
                      <a:gd name="connsiteY299" fmla="*/ 186518 h 334834"/>
                      <a:gd name="connsiteX300" fmla="*/ 88106 w 334956"/>
                      <a:gd name="connsiteY300" fmla="*/ 190548 h 334834"/>
                      <a:gd name="connsiteX301" fmla="*/ 88030 w 334956"/>
                      <a:gd name="connsiteY301" fmla="*/ 198682 h 334834"/>
                      <a:gd name="connsiteX302" fmla="*/ 84906 w 334956"/>
                      <a:gd name="connsiteY302" fmla="*/ 199587 h 334834"/>
                      <a:gd name="connsiteX303" fmla="*/ 79734 w 334956"/>
                      <a:gd name="connsiteY303" fmla="*/ 206740 h 334834"/>
                      <a:gd name="connsiteX304" fmla="*/ 80553 w 334956"/>
                      <a:gd name="connsiteY304" fmla="*/ 208959 h 334834"/>
                      <a:gd name="connsiteX305" fmla="*/ 87944 w 334956"/>
                      <a:gd name="connsiteY305" fmla="*/ 210607 h 334834"/>
                      <a:gd name="connsiteX306" fmla="*/ 91230 w 334956"/>
                      <a:gd name="connsiteY306" fmla="*/ 210198 h 334834"/>
                      <a:gd name="connsiteX307" fmla="*/ 95183 w 334956"/>
                      <a:gd name="connsiteY307" fmla="*/ 220142 h 334834"/>
                      <a:gd name="connsiteX308" fmla="*/ 105537 w 334956"/>
                      <a:gd name="connsiteY308" fmla="*/ 221047 h 334834"/>
                      <a:gd name="connsiteX309" fmla="*/ 107099 w 334956"/>
                      <a:gd name="connsiteY309" fmla="*/ 228524 h 334834"/>
                      <a:gd name="connsiteX310" fmla="*/ 105870 w 334956"/>
                      <a:gd name="connsiteY310" fmla="*/ 230000 h 334834"/>
                      <a:gd name="connsiteX311" fmla="*/ 99050 w 334956"/>
                      <a:gd name="connsiteY311" fmla="*/ 231724 h 334834"/>
                      <a:gd name="connsiteX312" fmla="*/ 99374 w 334956"/>
                      <a:gd name="connsiteY312" fmla="*/ 240763 h 334834"/>
                      <a:gd name="connsiteX313" fmla="*/ 108985 w 334956"/>
                      <a:gd name="connsiteY313" fmla="*/ 238706 h 334834"/>
                      <a:gd name="connsiteX314" fmla="*/ 107918 w 334956"/>
                      <a:gd name="connsiteY314" fmla="*/ 230657 h 334834"/>
                      <a:gd name="connsiteX315" fmla="*/ 116462 w 334956"/>
                      <a:gd name="connsiteY315" fmla="*/ 228438 h 334834"/>
                      <a:gd name="connsiteX316" fmla="*/ 118929 w 334956"/>
                      <a:gd name="connsiteY316" fmla="*/ 230410 h 334834"/>
                      <a:gd name="connsiteX317" fmla="*/ 119834 w 334956"/>
                      <a:gd name="connsiteY317" fmla="*/ 238049 h 334834"/>
                      <a:gd name="connsiteX318" fmla="*/ 110471 w 334956"/>
                      <a:gd name="connsiteY318" fmla="*/ 244869 h 334834"/>
                      <a:gd name="connsiteX319" fmla="*/ 110957 w 334956"/>
                      <a:gd name="connsiteY319" fmla="*/ 247012 h 334834"/>
                      <a:gd name="connsiteX320" fmla="*/ 112271 w 334956"/>
                      <a:gd name="connsiteY320" fmla="*/ 249393 h 334834"/>
                      <a:gd name="connsiteX321" fmla="*/ 122291 w 334956"/>
                      <a:gd name="connsiteY321" fmla="*/ 247583 h 334834"/>
                      <a:gd name="connsiteX322" fmla="*/ 122377 w 334956"/>
                      <a:gd name="connsiteY322" fmla="*/ 238544 h 334834"/>
                      <a:gd name="connsiteX323" fmla="*/ 125416 w 334956"/>
                      <a:gd name="connsiteY323" fmla="*/ 237725 h 334834"/>
                      <a:gd name="connsiteX324" fmla="*/ 133226 w 334956"/>
                      <a:gd name="connsiteY324" fmla="*/ 243402 h 334834"/>
                      <a:gd name="connsiteX325" fmla="*/ 133636 w 334956"/>
                      <a:gd name="connsiteY325" fmla="*/ 246774 h 334834"/>
                      <a:gd name="connsiteX326" fmla="*/ 123853 w 334956"/>
                      <a:gd name="connsiteY326" fmla="*/ 254251 h 334834"/>
                      <a:gd name="connsiteX327" fmla="*/ 124511 w 334956"/>
                      <a:gd name="connsiteY327" fmla="*/ 256470 h 334834"/>
                      <a:gd name="connsiteX328" fmla="*/ 126482 w 334956"/>
                      <a:gd name="connsiteY328" fmla="*/ 258928 h 334834"/>
                      <a:gd name="connsiteX329" fmla="*/ 135522 w 334956"/>
                      <a:gd name="connsiteY329" fmla="*/ 255813 h 334834"/>
                      <a:gd name="connsiteX330" fmla="*/ 134531 w 334956"/>
                      <a:gd name="connsiteY330" fmla="*/ 248002 h 334834"/>
                      <a:gd name="connsiteX331" fmla="*/ 145704 w 334956"/>
                      <a:gd name="connsiteY331" fmla="*/ 248079 h 334834"/>
                      <a:gd name="connsiteX332" fmla="*/ 148333 w 334956"/>
                      <a:gd name="connsiteY332" fmla="*/ 255556 h 334834"/>
                      <a:gd name="connsiteX333" fmla="*/ 158191 w 334956"/>
                      <a:gd name="connsiteY333" fmla="*/ 254489 h 334834"/>
                      <a:gd name="connsiteX334" fmla="*/ 160239 w 334956"/>
                      <a:gd name="connsiteY334" fmla="*/ 262042 h 334834"/>
                      <a:gd name="connsiteX335" fmla="*/ 170431 w 334956"/>
                      <a:gd name="connsiteY335" fmla="*/ 261880 h 334834"/>
                      <a:gd name="connsiteX336" fmla="*/ 170021 w 334956"/>
                      <a:gd name="connsiteY336" fmla="*/ 253832 h 334834"/>
                      <a:gd name="connsiteX337" fmla="*/ 177498 w 334956"/>
                      <a:gd name="connsiteY337" fmla="*/ 250298 h 334834"/>
                      <a:gd name="connsiteX338" fmla="*/ 182261 w 334956"/>
                      <a:gd name="connsiteY338" fmla="*/ 257613 h 334834"/>
                      <a:gd name="connsiteX339" fmla="*/ 190643 w 334956"/>
                      <a:gd name="connsiteY339" fmla="*/ 259166 h 334834"/>
                      <a:gd name="connsiteX340" fmla="*/ 192529 w 334956"/>
                      <a:gd name="connsiteY340" fmla="*/ 248564 h 334834"/>
                      <a:gd name="connsiteX341" fmla="*/ 198034 w 334956"/>
                      <a:gd name="connsiteY341" fmla="*/ 246269 h 334834"/>
                      <a:gd name="connsiteX342" fmla="*/ 201654 w 334956"/>
                      <a:gd name="connsiteY342" fmla="*/ 245774 h 334834"/>
                      <a:gd name="connsiteX343" fmla="*/ 204283 w 334956"/>
                      <a:gd name="connsiteY343" fmla="*/ 252593 h 334834"/>
                      <a:gd name="connsiteX344" fmla="*/ 211350 w 334956"/>
                      <a:gd name="connsiteY344" fmla="*/ 255146 h 334834"/>
                      <a:gd name="connsiteX345" fmla="*/ 213646 w 334956"/>
                      <a:gd name="connsiteY345" fmla="*/ 253917 h 334834"/>
                      <a:gd name="connsiteX346" fmla="*/ 215284 w 334956"/>
                      <a:gd name="connsiteY346" fmla="*/ 251288 h 334834"/>
                      <a:gd name="connsiteX347" fmla="*/ 212988 w 334956"/>
                      <a:gd name="connsiteY347" fmla="*/ 243564 h 334834"/>
                      <a:gd name="connsiteX348" fmla="*/ 204854 w 334956"/>
                      <a:gd name="connsiteY348" fmla="*/ 244792 h 334834"/>
                      <a:gd name="connsiteX349" fmla="*/ 202559 w 334956"/>
                      <a:gd name="connsiteY349" fmla="*/ 235096 h 334834"/>
                      <a:gd name="connsiteX350" fmla="*/ 211922 w 334956"/>
                      <a:gd name="connsiteY350" fmla="*/ 234601 h 334834"/>
                      <a:gd name="connsiteX351" fmla="*/ 213560 w 334956"/>
                      <a:gd name="connsiteY351" fmla="*/ 241259 h 334834"/>
                      <a:gd name="connsiteX352" fmla="*/ 223009 w 334956"/>
                      <a:gd name="connsiteY352" fmla="*/ 240849 h 334834"/>
                      <a:gd name="connsiteX353" fmla="*/ 223590 w 334956"/>
                      <a:gd name="connsiteY353" fmla="*/ 230819 h 334834"/>
                      <a:gd name="connsiteX354" fmla="*/ 233286 w 334956"/>
                      <a:gd name="connsiteY354" fmla="*/ 226800 h 334834"/>
                      <a:gd name="connsiteX355" fmla="*/ 232886 w 334956"/>
                      <a:gd name="connsiteY355" fmla="*/ 217427 h 334834"/>
                      <a:gd name="connsiteX356" fmla="*/ 242335 w 334956"/>
                      <a:gd name="connsiteY356" fmla="*/ 213484 h 334834"/>
                      <a:gd name="connsiteX357" fmla="*/ 241763 w 334956"/>
                      <a:gd name="connsiteY357" fmla="*/ 204035 h 334834"/>
                      <a:gd name="connsiteX358" fmla="*/ 251050 w 334956"/>
                      <a:gd name="connsiteY358" fmla="*/ 199844 h 334834"/>
                      <a:gd name="connsiteX359" fmla="*/ 250307 w 334956"/>
                      <a:gd name="connsiteY359" fmla="*/ 190481 h 334834"/>
                      <a:gd name="connsiteX360" fmla="*/ 259594 w 334956"/>
                      <a:gd name="connsiteY360" fmla="*/ 186042 h 334834"/>
                      <a:gd name="connsiteX361" fmla="*/ 259509 w 334956"/>
                      <a:gd name="connsiteY361" fmla="*/ 182594 h 334834"/>
                      <a:gd name="connsiteX362" fmla="*/ 256965 w 334956"/>
                      <a:gd name="connsiteY362" fmla="*/ 177089 h 334834"/>
                      <a:gd name="connsiteX363" fmla="*/ 248174 w 334956"/>
                      <a:gd name="connsiteY363" fmla="*/ 177251 h 334834"/>
                      <a:gd name="connsiteX364" fmla="*/ 248174 w 334956"/>
                      <a:gd name="connsiteY364" fmla="*/ 167145 h 334834"/>
                      <a:gd name="connsiteX365" fmla="*/ 255651 w 334956"/>
                      <a:gd name="connsiteY365" fmla="*/ 164925 h 334834"/>
                      <a:gd name="connsiteX366" fmla="*/ 254337 w 334956"/>
                      <a:gd name="connsiteY366" fmla="*/ 155229 h 334834"/>
                      <a:gd name="connsiteX367" fmla="*/ 261242 w 334956"/>
                      <a:gd name="connsiteY367" fmla="*/ 152848 h 334834"/>
                      <a:gd name="connsiteX368" fmla="*/ 261404 w 334956"/>
                      <a:gd name="connsiteY368" fmla="*/ 142408 h 334834"/>
                      <a:gd name="connsiteX369" fmla="*/ 252041 w 334956"/>
                      <a:gd name="connsiteY369" fmla="*/ 142484 h 334834"/>
                      <a:gd name="connsiteX370" fmla="*/ 248917 w 334956"/>
                      <a:gd name="connsiteY370" fmla="*/ 132626 h 334834"/>
                      <a:gd name="connsiteX371" fmla="*/ 245545 w 334956"/>
                      <a:gd name="connsiteY371" fmla="*/ 132950 h 334834"/>
                      <a:gd name="connsiteX372" fmla="*/ 237820 w 334956"/>
                      <a:gd name="connsiteY372" fmla="*/ 130892 h 334834"/>
                      <a:gd name="connsiteX373" fmla="*/ 237163 w 334956"/>
                      <a:gd name="connsiteY373" fmla="*/ 128425 h 334834"/>
                      <a:gd name="connsiteX374" fmla="*/ 245459 w 334956"/>
                      <a:gd name="connsiteY374" fmla="*/ 121025 h 334834"/>
                      <a:gd name="connsiteX375" fmla="*/ 245621 w 334956"/>
                      <a:gd name="connsiteY375" fmla="*/ 113224 h 334834"/>
                      <a:gd name="connsiteX376" fmla="*/ 234362 w 334956"/>
                      <a:gd name="connsiteY376" fmla="*/ 111252 h 334834"/>
                      <a:gd name="connsiteX377" fmla="*/ 230991 w 334956"/>
                      <a:gd name="connsiteY377" fmla="*/ 101965 h 334834"/>
                      <a:gd name="connsiteX378" fmla="*/ 221380 w 334956"/>
                      <a:gd name="connsiteY378" fmla="*/ 102137 h 334834"/>
                      <a:gd name="connsiteX379" fmla="*/ 218256 w 334956"/>
                      <a:gd name="connsiteY379" fmla="*/ 93345 h 334834"/>
                      <a:gd name="connsiteX380" fmla="*/ 208312 w 334956"/>
                      <a:gd name="connsiteY380" fmla="*/ 93431 h 334834"/>
                      <a:gd name="connsiteX381" fmla="*/ 204378 w 334956"/>
                      <a:gd name="connsiteY381" fmla="*/ 84229 h 334834"/>
                      <a:gd name="connsiteX382" fmla="*/ 195005 w 334956"/>
                      <a:gd name="connsiteY382" fmla="*/ 84972 h 334834"/>
                      <a:gd name="connsiteX383" fmla="*/ 187862 w 334956"/>
                      <a:gd name="connsiteY383" fmla="*/ 75190 h 334834"/>
                      <a:gd name="connsiteX384" fmla="*/ 181365 w 334956"/>
                      <a:gd name="connsiteY384" fmla="*/ 77819 h 334834"/>
                      <a:gd name="connsiteX385" fmla="*/ 180546 w 334956"/>
                      <a:gd name="connsiteY385" fmla="*/ 87678 h 334834"/>
                      <a:gd name="connsiteX386" fmla="*/ 178079 w 334956"/>
                      <a:gd name="connsiteY386" fmla="*/ 88668 h 334834"/>
                      <a:gd name="connsiteX387" fmla="*/ 170354 w 334956"/>
                      <a:gd name="connsiteY387" fmla="*/ 82505 h 334834"/>
                      <a:gd name="connsiteX388" fmla="*/ 169535 w 334956"/>
                      <a:gd name="connsiteY388" fmla="*/ 79134 h 334834"/>
                      <a:gd name="connsiteX389" fmla="*/ 159506 w 334956"/>
                      <a:gd name="connsiteY389" fmla="*/ 80610 h 334834"/>
                      <a:gd name="connsiteX390" fmla="*/ 152029 w 334956"/>
                      <a:gd name="connsiteY390" fmla="*/ 70828 h 334834"/>
                      <a:gd name="connsiteX391" fmla="*/ 146028 w 334956"/>
                      <a:gd name="connsiteY391" fmla="*/ 74447 h 334834"/>
                      <a:gd name="connsiteX392" fmla="*/ 203959 w 334956"/>
                      <a:gd name="connsiteY392" fmla="*/ 74609 h 334834"/>
                      <a:gd name="connsiteX393" fmla="*/ 207331 w 334956"/>
                      <a:gd name="connsiteY393" fmla="*/ 82658 h 334834"/>
                      <a:gd name="connsiteX394" fmla="*/ 210455 w 334956"/>
                      <a:gd name="connsiteY394" fmla="*/ 82163 h 334834"/>
                      <a:gd name="connsiteX395" fmla="*/ 208893 w 334956"/>
                      <a:gd name="connsiteY395" fmla="*/ 71066 h 334834"/>
                      <a:gd name="connsiteX396" fmla="*/ 203959 w 334956"/>
                      <a:gd name="connsiteY396" fmla="*/ 74609 h 334834"/>
                      <a:gd name="connsiteX397" fmla="*/ 89573 w 334956"/>
                      <a:gd name="connsiteY397" fmla="*/ 75514 h 334834"/>
                      <a:gd name="connsiteX398" fmla="*/ 95250 w 334956"/>
                      <a:gd name="connsiteY398" fmla="*/ 81677 h 334834"/>
                      <a:gd name="connsiteX399" fmla="*/ 93354 w 334956"/>
                      <a:gd name="connsiteY399" fmla="*/ 71980 h 334834"/>
                      <a:gd name="connsiteX400" fmla="*/ 89573 w 334956"/>
                      <a:gd name="connsiteY400" fmla="*/ 75514 h 334834"/>
                      <a:gd name="connsiteX401" fmla="*/ 263376 w 334956"/>
                      <a:gd name="connsiteY401" fmla="*/ 75438 h 334834"/>
                      <a:gd name="connsiteX402" fmla="*/ 267652 w 334956"/>
                      <a:gd name="connsiteY402" fmla="*/ 80610 h 334834"/>
                      <a:gd name="connsiteX403" fmla="*/ 266833 w 334956"/>
                      <a:gd name="connsiteY403" fmla="*/ 72885 h 334834"/>
                      <a:gd name="connsiteX404" fmla="*/ 263376 w 334956"/>
                      <a:gd name="connsiteY404" fmla="*/ 75438 h 334834"/>
                      <a:gd name="connsiteX405" fmla="*/ 36243 w 334956"/>
                      <a:gd name="connsiteY405" fmla="*/ 78810 h 334834"/>
                      <a:gd name="connsiteX406" fmla="*/ 36243 w 334956"/>
                      <a:gd name="connsiteY406" fmla="*/ 74695 h 334834"/>
                      <a:gd name="connsiteX407" fmla="*/ 36243 w 334956"/>
                      <a:gd name="connsiteY407" fmla="*/ 78810 h 334834"/>
                      <a:gd name="connsiteX408" fmla="*/ 239878 w 334956"/>
                      <a:gd name="connsiteY408" fmla="*/ 80362 h 334834"/>
                      <a:gd name="connsiteX409" fmla="*/ 245793 w 334956"/>
                      <a:gd name="connsiteY409" fmla="*/ 86201 h 334834"/>
                      <a:gd name="connsiteX410" fmla="*/ 244069 w 334956"/>
                      <a:gd name="connsiteY410" fmla="*/ 76343 h 334834"/>
                      <a:gd name="connsiteX411" fmla="*/ 239878 w 334956"/>
                      <a:gd name="connsiteY411" fmla="*/ 80362 h 334834"/>
                      <a:gd name="connsiteX412" fmla="*/ 68046 w 334956"/>
                      <a:gd name="connsiteY412" fmla="*/ 80200 h 334834"/>
                      <a:gd name="connsiteX413" fmla="*/ 73057 w 334956"/>
                      <a:gd name="connsiteY413" fmla="*/ 85373 h 334834"/>
                      <a:gd name="connsiteX414" fmla="*/ 71494 w 334956"/>
                      <a:gd name="connsiteY414" fmla="*/ 77076 h 334834"/>
                      <a:gd name="connsiteX415" fmla="*/ 68046 w 334956"/>
                      <a:gd name="connsiteY415" fmla="*/ 80200 h 334834"/>
                      <a:gd name="connsiteX416" fmla="*/ 300599 w 334956"/>
                      <a:gd name="connsiteY416" fmla="*/ 80781 h 334834"/>
                      <a:gd name="connsiteX417" fmla="*/ 302162 w 334956"/>
                      <a:gd name="connsiteY417" fmla="*/ 83163 h 334834"/>
                      <a:gd name="connsiteX418" fmla="*/ 302323 w 334956"/>
                      <a:gd name="connsiteY418" fmla="*/ 79143 h 334834"/>
                      <a:gd name="connsiteX419" fmla="*/ 300599 w 334956"/>
                      <a:gd name="connsiteY419" fmla="*/ 80781 h 334834"/>
                      <a:gd name="connsiteX420" fmla="*/ 217198 w 334956"/>
                      <a:gd name="connsiteY420" fmla="*/ 83239 h 334834"/>
                      <a:gd name="connsiteX421" fmla="*/ 217275 w 334956"/>
                      <a:gd name="connsiteY421" fmla="*/ 86439 h 334834"/>
                      <a:gd name="connsiteX422" fmla="*/ 220646 w 334956"/>
                      <a:gd name="connsiteY422" fmla="*/ 91621 h 334834"/>
                      <a:gd name="connsiteX423" fmla="*/ 223771 w 334956"/>
                      <a:gd name="connsiteY423" fmla="*/ 91049 h 334834"/>
                      <a:gd name="connsiteX424" fmla="*/ 226400 w 334956"/>
                      <a:gd name="connsiteY424" fmla="*/ 90306 h 334834"/>
                      <a:gd name="connsiteX425" fmla="*/ 221799 w 334956"/>
                      <a:gd name="connsiteY425" fmla="*/ 79953 h 334834"/>
                      <a:gd name="connsiteX426" fmla="*/ 217198 w 334956"/>
                      <a:gd name="connsiteY426" fmla="*/ 83239 h 334834"/>
                      <a:gd name="connsiteX427" fmla="*/ 102146 w 334956"/>
                      <a:gd name="connsiteY427" fmla="*/ 84068 h 334834"/>
                      <a:gd name="connsiteX428" fmla="*/ 107652 w 334956"/>
                      <a:gd name="connsiteY428" fmla="*/ 91297 h 334834"/>
                      <a:gd name="connsiteX429" fmla="*/ 112662 w 334956"/>
                      <a:gd name="connsiteY429" fmla="*/ 88916 h 334834"/>
                      <a:gd name="connsiteX430" fmla="*/ 106832 w 334956"/>
                      <a:gd name="connsiteY430" fmla="*/ 80039 h 334834"/>
                      <a:gd name="connsiteX431" fmla="*/ 102146 w 334956"/>
                      <a:gd name="connsiteY431" fmla="*/ 84068 h 334834"/>
                      <a:gd name="connsiteX432" fmla="*/ 159506 w 334956"/>
                      <a:gd name="connsiteY432" fmla="*/ 86449 h 334834"/>
                      <a:gd name="connsiteX433" fmla="*/ 159839 w 334956"/>
                      <a:gd name="connsiteY433" fmla="*/ 89078 h 334834"/>
                      <a:gd name="connsiteX434" fmla="*/ 151867 w 334956"/>
                      <a:gd name="connsiteY434" fmla="*/ 93107 h 334834"/>
                      <a:gd name="connsiteX435" fmla="*/ 149323 w 334956"/>
                      <a:gd name="connsiteY435" fmla="*/ 91297 h 334834"/>
                      <a:gd name="connsiteX436" fmla="*/ 148990 w 334956"/>
                      <a:gd name="connsiteY436" fmla="*/ 83325 h 334834"/>
                      <a:gd name="connsiteX437" fmla="*/ 156220 w 334956"/>
                      <a:gd name="connsiteY437" fmla="*/ 81515 h 334834"/>
                      <a:gd name="connsiteX438" fmla="*/ 159506 w 334956"/>
                      <a:gd name="connsiteY438" fmla="*/ 86449 h 334834"/>
                      <a:gd name="connsiteX439" fmla="*/ 276853 w 334956"/>
                      <a:gd name="connsiteY439" fmla="*/ 84887 h 334834"/>
                      <a:gd name="connsiteX440" fmla="*/ 280635 w 334956"/>
                      <a:gd name="connsiteY440" fmla="*/ 89240 h 334834"/>
                      <a:gd name="connsiteX441" fmla="*/ 279892 w 334956"/>
                      <a:gd name="connsiteY441" fmla="*/ 82096 h 334834"/>
                      <a:gd name="connsiteX442" fmla="*/ 276853 w 334956"/>
                      <a:gd name="connsiteY442" fmla="*/ 84887 h 334834"/>
                      <a:gd name="connsiteX443" fmla="*/ 46844 w 334956"/>
                      <a:gd name="connsiteY443" fmla="*/ 84563 h 334834"/>
                      <a:gd name="connsiteX444" fmla="*/ 50702 w 334956"/>
                      <a:gd name="connsiteY444" fmla="*/ 88830 h 334834"/>
                      <a:gd name="connsiteX445" fmla="*/ 49311 w 334956"/>
                      <a:gd name="connsiteY445" fmla="*/ 82420 h 334834"/>
                      <a:gd name="connsiteX446" fmla="*/ 46844 w 334956"/>
                      <a:gd name="connsiteY446" fmla="*/ 84563 h 334834"/>
                      <a:gd name="connsiteX447" fmla="*/ 80458 w 334956"/>
                      <a:gd name="connsiteY447" fmla="*/ 88916 h 334834"/>
                      <a:gd name="connsiteX448" fmla="*/ 86868 w 334956"/>
                      <a:gd name="connsiteY448" fmla="*/ 95079 h 334834"/>
                      <a:gd name="connsiteX449" fmla="*/ 84649 w 334956"/>
                      <a:gd name="connsiteY449" fmla="*/ 85058 h 334834"/>
                      <a:gd name="connsiteX450" fmla="*/ 80458 w 334956"/>
                      <a:gd name="connsiteY450" fmla="*/ 88916 h 334834"/>
                      <a:gd name="connsiteX451" fmla="*/ 253517 w 334956"/>
                      <a:gd name="connsiteY451" fmla="*/ 88744 h 334834"/>
                      <a:gd name="connsiteX452" fmla="*/ 258775 w 334956"/>
                      <a:gd name="connsiteY452" fmla="*/ 94907 h 334834"/>
                      <a:gd name="connsiteX453" fmla="*/ 257708 w 334956"/>
                      <a:gd name="connsiteY453" fmla="*/ 85373 h 334834"/>
                      <a:gd name="connsiteX454" fmla="*/ 253517 w 334956"/>
                      <a:gd name="connsiteY454" fmla="*/ 88744 h 334834"/>
                      <a:gd name="connsiteX455" fmla="*/ 194843 w 334956"/>
                      <a:gd name="connsiteY455" fmla="*/ 90059 h 334834"/>
                      <a:gd name="connsiteX456" fmla="*/ 195339 w 334956"/>
                      <a:gd name="connsiteY456" fmla="*/ 93593 h 334834"/>
                      <a:gd name="connsiteX457" fmla="*/ 188681 w 334956"/>
                      <a:gd name="connsiteY457" fmla="*/ 97698 h 334834"/>
                      <a:gd name="connsiteX458" fmla="*/ 184737 w 334956"/>
                      <a:gd name="connsiteY458" fmla="*/ 88249 h 334834"/>
                      <a:gd name="connsiteX459" fmla="*/ 190728 w 334956"/>
                      <a:gd name="connsiteY459" fmla="*/ 86116 h 334834"/>
                      <a:gd name="connsiteX460" fmla="*/ 194843 w 334956"/>
                      <a:gd name="connsiteY460" fmla="*/ 90059 h 334834"/>
                      <a:gd name="connsiteX461" fmla="*/ 25727 w 334956"/>
                      <a:gd name="connsiteY461" fmla="*/ 89735 h 334834"/>
                      <a:gd name="connsiteX462" fmla="*/ 28194 w 334956"/>
                      <a:gd name="connsiteY462" fmla="*/ 92040 h 334834"/>
                      <a:gd name="connsiteX463" fmla="*/ 27289 w 334956"/>
                      <a:gd name="connsiteY463" fmla="*/ 88097 h 334834"/>
                      <a:gd name="connsiteX464" fmla="*/ 25727 w 334956"/>
                      <a:gd name="connsiteY464" fmla="*/ 89735 h 334834"/>
                      <a:gd name="connsiteX465" fmla="*/ 314573 w 334956"/>
                      <a:gd name="connsiteY465" fmla="*/ 90145 h 334834"/>
                      <a:gd name="connsiteX466" fmla="*/ 315725 w 334956"/>
                      <a:gd name="connsiteY466" fmla="*/ 91297 h 334834"/>
                      <a:gd name="connsiteX467" fmla="*/ 317125 w 334956"/>
                      <a:gd name="connsiteY467" fmla="*/ 90230 h 334834"/>
                      <a:gd name="connsiteX468" fmla="*/ 315725 w 334956"/>
                      <a:gd name="connsiteY468" fmla="*/ 88754 h 334834"/>
                      <a:gd name="connsiteX469" fmla="*/ 314573 w 334956"/>
                      <a:gd name="connsiteY469" fmla="*/ 90145 h 334834"/>
                      <a:gd name="connsiteX470" fmla="*/ 230505 w 334956"/>
                      <a:gd name="connsiteY470" fmla="*/ 92278 h 334834"/>
                      <a:gd name="connsiteX471" fmla="*/ 233791 w 334956"/>
                      <a:gd name="connsiteY471" fmla="*/ 100327 h 334834"/>
                      <a:gd name="connsiteX472" fmla="*/ 237077 w 334956"/>
                      <a:gd name="connsiteY472" fmla="*/ 99917 h 334834"/>
                      <a:gd name="connsiteX473" fmla="*/ 235515 w 334956"/>
                      <a:gd name="connsiteY473" fmla="*/ 88821 h 334834"/>
                      <a:gd name="connsiteX474" fmla="*/ 230505 w 334956"/>
                      <a:gd name="connsiteY474" fmla="*/ 92278 h 334834"/>
                      <a:gd name="connsiteX475" fmla="*/ 59169 w 334956"/>
                      <a:gd name="connsiteY475" fmla="*/ 93345 h 334834"/>
                      <a:gd name="connsiteX476" fmla="*/ 64427 w 334956"/>
                      <a:gd name="connsiteY476" fmla="*/ 98688 h 334834"/>
                      <a:gd name="connsiteX477" fmla="*/ 62455 w 334956"/>
                      <a:gd name="connsiteY477" fmla="*/ 90306 h 334834"/>
                      <a:gd name="connsiteX478" fmla="*/ 59169 w 334956"/>
                      <a:gd name="connsiteY478" fmla="*/ 93345 h 334834"/>
                      <a:gd name="connsiteX479" fmla="*/ 168135 w 334956"/>
                      <a:gd name="connsiteY479" fmla="*/ 101813 h 334834"/>
                      <a:gd name="connsiteX480" fmla="*/ 162211 w 334956"/>
                      <a:gd name="connsiteY480" fmla="*/ 94250 h 334834"/>
                      <a:gd name="connsiteX481" fmla="*/ 167059 w 334956"/>
                      <a:gd name="connsiteY481" fmla="*/ 90878 h 334834"/>
                      <a:gd name="connsiteX482" fmla="*/ 168135 w 334956"/>
                      <a:gd name="connsiteY482" fmla="*/ 101813 h 334834"/>
                      <a:gd name="connsiteX483" fmla="*/ 290579 w 334956"/>
                      <a:gd name="connsiteY483" fmla="*/ 93840 h 334834"/>
                      <a:gd name="connsiteX484" fmla="*/ 294027 w 334956"/>
                      <a:gd name="connsiteY484" fmla="*/ 97622 h 334834"/>
                      <a:gd name="connsiteX485" fmla="*/ 293446 w 334956"/>
                      <a:gd name="connsiteY485" fmla="*/ 91373 h 334834"/>
                      <a:gd name="connsiteX486" fmla="*/ 290579 w 334956"/>
                      <a:gd name="connsiteY486" fmla="*/ 93840 h 334834"/>
                      <a:gd name="connsiteX487" fmla="*/ 93193 w 334956"/>
                      <a:gd name="connsiteY487" fmla="*/ 96964 h 334834"/>
                      <a:gd name="connsiteX488" fmla="*/ 96974 w 334956"/>
                      <a:gd name="connsiteY488" fmla="*/ 104765 h 334834"/>
                      <a:gd name="connsiteX489" fmla="*/ 100422 w 334956"/>
                      <a:gd name="connsiteY489" fmla="*/ 104194 h 334834"/>
                      <a:gd name="connsiteX490" fmla="*/ 104613 w 334956"/>
                      <a:gd name="connsiteY490" fmla="*/ 102146 h 334834"/>
                      <a:gd name="connsiteX491" fmla="*/ 104365 w 334956"/>
                      <a:gd name="connsiteY491" fmla="*/ 99184 h 334834"/>
                      <a:gd name="connsiteX492" fmla="*/ 98365 w 334956"/>
                      <a:gd name="connsiteY492" fmla="*/ 93107 h 334834"/>
                      <a:gd name="connsiteX493" fmla="*/ 93193 w 334956"/>
                      <a:gd name="connsiteY493" fmla="*/ 96964 h 334834"/>
                      <a:gd name="connsiteX494" fmla="*/ 267081 w 334956"/>
                      <a:gd name="connsiteY494" fmla="*/ 97698 h 334834"/>
                      <a:gd name="connsiteX495" fmla="*/ 272253 w 334956"/>
                      <a:gd name="connsiteY495" fmla="*/ 103375 h 334834"/>
                      <a:gd name="connsiteX496" fmla="*/ 271024 w 334956"/>
                      <a:gd name="connsiteY496" fmla="*/ 94497 h 334834"/>
                      <a:gd name="connsiteX497" fmla="*/ 267081 w 334956"/>
                      <a:gd name="connsiteY497" fmla="*/ 97698 h 334834"/>
                      <a:gd name="connsiteX498" fmla="*/ 202159 w 334956"/>
                      <a:gd name="connsiteY498" fmla="*/ 106499 h 334834"/>
                      <a:gd name="connsiteX499" fmla="*/ 198053 w 334956"/>
                      <a:gd name="connsiteY499" fmla="*/ 97784 h 334834"/>
                      <a:gd name="connsiteX500" fmla="*/ 203311 w 334956"/>
                      <a:gd name="connsiteY500" fmla="*/ 95155 h 334834"/>
                      <a:gd name="connsiteX501" fmla="*/ 202159 w 334956"/>
                      <a:gd name="connsiteY501" fmla="*/ 106499 h 334834"/>
                      <a:gd name="connsiteX502" fmla="*/ 145456 w 334956"/>
                      <a:gd name="connsiteY502" fmla="*/ 106251 h 334834"/>
                      <a:gd name="connsiteX503" fmla="*/ 139789 w 334956"/>
                      <a:gd name="connsiteY503" fmla="*/ 99346 h 334834"/>
                      <a:gd name="connsiteX504" fmla="*/ 144389 w 334956"/>
                      <a:gd name="connsiteY504" fmla="*/ 95402 h 334834"/>
                      <a:gd name="connsiteX505" fmla="*/ 145456 w 334956"/>
                      <a:gd name="connsiteY505" fmla="*/ 106251 h 334834"/>
                      <a:gd name="connsiteX506" fmla="*/ 37976 w 334956"/>
                      <a:gd name="connsiteY506" fmla="*/ 98031 h 334834"/>
                      <a:gd name="connsiteX507" fmla="*/ 41348 w 334956"/>
                      <a:gd name="connsiteY507" fmla="*/ 102137 h 334834"/>
                      <a:gd name="connsiteX508" fmla="*/ 40767 w 334956"/>
                      <a:gd name="connsiteY508" fmla="*/ 95726 h 334834"/>
                      <a:gd name="connsiteX509" fmla="*/ 37976 w 334956"/>
                      <a:gd name="connsiteY509" fmla="*/ 98031 h 334834"/>
                      <a:gd name="connsiteX510" fmla="*/ 243821 w 334956"/>
                      <a:gd name="connsiteY510" fmla="*/ 101898 h 334834"/>
                      <a:gd name="connsiteX511" fmla="*/ 250393 w 334956"/>
                      <a:gd name="connsiteY511" fmla="*/ 108880 h 334834"/>
                      <a:gd name="connsiteX512" fmla="*/ 248250 w 334956"/>
                      <a:gd name="connsiteY512" fmla="*/ 97869 h 334834"/>
                      <a:gd name="connsiteX513" fmla="*/ 243821 w 334956"/>
                      <a:gd name="connsiteY513" fmla="*/ 101898 h 334834"/>
                      <a:gd name="connsiteX514" fmla="*/ 71580 w 334956"/>
                      <a:gd name="connsiteY514" fmla="*/ 102146 h 334834"/>
                      <a:gd name="connsiteX515" fmla="*/ 77162 w 334956"/>
                      <a:gd name="connsiteY515" fmla="*/ 108556 h 334834"/>
                      <a:gd name="connsiteX516" fmla="*/ 76257 w 334956"/>
                      <a:gd name="connsiteY516" fmla="*/ 98203 h 334834"/>
                      <a:gd name="connsiteX517" fmla="*/ 71580 w 334956"/>
                      <a:gd name="connsiteY517" fmla="*/ 102146 h 334834"/>
                      <a:gd name="connsiteX518" fmla="*/ 122282 w 334956"/>
                      <a:gd name="connsiteY518" fmla="*/ 111014 h 334834"/>
                      <a:gd name="connsiteX519" fmla="*/ 117357 w 334956"/>
                      <a:gd name="connsiteY519" fmla="*/ 105918 h 334834"/>
                      <a:gd name="connsiteX520" fmla="*/ 117767 w 334956"/>
                      <a:gd name="connsiteY520" fmla="*/ 101727 h 334834"/>
                      <a:gd name="connsiteX521" fmla="*/ 123434 w 334956"/>
                      <a:gd name="connsiteY521" fmla="*/ 99584 h 334834"/>
                      <a:gd name="connsiteX522" fmla="*/ 122282 w 334956"/>
                      <a:gd name="connsiteY522" fmla="*/ 111014 h 334834"/>
                      <a:gd name="connsiteX523" fmla="*/ 181365 w 334956"/>
                      <a:gd name="connsiteY523" fmla="*/ 110280 h 334834"/>
                      <a:gd name="connsiteX524" fmla="*/ 175784 w 334956"/>
                      <a:gd name="connsiteY524" fmla="*/ 103794 h 334834"/>
                      <a:gd name="connsiteX525" fmla="*/ 179975 w 334956"/>
                      <a:gd name="connsiteY525" fmla="*/ 100184 h 334834"/>
                      <a:gd name="connsiteX526" fmla="*/ 181365 w 334956"/>
                      <a:gd name="connsiteY526" fmla="*/ 110280 h 334834"/>
                      <a:gd name="connsiteX527" fmla="*/ 304552 w 334956"/>
                      <a:gd name="connsiteY527" fmla="*/ 102556 h 334834"/>
                      <a:gd name="connsiteX528" fmla="*/ 307267 w 334956"/>
                      <a:gd name="connsiteY528" fmla="*/ 105927 h 334834"/>
                      <a:gd name="connsiteX529" fmla="*/ 306448 w 334956"/>
                      <a:gd name="connsiteY529" fmla="*/ 100832 h 334834"/>
                      <a:gd name="connsiteX530" fmla="*/ 304552 w 334956"/>
                      <a:gd name="connsiteY530" fmla="*/ 102556 h 334834"/>
                      <a:gd name="connsiteX531" fmla="*/ 17097 w 334956"/>
                      <a:gd name="connsiteY531" fmla="*/ 103051 h 334834"/>
                      <a:gd name="connsiteX532" fmla="*/ 18659 w 334956"/>
                      <a:gd name="connsiteY532" fmla="*/ 105194 h 334834"/>
                      <a:gd name="connsiteX533" fmla="*/ 20717 w 334956"/>
                      <a:gd name="connsiteY533" fmla="*/ 103137 h 334834"/>
                      <a:gd name="connsiteX534" fmla="*/ 18659 w 334956"/>
                      <a:gd name="connsiteY534" fmla="*/ 101574 h 334834"/>
                      <a:gd name="connsiteX535" fmla="*/ 17097 w 334956"/>
                      <a:gd name="connsiteY535" fmla="*/ 103051 h 334834"/>
                      <a:gd name="connsiteX536" fmla="*/ 50301 w 334956"/>
                      <a:gd name="connsiteY536" fmla="*/ 106747 h 334834"/>
                      <a:gd name="connsiteX537" fmla="*/ 55473 w 334956"/>
                      <a:gd name="connsiteY537" fmla="*/ 111919 h 334834"/>
                      <a:gd name="connsiteX538" fmla="*/ 53749 w 334956"/>
                      <a:gd name="connsiteY538" fmla="*/ 103622 h 334834"/>
                      <a:gd name="connsiteX539" fmla="*/ 50301 w 334956"/>
                      <a:gd name="connsiteY539" fmla="*/ 106747 h 334834"/>
                      <a:gd name="connsiteX540" fmla="*/ 280797 w 334956"/>
                      <a:gd name="connsiteY540" fmla="*/ 106823 h 334834"/>
                      <a:gd name="connsiteX541" fmla="*/ 285397 w 334956"/>
                      <a:gd name="connsiteY541" fmla="*/ 111842 h 334834"/>
                      <a:gd name="connsiteX542" fmla="*/ 283997 w 334956"/>
                      <a:gd name="connsiteY542" fmla="*/ 103784 h 334834"/>
                      <a:gd name="connsiteX543" fmla="*/ 280797 w 334956"/>
                      <a:gd name="connsiteY543" fmla="*/ 106823 h 334834"/>
                      <a:gd name="connsiteX544" fmla="*/ 215960 w 334956"/>
                      <a:gd name="connsiteY544" fmla="*/ 115452 h 334834"/>
                      <a:gd name="connsiteX545" fmla="*/ 211360 w 334956"/>
                      <a:gd name="connsiteY545" fmla="*/ 106823 h 334834"/>
                      <a:gd name="connsiteX546" fmla="*/ 216617 w 334956"/>
                      <a:gd name="connsiteY546" fmla="*/ 104032 h 334834"/>
                      <a:gd name="connsiteX547" fmla="*/ 215960 w 334956"/>
                      <a:gd name="connsiteY547" fmla="*/ 115452 h 334834"/>
                      <a:gd name="connsiteX548" fmla="*/ 158687 w 334956"/>
                      <a:gd name="connsiteY548" fmla="*/ 114471 h 334834"/>
                      <a:gd name="connsiteX549" fmla="*/ 153762 w 334956"/>
                      <a:gd name="connsiteY549" fmla="*/ 108471 h 334834"/>
                      <a:gd name="connsiteX550" fmla="*/ 158029 w 334956"/>
                      <a:gd name="connsiteY550" fmla="*/ 104851 h 334834"/>
                      <a:gd name="connsiteX551" fmla="*/ 158687 w 334956"/>
                      <a:gd name="connsiteY551" fmla="*/ 114471 h 334834"/>
                      <a:gd name="connsiteX552" fmla="*/ 257461 w 334956"/>
                      <a:gd name="connsiteY552" fmla="*/ 110690 h 334834"/>
                      <a:gd name="connsiteX553" fmla="*/ 263128 w 334956"/>
                      <a:gd name="connsiteY553" fmla="*/ 117586 h 334834"/>
                      <a:gd name="connsiteX554" fmla="*/ 262223 w 334956"/>
                      <a:gd name="connsiteY554" fmla="*/ 106985 h 334834"/>
                      <a:gd name="connsiteX555" fmla="*/ 257461 w 334956"/>
                      <a:gd name="connsiteY555" fmla="*/ 110690 h 334834"/>
                      <a:gd name="connsiteX556" fmla="*/ 29337 w 334956"/>
                      <a:gd name="connsiteY556" fmla="*/ 111185 h 334834"/>
                      <a:gd name="connsiteX557" fmla="*/ 32623 w 334956"/>
                      <a:gd name="connsiteY557" fmla="*/ 115300 h 334834"/>
                      <a:gd name="connsiteX558" fmla="*/ 32128 w 334956"/>
                      <a:gd name="connsiteY558" fmla="*/ 109137 h 334834"/>
                      <a:gd name="connsiteX559" fmla="*/ 29337 w 334956"/>
                      <a:gd name="connsiteY559" fmla="*/ 111185 h 334834"/>
                      <a:gd name="connsiteX560" fmla="*/ 137074 w 334956"/>
                      <a:gd name="connsiteY560" fmla="*/ 119072 h 334834"/>
                      <a:gd name="connsiteX561" fmla="*/ 131235 w 334956"/>
                      <a:gd name="connsiteY561" fmla="*/ 112909 h 334834"/>
                      <a:gd name="connsiteX562" fmla="*/ 135350 w 334956"/>
                      <a:gd name="connsiteY562" fmla="*/ 109128 h 334834"/>
                      <a:gd name="connsiteX563" fmla="*/ 137074 w 334956"/>
                      <a:gd name="connsiteY563" fmla="*/ 119072 h 334834"/>
                      <a:gd name="connsiteX564" fmla="*/ 195091 w 334956"/>
                      <a:gd name="connsiteY564" fmla="*/ 118900 h 334834"/>
                      <a:gd name="connsiteX565" fmla="*/ 189338 w 334956"/>
                      <a:gd name="connsiteY565" fmla="*/ 112900 h 334834"/>
                      <a:gd name="connsiteX566" fmla="*/ 193529 w 334956"/>
                      <a:gd name="connsiteY566" fmla="*/ 109290 h 334834"/>
                      <a:gd name="connsiteX567" fmla="*/ 195091 w 334956"/>
                      <a:gd name="connsiteY567" fmla="*/ 118900 h 334834"/>
                      <a:gd name="connsiteX568" fmla="*/ 318516 w 334956"/>
                      <a:gd name="connsiteY568" fmla="*/ 111919 h 334834"/>
                      <a:gd name="connsiteX569" fmla="*/ 319916 w 334956"/>
                      <a:gd name="connsiteY569" fmla="*/ 113976 h 334834"/>
                      <a:gd name="connsiteX570" fmla="*/ 321964 w 334956"/>
                      <a:gd name="connsiteY570" fmla="*/ 111757 h 334834"/>
                      <a:gd name="connsiteX571" fmla="*/ 319992 w 334956"/>
                      <a:gd name="connsiteY571" fmla="*/ 110442 h 334834"/>
                      <a:gd name="connsiteX572" fmla="*/ 318516 w 334956"/>
                      <a:gd name="connsiteY572" fmla="*/ 111919 h 334834"/>
                      <a:gd name="connsiteX573" fmla="*/ 62951 w 334956"/>
                      <a:gd name="connsiteY573" fmla="*/ 114795 h 334834"/>
                      <a:gd name="connsiteX574" fmla="*/ 68123 w 334956"/>
                      <a:gd name="connsiteY574" fmla="*/ 121863 h 334834"/>
                      <a:gd name="connsiteX575" fmla="*/ 67627 w 334956"/>
                      <a:gd name="connsiteY575" fmla="*/ 111509 h 334834"/>
                      <a:gd name="connsiteX576" fmla="*/ 62951 w 334956"/>
                      <a:gd name="connsiteY576" fmla="*/ 114795 h 334834"/>
                      <a:gd name="connsiteX577" fmla="*/ 235029 w 334956"/>
                      <a:gd name="connsiteY577" fmla="*/ 118005 h 334834"/>
                      <a:gd name="connsiteX578" fmla="*/ 235363 w 334956"/>
                      <a:gd name="connsiteY578" fmla="*/ 120967 h 334834"/>
                      <a:gd name="connsiteX579" fmla="*/ 228705 w 334956"/>
                      <a:gd name="connsiteY579" fmla="*/ 124501 h 334834"/>
                      <a:gd name="connsiteX580" fmla="*/ 225257 w 334956"/>
                      <a:gd name="connsiteY580" fmla="*/ 114643 h 334834"/>
                      <a:gd name="connsiteX581" fmla="*/ 230762 w 334956"/>
                      <a:gd name="connsiteY581" fmla="*/ 112757 h 334834"/>
                      <a:gd name="connsiteX582" fmla="*/ 235029 w 334956"/>
                      <a:gd name="connsiteY582" fmla="*/ 118005 h 334834"/>
                      <a:gd name="connsiteX583" fmla="*/ 114881 w 334956"/>
                      <a:gd name="connsiteY583" fmla="*/ 124168 h 334834"/>
                      <a:gd name="connsiteX584" fmla="*/ 108633 w 334956"/>
                      <a:gd name="connsiteY584" fmla="*/ 116367 h 334834"/>
                      <a:gd name="connsiteX585" fmla="*/ 113814 w 334956"/>
                      <a:gd name="connsiteY585" fmla="*/ 113081 h 334834"/>
                      <a:gd name="connsiteX586" fmla="*/ 114881 w 334956"/>
                      <a:gd name="connsiteY586" fmla="*/ 124168 h 334834"/>
                      <a:gd name="connsiteX587" fmla="*/ 294608 w 334956"/>
                      <a:gd name="connsiteY587" fmla="*/ 115948 h 334834"/>
                      <a:gd name="connsiteX588" fmla="*/ 298552 w 334956"/>
                      <a:gd name="connsiteY588" fmla="*/ 120139 h 334834"/>
                      <a:gd name="connsiteX589" fmla="*/ 297561 w 334956"/>
                      <a:gd name="connsiteY589" fmla="*/ 113157 h 334834"/>
                      <a:gd name="connsiteX590" fmla="*/ 294608 w 334956"/>
                      <a:gd name="connsiteY590" fmla="*/ 115948 h 334834"/>
                      <a:gd name="connsiteX591" fmla="*/ 172983 w 334956"/>
                      <a:gd name="connsiteY591" fmla="*/ 122691 h 334834"/>
                      <a:gd name="connsiteX592" fmla="*/ 167640 w 334956"/>
                      <a:gd name="connsiteY592" fmla="*/ 117434 h 334834"/>
                      <a:gd name="connsiteX593" fmla="*/ 171012 w 334956"/>
                      <a:gd name="connsiteY593" fmla="*/ 114309 h 334834"/>
                      <a:gd name="connsiteX594" fmla="*/ 172983 w 334956"/>
                      <a:gd name="connsiteY594" fmla="*/ 122691 h 334834"/>
                      <a:gd name="connsiteX595" fmla="*/ 8553 w 334956"/>
                      <a:gd name="connsiteY595" fmla="*/ 116443 h 334834"/>
                      <a:gd name="connsiteX596" fmla="*/ 10115 w 334956"/>
                      <a:gd name="connsiteY596" fmla="*/ 118091 h 334834"/>
                      <a:gd name="connsiteX597" fmla="*/ 11268 w 334956"/>
                      <a:gd name="connsiteY597" fmla="*/ 117024 h 334834"/>
                      <a:gd name="connsiteX598" fmla="*/ 11344 w 334956"/>
                      <a:gd name="connsiteY598" fmla="*/ 116281 h 334834"/>
                      <a:gd name="connsiteX599" fmla="*/ 9792 w 334956"/>
                      <a:gd name="connsiteY599" fmla="*/ 115214 h 334834"/>
                      <a:gd name="connsiteX600" fmla="*/ 8553 w 334956"/>
                      <a:gd name="connsiteY600" fmla="*/ 116443 h 334834"/>
                      <a:gd name="connsiteX601" fmla="*/ 271100 w 334956"/>
                      <a:gd name="connsiteY601" fmla="*/ 119815 h 334834"/>
                      <a:gd name="connsiteX602" fmla="*/ 276520 w 334956"/>
                      <a:gd name="connsiteY602" fmla="*/ 125968 h 334834"/>
                      <a:gd name="connsiteX603" fmla="*/ 275129 w 334956"/>
                      <a:gd name="connsiteY603" fmla="*/ 116272 h 334834"/>
                      <a:gd name="connsiteX604" fmla="*/ 271100 w 334956"/>
                      <a:gd name="connsiteY604" fmla="*/ 119815 h 334834"/>
                      <a:gd name="connsiteX605" fmla="*/ 41662 w 334956"/>
                      <a:gd name="connsiteY605" fmla="*/ 119815 h 334834"/>
                      <a:gd name="connsiteX606" fmla="*/ 46187 w 334956"/>
                      <a:gd name="connsiteY606" fmla="*/ 125158 h 334834"/>
                      <a:gd name="connsiteX607" fmla="*/ 44958 w 334956"/>
                      <a:gd name="connsiteY607" fmla="*/ 117024 h 334834"/>
                      <a:gd name="connsiteX608" fmla="*/ 41662 w 334956"/>
                      <a:gd name="connsiteY608" fmla="*/ 119815 h 334834"/>
                      <a:gd name="connsiteX609" fmla="*/ 207826 w 334956"/>
                      <a:gd name="connsiteY609" fmla="*/ 127949 h 334834"/>
                      <a:gd name="connsiteX610" fmla="*/ 202730 w 334956"/>
                      <a:gd name="connsiteY610" fmla="*/ 121787 h 334834"/>
                      <a:gd name="connsiteX611" fmla="*/ 207083 w 334956"/>
                      <a:gd name="connsiteY611" fmla="*/ 118167 h 334834"/>
                      <a:gd name="connsiteX612" fmla="*/ 207826 w 334956"/>
                      <a:gd name="connsiteY612" fmla="*/ 127949 h 334834"/>
                      <a:gd name="connsiteX613" fmla="*/ 150143 w 334956"/>
                      <a:gd name="connsiteY613" fmla="*/ 127206 h 334834"/>
                      <a:gd name="connsiteX614" fmla="*/ 145456 w 334956"/>
                      <a:gd name="connsiteY614" fmla="*/ 121787 h 334834"/>
                      <a:gd name="connsiteX615" fmla="*/ 149323 w 334956"/>
                      <a:gd name="connsiteY615" fmla="*/ 118748 h 334834"/>
                      <a:gd name="connsiteX616" fmla="*/ 150143 w 334956"/>
                      <a:gd name="connsiteY616" fmla="*/ 127206 h 334834"/>
                      <a:gd name="connsiteX617" fmla="*/ 75933 w 334956"/>
                      <a:gd name="connsiteY617" fmla="*/ 122606 h 334834"/>
                      <a:gd name="connsiteX618" fmla="*/ 78886 w 334956"/>
                      <a:gd name="connsiteY618" fmla="*/ 131235 h 334834"/>
                      <a:gd name="connsiteX619" fmla="*/ 87020 w 334956"/>
                      <a:gd name="connsiteY619" fmla="*/ 129016 h 334834"/>
                      <a:gd name="connsiteX620" fmla="*/ 86611 w 334956"/>
                      <a:gd name="connsiteY620" fmla="*/ 125816 h 334834"/>
                      <a:gd name="connsiteX621" fmla="*/ 81267 w 334956"/>
                      <a:gd name="connsiteY621" fmla="*/ 119653 h 334834"/>
                      <a:gd name="connsiteX622" fmla="*/ 75933 w 334956"/>
                      <a:gd name="connsiteY622" fmla="*/ 122606 h 334834"/>
                      <a:gd name="connsiteX623" fmla="*/ 248831 w 334956"/>
                      <a:gd name="connsiteY623" fmla="*/ 121291 h 334834"/>
                      <a:gd name="connsiteX624" fmla="*/ 249812 w 334956"/>
                      <a:gd name="connsiteY624" fmla="*/ 131312 h 334834"/>
                      <a:gd name="connsiteX625" fmla="*/ 253594 w 334956"/>
                      <a:gd name="connsiteY625" fmla="*/ 131235 h 334834"/>
                      <a:gd name="connsiteX626" fmla="*/ 259185 w 334956"/>
                      <a:gd name="connsiteY626" fmla="*/ 128025 h 334834"/>
                      <a:gd name="connsiteX627" fmla="*/ 253679 w 334956"/>
                      <a:gd name="connsiteY627" fmla="*/ 119729 h 334834"/>
                      <a:gd name="connsiteX628" fmla="*/ 248831 w 334956"/>
                      <a:gd name="connsiteY628" fmla="*/ 121291 h 334834"/>
                      <a:gd name="connsiteX629" fmla="*/ 308905 w 334956"/>
                      <a:gd name="connsiteY629" fmla="*/ 124168 h 334834"/>
                      <a:gd name="connsiteX630" fmla="*/ 312106 w 334956"/>
                      <a:gd name="connsiteY630" fmla="*/ 128273 h 334834"/>
                      <a:gd name="connsiteX631" fmla="*/ 310953 w 334956"/>
                      <a:gd name="connsiteY631" fmla="*/ 122682 h 334834"/>
                      <a:gd name="connsiteX632" fmla="*/ 308905 w 334956"/>
                      <a:gd name="connsiteY632" fmla="*/ 124168 h 334834"/>
                      <a:gd name="connsiteX633" fmla="*/ 20717 w 334956"/>
                      <a:gd name="connsiteY633" fmla="*/ 124577 h 334834"/>
                      <a:gd name="connsiteX634" fmla="*/ 23755 w 334956"/>
                      <a:gd name="connsiteY634" fmla="*/ 128273 h 334834"/>
                      <a:gd name="connsiteX635" fmla="*/ 22765 w 334956"/>
                      <a:gd name="connsiteY635" fmla="*/ 122768 h 334834"/>
                      <a:gd name="connsiteX636" fmla="*/ 20717 w 334956"/>
                      <a:gd name="connsiteY636" fmla="*/ 124577 h 334834"/>
                      <a:gd name="connsiteX637" fmla="*/ 128606 w 334956"/>
                      <a:gd name="connsiteY637" fmla="*/ 132055 h 334834"/>
                      <a:gd name="connsiteX638" fmla="*/ 122520 w 334956"/>
                      <a:gd name="connsiteY638" fmla="*/ 126625 h 334834"/>
                      <a:gd name="connsiteX639" fmla="*/ 126301 w 334956"/>
                      <a:gd name="connsiteY639" fmla="*/ 122758 h 334834"/>
                      <a:gd name="connsiteX640" fmla="*/ 128606 w 334956"/>
                      <a:gd name="connsiteY640" fmla="*/ 132055 h 334834"/>
                      <a:gd name="connsiteX641" fmla="*/ 185395 w 334956"/>
                      <a:gd name="connsiteY641" fmla="*/ 131397 h 334834"/>
                      <a:gd name="connsiteX642" fmla="*/ 181451 w 334956"/>
                      <a:gd name="connsiteY642" fmla="*/ 126216 h 334834"/>
                      <a:gd name="connsiteX643" fmla="*/ 184823 w 334956"/>
                      <a:gd name="connsiteY643" fmla="*/ 123511 h 334834"/>
                      <a:gd name="connsiteX644" fmla="*/ 185395 w 334956"/>
                      <a:gd name="connsiteY644" fmla="*/ 131397 h 334834"/>
                      <a:gd name="connsiteX645" fmla="*/ 53997 w 334956"/>
                      <a:gd name="connsiteY645" fmla="*/ 128930 h 334834"/>
                      <a:gd name="connsiteX646" fmla="*/ 60245 w 334956"/>
                      <a:gd name="connsiteY646" fmla="*/ 134760 h 334834"/>
                      <a:gd name="connsiteX647" fmla="*/ 58026 w 334956"/>
                      <a:gd name="connsiteY647" fmla="*/ 125063 h 334834"/>
                      <a:gd name="connsiteX648" fmla="*/ 53997 w 334956"/>
                      <a:gd name="connsiteY648" fmla="*/ 128930 h 334834"/>
                      <a:gd name="connsiteX649" fmla="*/ 284988 w 334956"/>
                      <a:gd name="connsiteY649" fmla="*/ 128854 h 334834"/>
                      <a:gd name="connsiteX650" fmla="*/ 290246 w 334956"/>
                      <a:gd name="connsiteY650" fmla="*/ 134198 h 334834"/>
                      <a:gd name="connsiteX651" fmla="*/ 288445 w 334956"/>
                      <a:gd name="connsiteY651" fmla="*/ 125654 h 334834"/>
                      <a:gd name="connsiteX652" fmla="*/ 284988 w 334956"/>
                      <a:gd name="connsiteY652" fmla="*/ 128854 h 334834"/>
                      <a:gd name="connsiteX653" fmla="*/ 105680 w 334956"/>
                      <a:gd name="connsiteY653" fmla="*/ 137560 h 334834"/>
                      <a:gd name="connsiteX654" fmla="*/ 99603 w 334956"/>
                      <a:gd name="connsiteY654" fmla="*/ 130169 h 334834"/>
                      <a:gd name="connsiteX655" fmla="*/ 104451 w 334956"/>
                      <a:gd name="connsiteY655" fmla="*/ 126473 h 334834"/>
                      <a:gd name="connsiteX656" fmla="*/ 105680 w 334956"/>
                      <a:gd name="connsiteY656" fmla="*/ 137560 h 334834"/>
                      <a:gd name="connsiteX657" fmla="*/ 221551 w 334956"/>
                      <a:gd name="connsiteY657" fmla="*/ 137065 h 334834"/>
                      <a:gd name="connsiteX658" fmla="*/ 215884 w 334956"/>
                      <a:gd name="connsiteY658" fmla="*/ 130654 h 334834"/>
                      <a:gd name="connsiteX659" fmla="*/ 220075 w 334956"/>
                      <a:gd name="connsiteY659" fmla="*/ 126873 h 334834"/>
                      <a:gd name="connsiteX660" fmla="*/ 221551 w 334956"/>
                      <a:gd name="connsiteY660" fmla="*/ 137065 h 334834"/>
                      <a:gd name="connsiteX661" fmla="*/ 163201 w 334956"/>
                      <a:gd name="connsiteY661" fmla="*/ 135341 h 334834"/>
                      <a:gd name="connsiteX662" fmla="*/ 159506 w 334956"/>
                      <a:gd name="connsiteY662" fmla="*/ 130988 h 334834"/>
                      <a:gd name="connsiteX663" fmla="*/ 162382 w 334956"/>
                      <a:gd name="connsiteY663" fmla="*/ 128435 h 334834"/>
                      <a:gd name="connsiteX664" fmla="*/ 163201 w 334956"/>
                      <a:gd name="connsiteY664" fmla="*/ 135341 h 334834"/>
                      <a:gd name="connsiteX665" fmla="*/ 261652 w 334956"/>
                      <a:gd name="connsiteY665" fmla="*/ 132636 h 334834"/>
                      <a:gd name="connsiteX666" fmla="*/ 267490 w 334956"/>
                      <a:gd name="connsiteY666" fmla="*/ 139941 h 334834"/>
                      <a:gd name="connsiteX667" fmla="*/ 266338 w 334956"/>
                      <a:gd name="connsiteY667" fmla="*/ 128854 h 334834"/>
                      <a:gd name="connsiteX668" fmla="*/ 261652 w 334956"/>
                      <a:gd name="connsiteY668" fmla="*/ 132636 h 334834"/>
                      <a:gd name="connsiteX669" fmla="*/ 32956 w 334956"/>
                      <a:gd name="connsiteY669" fmla="*/ 133617 h 334834"/>
                      <a:gd name="connsiteX670" fmla="*/ 37147 w 334956"/>
                      <a:gd name="connsiteY670" fmla="*/ 138141 h 334834"/>
                      <a:gd name="connsiteX671" fmla="*/ 36328 w 334956"/>
                      <a:gd name="connsiteY671" fmla="*/ 130578 h 334834"/>
                      <a:gd name="connsiteX672" fmla="*/ 32956 w 334956"/>
                      <a:gd name="connsiteY672" fmla="*/ 133617 h 334834"/>
                      <a:gd name="connsiteX673" fmla="*/ 199368 w 334956"/>
                      <a:gd name="connsiteY673" fmla="*/ 140275 h 334834"/>
                      <a:gd name="connsiteX674" fmla="*/ 194767 w 334956"/>
                      <a:gd name="connsiteY674" fmla="*/ 135341 h 334834"/>
                      <a:gd name="connsiteX675" fmla="*/ 197968 w 334956"/>
                      <a:gd name="connsiteY675" fmla="*/ 132464 h 334834"/>
                      <a:gd name="connsiteX676" fmla="*/ 199368 w 334956"/>
                      <a:gd name="connsiteY676" fmla="*/ 140275 h 334834"/>
                      <a:gd name="connsiteX677" fmla="*/ 324517 w 334956"/>
                      <a:gd name="connsiteY677" fmla="*/ 136331 h 334834"/>
                      <a:gd name="connsiteX678" fmla="*/ 324193 w 334956"/>
                      <a:gd name="connsiteY678" fmla="*/ 132464 h 334834"/>
                      <a:gd name="connsiteX679" fmla="*/ 324517 w 334956"/>
                      <a:gd name="connsiteY679" fmla="*/ 136331 h 334834"/>
                      <a:gd name="connsiteX680" fmla="*/ 141351 w 334956"/>
                      <a:gd name="connsiteY680" fmla="*/ 140113 h 334834"/>
                      <a:gd name="connsiteX681" fmla="*/ 136827 w 334956"/>
                      <a:gd name="connsiteY681" fmla="*/ 135512 h 334834"/>
                      <a:gd name="connsiteX682" fmla="*/ 140198 w 334956"/>
                      <a:gd name="connsiteY682" fmla="*/ 132550 h 334834"/>
                      <a:gd name="connsiteX683" fmla="*/ 141351 w 334956"/>
                      <a:gd name="connsiteY683" fmla="*/ 140113 h 334834"/>
                      <a:gd name="connsiteX684" fmla="*/ 66732 w 334956"/>
                      <a:gd name="connsiteY684" fmla="*/ 136903 h 334834"/>
                      <a:gd name="connsiteX685" fmla="*/ 70837 w 334956"/>
                      <a:gd name="connsiteY685" fmla="*/ 144456 h 334834"/>
                      <a:gd name="connsiteX686" fmla="*/ 73790 w 334956"/>
                      <a:gd name="connsiteY686" fmla="*/ 144132 h 334834"/>
                      <a:gd name="connsiteX687" fmla="*/ 77571 w 334956"/>
                      <a:gd name="connsiteY687" fmla="*/ 138217 h 334834"/>
                      <a:gd name="connsiteX688" fmla="*/ 71733 w 334956"/>
                      <a:gd name="connsiteY688" fmla="*/ 133036 h 334834"/>
                      <a:gd name="connsiteX689" fmla="*/ 66732 w 334956"/>
                      <a:gd name="connsiteY689" fmla="*/ 136903 h 334834"/>
                      <a:gd name="connsiteX690" fmla="*/ 298961 w 334956"/>
                      <a:gd name="connsiteY690" fmla="*/ 137808 h 334834"/>
                      <a:gd name="connsiteX691" fmla="*/ 303238 w 334956"/>
                      <a:gd name="connsiteY691" fmla="*/ 142408 h 334834"/>
                      <a:gd name="connsiteX692" fmla="*/ 302333 w 334956"/>
                      <a:gd name="connsiteY692" fmla="*/ 135169 h 334834"/>
                      <a:gd name="connsiteX693" fmla="*/ 298961 w 334956"/>
                      <a:gd name="connsiteY693" fmla="*/ 137808 h 334834"/>
                      <a:gd name="connsiteX694" fmla="*/ 234858 w 334956"/>
                      <a:gd name="connsiteY694" fmla="*/ 146437 h 334834"/>
                      <a:gd name="connsiteX695" fmla="*/ 228781 w 334956"/>
                      <a:gd name="connsiteY695" fmla="*/ 139455 h 334834"/>
                      <a:gd name="connsiteX696" fmla="*/ 233629 w 334956"/>
                      <a:gd name="connsiteY696" fmla="*/ 135350 h 334834"/>
                      <a:gd name="connsiteX697" fmla="*/ 234858 w 334956"/>
                      <a:gd name="connsiteY697" fmla="*/ 146437 h 334834"/>
                      <a:gd name="connsiteX698" fmla="*/ 118748 w 334956"/>
                      <a:gd name="connsiteY698" fmla="*/ 145532 h 334834"/>
                      <a:gd name="connsiteX699" fmla="*/ 113652 w 334956"/>
                      <a:gd name="connsiteY699" fmla="*/ 139941 h 334834"/>
                      <a:gd name="connsiteX700" fmla="*/ 117843 w 334956"/>
                      <a:gd name="connsiteY700" fmla="*/ 136160 h 334834"/>
                      <a:gd name="connsiteX701" fmla="*/ 118748 w 334956"/>
                      <a:gd name="connsiteY701" fmla="*/ 145532 h 334834"/>
                      <a:gd name="connsiteX702" fmla="*/ 14964 w 334956"/>
                      <a:gd name="connsiteY702" fmla="*/ 141094 h 334834"/>
                      <a:gd name="connsiteX703" fmla="*/ 14392 w 334956"/>
                      <a:gd name="connsiteY703" fmla="*/ 136493 h 334834"/>
                      <a:gd name="connsiteX704" fmla="*/ 14964 w 334956"/>
                      <a:gd name="connsiteY704" fmla="*/ 141094 h 334834"/>
                      <a:gd name="connsiteX705" fmla="*/ 176927 w 334956"/>
                      <a:gd name="connsiteY705" fmla="*/ 143637 h 334834"/>
                      <a:gd name="connsiteX706" fmla="*/ 173641 w 334956"/>
                      <a:gd name="connsiteY706" fmla="*/ 139608 h 334834"/>
                      <a:gd name="connsiteX707" fmla="*/ 175860 w 334956"/>
                      <a:gd name="connsiteY707" fmla="*/ 137884 h 334834"/>
                      <a:gd name="connsiteX708" fmla="*/ 176927 w 334956"/>
                      <a:gd name="connsiteY708" fmla="*/ 143637 h 334834"/>
                      <a:gd name="connsiteX709" fmla="*/ 275453 w 334956"/>
                      <a:gd name="connsiteY709" fmla="*/ 141751 h 334834"/>
                      <a:gd name="connsiteX710" fmla="*/ 281121 w 334956"/>
                      <a:gd name="connsiteY710" fmla="*/ 148161 h 334834"/>
                      <a:gd name="connsiteX711" fmla="*/ 279397 w 334956"/>
                      <a:gd name="connsiteY711" fmla="*/ 138303 h 334834"/>
                      <a:gd name="connsiteX712" fmla="*/ 275453 w 334956"/>
                      <a:gd name="connsiteY712" fmla="*/ 141751 h 334834"/>
                      <a:gd name="connsiteX713" fmla="*/ 45444 w 334956"/>
                      <a:gd name="connsiteY713" fmla="*/ 142084 h 334834"/>
                      <a:gd name="connsiteX714" fmla="*/ 50702 w 334956"/>
                      <a:gd name="connsiteY714" fmla="*/ 147914 h 334834"/>
                      <a:gd name="connsiteX715" fmla="*/ 49311 w 334956"/>
                      <a:gd name="connsiteY715" fmla="*/ 138627 h 334834"/>
                      <a:gd name="connsiteX716" fmla="*/ 45444 w 334956"/>
                      <a:gd name="connsiteY716" fmla="*/ 142084 h 334834"/>
                      <a:gd name="connsiteX717" fmla="*/ 96641 w 334956"/>
                      <a:gd name="connsiteY717" fmla="*/ 151124 h 334834"/>
                      <a:gd name="connsiteX718" fmla="*/ 90811 w 334956"/>
                      <a:gd name="connsiteY718" fmla="*/ 146190 h 334834"/>
                      <a:gd name="connsiteX719" fmla="*/ 90564 w 334956"/>
                      <a:gd name="connsiteY719" fmla="*/ 143065 h 334834"/>
                      <a:gd name="connsiteX720" fmla="*/ 96069 w 334956"/>
                      <a:gd name="connsiteY720" fmla="*/ 139694 h 334834"/>
                      <a:gd name="connsiteX721" fmla="*/ 96641 w 334956"/>
                      <a:gd name="connsiteY721" fmla="*/ 151124 h 334834"/>
                      <a:gd name="connsiteX722" fmla="*/ 212512 w 334956"/>
                      <a:gd name="connsiteY722" fmla="*/ 149638 h 334834"/>
                      <a:gd name="connsiteX723" fmla="*/ 207826 w 334956"/>
                      <a:gd name="connsiteY723" fmla="*/ 143970 h 334834"/>
                      <a:gd name="connsiteX724" fmla="*/ 211274 w 334956"/>
                      <a:gd name="connsiteY724" fmla="*/ 141008 h 334834"/>
                      <a:gd name="connsiteX725" fmla="*/ 212512 w 334956"/>
                      <a:gd name="connsiteY725" fmla="*/ 149638 h 334834"/>
                      <a:gd name="connsiteX726" fmla="*/ 154496 w 334956"/>
                      <a:gd name="connsiteY726" fmla="*/ 147999 h 334834"/>
                      <a:gd name="connsiteX727" fmla="*/ 151295 w 334956"/>
                      <a:gd name="connsiteY727" fmla="*/ 144389 h 334834"/>
                      <a:gd name="connsiteX728" fmla="*/ 153429 w 334956"/>
                      <a:gd name="connsiteY728" fmla="*/ 142494 h 334834"/>
                      <a:gd name="connsiteX729" fmla="*/ 154496 w 334956"/>
                      <a:gd name="connsiteY729" fmla="*/ 147999 h 334834"/>
                      <a:gd name="connsiteX730" fmla="*/ 250965 w 334956"/>
                      <a:gd name="connsiteY730" fmla="*/ 143808 h 334834"/>
                      <a:gd name="connsiteX731" fmla="*/ 253346 w 334956"/>
                      <a:gd name="connsiteY731" fmla="*/ 153343 h 334834"/>
                      <a:gd name="connsiteX732" fmla="*/ 249069 w 334956"/>
                      <a:gd name="connsiteY732" fmla="*/ 155238 h 334834"/>
                      <a:gd name="connsiteX733" fmla="*/ 241840 w 334956"/>
                      <a:gd name="connsiteY733" fmla="*/ 151371 h 334834"/>
                      <a:gd name="connsiteX734" fmla="*/ 241516 w 334956"/>
                      <a:gd name="connsiteY734" fmla="*/ 148580 h 334834"/>
                      <a:gd name="connsiteX735" fmla="*/ 249403 w 334956"/>
                      <a:gd name="connsiteY735" fmla="*/ 143646 h 334834"/>
                      <a:gd name="connsiteX736" fmla="*/ 250965 w 334956"/>
                      <a:gd name="connsiteY736" fmla="*/ 143808 h 334834"/>
                      <a:gd name="connsiteX737" fmla="*/ 24498 w 334956"/>
                      <a:gd name="connsiteY737" fmla="*/ 146933 h 334834"/>
                      <a:gd name="connsiteX738" fmla="*/ 28527 w 334956"/>
                      <a:gd name="connsiteY738" fmla="*/ 151038 h 334834"/>
                      <a:gd name="connsiteX739" fmla="*/ 27461 w 334956"/>
                      <a:gd name="connsiteY739" fmla="*/ 144304 h 334834"/>
                      <a:gd name="connsiteX740" fmla="*/ 24498 w 334956"/>
                      <a:gd name="connsiteY740" fmla="*/ 146933 h 334834"/>
                      <a:gd name="connsiteX741" fmla="*/ 313258 w 334956"/>
                      <a:gd name="connsiteY741" fmla="*/ 146437 h 334834"/>
                      <a:gd name="connsiteX742" fmla="*/ 316382 w 334956"/>
                      <a:gd name="connsiteY742" fmla="*/ 150466 h 334834"/>
                      <a:gd name="connsiteX743" fmla="*/ 315392 w 334956"/>
                      <a:gd name="connsiteY743" fmla="*/ 144875 h 334834"/>
                      <a:gd name="connsiteX744" fmla="*/ 313258 w 334956"/>
                      <a:gd name="connsiteY744" fmla="*/ 146437 h 334834"/>
                      <a:gd name="connsiteX745" fmla="*/ 132312 w 334956"/>
                      <a:gd name="connsiteY745" fmla="*/ 153505 h 334834"/>
                      <a:gd name="connsiteX746" fmla="*/ 127959 w 334956"/>
                      <a:gd name="connsiteY746" fmla="*/ 148904 h 334834"/>
                      <a:gd name="connsiteX747" fmla="*/ 131407 w 334956"/>
                      <a:gd name="connsiteY747" fmla="*/ 146028 h 334834"/>
                      <a:gd name="connsiteX748" fmla="*/ 132312 w 334956"/>
                      <a:gd name="connsiteY748" fmla="*/ 153505 h 334834"/>
                      <a:gd name="connsiteX749" fmla="*/ 58026 w 334956"/>
                      <a:gd name="connsiteY749" fmla="*/ 150704 h 334834"/>
                      <a:gd name="connsiteX750" fmla="*/ 64275 w 334956"/>
                      <a:gd name="connsiteY750" fmla="*/ 157524 h 334834"/>
                      <a:gd name="connsiteX751" fmla="*/ 62379 w 334956"/>
                      <a:gd name="connsiteY751" fmla="*/ 146675 h 334834"/>
                      <a:gd name="connsiteX752" fmla="*/ 58026 w 334956"/>
                      <a:gd name="connsiteY752" fmla="*/ 150704 h 334834"/>
                      <a:gd name="connsiteX753" fmla="*/ 190319 w 334956"/>
                      <a:gd name="connsiteY753" fmla="*/ 152600 h 334834"/>
                      <a:gd name="connsiteX754" fmla="*/ 186947 w 334956"/>
                      <a:gd name="connsiteY754" fmla="*/ 148657 h 334834"/>
                      <a:gd name="connsiteX755" fmla="*/ 189081 w 334956"/>
                      <a:gd name="connsiteY755" fmla="*/ 146847 h 334834"/>
                      <a:gd name="connsiteX756" fmla="*/ 190319 w 334956"/>
                      <a:gd name="connsiteY756" fmla="*/ 152600 h 334834"/>
                      <a:gd name="connsiteX757" fmla="*/ 289341 w 334956"/>
                      <a:gd name="connsiteY757" fmla="*/ 151124 h 334834"/>
                      <a:gd name="connsiteX758" fmla="*/ 294275 w 334956"/>
                      <a:gd name="connsiteY758" fmla="*/ 156381 h 334834"/>
                      <a:gd name="connsiteX759" fmla="*/ 292875 w 334956"/>
                      <a:gd name="connsiteY759" fmla="*/ 147837 h 334834"/>
                      <a:gd name="connsiteX760" fmla="*/ 289341 w 334956"/>
                      <a:gd name="connsiteY760" fmla="*/ 151124 h 334834"/>
                      <a:gd name="connsiteX761" fmla="*/ 110280 w 334956"/>
                      <a:gd name="connsiteY761" fmla="*/ 159096 h 334834"/>
                      <a:gd name="connsiteX762" fmla="*/ 104689 w 334956"/>
                      <a:gd name="connsiteY762" fmla="*/ 152686 h 334834"/>
                      <a:gd name="connsiteX763" fmla="*/ 108718 w 334956"/>
                      <a:gd name="connsiteY763" fmla="*/ 149314 h 334834"/>
                      <a:gd name="connsiteX764" fmla="*/ 110280 w 334956"/>
                      <a:gd name="connsiteY764" fmla="*/ 159096 h 334834"/>
                      <a:gd name="connsiteX765" fmla="*/ 226723 w 334956"/>
                      <a:gd name="connsiteY765" fmla="*/ 158925 h 334834"/>
                      <a:gd name="connsiteX766" fmla="*/ 220561 w 334956"/>
                      <a:gd name="connsiteY766" fmla="*/ 153086 h 334834"/>
                      <a:gd name="connsiteX767" fmla="*/ 224504 w 334956"/>
                      <a:gd name="connsiteY767" fmla="*/ 149390 h 334834"/>
                      <a:gd name="connsiteX768" fmla="*/ 226723 w 334956"/>
                      <a:gd name="connsiteY768" fmla="*/ 158925 h 334834"/>
                      <a:gd name="connsiteX769" fmla="*/ 3867 w 334956"/>
                      <a:gd name="connsiteY769" fmla="*/ 151857 h 334834"/>
                      <a:gd name="connsiteX770" fmla="*/ 5258 w 334956"/>
                      <a:gd name="connsiteY770" fmla="*/ 153753 h 334834"/>
                      <a:gd name="connsiteX771" fmla="*/ 7230 w 334956"/>
                      <a:gd name="connsiteY771" fmla="*/ 152276 h 334834"/>
                      <a:gd name="connsiteX772" fmla="*/ 5258 w 334956"/>
                      <a:gd name="connsiteY772" fmla="*/ 150390 h 334834"/>
                      <a:gd name="connsiteX773" fmla="*/ 3867 w 334956"/>
                      <a:gd name="connsiteY773" fmla="*/ 151857 h 334834"/>
                      <a:gd name="connsiteX774" fmla="*/ 266167 w 334956"/>
                      <a:gd name="connsiteY774" fmla="*/ 154248 h 334834"/>
                      <a:gd name="connsiteX775" fmla="*/ 272005 w 334956"/>
                      <a:gd name="connsiteY775" fmla="*/ 162058 h 334834"/>
                      <a:gd name="connsiteX776" fmla="*/ 271015 w 334956"/>
                      <a:gd name="connsiteY776" fmla="*/ 150962 h 334834"/>
                      <a:gd name="connsiteX777" fmla="*/ 266167 w 334956"/>
                      <a:gd name="connsiteY777" fmla="*/ 154248 h 334834"/>
                      <a:gd name="connsiteX778" fmla="*/ 36986 w 334956"/>
                      <a:gd name="connsiteY778" fmla="*/ 155391 h 334834"/>
                      <a:gd name="connsiteX779" fmla="*/ 41510 w 334956"/>
                      <a:gd name="connsiteY779" fmla="*/ 160820 h 334834"/>
                      <a:gd name="connsiteX780" fmla="*/ 40443 w 334956"/>
                      <a:gd name="connsiteY780" fmla="*/ 152276 h 334834"/>
                      <a:gd name="connsiteX781" fmla="*/ 36986 w 334956"/>
                      <a:gd name="connsiteY781" fmla="*/ 155391 h 334834"/>
                      <a:gd name="connsiteX782" fmla="*/ 169040 w 334956"/>
                      <a:gd name="connsiteY782" fmla="*/ 154000 h 334834"/>
                      <a:gd name="connsiteX783" fmla="*/ 167726 w 334956"/>
                      <a:gd name="connsiteY783" fmla="*/ 155724 h 334834"/>
                      <a:gd name="connsiteX784" fmla="*/ 166906 w 334956"/>
                      <a:gd name="connsiteY784" fmla="*/ 155810 h 334834"/>
                      <a:gd name="connsiteX785" fmla="*/ 165668 w 334956"/>
                      <a:gd name="connsiteY785" fmla="*/ 154495 h 334834"/>
                      <a:gd name="connsiteX786" fmla="*/ 167154 w 334956"/>
                      <a:gd name="connsiteY786" fmla="*/ 152438 h 334834"/>
                      <a:gd name="connsiteX787" fmla="*/ 169040 w 334956"/>
                      <a:gd name="connsiteY787" fmla="*/ 154000 h 334834"/>
                      <a:gd name="connsiteX788" fmla="*/ 89906 w 334956"/>
                      <a:gd name="connsiteY788" fmla="*/ 164020 h 334834"/>
                      <a:gd name="connsiteX789" fmla="*/ 82505 w 334956"/>
                      <a:gd name="connsiteY789" fmla="*/ 162706 h 334834"/>
                      <a:gd name="connsiteX790" fmla="*/ 81934 w 334956"/>
                      <a:gd name="connsiteY790" fmla="*/ 159506 h 334834"/>
                      <a:gd name="connsiteX791" fmla="*/ 81029 w 334956"/>
                      <a:gd name="connsiteY791" fmla="*/ 154486 h 334834"/>
                      <a:gd name="connsiteX792" fmla="*/ 87935 w 334956"/>
                      <a:gd name="connsiteY792" fmla="*/ 152848 h 334834"/>
                      <a:gd name="connsiteX793" fmla="*/ 89906 w 334956"/>
                      <a:gd name="connsiteY793" fmla="*/ 164020 h 334834"/>
                      <a:gd name="connsiteX794" fmla="*/ 327307 w 334956"/>
                      <a:gd name="connsiteY794" fmla="*/ 156381 h 334834"/>
                      <a:gd name="connsiteX795" fmla="*/ 330917 w 334956"/>
                      <a:gd name="connsiteY795" fmla="*/ 156134 h 334834"/>
                      <a:gd name="connsiteX796" fmla="*/ 329022 w 334956"/>
                      <a:gd name="connsiteY796" fmla="*/ 154657 h 334834"/>
                      <a:gd name="connsiteX797" fmla="*/ 327307 w 334956"/>
                      <a:gd name="connsiteY797" fmla="*/ 156381 h 334834"/>
                      <a:gd name="connsiteX798" fmla="*/ 203797 w 334956"/>
                      <a:gd name="connsiteY798" fmla="*/ 162134 h 334834"/>
                      <a:gd name="connsiteX799" fmla="*/ 199606 w 334956"/>
                      <a:gd name="connsiteY799" fmla="*/ 158029 h 334834"/>
                      <a:gd name="connsiteX800" fmla="*/ 202397 w 334956"/>
                      <a:gd name="connsiteY800" fmla="*/ 155229 h 334834"/>
                      <a:gd name="connsiteX801" fmla="*/ 203797 w 334956"/>
                      <a:gd name="connsiteY801" fmla="*/ 162134 h 334834"/>
                      <a:gd name="connsiteX802" fmla="*/ 145294 w 334956"/>
                      <a:gd name="connsiteY802" fmla="*/ 161392 h 334834"/>
                      <a:gd name="connsiteX803" fmla="*/ 142418 w 334956"/>
                      <a:gd name="connsiteY803" fmla="*/ 157934 h 334834"/>
                      <a:gd name="connsiteX804" fmla="*/ 144723 w 334956"/>
                      <a:gd name="connsiteY804" fmla="*/ 155962 h 334834"/>
                      <a:gd name="connsiteX805" fmla="*/ 145294 w 334956"/>
                      <a:gd name="connsiteY805" fmla="*/ 161392 h 334834"/>
                      <a:gd name="connsiteX806" fmla="*/ 303476 w 334956"/>
                      <a:gd name="connsiteY806" fmla="*/ 159991 h 334834"/>
                      <a:gd name="connsiteX807" fmla="*/ 307581 w 334956"/>
                      <a:gd name="connsiteY807" fmla="*/ 164430 h 334834"/>
                      <a:gd name="connsiteX808" fmla="*/ 306267 w 334956"/>
                      <a:gd name="connsiteY808" fmla="*/ 157448 h 334834"/>
                      <a:gd name="connsiteX809" fmla="*/ 303476 w 334956"/>
                      <a:gd name="connsiteY809" fmla="*/ 159991 h 334834"/>
                      <a:gd name="connsiteX810" fmla="*/ 239058 w 334956"/>
                      <a:gd name="connsiteY810" fmla="*/ 168697 h 334834"/>
                      <a:gd name="connsiteX811" fmla="*/ 233467 w 334956"/>
                      <a:gd name="connsiteY811" fmla="*/ 161220 h 334834"/>
                      <a:gd name="connsiteX812" fmla="*/ 238401 w 334956"/>
                      <a:gd name="connsiteY812" fmla="*/ 157601 h 334834"/>
                      <a:gd name="connsiteX813" fmla="*/ 239058 w 334956"/>
                      <a:gd name="connsiteY813" fmla="*/ 168697 h 334834"/>
                      <a:gd name="connsiteX814" fmla="*/ 16116 w 334956"/>
                      <a:gd name="connsiteY814" fmla="*/ 160239 h 334834"/>
                      <a:gd name="connsiteX815" fmla="*/ 19317 w 334956"/>
                      <a:gd name="connsiteY815" fmla="*/ 163773 h 334834"/>
                      <a:gd name="connsiteX816" fmla="*/ 18583 w 334956"/>
                      <a:gd name="connsiteY816" fmla="*/ 158096 h 334834"/>
                      <a:gd name="connsiteX817" fmla="*/ 16116 w 334956"/>
                      <a:gd name="connsiteY817" fmla="*/ 160239 h 334834"/>
                      <a:gd name="connsiteX818" fmla="*/ 123349 w 334956"/>
                      <a:gd name="connsiteY818" fmla="*/ 167221 h 334834"/>
                      <a:gd name="connsiteX819" fmla="*/ 118748 w 334956"/>
                      <a:gd name="connsiteY819" fmla="*/ 162201 h 334834"/>
                      <a:gd name="connsiteX820" fmla="*/ 121948 w 334956"/>
                      <a:gd name="connsiteY820" fmla="*/ 159163 h 334834"/>
                      <a:gd name="connsiteX821" fmla="*/ 123349 w 334956"/>
                      <a:gd name="connsiteY821" fmla="*/ 167221 h 334834"/>
                      <a:gd name="connsiteX822" fmla="*/ 49549 w 334956"/>
                      <a:gd name="connsiteY822" fmla="*/ 164020 h 334834"/>
                      <a:gd name="connsiteX823" fmla="*/ 54816 w 334956"/>
                      <a:gd name="connsiteY823" fmla="*/ 170421 h 334834"/>
                      <a:gd name="connsiteX824" fmla="*/ 54073 w 334956"/>
                      <a:gd name="connsiteY824" fmla="*/ 160315 h 334834"/>
                      <a:gd name="connsiteX825" fmla="*/ 49549 w 334956"/>
                      <a:gd name="connsiteY825" fmla="*/ 164020 h 334834"/>
                      <a:gd name="connsiteX826" fmla="*/ 279892 w 334956"/>
                      <a:gd name="connsiteY826" fmla="*/ 164182 h 334834"/>
                      <a:gd name="connsiteX827" fmla="*/ 285312 w 334956"/>
                      <a:gd name="connsiteY827" fmla="*/ 170269 h 334834"/>
                      <a:gd name="connsiteX828" fmla="*/ 284083 w 334956"/>
                      <a:gd name="connsiteY828" fmla="*/ 160572 h 334834"/>
                      <a:gd name="connsiteX829" fmla="*/ 279892 w 334956"/>
                      <a:gd name="connsiteY829" fmla="*/ 164182 h 334834"/>
                      <a:gd name="connsiteX830" fmla="*/ 182594 w 334956"/>
                      <a:gd name="connsiteY830" fmla="*/ 162868 h 334834"/>
                      <a:gd name="connsiteX831" fmla="*/ 181032 w 334956"/>
                      <a:gd name="connsiteY831" fmla="*/ 164840 h 334834"/>
                      <a:gd name="connsiteX832" fmla="*/ 179060 w 334956"/>
                      <a:gd name="connsiteY832" fmla="*/ 163363 h 334834"/>
                      <a:gd name="connsiteX833" fmla="*/ 180384 w 334956"/>
                      <a:gd name="connsiteY833" fmla="*/ 161477 h 334834"/>
                      <a:gd name="connsiteX834" fmla="*/ 180784 w 334956"/>
                      <a:gd name="connsiteY834" fmla="*/ 161306 h 334834"/>
                      <a:gd name="connsiteX835" fmla="*/ 182594 w 334956"/>
                      <a:gd name="connsiteY835" fmla="*/ 162868 h 334834"/>
                      <a:gd name="connsiteX836" fmla="*/ 100994 w 334956"/>
                      <a:gd name="connsiteY836" fmla="*/ 172898 h 334834"/>
                      <a:gd name="connsiteX837" fmla="*/ 95326 w 334956"/>
                      <a:gd name="connsiteY837" fmla="*/ 166325 h 334834"/>
                      <a:gd name="connsiteX838" fmla="*/ 99841 w 334956"/>
                      <a:gd name="connsiteY838" fmla="*/ 162296 h 334834"/>
                      <a:gd name="connsiteX839" fmla="*/ 100994 w 334956"/>
                      <a:gd name="connsiteY839" fmla="*/ 172898 h 334834"/>
                      <a:gd name="connsiteX840" fmla="*/ 216617 w 334956"/>
                      <a:gd name="connsiteY840" fmla="*/ 171907 h 334834"/>
                      <a:gd name="connsiteX841" fmla="*/ 212265 w 334956"/>
                      <a:gd name="connsiteY841" fmla="*/ 166564 h 334834"/>
                      <a:gd name="connsiteX842" fmla="*/ 215713 w 334956"/>
                      <a:gd name="connsiteY842" fmla="*/ 163363 h 334834"/>
                      <a:gd name="connsiteX843" fmla="*/ 216617 w 334956"/>
                      <a:gd name="connsiteY843" fmla="*/ 171907 h 334834"/>
                      <a:gd name="connsiteX844" fmla="*/ 258689 w 334956"/>
                      <a:gd name="connsiteY844" fmla="*/ 164840 h 334834"/>
                      <a:gd name="connsiteX845" fmla="*/ 256718 w 334956"/>
                      <a:gd name="connsiteY845" fmla="*/ 165659 h 334834"/>
                      <a:gd name="connsiteX846" fmla="*/ 257042 w 334956"/>
                      <a:gd name="connsiteY846" fmla="*/ 169935 h 334834"/>
                      <a:gd name="connsiteX847" fmla="*/ 257785 w 334956"/>
                      <a:gd name="connsiteY847" fmla="*/ 173793 h 334834"/>
                      <a:gd name="connsiteX848" fmla="*/ 265509 w 334956"/>
                      <a:gd name="connsiteY848" fmla="*/ 174946 h 334834"/>
                      <a:gd name="connsiteX849" fmla="*/ 262795 w 334956"/>
                      <a:gd name="connsiteY849" fmla="*/ 164020 h 334834"/>
                      <a:gd name="connsiteX850" fmla="*/ 258689 w 334956"/>
                      <a:gd name="connsiteY850" fmla="*/ 164840 h 334834"/>
                      <a:gd name="connsiteX851" fmla="*/ 28603 w 334956"/>
                      <a:gd name="connsiteY851" fmla="*/ 168869 h 334834"/>
                      <a:gd name="connsiteX852" fmla="*/ 32956 w 334956"/>
                      <a:gd name="connsiteY852" fmla="*/ 173555 h 334834"/>
                      <a:gd name="connsiteX853" fmla="*/ 31804 w 334956"/>
                      <a:gd name="connsiteY853" fmla="*/ 166078 h 334834"/>
                      <a:gd name="connsiteX854" fmla="*/ 28603 w 334956"/>
                      <a:gd name="connsiteY854" fmla="*/ 168869 h 334834"/>
                      <a:gd name="connsiteX855" fmla="*/ 158601 w 334956"/>
                      <a:gd name="connsiteY855" fmla="*/ 166325 h 334834"/>
                      <a:gd name="connsiteX856" fmla="*/ 159668 w 334956"/>
                      <a:gd name="connsiteY856" fmla="*/ 167392 h 334834"/>
                      <a:gd name="connsiteX857" fmla="*/ 158515 w 334956"/>
                      <a:gd name="connsiteY857" fmla="*/ 168954 h 334834"/>
                      <a:gd name="connsiteX858" fmla="*/ 156953 w 334956"/>
                      <a:gd name="connsiteY858" fmla="*/ 167392 h 334834"/>
                      <a:gd name="connsiteX859" fmla="*/ 158105 w 334956"/>
                      <a:gd name="connsiteY859" fmla="*/ 166240 h 334834"/>
                      <a:gd name="connsiteX860" fmla="*/ 158601 w 334956"/>
                      <a:gd name="connsiteY860" fmla="*/ 166325 h 334834"/>
                      <a:gd name="connsiteX861" fmla="*/ 317773 w 334956"/>
                      <a:gd name="connsiteY861" fmla="*/ 168954 h 334834"/>
                      <a:gd name="connsiteX862" fmla="*/ 320812 w 334956"/>
                      <a:gd name="connsiteY862" fmla="*/ 172402 h 334834"/>
                      <a:gd name="connsiteX863" fmla="*/ 319583 w 334956"/>
                      <a:gd name="connsiteY863" fmla="*/ 167307 h 334834"/>
                      <a:gd name="connsiteX864" fmla="*/ 317773 w 334956"/>
                      <a:gd name="connsiteY864" fmla="*/ 168954 h 334834"/>
                      <a:gd name="connsiteX865" fmla="*/ 62379 w 334956"/>
                      <a:gd name="connsiteY865" fmla="*/ 172317 h 334834"/>
                      <a:gd name="connsiteX866" fmla="*/ 68456 w 334956"/>
                      <a:gd name="connsiteY866" fmla="*/ 179870 h 334834"/>
                      <a:gd name="connsiteX867" fmla="*/ 73057 w 334956"/>
                      <a:gd name="connsiteY867" fmla="*/ 173298 h 334834"/>
                      <a:gd name="connsiteX868" fmla="*/ 67303 w 334956"/>
                      <a:gd name="connsiteY868" fmla="*/ 168535 h 334834"/>
                      <a:gd name="connsiteX869" fmla="*/ 62379 w 334956"/>
                      <a:gd name="connsiteY869" fmla="*/ 172317 h 334834"/>
                      <a:gd name="connsiteX870" fmla="*/ 136741 w 334956"/>
                      <a:gd name="connsiteY870" fmla="*/ 175279 h 334834"/>
                      <a:gd name="connsiteX871" fmla="*/ 132959 w 334956"/>
                      <a:gd name="connsiteY871" fmla="*/ 171088 h 334834"/>
                      <a:gd name="connsiteX872" fmla="*/ 135426 w 334956"/>
                      <a:gd name="connsiteY872" fmla="*/ 168869 h 334834"/>
                      <a:gd name="connsiteX873" fmla="*/ 136741 w 334956"/>
                      <a:gd name="connsiteY873" fmla="*/ 175279 h 334834"/>
                      <a:gd name="connsiteX874" fmla="*/ 194434 w 334956"/>
                      <a:gd name="connsiteY874" fmla="*/ 174955 h 334834"/>
                      <a:gd name="connsiteX875" fmla="*/ 191471 w 334956"/>
                      <a:gd name="connsiteY875" fmla="*/ 171012 h 334834"/>
                      <a:gd name="connsiteX876" fmla="*/ 193615 w 334956"/>
                      <a:gd name="connsiteY876" fmla="*/ 169288 h 334834"/>
                      <a:gd name="connsiteX877" fmla="*/ 194434 w 334956"/>
                      <a:gd name="connsiteY877" fmla="*/ 174955 h 334834"/>
                      <a:gd name="connsiteX878" fmla="*/ 294113 w 334956"/>
                      <a:gd name="connsiteY878" fmla="*/ 173060 h 334834"/>
                      <a:gd name="connsiteX879" fmla="*/ 298466 w 334956"/>
                      <a:gd name="connsiteY879" fmla="*/ 178327 h 334834"/>
                      <a:gd name="connsiteX880" fmla="*/ 297647 w 334956"/>
                      <a:gd name="connsiteY880" fmla="*/ 170183 h 334834"/>
                      <a:gd name="connsiteX881" fmla="*/ 294113 w 334956"/>
                      <a:gd name="connsiteY881" fmla="*/ 173060 h 334834"/>
                      <a:gd name="connsiteX882" fmla="*/ 230010 w 334956"/>
                      <a:gd name="connsiteY882" fmla="*/ 181604 h 334834"/>
                      <a:gd name="connsiteX883" fmla="*/ 224999 w 334956"/>
                      <a:gd name="connsiteY883" fmla="*/ 174622 h 334834"/>
                      <a:gd name="connsiteX884" fmla="*/ 229524 w 334956"/>
                      <a:gd name="connsiteY884" fmla="*/ 171412 h 334834"/>
                      <a:gd name="connsiteX885" fmla="*/ 230010 w 334956"/>
                      <a:gd name="connsiteY885" fmla="*/ 181604 h 334834"/>
                      <a:gd name="connsiteX886" fmla="*/ 114395 w 334956"/>
                      <a:gd name="connsiteY886" fmla="*/ 181194 h 334834"/>
                      <a:gd name="connsiteX887" fmla="*/ 109385 w 334956"/>
                      <a:gd name="connsiteY887" fmla="*/ 175117 h 334834"/>
                      <a:gd name="connsiteX888" fmla="*/ 113404 w 334956"/>
                      <a:gd name="connsiteY888" fmla="*/ 171907 h 334834"/>
                      <a:gd name="connsiteX889" fmla="*/ 114395 w 334956"/>
                      <a:gd name="connsiteY889" fmla="*/ 181194 h 334834"/>
                      <a:gd name="connsiteX890" fmla="*/ 7810 w 334956"/>
                      <a:gd name="connsiteY890" fmla="*/ 173965 h 334834"/>
                      <a:gd name="connsiteX891" fmla="*/ 10192 w 334956"/>
                      <a:gd name="connsiteY891" fmla="*/ 176432 h 334834"/>
                      <a:gd name="connsiteX892" fmla="*/ 9458 w 334956"/>
                      <a:gd name="connsiteY892" fmla="*/ 172155 h 334834"/>
                      <a:gd name="connsiteX893" fmla="*/ 7810 w 334956"/>
                      <a:gd name="connsiteY893" fmla="*/ 173965 h 334834"/>
                      <a:gd name="connsiteX894" fmla="*/ 270605 w 334956"/>
                      <a:gd name="connsiteY894" fmla="*/ 177498 h 334834"/>
                      <a:gd name="connsiteX895" fmla="*/ 276196 w 334956"/>
                      <a:gd name="connsiteY895" fmla="*/ 183994 h 334834"/>
                      <a:gd name="connsiteX896" fmla="*/ 275215 w 334956"/>
                      <a:gd name="connsiteY896" fmla="*/ 173393 h 334834"/>
                      <a:gd name="connsiteX897" fmla="*/ 270605 w 334956"/>
                      <a:gd name="connsiteY897" fmla="*/ 177498 h 334834"/>
                      <a:gd name="connsiteX898" fmla="*/ 41338 w 334956"/>
                      <a:gd name="connsiteY898" fmla="*/ 177003 h 334834"/>
                      <a:gd name="connsiteX899" fmla="*/ 46272 w 334956"/>
                      <a:gd name="connsiteY899" fmla="*/ 183166 h 334834"/>
                      <a:gd name="connsiteX900" fmla="*/ 45453 w 334956"/>
                      <a:gd name="connsiteY900" fmla="*/ 174126 h 334834"/>
                      <a:gd name="connsiteX901" fmla="*/ 41338 w 334956"/>
                      <a:gd name="connsiteY901" fmla="*/ 177003 h 334834"/>
                      <a:gd name="connsiteX902" fmla="*/ 173403 w 334956"/>
                      <a:gd name="connsiteY902" fmla="*/ 176927 h 334834"/>
                      <a:gd name="connsiteX903" fmla="*/ 172250 w 334956"/>
                      <a:gd name="connsiteY903" fmla="*/ 177994 h 334834"/>
                      <a:gd name="connsiteX904" fmla="*/ 171507 w 334956"/>
                      <a:gd name="connsiteY904" fmla="*/ 178070 h 334834"/>
                      <a:gd name="connsiteX905" fmla="*/ 170440 w 334956"/>
                      <a:gd name="connsiteY905" fmla="*/ 176917 h 334834"/>
                      <a:gd name="connsiteX906" fmla="*/ 171755 w 334956"/>
                      <a:gd name="connsiteY906" fmla="*/ 175107 h 334834"/>
                      <a:gd name="connsiteX907" fmla="*/ 173403 w 334956"/>
                      <a:gd name="connsiteY907" fmla="*/ 176927 h 334834"/>
                      <a:gd name="connsiteX908" fmla="*/ 92535 w 334956"/>
                      <a:gd name="connsiteY908" fmla="*/ 186538 h 334834"/>
                      <a:gd name="connsiteX909" fmla="*/ 89745 w 334956"/>
                      <a:gd name="connsiteY909" fmla="*/ 186785 h 334834"/>
                      <a:gd name="connsiteX910" fmla="*/ 86954 w 334956"/>
                      <a:gd name="connsiteY910" fmla="*/ 184642 h 334834"/>
                      <a:gd name="connsiteX911" fmla="*/ 86458 w 334956"/>
                      <a:gd name="connsiteY911" fmla="*/ 177574 h 334834"/>
                      <a:gd name="connsiteX912" fmla="*/ 91640 w 334956"/>
                      <a:gd name="connsiteY912" fmla="*/ 175193 h 334834"/>
                      <a:gd name="connsiteX913" fmla="*/ 92535 w 334956"/>
                      <a:gd name="connsiteY913" fmla="*/ 186538 h 334834"/>
                      <a:gd name="connsiteX914" fmla="*/ 208236 w 334956"/>
                      <a:gd name="connsiteY914" fmla="*/ 184899 h 334834"/>
                      <a:gd name="connsiteX915" fmla="*/ 203711 w 334956"/>
                      <a:gd name="connsiteY915" fmla="*/ 180051 h 334834"/>
                      <a:gd name="connsiteX916" fmla="*/ 207083 w 334956"/>
                      <a:gd name="connsiteY916" fmla="*/ 177089 h 334834"/>
                      <a:gd name="connsiteX917" fmla="*/ 208236 w 334956"/>
                      <a:gd name="connsiteY917" fmla="*/ 184899 h 334834"/>
                      <a:gd name="connsiteX918" fmla="*/ 332327 w 334956"/>
                      <a:gd name="connsiteY918" fmla="*/ 178565 h 334834"/>
                      <a:gd name="connsiteX919" fmla="*/ 333642 w 334956"/>
                      <a:gd name="connsiteY919" fmla="*/ 180041 h 334834"/>
                      <a:gd name="connsiteX920" fmla="*/ 334956 w 334956"/>
                      <a:gd name="connsiteY920" fmla="*/ 178813 h 334834"/>
                      <a:gd name="connsiteX921" fmla="*/ 334051 w 334956"/>
                      <a:gd name="connsiteY921" fmla="*/ 177413 h 334834"/>
                      <a:gd name="connsiteX922" fmla="*/ 333308 w 334956"/>
                      <a:gd name="connsiteY922" fmla="*/ 177327 h 334834"/>
                      <a:gd name="connsiteX923" fmla="*/ 332327 w 334956"/>
                      <a:gd name="connsiteY923" fmla="*/ 178565 h 334834"/>
                      <a:gd name="connsiteX924" fmla="*/ 150143 w 334956"/>
                      <a:gd name="connsiteY924" fmla="*/ 183575 h 334834"/>
                      <a:gd name="connsiteX925" fmla="*/ 147018 w 334956"/>
                      <a:gd name="connsiteY925" fmla="*/ 180127 h 334834"/>
                      <a:gd name="connsiteX926" fmla="*/ 148819 w 334956"/>
                      <a:gd name="connsiteY926" fmla="*/ 178479 h 334834"/>
                      <a:gd name="connsiteX927" fmla="*/ 150143 w 334956"/>
                      <a:gd name="connsiteY927" fmla="*/ 183575 h 334834"/>
                      <a:gd name="connsiteX928" fmla="*/ 248421 w 334956"/>
                      <a:gd name="connsiteY928" fmla="*/ 184899 h 334834"/>
                      <a:gd name="connsiteX929" fmla="*/ 248669 w 334956"/>
                      <a:gd name="connsiteY929" fmla="*/ 188271 h 334834"/>
                      <a:gd name="connsiteX930" fmla="*/ 244640 w 334956"/>
                      <a:gd name="connsiteY930" fmla="*/ 190728 h 334834"/>
                      <a:gd name="connsiteX931" fmla="*/ 241602 w 334956"/>
                      <a:gd name="connsiteY931" fmla="*/ 191148 h 334834"/>
                      <a:gd name="connsiteX932" fmla="*/ 238230 w 334956"/>
                      <a:gd name="connsiteY932" fmla="*/ 182108 h 334834"/>
                      <a:gd name="connsiteX933" fmla="*/ 243326 w 334956"/>
                      <a:gd name="connsiteY933" fmla="*/ 179556 h 334834"/>
                      <a:gd name="connsiteX934" fmla="*/ 248421 w 334956"/>
                      <a:gd name="connsiteY934" fmla="*/ 184899 h 334834"/>
                      <a:gd name="connsiteX935" fmla="*/ 20383 w 334956"/>
                      <a:gd name="connsiteY935" fmla="*/ 182185 h 334834"/>
                      <a:gd name="connsiteX936" fmla="*/ 23755 w 334956"/>
                      <a:gd name="connsiteY936" fmla="*/ 186214 h 334834"/>
                      <a:gd name="connsiteX937" fmla="*/ 22927 w 334956"/>
                      <a:gd name="connsiteY937" fmla="*/ 179965 h 334834"/>
                      <a:gd name="connsiteX938" fmla="*/ 20383 w 334956"/>
                      <a:gd name="connsiteY938" fmla="*/ 182185 h 334834"/>
                      <a:gd name="connsiteX939" fmla="*/ 308324 w 334956"/>
                      <a:gd name="connsiteY939" fmla="*/ 182099 h 334834"/>
                      <a:gd name="connsiteX940" fmla="*/ 311944 w 334956"/>
                      <a:gd name="connsiteY940" fmla="*/ 186290 h 334834"/>
                      <a:gd name="connsiteX941" fmla="*/ 310715 w 334956"/>
                      <a:gd name="connsiteY941" fmla="*/ 179956 h 334834"/>
                      <a:gd name="connsiteX942" fmla="*/ 308324 w 334956"/>
                      <a:gd name="connsiteY942" fmla="*/ 182099 h 334834"/>
                      <a:gd name="connsiteX943" fmla="*/ 127702 w 334956"/>
                      <a:gd name="connsiteY943" fmla="*/ 189500 h 334834"/>
                      <a:gd name="connsiteX944" fmla="*/ 123263 w 334956"/>
                      <a:gd name="connsiteY944" fmla="*/ 184404 h 334834"/>
                      <a:gd name="connsiteX945" fmla="*/ 127120 w 334956"/>
                      <a:gd name="connsiteY945" fmla="*/ 181366 h 334834"/>
                      <a:gd name="connsiteX946" fmla="*/ 127702 w 334956"/>
                      <a:gd name="connsiteY946" fmla="*/ 189500 h 334834"/>
                      <a:gd name="connsiteX947" fmla="*/ 53826 w 334956"/>
                      <a:gd name="connsiteY947" fmla="*/ 186290 h 334834"/>
                      <a:gd name="connsiteX948" fmla="*/ 59493 w 334956"/>
                      <a:gd name="connsiteY948" fmla="*/ 192700 h 334834"/>
                      <a:gd name="connsiteX949" fmla="*/ 58264 w 334956"/>
                      <a:gd name="connsiteY949" fmla="*/ 182347 h 334834"/>
                      <a:gd name="connsiteX950" fmla="*/ 53826 w 334956"/>
                      <a:gd name="connsiteY950" fmla="*/ 186290 h 334834"/>
                      <a:gd name="connsiteX951" fmla="*/ 185556 w 334956"/>
                      <a:gd name="connsiteY951" fmla="*/ 188262 h 334834"/>
                      <a:gd name="connsiteX952" fmla="*/ 182680 w 334956"/>
                      <a:gd name="connsiteY952" fmla="*/ 184394 h 334834"/>
                      <a:gd name="connsiteX953" fmla="*/ 184737 w 334956"/>
                      <a:gd name="connsiteY953" fmla="*/ 182747 h 334834"/>
                      <a:gd name="connsiteX954" fmla="*/ 185556 w 334956"/>
                      <a:gd name="connsiteY954" fmla="*/ 188262 h 334834"/>
                      <a:gd name="connsiteX955" fmla="*/ 284740 w 334956"/>
                      <a:gd name="connsiteY955" fmla="*/ 186376 h 334834"/>
                      <a:gd name="connsiteX956" fmla="*/ 289750 w 334956"/>
                      <a:gd name="connsiteY956" fmla="*/ 192043 h 334834"/>
                      <a:gd name="connsiteX957" fmla="*/ 288760 w 334956"/>
                      <a:gd name="connsiteY957" fmla="*/ 183004 h 334834"/>
                      <a:gd name="connsiteX958" fmla="*/ 284740 w 334956"/>
                      <a:gd name="connsiteY958" fmla="*/ 186376 h 334834"/>
                      <a:gd name="connsiteX959" fmla="*/ 106013 w 334956"/>
                      <a:gd name="connsiteY959" fmla="*/ 195167 h 334834"/>
                      <a:gd name="connsiteX960" fmla="*/ 99851 w 334956"/>
                      <a:gd name="connsiteY960" fmla="*/ 188347 h 334834"/>
                      <a:gd name="connsiteX961" fmla="*/ 104451 w 334956"/>
                      <a:gd name="connsiteY961" fmla="*/ 184566 h 334834"/>
                      <a:gd name="connsiteX962" fmla="*/ 106013 w 334956"/>
                      <a:gd name="connsiteY962" fmla="*/ 195167 h 334834"/>
                      <a:gd name="connsiteX963" fmla="*/ 221713 w 334956"/>
                      <a:gd name="connsiteY963" fmla="*/ 194672 h 334834"/>
                      <a:gd name="connsiteX964" fmla="*/ 216208 w 334956"/>
                      <a:gd name="connsiteY964" fmla="*/ 188595 h 334834"/>
                      <a:gd name="connsiteX965" fmla="*/ 220151 w 334956"/>
                      <a:gd name="connsiteY965" fmla="*/ 185061 h 334834"/>
                      <a:gd name="connsiteX966" fmla="*/ 221713 w 334956"/>
                      <a:gd name="connsiteY966" fmla="*/ 194672 h 334834"/>
                      <a:gd name="connsiteX967" fmla="*/ 261490 w 334956"/>
                      <a:gd name="connsiteY967" fmla="*/ 189824 h 334834"/>
                      <a:gd name="connsiteX968" fmla="*/ 267576 w 334956"/>
                      <a:gd name="connsiteY968" fmla="*/ 197548 h 334834"/>
                      <a:gd name="connsiteX969" fmla="*/ 266509 w 334956"/>
                      <a:gd name="connsiteY969" fmla="*/ 186376 h 334834"/>
                      <a:gd name="connsiteX970" fmla="*/ 261490 w 334956"/>
                      <a:gd name="connsiteY970" fmla="*/ 189824 h 334834"/>
                      <a:gd name="connsiteX971" fmla="*/ 86 w 334956"/>
                      <a:gd name="connsiteY971" fmla="*/ 187280 h 334834"/>
                      <a:gd name="connsiteX972" fmla="*/ 0 w 334956"/>
                      <a:gd name="connsiteY972" fmla="*/ 187604 h 334834"/>
                      <a:gd name="connsiteX973" fmla="*/ 905 w 334956"/>
                      <a:gd name="connsiteY973" fmla="*/ 188595 h 334834"/>
                      <a:gd name="connsiteX974" fmla="*/ 2057 w 334956"/>
                      <a:gd name="connsiteY974" fmla="*/ 187852 h 334834"/>
                      <a:gd name="connsiteX975" fmla="*/ 2143 w 334956"/>
                      <a:gd name="connsiteY975" fmla="*/ 187280 h 334834"/>
                      <a:gd name="connsiteX976" fmla="*/ 1076 w 334956"/>
                      <a:gd name="connsiteY976" fmla="*/ 186461 h 334834"/>
                      <a:gd name="connsiteX977" fmla="*/ 86 w 334956"/>
                      <a:gd name="connsiteY977" fmla="*/ 187280 h 334834"/>
                      <a:gd name="connsiteX978" fmla="*/ 163373 w 334956"/>
                      <a:gd name="connsiteY978" fmla="*/ 192615 h 334834"/>
                      <a:gd name="connsiteX979" fmla="*/ 160334 w 334956"/>
                      <a:gd name="connsiteY979" fmla="*/ 189167 h 334834"/>
                      <a:gd name="connsiteX980" fmla="*/ 162306 w 334956"/>
                      <a:gd name="connsiteY980" fmla="*/ 187357 h 334834"/>
                      <a:gd name="connsiteX981" fmla="*/ 163373 w 334956"/>
                      <a:gd name="connsiteY981" fmla="*/ 192615 h 334834"/>
                      <a:gd name="connsiteX982" fmla="*/ 32871 w 334956"/>
                      <a:gd name="connsiteY982" fmla="*/ 190976 h 334834"/>
                      <a:gd name="connsiteX983" fmla="*/ 37557 w 334956"/>
                      <a:gd name="connsiteY983" fmla="*/ 195748 h 334834"/>
                      <a:gd name="connsiteX984" fmla="*/ 35995 w 334956"/>
                      <a:gd name="connsiteY984" fmla="*/ 188100 h 334834"/>
                      <a:gd name="connsiteX985" fmla="*/ 32871 w 334956"/>
                      <a:gd name="connsiteY985" fmla="*/ 190976 h 334834"/>
                      <a:gd name="connsiteX986" fmla="*/ 322631 w 334956"/>
                      <a:gd name="connsiteY986" fmla="*/ 191633 h 334834"/>
                      <a:gd name="connsiteX987" fmla="*/ 326241 w 334956"/>
                      <a:gd name="connsiteY987" fmla="*/ 193272 h 334834"/>
                      <a:gd name="connsiteX988" fmla="*/ 324269 w 334956"/>
                      <a:gd name="connsiteY988" fmla="*/ 189900 h 334834"/>
                      <a:gd name="connsiteX989" fmla="*/ 322631 w 334956"/>
                      <a:gd name="connsiteY989" fmla="*/ 191633 h 334834"/>
                      <a:gd name="connsiteX990" fmla="*/ 199196 w 334956"/>
                      <a:gd name="connsiteY990" fmla="*/ 198206 h 334834"/>
                      <a:gd name="connsiteX991" fmla="*/ 194920 w 334956"/>
                      <a:gd name="connsiteY991" fmla="*/ 193272 h 334834"/>
                      <a:gd name="connsiteX992" fmla="*/ 197882 w 334956"/>
                      <a:gd name="connsiteY992" fmla="*/ 190567 h 334834"/>
                      <a:gd name="connsiteX993" fmla="*/ 199196 w 334956"/>
                      <a:gd name="connsiteY993" fmla="*/ 198206 h 334834"/>
                      <a:gd name="connsiteX994" fmla="*/ 67303 w 334956"/>
                      <a:gd name="connsiteY994" fmla="*/ 193357 h 334834"/>
                      <a:gd name="connsiteX995" fmla="*/ 71333 w 334956"/>
                      <a:gd name="connsiteY995" fmla="*/ 202073 h 334834"/>
                      <a:gd name="connsiteX996" fmla="*/ 72152 w 334956"/>
                      <a:gd name="connsiteY996" fmla="*/ 190652 h 334834"/>
                      <a:gd name="connsiteX997" fmla="*/ 67303 w 334956"/>
                      <a:gd name="connsiteY997" fmla="*/ 193357 h 334834"/>
                      <a:gd name="connsiteX998" fmla="*/ 141427 w 334956"/>
                      <a:gd name="connsiteY998" fmla="*/ 197958 h 334834"/>
                      <a:gd name="connsiteX999" fmla="*/ 136988 w 334956"/>
                      <a:gd name="connsiteY999" fmla="*/ 193519 h 334834"/>
                      <a:gd name="connsiteX1000" fmla="*/ 139865 w 334956"/>
                      <a:gd name="connsiteY1000" fmla="*/ 190728 h 334834"/>
                      <a:gd name="connsiteX1001" fmla="*/ 141427 w 334956"/>
                      <a:gd name="connsiteY1001" fmla="*/ 197958 h 334834"/>
                      <a:gd name="connsiteX1002" fmla="*/ 299285 w 334956"/>
                      <a:gd name="connsiteY1002" fmla="*/ 194672 h 334834"/>
                      <a:gd name="connsiteX1003" fmla="*/ 303143 w 334956"/>
                      <a:gd name="connsiteY1003" fmla="*/ 199930 h 334834"/>
                      <a:gd name="connsiteX1004" fmla="*/ 301752 w 334956"/>
                      <a:gd name="connsiteY1004" fmla="*/ 192862 h 334834"/>
                      <a:gd name="connsiteX1005" fmla="*/ 299285 w 334956"/>
                      <a:gd name="connsiteY1005" fmla="*/ 194672 h 334834"/>
                      <a:gd name="connsiteX1006" fmla="*/ 233134 w 334956"/>
                      <a:gd name="connsiteY1006" fmla="*/ 204368 h 334834"/>
                      <a:gd name="connsiteX1007" fmla="*/ 229362 w 334956"/>
                      <a:gd name="connsiteY1007" fmla="*/ 195748 h 334834"/>
                      <a:gd name="connsiteX1008" fmla="*/ 233962 w 334956"/>
                      <a:gd name="connsiteY1008" fmla="*/ 193119 h 334834"/>
                      <a:gd name="connsiteX1009" fmla="*/ 233134 w 334956"/>
                      <a:gd name="connsiteY1009" fmla="*/ 204368 h 334834"/>
                      <a:gd name="connsiteX1010" fmla="*/ 119567 w 334956"/>
                      <a:gd name="connsiteY1010" fmla="*/ 203549 h 334834"/>
                      <a:gd name="connsiteX1011" fmla="*/ 113652 w 334956"/>
                      <a:gd name="connsiteY1011" fmla="*/ 197387 h 334834"/>
                      <a:gd name="connsiteX1012" fmla="*/ 117595 w 334956"/>
                      <a:gd name="connsiteY1012" fmla="*/ 193938 h 334834"/>
                      <a:gd name="connsiteX1013" fmla="*/ 119567 w 334956"/>
                      <a:gd name="connsiteY1013" fmla="*/ 203549 h 334834"/>
                      <a:gd name="connsiteX1014" fmla="*/ 12163 w 334956"/>
                      <a:gd name="connsiteY1014" fmla="*/ 195986 h 334834"/>
                      <a:gd name="connsiteX1015" fmla="*/ 15040 w 334956"/>
                      <a:gd name="connsiteY1015" fmla="*/ 198615 h 334834"/>
                      <a:gd name="connsiteX1016" fmla="*/ 13887 w 334956"/>
                      <a:gd name="connsiteY1016" fmla="*/ 194177 h 334834"/>
                      <a:gd name="connsiteX1017" fmla="*/ 12163 w 334956"/>
                      <a:gd name="connsiteY1017" fmla="*/ 195986 h 334834"/>
                      <a:gd name="connsiteX1018" fmla="*/ 177012 w 334956"/>
                      <a:gd name="connsiteY1018" fmla="*/ 202149 h 334834"/>
                      <a:gd name="connsiteX1019" fmla="*/ 173069 w 334956"/>
                      <a:gd name="connsiteY1019" fmla="*/ 197958 h 334834"/>
                      <a:gd name="connsiteX1020" fmla="*/ 176022 w 334956"/>
                      <a:gd name="connsiteY1020" fmla="*/ 195577 h 334834"/>
                      <a:gd name="connsiteX1021" fmla="*/ 177012 w 334956"/>
                      <a:gd name="connsiteY1021" fmla="*/ 202149 h 334834"/>
                      <a:gd name="connsiteX1022" fmla="*/ 275625 w 334956"/>
                      <a:gd name="connsiteY1022" fmla="*/ 199444 h 334834"/>
                      <a:gd name="connsiteX1023" fmla="*/ 280387 w 334956"/>
                      <a:gd name="connsiteY1023" fmla="*/ 205692 h 334834"/>
                      <a:gd name="connsiteX1024" fmla="*/ 279397 w 334956"/>
                      <a:gd name="connsiteY1024" fmla="*/ 195996 h 334834"/>
                      <a:gd name="connsiteX1025" fmla="*/ 275625 w 334956"/>
                      <a:gd name="connsiteY1025" fmla="*/ 199444 h 334834"/>
                      <a:gd name="connsiteX1026" fmla="*/ 45615 w 334956"/>
                      <a:gd name="connsiteY1026" fmla="*/ 199520 h 334834"/>
                      <a:gd name="connsiteX1027" fmla="*/ 50959 w 334956"/>
                      <a:gd name="connsiteY1027" fmla="*/ 205273 h 334834"/>
                      <a:gd name="connsiteX1028" fmla="*/ 49149 w 334956"/>
                      <a:gd name="connsiteY1028" fmla="*/ 196320 h 334834"/>
                      <a:gd name="connsiteX1029" fmla="*/ 45615 w 334956"/>
                      <a:gd name="connsiteY1029" fmla="*/ 199520 h 334834"/>
                      <a:gd name="connsiteX1030" fmla="*/ 101737 w 334956"/>
                      <a:gd name="connsiteY1030" fmla="*/ 205607 h 334834"/>
                      <a:gd name="connsiteX1031" fmla="*/ 96974 w 334956"/>
                      <a:gd name="connsiteY1031" fmla="*/ 208731 h 334834"/>
                      <a:gd name="connsiteX1032" fmla="*/ 92697 w 334956"/>
                      <a:gd name="connsiteY1032" fmla="*/ 209226 h 334834"/>
                      <a:gd name="connsiteX1033" fmla="*/ 90887 w 334956"/>
                      <a:gd name="connsiteY1033" fmla="*/ 199368 h 334834"/>
                      <a:gd name="connsiteX1034" fmla="*/ 96060 w 334956"/>
                      <a:gd name="connsiteY1034" fmla="*/ 197396 h 334834"/>
                      <a:gd name="connsiteX1035" fmla="*/ 101737 w 334956"/>
                      <a:gd name="connsiteY1035" fmla="*/ 205607 h 334834"/>
                      <a:gd name="connsiteX1036" fmla="*/ 212265 w 334956"/>
                      <a:gd name="connsiteY1036" fmla="*/ 208064 h 334834"/>
                      <a:gd name="connsiteX1037" fmla="*/ 207331 w 334956"/>
                      <a:gd name="connsiteY1037" fmla="*/ 201901 h 334834"/>
                      <a:gd name="connsiteX1038" fmla="*/ 211522 w 334956"/>
                      <a:gd name="connsiteY1038" fmla="*/ 198529 h 334834"/>
                      <a:gd name="connsiteX1039" fmla="*/ 212265 w 334956"/>
                      <a:gd name="connsiteY1039" fmla="*/ 208064 h 334834"/>
                      <a:gd name="connsiteX1040" fmla="*/ 252527 w 334956"/>
                      <a:gd name="connsiteY1040" fmla="*/ 201987 h 334834"/>
                      <a:gd name="connsiteX1041" fmla="*/ 252527 w 334956"/>
                      <a:gd name="connsiteY1041" fmla="*/ 204940 h 334834"/>
                      <a:gd name="connsiteX1042" fmla="*/ 257461 w 334956"/>
                      <a:gd name="connsiteY1042" fmla="*/ 211112 h 334834"/>
                      <a:gd name="connsiteX1043" fmla="*/ 258528 w 334956"/>
                      <a:gd name="connsiteY1043" fmla="*/ 199520 h 334834"/>
                      <a:gd name="connsiteX1044" fmla="*/ 252527 w 334956"/>
                      <a:gd name="connsiteY1044" fmla="*/ 201987 h 334834"/>
                      <a:gd name="connsiteX1045" fmla="*/ 154657 w 334956"/>
                      <a:gd name="connsiteY1045" fmla="*/ 206997 h 334834"/>
                      <a:gd name="connsiteX1046" fmla="*/ 150381 w 334956"/>
                      <a:gd name="connsiteY1046" fmla="*/ 202397 h 334834"/>
                      <a:gd name="connsiteX1047" fmla="*/ 153753 w 334956"/>
                      <a:gd name="connsiteY1047" fmla="*/ 199606 h 334834"/>
                      <a:gd name="connsiteX1048" fmla="*/ 154657 w 334956"/>
                      <a:gd name="connsiteY1048" fmla="*/ 206997 h 334834"/>
                      <a:gd name="connsiteX1049" fmla="*/ 24908 w 334956"/>
                      <a:gd name="connsiteY1049" fmla="*/ 204121 h 334834"/>
                      <a:gd name="connsiteX1050" fmla="*/ 28442 w 334956"/>
                      <a:gd name="connsiteY1050" fmla="*/ 208312 h 334834"/>
                      <a:gd name="connsiteX1051" fmla="*/ 27375 w 334956"/>
                      <a:gd name="connsiteY1051" fmla="*/ 202149 h 334834"/>
                      <a:gd name="connsiteX1052" fmla="*/ 24908 w 334956"/>
                      <a:gd name="connsiteY1052" fmla="*/ 204121 h 334834"/>
                      <a:gd name="connsiteX1053" fmla="*/ 313420 w 334956"/>
                      <a:gd name="connsiteY1053" fmla="*/ 204368 h 334834"/>
                      <a:gd name="connsiteX1054" fmla="*/ 316297 w 334956"/>
                      <a:gd name="connsiteY1054" fmla="*/ 207816 h 334834"/>
                      <a:gd name="connsiteX1055" fmla="*/ 315230 w 334956"/>
                      <a:gd name="connsiteY1055" fmla="*/ 202806 h 334834"/>
                      <a:gd name="connsiteX1056" fmla="*/ 313420 w 334956"/>
                      <a:gd name="connsiteY1056" fmla="*/ 204368 h 334834"/>
                      <a:gd name="connsiteX1057" fmla="*/ 132312 w 334956"/>
                      <a:gd name="connsiteY1057" fmla="*/ 212341 h 334834"/>
                      <a:gd name="connsiteX1058" fmla="*/ 127216 w 334956"/>
                      <a:gd name="connsiteY1058" fmla="*/ 206512 h 334834"/>
                      <a:gd name="connsiteX1059" fmla="*/ 131073 w 334956"/>
                      <a:gd name="connsiteY1059" fmla="*/ 203140 h 334834"/>
                      <a:gd name="connsiteX1060" fmla="*/ 132312 w 334956"/>
                      <a:gd name="connsiteY1060" fmla="*/ 212341 h 334834"/>
                      <a:gd name="connsiteX1061" fmla="*/ 190405 w 334956"/>
                      <a:gd name="connsiteY1061" fmla="*/ 211846 h 334834"/>
                      <a:gd name="connsiteX1062" fmla="*/ 185642 w 334956"/>
                      <a:gd name="connsiteY1062" fmla="*/ 206588 h 334834"/>
                      <a:gd name="connsiteX1063" fmla="*/ 189500 w 334956"/>
                      <a:gd name="connsiteY1063" fmla="*/ 203549 h 334834"/>
                      <a:gd name="connsiteX1064" fmla="*/ 190405 w 334956"/>
                      <a:gd name="connsiteY1064" fmla="*/ 211846 h 334834"/>
                      <a:gd name="connsiteX1065" fmla="*/ 58426 w 334956"/>
                      <a:gd name="connsiteY1065" fmla="*/ 208312 h 334834"/>
                      <a:gd name="connsiteX1066" fmla="*/ 64017 w 334956"/>
                      <a:gd name="connsiteY1066" fmla="*/ 214722 h 334834"/>
                      <a:gd name="connsiteX1067" fmla="*/ 62293 w 334956"/>
                      <a:gd name="connsiteY1067" fmla="*/ 204616 h 334834"/>
                      <a:gd name="connsiteX1068" fmla="*/ 58426 w 334956"/>
                      <a:gd name="connsiteY1068" fmla="*/ 208312 h 334834"/>
                      <a:gd name="connsiteX1069" fmla="*/ 289750 w 334956"/>
                      <a:gd name="connsiteY1069" fmla="*/ 208721 h 334834"/>
                      <a:gd name="connsiteX1070" fmla="*/ 294513 w 334956"/>
                      <a:gd name="connsiteY1070" fmla="*/ 213493 h 334834"/>
                      <a:gd name="connsiteX1071" fmla="*/ 292960 w 334956"/>
                      <a:gd name="connsiteY1071" fmla="*/ 205769 h 334834"/>
                      <a:gd name="connsiteX1072" fmla="*/ 289750 w 334956"/>
                      <a:gd name="connsiteY1072" fmla="*/ 208721 h 334834"/>
                      <a:gd name="connsiteX1073" fmla="*/ 109461 w 334956"/>
                      <a:gd name="connsiteY1073" fmla="*/ 217846 h 334834"/>
                      <a:gd name="connsiteX1074" fmla="*/ 103956 w 334956"/>
                      <a:gd name="connsiteY1074" fmla="*/ 210369 h 334834"/>
                      <a:gd name="connsiteX1075" fmla="*/ 108480 w 334956"/>
                      <a:gd name="connsiteY1075" fmla="*/ 206512 h 334834"/>
                      <a:gd name="connsiteX1076" fmla="*/ 109461 w 334956"/>
                      <a:gd name="connsiteY1076" fmla="*/ 217846 h 334834"/>
                      <a:gd name="connsiteX1077" fmla="*/ 225580 w 334956"/>
                      <a:gd name="connsiteY1077" fmla="*/ 217684 h 334834"/>
                      <a:gd name="connsiteX1078" fmla="*/ 219742 w 334956"/>
                      <a:gd name="connsiteY1078" fmla="*/ 210864 h 334834"/>
                      <a:gd name="connsiteX1079" fmla="*/ 224590 w 334956"/>
                      <a:gd name="connsiteY1079" fmla="*/ 206512 h 334834"/>
                      <a:gd name="connsiteX1080" fmla="*/ 225580 w 334956"/>
                      <a:gd name="connsiteY1080" fmla="*/ 217684 h 334834"/>
                      <a:gd name="connsiteX1081" fmla="*/ 167811 w 334956"/>
                      <a:gd name="connsiteY1081" fmla="*/ 216284 h 334834"/>
                      <a:gd name="connsiteX1082" fmla="*/ 163373 w 334956"/>
                      <a:gd name="connsiteY1082" fmla="*/ 211264 h 334834"/>
                      <a:gd name="connsiteX1083" fmla="*/ 166906 w 334956"/>
                      <a:gd name="connsiteY1083" fmla="*/ 208140 h 334834"/>
                      <a:gd name="connsiteX1084" fmla="*/ 167811 w 334956"/>
                      <a:gd name="connsiteY1084" fmla="*/ 216284 h 334834"/>
                      <a:gd name="connsiteX1085" fmla="*/ 4439 w 334956"/>
                      <a:gd name="connsiteY1085" fmla="*/ 209626 h 334834"/>
                      <a:gd name="connsiteX1086" fmla="*/ 5515 w 334956"/>
                      <a:gd name="connsiteY1086" fmla="*/ 210941 h 334834"/>
                      <a:gd name="connsiteX1087" fmla="*/ 6667 w 334956"/>
                      <a:gd name="connsiteY1087" fmla="*/ 209540 h 334834"/>
                      <a:gd name="connsiteX1088" fmla="*/ 5429 w 334956"/>
                      <a:gd name="connsiteY1088" fmla="*/ 208636 h 334834"/>
                      <a:gd name="connsiteX1089" fmla="*/ 4439 w 334956"/>
                      <a:gd name="connsiteY1089" fmla="*/ 209626 h 334834"/>
                      <a:gd name="connsiteX1090" fmla="*/ 266500 w 334956"/>
                      <a:gd name="connsiteY1090" fmla="*/ 212750 h 334834"/>
                      <a:gd name="connsiteX1091" fmla="*/ 272329 w 334956"/>
                      <a:gd name="connsiteY1091" fmla="*/ 219084 h 334834"/>
                      <a:gd name="connsiteX1092" fmla="*/ 270767 w 334956"/>
                      <a:gd name="connsiteY1092" fmla="*/ 209055 h 334834"/>
                      <a:gd name="connsiteX1093" fmla="*/ 266500 w 334956"/>
                      <a:gd name="connsiteY1093" fmla="*/ 212750 h 334834"/>
                      <a:gd name="connsiteX1094" fmla="*/ 37481 w 334956"/>
                      <a:gd name="connsiteY1094" fmla="*/ 212998 h 334834"/>
                      <a:gd name="connsiteX1095" fmla="*/ 41510 w 334956"/>
                      <a:gd name="connsiteY1095" fmla="*/ 217932 h 334834"/>
                      <a:gd name="connsiteX1096" fmla="*/ 40691 w 334956"/>
                      <a:gd name="connsiteY1096" fmla="*/ 210369 h 334834"/>
                      <a:gd name="connsiteX1097" fmla="*/ 37481 w 334956"/>
                      <a:gd name="connsiteY1097" fmla="*/ 212998 h 334834"/>
                      <a:gd name="connsiteX1098" fmla="*/ 203635 w 334956"/>
                      <a:gd name="connsiteY1098" fmla="*/ 221628 h 334834"/>
                      <a:gd name="connsiteX1099" fmla="*/ 198215 w 334956"/>
                      <a:gd name="connsiteY1099" fmla="*/ 215217 h 334834"/>
                      <a:gd name="connsiteX1100" fmla="*/ 202406 w 334956"/>
                      <a:gd name="connsiteY1100" fmla="*/ 211684 h 334834"/>
                      <a:gd name="connsiteX1101" fmla="*/ 203635 w 334956"/>
                      <a:gd name="connsiteY1101" fmla="*/ 221628 h 334834"/>
                      <a:gd name="connsiteX1102" fmla="*/ 146190 w 334956"/>
                      <a:gd name="connsiteY1102" fmla="*/ 221209 h 334834"/>
                      <a:gd name="connsiteX1103" fmla="*/ 140522 w 334956"/>
                      <a:gd name="connsiteY1103" fmla="*/ 215541 h 334834"/>
                      <a:gd name="connsiteX1104" fmla="*/ 144304 w 334956"/>
                      <a:gd name="connsiteY1104" fmla="*/ 212093 h 334834"/>
                      <a:gd name="connsiteX1105" fmla="*/ 146190 w 334956"/>
                      <a:gd name="connsiteY1105" fmla="*/ 221209 h 334834"/>
                      <a:gd name="connsiteX1106" fmla="*/ 243411 w 334956"/>
                      <a:gd name="connsiteY1106" fmla="*/ 214808 h 334834"/>
                      <a:gd name="connsiteX1107" fmla="*/ 243659 w 334956"/>
                      <a:gd name="connsiteY1107" fmla="*/ 218256 h 334834"/>
                      <a:gd name="connsiteX1108" fmla="*/ 247440 w 334956"/>
                      <a:gd name="connsiteY1108" fmla="*/ 224257 h 334834"/>
                      <a:gd name="connsiteX1109" fmla="*/ 249984 w 334956"/>
                      <a:gd name="connsiteY1109" fmla="*/ 212750 h 334834"/>
                      <a:gd name="connsiteX1110" fmla="*/ 243411 w 334956"/>
                      <a:gd name="connsiteY1110" fmla="*/ 214808 h 334834"/>
                      <a:gd name="connsiteX1111" fmla="*/ 71494 w 334956"/>
                      <a:gd name="connsiteY1111" fmla="*/ 216370 h 334834"/>
                      <a:gd name="connsiteX1112" fmla="*/ 77410 w 334956"/>
                      <a:gd name="connsiteY1112" fmla="*/ 223933 h 334834"/>
                      <a:gd name="connsiteX1113" fmla="*/ 76009 w 334956"/>
                      <a:gd name="connsiteY1113" fmla="*/ 212998 h 334834"/>
                      <a:gd name="connsiteX1114" fmla="*/ 71494 w 334956"/>
                      <a:gd name="connsiteY1114" fmla="*/ 216370 h 334834"/>
                      <a:gd name="connsiteX1115" fmla="*/ 328212 w 334956"/>
                      <a:gd name="connsiteY1115" fmla="*/ 213903 h 334834"/>
                      <a:gd name="connsiteX1116" fmla="*/ 328126 w 334956"/>
                      <a:gd name="connsiteY1116" fmla="*/ 214484 h 334834"/>
                      <a:gd name="connsiteX1117" fmla="*/ 329031 w 334956"/>
                      <a:gd name="connsiteY1117" fmla="*/ 215303 h 334834"/>
                      <a:gd name="connsiteX1118" fmla="*/ 329279 w 334956"/>
                      <a:gd name="connsiteY1118" fmla="*/ 215303 h 334834"/>
                      <a:gd name="connsiteX1119" fmla="*/ 330270 w 334956"/>
                      <a:gd name="connsiteY1119" fmla="*/ 214313 h 334834"/>
                      <a:gd name="connsiteX1120" fmla="*/ 329031 w 334956"/>
                      <a:gd name="connsiteY1120" fmla="*/ 213074 h 334834"/>
                      <a:gd name="connsiteX1121" fmla="*/ 328212 w 334956"/>
                      <a:gd name="connsiteY1121" fmla="*/ 213903 h 334834"/>
                      <a:gd name="connsiteX1122" fmla="*/ 123510 w 334956"/>
                      <a:gd name="connsiteY1122" fmla="*/ 226552 h 334834"/>
                      <a:gd name="connsiteX1123" fmla="*/ 117510 w 334956"/>
                      <a:gd name="connsiteY1123" fmla="*/ 219485 h 334834"/>
                      <a:gd name="connsiteX1124" fmla="*/ 122520 w 334956"/>
                      <a:gd name="connsiteY1124" fmla="*/ 215541 h 334834"/>
                      <a:gd name="connsiteX1125" fmla="*/ 123510 w 334956"/>
                      <a:gd name="connsiteY1125" fmla="*/ 226552 h 334834"/>
                      <a:gd name="connsiteX1126" fmla="*/ 304381 w 334956"/>
                      <a:gd name="connsiteY1126" fmla="*/ 217189 h 334834"/>
                      <a:gd name="connsiteX1127" fmla="*/ 307334 w 334956"/>
                      <a:gd name="connsiteY1127" fmla="*/ 221466 h 334834"/>
                      <a:gd name="connsiteX1128" fmla="*/ 306762 w 334956"/>
                      <a:gd name="connsiteY1128" fmla="*/ 215627 h 334834"/>
                      <a:gd name="connsiteX1129" fmla="*/ 304381 w 334956"/>
                      <a:gd name="connsiteY1129" fmla="*/ 217189 h 334834"/>
                      <a:gd name="connsiteX1130" fmla="*/ 17916 w 334956"/>
                      <a:gd name="connsiteY1130" fmla="*/ 220561 h 334834"/>
                      <a:gd name="connsiteX1131" fmla="*/ 21031 w 334956"/>
                      <a:gd name="connsiteY1131" fmla="*/ 218341 h 334834"/>
                      <a:gd name="connsiteX1132" fmla="*/ 18402 w 334956"/>
                      <a:gd name="connsiteY1132" fmla="*/ 216446 h 334834"/>
                      <a:gd name="connsiteX1133" fmla="*/ 17916 w 334956"/>
                      <a:gd name="connsiteY1133" fmla="*/ 220561 h 334834"/>
                      <a:gd name="connsiteX1134" fmla="*/ 181365 w 334956"/>
                      <a:gd name="connsiteY1134" fmla="*/ 225819 h 334834"/>
                      <a:gd name="connsiteX1135" fmla="*/ 176193 w 334956"/>
                      <a:gd name="connsiteY1135" fmla="*/ 219818 h 334834"/>
                      <a:gd name="connsiteX1136" fmla="*/ 179803 w 334956"/>
                      <a:gd name="connsiteY1136" fmla="*/ 216446 h 334834"/>
                      <a:gd name="connsiteX1137" fmla="*/ 181365 w 334956"/>
                      <a:gd name="connsiteY1137" fmla="*/ 225819 h 334834"/>
                      <a:gd name="connsiteX1138" fmla="*/ 50301 w 334956"/>
                      <a:gd name="connsiteY1138" fmla="*/ 221790 h 334834"/>
                      <a:gd name="connsiteX1139" fmla="*/ 55064 w 334956"/>
                      <a:gd name="connsiteY1139" fmla="*/ 227295 h 334834"/>
                      <a:gd name="connsiteX1140" fmla="*/ 53578 w 334956"/>
                      <a:gd name="connsiteY1140" fmla="*/ 218665 h 334834"/>
                      <a:gd name="connsiteX1141" fmla="*/ 50301 w 334956"/>
                      <a:gd name="connsiteY1141" fmla="*/ 221790 h 334834"/>
                      <a:gd name="connsiteX1142" fmla="*/ 280721 w 334956"/>
                      <a:gd name="connsiteY1142" fmla="*/ 221875 h 334834"/>
                      <a:gd name="connsiteX1143" fmla="*/ 285407 w 334956"/>
                      <a:gd name="connsiteY1143" fmla="*/ 227047 h 334834"/>
                      <a:gd name="connsiteX1144" fmla="*/ 284007 w 334956"/>
                      <a:gd name="connsiteY1144" fmla="*/ 218837 h 334834"/>
                      <a:gd name="connsiteX1145" fmla="*/ 280721 w 334956"/>
                      <a:gd name="connsiteY1145" fmla="*/ 221875 h 334834"/>
                      <a:gd name="connsiteX1146" fmla="*/ 220723 w 334956"/>
                      <a:gd name="connsiteY1146" fmla="*/ 221704 h 334834"/>
                      <a:gd name="connsiteX1147" fmla="*/ 220723 w 334956"/>
                      <a:gd name="connsiteY1147" fmla="*/ 229676 h 334834"/>
                      <a:gd name="connsiteX1148" fmla="*/ 218008 w 334956"/>
                      <a:gd name="connsiteY1148" fmla="*/ 230657 h 334834"/>
                      <a:gd name="connsiteX1149" fmla="*/ 214722 w 334956"/>
                      <a:gd name="connsiteY1149" fmla="*/ 231153 h 334834"/>
                      <a:gd name="connsiteX1150" fmla="*/ 211017 w 334956"/>
                      <a:gd name="connsiteY1150" fmla="*/ 223180 h 334834"/>
                      <a:gd name="connsiteX1151" fmla="*/ 215951 w 334956"/>
                      <a:gd name="connsiteY1151" fmla="*/ 219732 h 334834"/>
                      <a:gd name="connsiteX1152" fmla="*/ 220723 w 334956"/>
                      <a:gd name="connsiteY1152" fmla="*/ 221704 h 334834"/>
                      <a:gd name="connsiteX1153" fmla="*/ 158763 w 334956"/>
                      <a:gd name="connsiteY1153" fmla="*/ 230505 h 334834"/>
                      <a:gd name="connsiteX1154" fmla="*/ 153591 w 334956"/>
                      <a:gd name="connsiteY1154" fmla="*/ 224504 h 334834"/>
                      <a:gd name="connsiteX1155" fmla="*/ 158191 w 334956"/>
                      <a:gd name="connsiteY1155" fmla="*/ 220637 h 334834"/>
                      <a:gd name="connsiteX1156" fmla="*/ 158763 w 334956"/>
                      <a:gd name="connsiteY1156" fmla="*/ 230505 h 334834"/>
                      <a:gd name="connsiteX1157" fmla="*/ 85134 w 334956"/>
                      <a:gd name="connsiteY1157" fmla="*/ 224009 h 334834"/>
                      <a:gd name="connsiteX1158" fmla="*/ 89078 w 334956"/>
                      <a:gd name="connsiteY1158" fmla="*/ 233134 h 334834"/>
                      <a:gd name="connsiteX1159" fmla="*/ 95478 w 334956"/>
                      <a:gd name="connsiteY1159" fmla="*/ 229514 h 334834"/>
                      <a:gd name="connsiteX1160" fmla="*/ 95240 w 334956"/>
                      <a:gd name="connsiteY1160" fmla="*/ 226562 h 334834"/>
                      <a:gd name="connsiteX1161" fmla="*/ 90716 w 334956"/>
                      <a:gd name="connsiteY1161" fmla="*/ 221542 h 334834"/>
                      <a:gd name="connsiteX1162" fmla="*/ 85134 w 334956"/>
                      <a:gd name="connsiteY1162" fmla="*/ 224009 h 334834"/>
                      <a:gd name="connsiteX1163" fmla="*/ 257537 w 334956"/>
                      <a:gd name="connsiteY1163" fmla="*/ 226142 h 334834"/>
                      <a:gd name="connsiteX1164" fmla="*/ 263204 w 334956"/>
                      <a:gd name="connsiteY1164" fmla="*/ 232467 h 334834"/>
                      <a:gd name="connsiteX1165" fmla="*/ 262137 w 334956"/>
                      <a:gd name="connsiteY1165" fmla="*/ 222199 h 334834"/>
                      <a:gd name="connsiteX1166" fmla="*/ 257537 w 334956"/>
                      <a:gd name="connsiteY1166" fmla="*/ 226142 h 334834"/>
                      <a:gd name="connsiteX1167" fmla="*/ 29337 w 334956"/>
                      <a:gd name="connsiteY1167" fmla="*/ 226724 h 334834"/>
                      <a:gd name="connsiteX1168" fmla="*/ 32785 w 334956"/>
                      <a:gd name="connsiteY1168" fmla="*/ 230257 h 334834"/>
                      <a:gd name="connsiteX1169" fmla="*/ 32128 w 334956"/>
                      <a:gd name="connsiteY1169" fmla="*/ 224504 h 334834"/>
                      <a:gd name="connsiteX1170" fmla="*/ 29337 w 334956"/>
                      <a:gd name="connsiteY1170" fmla="*/ 226724 h 334834"/>
                      <a:gd name="connsiteX1171" fmla="*/ 136827 w 334956"/>
                      <a:gd name="connsiteY1171" fmla="*/ 235429 h 334834"/>
                      <a:gd name="connsiteX1172" fmla="*/ 130826 w 334956"/>
                      <a:gd name="connsiteY1172" fmla="*/ 228524 h 334834"/>
                      <a:gd name="connsiteX1173" fmla="*/ 135350 w 334956"/>
                      <a:gd name="connsiteY1173" fmla="*/ 224495 h 334834"/>
                      <a:gd name="connsiteX1174" fmla="*/ 136827 w 334956"/>
                      <a:gd name="connsiteY1174" fmla="*/ 235429 h 334834"/>
                      <a:gd name="connsiteX1175" fmla="*/ 195005 w 334956"/>
                      <a:gd name="connsiteY1175" fmla="*/ 235353 h 334834"/>
                      <a:gd name="connsiteX1176" fmla="*/ 188843 w 334956"/>
                      <a:gd name="connsiteY1176" fmla="*/ 228619 h 334834"/>
                      <a:gd name="connsiteX1177" fmla="*/ 193119 w 334956"/>
                      <a:gd name="connsiteY1177" fmla="*/ 224676 h 334834"/>
                      <a:gd name="connsiteX1178" fmla="*/ 195005 w 334956"/>
                      <a:gd name="connsiteY1178" fmla="*/ 235353 h 334834"/>
                      <a:gd name="connsiteX1179" fmla="*/ 318678 w 334956"/>
                      <a:gd name="connsiteY1179" fmla="*/ 227543 h 334834"/>
                      <a:gd name="connsiteX1180" fmla="*/ 320078 w 334956"/>
                      <a:gd name="connsiteY1180" fmla="*/ 229019 h 334834"/>
                      <a:gd name="connsiteX1181" fmla="*/ 321802 w 334956"/>
                      <a:gd name="connsiteY1181" fmla="*/ 227866 h 334834"/>
                      <a:gd name="connsiteX1182" fmla="*/ 320650 w 334956"/>
                      <a:gd name="connsiteY1182" fmla="*/ 225981 h 334834"/>
                      <a:gd name="connsiteX1183" fmla="*/ 319992 w 334956"/>
                      <a:gd name="connsiteY1183" fmla="*/ 225895 h 334834"/>
                      <a:gd name="connsiteX1184" fmla="*/ 318678 w 334956"/>
                      <a:gd name="connsiteY1184" fmla="*/ 227543 h 334834"/>
                      <a:gd name="connsiteX1185" fmla="*/ 234696 w 334956"/>
                      <a:gd name="connsiteY1185" fmla="*/ 228448 h 334834"/>
                      <a:gd name="connsiteX1186" fmla="*/ 234782 w 334956"/>
                      <a:gd name="connsiteY1186" fmla="*/ 231572 h 334834"/>
                      <a:gd name="connsiteX1187" fmla="*/ 239468 w 334956"/>
                      <a:gd name="connsiteY1187" fmla="*/ 237658 h 334834"/>
                      <a:gd name="connsiteX1188" fmla="*/ 241106 w 334956"/>
                      <a:gd name="connsiteY1188" fmla="*/ 226066 h 334834"/>
                      <a:gd name="connsiteX1189" fmla="*/ 234696 w 334956"/>
                      <a:gd name="connsiteY1189" fmla="*/ 228448 h 334834"/>
                      <a:gd name="connsiteX1190" fmla="*/ 63112 w 334956"/>
                      <a:gd name="connsiteY1190" fmla="*/ 230667 h 334834"/>
                      <a:gd name="connsiteX1191" fmla="*/ 68284 w 334956"/>
                      <a:gd name="connsiteY1191" fmla="*/ 236506 h 334834"/>
                      <a:gd name="connsiteX1192" fmla="*/ 67056 w 334956"/>
                      <a:gd name="connsiteY1192" fmla="*/ 227133 h 334834"/>
                      <a:gd name="connsiteX1193" fmla="*/ 63112 w 334956"/>
                      <a:gd name="connsiteY1193" fmla="*/ 230667 h 334834"/>
                      <a:gd name="connsiteX1194" fmla="*/ 295180 w 334956"/>
                      <a:gd name="connsiteY1194" fmla="*/ 230743 h 334834"/>
                      <a:gd name="connsiteX1195" fmla="*/ 298628 w 334956"/>
                      <a:gd name="connsiteY1195" fmla="*/ 234934 h 334834"/>
                      <a:gd name="connsiteX1196" fmla="*/ 297399 w 334956"/>
                      <a:gd name="connsiteY1196" fmla="*/ 228771 h 334834"/>
                      <a:gd name="connsiteX1197" fmla="*/ 295180 w 334956"/>
                      <a:gd name="connsiteY1197" fmla="*/ 230743 h 334834"/>
                      <a:gd name="connsiteX1198" fmla="*/ 172326 w 334956"/>
                      <a:gd name="connsiteY1198" fmla="*/ 239782 h 334834"/>
                      <a:gd name="connsiteX1199" fmla="*/ 166649 w 334956"/>
                      <a:gd name="connsiteY1199" fmla="*/ 232962 h 334834"/>
                      <a:gd name="connsiteX1200" fmla="*/ 171335 w 334956"/>
                      <a:gd name="connsiteY1200" fmla="*/ 229105 h 334834"/>
                      <a:gd name="connsiteX1201" fmla="*/ 172326 w 334956"/>
                      <a:gd name="connsiteY1201" fmla="*/ 239782 h 334834"/>
                      <a:gd name="connsiteX1202" fmla="*/ 271843 w 334956"/>
                      <a:gd name="connsiteY1202" fmla="*/ 235020 h 334834"/>
                      <a:gd name="connsiteX1203" fmla="*/ 276196 w 334956"/>
                      <a:gd name="connsiteY1203" fmla="*/ 240440 h 334834"/>
                      <a:gd name="connsiteX1204" fmla="*/ 275453 w 334956"/>
                      <a:gd name="connsiteY1204" fmla="*/ 232058 h 334834"/>
                      <a:gd name="connsiteX1205" fmla="*/ 271843 w 334956"/>
                      <a:gd name="connsiteY1205" fmla="*/ 235020 h 334834"/>
                      <a:gd name="connsiteX1206" fmla="*/ 42158 w 334956"/>
                      <a:gd name="connsiteY1206" fmla="*/ 235515 h 334834"/>
                      <a:gd name="connsiteX1207" fmla="*/ 46272 w 334956"/>
                      <a:gd name="connsiteY1207" fmla="*/ 239630 h 334834"/>
                      <a:gd name="connsiteX1208" fmla="*/ 44958 w 334956"/>
                      <a:gd name="connsiteY1208" fmla="*/ 232896 h 334834"/>
                      <a:gd name="connsiteX1209" fmla="*/ 42158 w 334956"/>
                      <a:gd name="connsiteY1209" fmla="*/ 235515 h 334834"/>
                      <a:gd name="connsiteX1210" fmla="*/ 150628 w 334956"/>
                      <a:gd name="connsiteY1210" fmla="*/ 244145 h 334834"/>
                      <a:gd name="connsiteX1211" fmla="*/ 148333 w 334956"/>
                      <a:gd name="connsiteY1211" fmla="*/ 244554 h 334834"/>
                      <a:gd name="connsiteX1212" fmla="*/ 144142 w 334956"/>
                      <a:gd name="connsiteY1212" fmla="*/ 236906 h 334834"/>
                      <a:gd name="connsiteX1213" fmla="*/ 149076 w 334956"/>
                      <a:gd name="connsiteY1213" fmla="*/ 233210 h 334834"/>
                      <a:gd name="connsiteX1214" fmla="*/ 150628 w 334956"/>
                      <a:gd name="connsiteY1214" fmla="*/ 244145 h 334834"/>
                      <a:gd name="connsiteX1215" fmla="*/ 76428 w 334956"/>
                      <a:gd name="connsiteY1215" fmla="*/ 238554 h 334834"/>
                      <a:gd name="connsiteX1216" fmla="*/ 81772 w 334956"/>
                      <a:gd name="connsiteY1216" fmla="*/ 245621 h 334834"/>
                      <a:gd name="connsiteX1217" fmla="*/ 80458 w 334956"/>
                      <a:gd name="connsiteY1217" fmla="*/ 235591 h 334834"/>
                      <a:gd name="connsiteX1218" fmla="*/ 76428 w 334956"/>
                      <a:gd name="connsiteY1218" fmla="*/ 238554 h 334834"/>
                      <a:gd name="connsiteX1219" fmla="*/ 248755 w 334956"/>
                      <a:gd name="connsiteY1219" fmla="*/ 239296 h 334834"/>
                      <a:gd name="connsiteX1220" fmla="*/ 254584 w 334956"/>
                      <a:gd name="connsiteY1220" fmla="*/ 245707 h 334834"/>
                      <a:gd name="connsiteX1221" fmla="*/ 252774 w 334956"/>
                      <a:gd name="connsiteY1221" fmla="*/ 235601 h 334834"/>
                      <a:gd name="connsiteX1222" fmla="*/ 248755 w 334956"/>
                      <a:gd name="connsiteY1222" fmla="*/ 239296 h 334834"/>
                      <a:gd name="connsiteX1223" fmla="*/ 190814 w 334956"/>
                      <a:gd name="connsiteY1223" fmla="*/ 242907 h 334834"/>
                      <a:gd name="connsiteX1224" fmla="*/ 190567 w 334956"/>
                      <a:gd name="connsiteY1224" fmla="*/ 246602 h 334834"/>
                      <a:gd name="connsiteX1225" fmla="*/ 186128 w 334956"/>
                      <a:gd name="connsiteY1225" fmla="*/ 248574 h 334834"/>
                      <a:gd name="connsiteX1226" fmla="*/ 182756 w 334956"/>
                      <a:gd name="connsiteY1226" fmla="*/ 249069 h 334834"/>
                      <a:gd name="connsiteX1227" fmla="*/ 179556 w 334956"/>
                      <a:gd name="connsiteY1227" fmla="*/ 241344 h 334834"/>
                      <a:gd name="connsiteX1228" fmla="*/ 184404 w 334956"/>
                      <a:gd name="connsiteY1228" fmla="*/ 237477 h 334834"/>
                      <a:gd name="connsiteX1229" fmla="*/ 190814 w 334956"/>
                      <a:gd name="connsiteY1229" fmla="*/ 242907 h 334834"/>
                      <a:gd name="connsiteX1230" fmla="*/ 309553 w 334956"/>
                      <a:gd name="connsiteY1230" fmla="*/ 240525 h 334834"/>
                      <a:gd name="connsiteX1231" fmla="*/ 311696 w 334956"/>
                      <a:gd name="connsiteY1231" fmla="*/ 242583 h 334834"/>
                      <a:gd name="connsiteX1232" fmla="*/ 313172 w 334956"/>
                      <a:gd name="connsiteY1232" fmla="*/ 240278 h 334834"/>
                      <a:gd name="connsiteX1233" fmla="*/ 311115 w 334956"/>
                      <a:gd name="connsiteY1233" fmla="*/ 238877 h 334834"/>
                      <a:gd name="connsiteX1234" fmla="*/ 309553 w 334956"/>
                      <a:gd name="connsiteY1234" fmla="*/ 240525 h 334834"/>
                      <a:gd name="connsiteX1235" fmla="*/ 21536 w 334956"/>
                      <a:gd name="connsiteY1235" fmla="*/ 240611 h 334834"/>
                      <a:gd name="connsiteX1236" fmla="*/ 23012 w 334956"/>
                      <a:gd name="connsiteY1236" fmla="*/ 242506 h 334834"/>
                      <a:gd name="connsiteX1237" fmla="*/ 25070 w 334956"/>
                      <a:gd name="connsiteY1237" fmla="*/ 240944 h 334834"/>
                      <a:gd name="connsiteX1238" fmla="*/ 23174 w 334956"/>
                      <a:gd name="connsiteY1238" fmla="*/ 238973 h 334834"/>
                      <a:gd name="connsiteX1239" fmla="*/ 21536 w 334956"/>
                      <a:gd name="connsiteY1239" fmla="*/ 240611 h 334834"/>
                      <a:gd name="connsiteX1240" fmla="*/ 226314 w 334956"/>
                      <a:gd name="connsiteY1240" fmla="*/ 242087 h 334834"/>
                      <a:gd name="connsiteX1241" fmla="*/ 225980 w 334956"/>
                      <a:gd name="connsiteY1241" fmla="*/ 245383 h 334834"/>
                      <a:gd name="connsiteX1242" fmla="*/ 231324 w 334956"/>
                      <a:gd name="connsiteY1242" fmla="*/ 250803 h 334834"/>
                      <a:gd name="connsiteX1243" fmla="*/ 231895 w 334956"/>
                      <a:gd name="connsiteY1243" fmla="*/ 239459 h 334834"/>
                      <a:gd name="connsiteX1244" fmla="*/ 226314 w 334956"/>
                      <a:gd name="connsiteY1244" fmla="*/ 242087 h 334834"/>
                      <a:gd name="connsiteX1245" fmla="*/ 55150 w 334956"/>
                      <a:gd name="connsiteY1245" fmla="*/ 243897 h 334834"/>
                      <a:gd name="connsiteX1246" fmla="*/ 59255 w 334956"/>
                      <a:gd name="connsiteY1246" fmla="*/ 248993 h 334834"/>
                      <a:gd name="connsiteX1247" fmla="*/ 58274 w 334956"/>
                      <a:gd name="connsiteY1247" fmla="*/ 241268 h 334834"/>
                      <a:gd name="connsiteX1248" fmla="*/ 55150 w 334956"/>
                      <a:gd name="connsiteY1248" fmla="*/ 243897 h 334834"/>
                      <a:gd name="connsiteX1249" fmla="*/ 168545 w 334956"/>
                      <a:gd name="connsiteY1249" fmla="*/ 247021 h 334834"/>
                      <a:gd name="connsiteX1250" fmla="*/ 168707 w 334956"/>
                      <a:gd name="connsiteY1250" fmla="*/ 250803 h 334834"/>
                      <a:gd name="connsiteX1251" fmla="*/ 166811 w 334956"/>
                      <a:gd name="connsiteY1251" fmla="*/ 252527 h 334834"/>
                      <a:gd name="connsiteX1252" fmla="*/ 158677 w 334956"/>
                      <a:gd name="connsiteY1252" fmla="*/ 253755 h 334834"/>
                      <a:gd name="connsiteX1253" fmla="*/ 159010 w 334956"/>
                      <a:gd name="connsiteY1253" fmla="*/ 243078 h 334834"/>
                      <a:gd name="connsiteX1254" fmla="*/ 162630 w 334956"/>
                      <a:gd name="connsiteY1254" fmla="*/ 241763 h 334834"/>
                      <a:gd name="connsiteX1255" fmla="*/ 168545 w 334956"/>
                      <a:gd name="connsiteY1255" fmla="*/ 247021 h 334834"/>
                      <a:gd name="connsiteX1256" fmla="*/ 286140 w 334956"/>
                      <a:gd name="connsiteY1256" fmla="*/ 244307 h 334834"/>
                      <a:gd name="connsiteX1257" fmla="*/ 289512 w 334956"/>
                      <a:gd name="connsiteY1257" fmla="*/ 248326 h 334834"/>
                      <a:gd name="connsiteX1258" fmla="*/ 289017 w 334956"/>
                      <a:gd name="connsiteY1258" fmla="*/ 241925 h 334834"/>
                      <a:gd name="connsiteX1259" fmla="*/ 286140 w 334956"/>
                      <a:gd name="connsiteY1259" fmla="*/ 244307 h 334834"/>
                      <a:gd name="connsiteX1260" fmla="*/ 89240 w 334956"/>
                      <a:gd name="connsiteY1260" fmla="*/ 248079 h 334834"/>
                      <a:gd name="connsiteX1261" fmla="*/ 94507 w 334956"/>
                      <a:gd name="connsiteY1261" fmla="*/ 254736 h 334834"/>
                      <a:gd name="connsiteX1262" fmla="*/ 93440 w 334956"/>
                      <a:gd name="connsiteY1262" fmla="*/ 244297 h 334834"/>
                      <a:gd name="connsiteX1263" fmla="*/ 89240 w 334956"/>
                      <a:gd name="connsiteY1263" fmla="*/ 248079 h 334834"/>
                      <a:gd name="connsiteX1264" fmla="*/ 262966 w 334956"/>
                      <a:gd name="connsiteY1264" fmla="*/ 248412 h 334834"/>
                      <a:gd name="connsiteX1265" fmla="*/ 267652 w 334956"/>
                      <a:gd name="connsiteY1265" fmla="*/ 253670 h 334834"/>
                      <a:gd name="connsiteX1266" fmla="*/ 266262 w 334956"/>
                      <a:gd name="connsiteY1266" fmla="*/ 245450 h 334834"/>
                      <a:gd name="connsiteX1267" fmla="*/ 262966 w 334956"/>
                      <a:gd name="connsiteY1267" fmla="*/ 248412 h 334834"/>
                      <a:gd name="connsiteX1268" fmla="*/ 34357 w 334956"/>
                      <a:gd name="connsiteY1268" fmla="*/ 248745 h 334834"/>
                      <a:gd name="connsiteX1269" fmla="*/ 36824 w 334956"/>
                      <a:gd name="connsiteY1269" fmla="*/ 251946 h 334834"/>
                      <a:gd name="connsiteX1270" fmla="*/ 36576 w 334956"/>
                      <a:gd name="connsiteY1270" fmla="*/ 247174 h 334834"/>
                      <a:gd name="connsiteX1271" fmla="*/ 34357 w 334956"/>
                      <a:gd name="connsiteY1271" fmla="*/ 248745 h 334834"/>
                      <a:gd name="connsiteX1272" fmla="*/ 240116 w 334956"/>
                      <a:gd name="connsiteY1272" fmla="*/ 252527 h 334834"/>
                      <a:gd name="connsiteX1273" fmla="*/ 245373 w 334956"/>
                      <a:gd name="connsiteY1273" fmla="*/ 258851 h 334834"/>
                      <a:gd name="connsiteX1274" fmla="*/ 244059 w 334956"/>
                      <a:gd name="connsiteY1274" fmla="*/ 249079 h 334834"/>
                      <a:gd name="connsiteX1275" fmla="*/ 240116 w 334956"/>
                      <a:gd name="connsiteY1275" fmla="*/ 252527 h 334834"/>
                      <a:gd name="connsiteX1276" fmla="*/ 68046 w 334956"/>
                      <a:gd name="connsiteY1276" fmla="*/ 253012 h 334834"/>
                      <a:gd name="connsiteX1277" fmla="*/ 72809 w 334956"/>
                      <a:gd name="connsiteY1277" fmla="*/ 258108 h 334834"/>
                      <a:gd name="connsiteX1278" fmla="*/ 71494 w 334956"/>
                      <a:gd name="connsiteY1278" fmla="*/ 249898 h 334834"/>
                      <a:gd name="connsiteX1279" fmla="*/ 68046 w 334956"/>
                      <a:gd name="connsiteY1279" fmla="*/ 253012 h 334834"/>
                      <a:gd name="connsiteX1280" fmla="*/ 303066 w 334956"/>
                      <a:gd name="connsiteY1280" fmla="*/ 255899 h 334834"/>
                      <a:gd name="connsiteX1281" fmla="*/ 304390 w 334956"/>
                      <a:gd name="connsiteY1281" fmla="*/ 253508 h 334834"/>
                      <a:gd name="connsiteX1282" fmla="*/ 302247 w 334956"/>
                      <a:gd name="connsiteY1282" fmla="*/ 252117 h 334834"/>
                      <a:gd name="connsiteX1283" fmla="*/ 303066 w 334956"/>
                      <a:gd name="connsiteY1283" fmla="*/ 255899 h 334834"/>
                      <a:gd name="connsiteX1284" fmla="*/ 217446 w 334956"/>
                      <a:gd name="connsiteY1284" fmla="*/ 256880 h 334834"/>
                      <a:gd name="connsiteX1285" fmla="*/ 223275 w 334956"/>
                      <a:gd name="connsiteY1285" fmla="*/ 263785 h 334834"/>
                      <a:gd name="connsiteX1286" fmla="*/ 222209 w 334956"/>
                      <a:gd name="connsiteY1286" fmla="*/ 252936 h 334834"/>
                      <a:gd name="connsiteX1287" fmla="*/ 217446 w 334956"/>
                      <a:gd name="connsiteY1287" fmla="*/ 256880 h 334834"/>
                      <a:gd name="connsiteX1288" fmla="*/ 102480 w 334956"/>
                      <a:gd name="connsiteY1288" fmla="*/ 257127 h 334834"/>
                      <a:gd name="connsiteX1289" fmla="*/ 108633 w 334956"/>
                      <a:gd name="connsiteY1289" fmla="*/ 263538 h 334834"/>
                      <a:gd name="connsiteX1290" fmla="*/ 106832 w 334956"/>
                      <a:gd name="connsiteY1290" fmla="*/ 253108 h 334834"/>
                      <a:gd name="connsiteX1291" fmla="*/ 102480 w 334956"/>
                      <a:gd name="connsiteY1291" fmla="*/ 257127 h 334834"/>
                      <a:gd name="connsiteX1292" fmla="*/ 277263 w 334956"/>
                      <a:gd name="connsiteY1292" fmla="*/ 257785 h 334834"/>
                      <a:gd name="connsiteX1293" fmla="*/ 281206 w 334956"/>
                      <a:gd name="connsiteY1293" fmla="*/ 261480 h 334834"/>
                      <a:gd name="connsiteX1294" fmla="*/ 279730 w 334956"/>
                      <a:gd name="connsiteY1294" fmla="*/ 255327 h 334834"/>
                      <a:gd name="connsiteX1295" fmla="*/ 277263 w 334956"/>
                      <a:gd name="connsiteY1295" fmla="*/ 257785 h 334834"/>
                      <a:gd name="connsiteX1296" fmla="*/ 50702 w 334956"/>
                      <a:gd name="connsiteY1296" fmla="*/ 261233 h 334834"/>
                      <a:gd name="connsiteX1297" fmla="*/ 49387 w 334956"/>
                      <a:gd name="connsiteY1297" fmla="*/ 255641 h 334834"/>
                      <a:gd name="connsiteX1298" fmla="*/ 50702 w 334956"/>
                      <a:gd name="connsiteY1298" fmla="*/ 261233 h 334834"/>
                      <a:gd name="connsiteX1299" fmla="*/ 138141 w 334956"/>
                      <a:gd name="connsiteY1299" fmla="*/ 259347 h 334834"/>
                      <a:gd name="connsiteX1300" fmla="*/ 142580 w 334956"/>
                      <a:gd name="connsiteY1300" fmla="*/ 268548 h 334834"/>
                      <a:gd name="connsiteX1301" fmla="*/ 143808 w 334956"/>
                      <a:gd name="connsiteY1301" fmla="*/ 257042 h 334834"/>
                      <a:gd name="connsiteX1302" fmla="*/ 138141 w 334956"/>
                      <a:gd name="connsiteY1302" fmla="*/ 259347 h 334834"/>
                      <a:gd name="connsiteX1303" fmla="*/ 195824 w 334956"/>
                      <a:gd name="connsiteY1303" fmla="*/ 259261 h 334834"/>
                      <a:gd name="connsiteX1304" fmla="*/ 199520 w 334956"/>
                      <a:gd name="connsiteY1304" fmla="*/ 268386 h 334834"/>
                      <a:gd name="connsiteX1305" fmla="*/ 200673 w 334956"/>
                      <a:gd name="connsiteY1305" fmla="*/ 257203 h 334834"/>
                      <a:gd name="connsiteX1306" fmla="*/ 195824 w 334956"/>
                      <a:gd name="connsiteY1306" fmla="*/ 259261 h 334834"/>
                      <a:gd name="connsiteX1307" fmla="*/ 81191 w 334956"/>
                      <a:gd name="connsiteY1307" fmla="*/ 261890 h 334834"/>
                      <a:gd name="connsiteX1308" fmla="*/ 86373 w 334956"/>
                      <a:gd name="connsiteY1308" fmla="*/ 267071 h 334834"/>
                      <a:gd name="connsiteX1309" fmla="*/ 84811 w 334956"/>
                      <a:gd name="connsiteY1309" fmla="*/ 258528 h 334834"/>
                      <a:gd name="connsiteX1310" fmla="*/ 81191 w 334956"/>
                      <a:gd name="connsiteY1310" fmla="*/ 261890 h 334834"/>
                      <a:gd name="connsiteX1311" fmla="*/ 254251 w 334956"/>
                      <a:gd name="connsiteY1311" fmla="*/ 261890 h 334834"/>
                      <a:gd name="connsiteX1312" fmla="*/ 258442 w 334956"/>
                      <a:gd name="connsiteY1312" fmla="*/ 266824 h 334834"/>
                      <a:gd name="connsiteX1313" fmla="*/ 257451 w 334956"/>
                      <a:gd name="connsiteY1313" fmla="*/ 258851 h 334834"/>
                      <a:gd name="connsiteX1314" fmla="*/ 254251 w 334956"/>
                      <a:gd name="connsiteY1314" fmla="*/ 261890 h 334834"/>
                      <a:gd name="connsiteX1315" fmla="*/ 173802 w 334956"/>
                      <a:gd name="connsiteY1315" fmla="*/ 263538 h 334834"/>
                      <a:gd name="connsiteX1316" fmla="*/ 177755 w 334956"/>
                      <a:gd name="connsiteY1316" fmla="*/ 272901 h 334834"/>
                      <a:gd name="connsiteX1317" fmla="*/ 178984 w 334956"/>
                      <a:gd name="connsiteY1317" fmla="*/ 261566 h 334834"/>
                      <a:gd name="connsiteX1318" fmla="*/ 173802 w 334956"/>
                      <a:gd name="connsiteY1318" fmla="*/ 263538 h 334834"/>
                      <a:gd name="connsiteX1319" fmla="*/ 115957 w 334956"/>
                      <a:gd name="connsiteY1319" fmla="*/ 265509 h 334834"/>
                      <a:gd name="connsiteX1320" fmla="*/ 121377 w 334956"/>
                      <a:gd name="connsiteY1320" fmla="*/ 272415 h 334834"/>
                      <a:gd name="connsiteX1321" fmla="*/ 120396 w 334956"/>
                      <a:gd name="connsiteY1321" fmla="*/ 261985 h 334834"/>
                      <a:gd name="connsiteX1322" fmla="*/ 115957 w 334956"/>
                      <a:gd name="connsiteY1322" fmla="*/ 265509 h 334834"/>
                      <a:gd name="connsiteX1323" fmla="*/ 27041 w 334956"/>
                      <a:gd name="connsiteY1323" fmla="*/ 262709 h 334834"/>
                      <a:gd name="connsiteX1324" fmla="*/ 27289 w 334956"/>
                      <a:gd name="connsiteY1324" fmla="*/ 263614 h 334834"/>
                      <a:gd name="connsiteX1325" fmla="*/ 27946 w 334956"/>
                      <a:gd name="connsiteY1325" fmla="*/ 263690 h 334834"/>
                      <a:gd name="connsiteX1326" fmla="*/ 28356 w 334956"/>
                      <a:gd name="connsiteY1326" fmla="*/ 262785 h 334834"/>
                      <a:gd name="connsiteX1327" fmla="*/ 27365 w 334956"/>
                      <a:gd name="connsiteY1327" fmla="*/ 262290 h 334834"/>
                      <a:gd name="connsiteX1328" fmla="*/ 27041 w 334956"/>
                      <a:gd name="connsiteY1328" fmla="*/ 262709 h 334834"/>
                      <a:gd name="connsiteX1329" fmla="*/ 231572 w 334956"/>
                      <a:gd name="connsiteY1329" fmla="*/ 265757 h 334834"/>
                      <a:gd name="connsiteX1330" fmla="*/ 236753 w 334956"/>
                      <a:gd name="connsiteY1330" fmla="*/ 271843 h 334834"/>
                      <a:gd name="connsiteX1331" fmla="*/ 235525 w 334956"/>
                      <a:gd name="connsiteY1331" fmla="*/ 262633 h 334834"/>
                      <a:gd name="connsiteX1332" fmla="*/ 231572 w 334956"/>
                      <a:gd name="connsiteY1332" fmla="*/ 265757 h 334834"/>
                      <a:gd name="connsiteX1333" fmla="*/ 60245 w 334956"/>
                      <a:gd name="connsiteY1333" fmla="*/ 266243 h 334834"/>
                      <a:gd name="connsiteX1334" fmla="*/ 63693 w 334956"/>
                      <a:gd name="connsiteY1334" fmla="*/ 270434 h 334834"/>
                      <a:gd name="connsiteX1335" fmla="*/ 62703 w 334956"/>
                      <a:gd name="connsiteY1335" fmla="*/ 264185 h 334834"/>
                      <a:gd name="connsiteX1336" fmla="*/ 60245 w 334956"/>
                      <a:gd name="connsiteY1336" fmla="*/ 266243 h 334834"/>
                      <a:gd name="connsiteX1337" fmla="*/ 291808 w 334956"/>
                      <a:gd name="connsiteY1337" fmla="*/ 267148 h 334834"/>
                      <a:gd name="connsiteX1338" fmla="*/ 293284 w 334956"/>
                      <a:gd name="connsiteY1338" fmla="*/ 269205 h 334834"/>
                      <a:gd name="connsiteX1339" fmla="*/ 295589 w 334956"/>
                      <a:gd name="connsiteY1339" fmla="*/ 267481 h 334834"/>
                      <a:gd name="connsiteX1340" fmla="*/ 293370 w 334956"/>
                      <a:gd name="connsiteY1340" fmla="*/ 265509 h 334834"/>
                      <a:gd name="connsiteX1341" fmla="*/ 291808 w 334956"/>
                      <a:gd name="connsiteY1341" fmla="*/ 267148 h 334834"/>
                      <a:gd name="connsiteX1342" fmla="*/ 151124 w 334956"/>
                      <a:gd name="connsiteY1342" fmla="*/ 269777 h 334834"/>
                      <a:gd name="connsiteX1343" fmla="*/ 156963 w 334956"/>
                      <a:gd name="connsiteY1343" fmla="*/ 277092 h 334834"/>
                      <a:gd name="connsiteX1344" fmla="*/ 156058 w 334956"/>
                      <a:gd name="connsiteY1344" fmla="*/ 266167 h 334834"/>
                      <a:gd name="connsiteX1345" fmla="*/ 151124 w 334956"/>
                      <a:gd name="connsiteY1345" fmla="*/ 269777 h 334834"/>
                      <a:gd name="connsiteX1346" fmla="*/ 209064 w 334956"/>
                      <a:gd name="connsiteY1346" fmla="*/ 270196 h 334834"/>
                      <a:gd name="connsiteX1347" fmla="*/ 214074 w 334956"/>
                      <a:gd name="connsiteY1347" fmla="*/ 276682 h 334834"/>
                      <a:gd name="connsiteX1348" fmla="*/ 213084 w 334956"/>
                      <a:gd name="connsiteY1348" fmla="*/ 266662 h 334834"/>
                      <a:gd name="connsiteX1349" fmla="*/ 209064 w 334956"/>
                      <a:gd name="connsiteY1349" fmla="*/ 270196 h 334834"/>
                      <a:gd name="connsiteX1350" fmla="*/ 94421 w 334956"/>
                      <a:gd name="connsiteY1350" fmla="*/ 270605 h 334834"/>
                      <a:gd name="connsiteX1351" fmla="*/ 99755 w 334956"/>
                      <a:gd name="connsiteY1351" fmla="*/ 275949 h 334834"/>
                      <a:gd name="connsiteX1352" fmla="*/ 98203 w 334956"/>
                      <a:gd name="connsiteY1352" fmla="*/ 267319 h 334834"/>
                      <a:gd name="connsiteX1353" fmla="*/ 94421 w 334956"/>
                      <a:gd name="connsiteY1353" fmla="*/ 270605 h 334834"/>
                      <a:gd name="connsiteX1354" fmla="*/ 268634 w 334956"/>
                      <a:gd name="connsiteY1354" fmla="*/ 270853 h 334834"/>
                      <a:gd name="connsiteX1355" fmla="*/ 271843 w 334956"/>
                      <a:gd name="connsiteY1355" fmla="*/ 274710 h 334834"/>
                      <a:gd name="connsiteX1356" fmla="*/ 271024 w 334956"/>
                      <a:gd name="connsiteY1356" fmla="*/ 268795 h 334834"/>
                      <a:gd name="connsiteX1357" fmla="*/ 268634 w 334956"/>
                      <a:gd name="connsiteY1357" fmla="*/ 270853 h 334834"/>
                      <a:gd name="connsiteX1358" fmla="*/ 39453 w 334956"/>
                      <a:gd name="connsiteY1358" fmla="*/ 271920 h 334834"/>
                      <a:gd name="connsiteX1359" fmla="*/ 40853 w 334956"/>
                      <a:gd name="connsiteY1359" fmla="*/ 273310 h 334834"/>
                      <a:gd name="connsiteX1360" fmla="*/ 42577 w 334956"/>
                      <a:gd name="connsiteY1360" fmla="*/ 271663 h 334834"/>
                      <a:gd name="connsiteX1361" fmla="*/ 40681 w 334956"/>
                      <a:gd name="connsiteY1361" fmla="*/ 270262 h 334834"/>
                      <a:gd name="connsiteX1362" fmla="*/ 39453 w 334956"/>
                      <a:gd name="connsiteY1362" fmla="*/ 271920 h 334834"/>
                      <a:gd name="connsiteX1363" fmla="*/ 186709 w 334956"/>
                      <a:gd name="connsiteY1363" fmla="*/ 274710 h 334834"/>
                      <a:gd name="connsiteX1364" fmla="*/ 192872 w 334956"/>
                      <a:gd name="connsiteY1364" fmla="*/ 281121 h 334834"/>
                      <a:gd name="connsiteX1365" fmla="*/ 190814 w 334956"/>
                      <a:gd name="connsiteY1365" fmla="*/ 270929 h 334834"/>
                      <a:gd name="connsiteX1366" fmla="*/ 186709 w 334956"/>
                      <a:gd name="connsiteY1366" fmla="*/ 274710 h 334834"/>
                      <a:gd name="connsiteX1367" fmla="*/ 129264 w 334956"/>
                      <a:gd name="connsiteY1367" fmla="*/ 274872 h 334834"/>
                      <a:gd name="connsiteX1368" fmla="*/ 134445 w 334956"/>
                      <a:gd name="connsiteY1368" fmla="*/ 281121 h 334834"/>
                      <a:gd name="connsiteX1369" fmla="*/ 133378 w 334956"/>
                      <a:gd name="connsiteY1369" fmla="*/ 271100 h 334834"/>
                      <a:gd name="connsiteX1370" fmla="*/ 129264 w 334956"/>
                      <a:gd name="connsiteY1370" fmla="*/ 274872 h 334834"/>
                      <a:gd name="connsiteX1371" fmla="*/ 245707 w 334956"/>
                      <a:gd name="connsiteY1371" fmla="*/ 275120 h 334834"/>
                      <a:gd name="connsiteX1372" fmla="*/ 249898 w 334956"/>
                      <a:gd name="connsiteY1372" fmla="*/ 279806 h 334834"/>
                      <a:gd name="connsiteX1373" fmla="*/ 248831 w 334956"/>
                      <a:gd name="connsiteY1373" fmla="*/ 272405 h 334834"/>
                      <a:gd name="connsiteX1374" fmla="*/ 245707 w 334956"/>
                      <a:gd name="connsiteY1374" fmla="*/ 275120 h 334834"/>
                      <a:gd name="connsiteX1375" fmla="*/ 73304 w 334956"/>
                      <a:gd name="connsiteY1375" fmla="*/ 275206 h 334834"/>
                      <a:gd name="connsiteX1376" fmla="*/ 77333 w 334956"/>
                      <a:gd name="connsiteY1376" fmla="*/ 279397 h 334834"/>
                      <a:gd name="connsiteX1377" fmla="*/ 75771 w 334956"/>
                      <a:gd name="connsiteY1377" fmla="*/ 272901 h 334834"/>
                      <a:gd name="connsiteX1378" fmla="*/ 73304 w 334956"/>
                      <a:gd name="connsiteY1378" fmla="*/ 275206 h 334834"/>
                      <a:gd name="connsiteX1379" fmla="*/ 164678 w 334956"/>
                      <a:gd name="connsiteY1379" fmla="*/ 279149 h 334834"/>
                      <a:gd name="connsiteX1380" fmla="*/ 169936 w 334956"/>
                      <a:gd name="connsiteY1380" fmla="*/ 285559 h 334834"/>
                      <a:gd name="connsiteX1381" fmla="*/ 169193 w 334956"/>
                      <a:gd name="connsiteY1381" fmla="*/ 275453 h 334834"/>
                      <a:gd name="connsiteX1382" fmla="*/ 164678 w 334956"/>
                      <a:gd name="connsiteY1382" fmla="*/ 279149 h 334834"/>
                      <a:gd name="connsiteX1383" fmla="*/ 107823 w 334956"/>
                      <a:gd name="connsiteY1383" fmla="*/ 279397 h 334834"/>
                      <a:gd name="connsiteX1384" fmla="*/ 113004 w 334956"/>
                      <a:gd name="connsiteY1384" fmla="*/ 284740 h 334834"/>
                      <a:gd name="connsiteX1385" fmla="*/ 111280 w 334956"/>
                      <a:gd name="connsiteY1385" fmla="*/ 276273 h 334834"/>
                      <a:gd name="connsiteX1386" fmla="*/ 107823 w 334956"/>
                      <a:gd name="connsiteY1386" fmla="*/ 279397 h 334834"/>
                      <a:gd name="connsiteX1387" fmla="*/ 223113 w 334956"/>
                      <a:gd name="connsiteY1387" fmla="*/ 279397 h 334834"/>
                      <a:gd name="connsiteX1388" fmla="*/ 227714 w 334956"/>
                      <a:gd name="connsiteY1388" fmla="*/ 284740 h 334834"/>
                      <a:gd name="connsiteX1389" fmla="*/ 226323 w 334956"/>
                      <a:gd name="connsiteY1389" fmla="*/ 276358 h 334834"/>
                      <a:gd name="connsiteX1390" fmla="*/ 223113 w 334956"/>
                      <a:gd name="connsiteY1390" fmla="*/ 279397 h 334834"/>
                      <a:gd name="connsiteX1391" fmla="*/ 53997 w 334956"/>
                      <a:gd name="connsiteY1391" fmla="*/ 282521 h 334834"/>
                      <a:gd name="connsiteX1392" fmla="*/ 56216 w 334956"/>
                      <a:gd name="connsiteY1392" fmla="*/ 280873 h 334834"/>
                      <a:gd name="connsiteX1393" fmla="*/ 53912 w 334956"/>
                      <a:gd name="connsiteY1393" fmla="*/ 278740 h 334834"/>
                      <a:gd name="connsiteX1394" fmla="*/ 53997 w 334956"/>
                      <a:gd name="connsiteY1394" fmla="*/ 282521 h 334834"/>
                      <a:gd name="connsiteX1395" fmla="*/ 283178 w 334956"/>
                      <a:gd name="connsiteY1395" fmla="*/ 280464 h 334834"/>
                      <a:gd name="connsiteX1396" fmla="*/ 284988 w 334956"/>
                      <a:gd name="connsiteY1396" fmla="*/ 282349 h 334834"/>
                      <a:gd name="connsiteX1397" fmla="*/ 286464 w 334956"/>
                      <a:gd name="connsiteY1397" fmla="*/ 280949 h 334834"/>
                      <a:gd name="connsiteX1398" fmla="*/ 284578 w 334956"/>
                      <a:gd name="connsiteY1398" fmla="*/ 278978 h 334834"/>
                      <a:gd name="connsiteX1399" fmla="*/ 283178 w 334956"/>
                      <a:gd name="connsiteY1399" fmla="*/ 280464 h 334834"/>
                      <a:gd name="connsiteX1400" fmla="*/ 142827 w 334956"/>
                      <a:gd name="connsiteY1400" fmla="*/ 283912 h 334834"/>
                      <a:gd name="connsiteX1401" fmla="*/ 148419 w 334956"/>
                      <a:gd name="connsiteY1401" fmla="*/ 289589 h 334834"/>
                      <a:gd name="connsiteX1402" fmla="*/ 146780 w 334956"/>
                      <a:gd name="connsiteY1402" fmla="*/ 280216 h 334834"/>
                      <a:gd name="connsiteX1403" fmla="*/ 142827 w 334956"/>
                      <a:gd name="connsiteY1403" fmla="*/ 283912 h 334834"/>
                      <a:gd name="connsiteX1404" fmla="*/ 200682 w 334956"/>
                      <a:gd name="connsiteY1404" fmla="*/ 283750 h 334834"/>
                      <a:gd name="connsiteX1405" fmla="*/ 205769 w 334956"/>
                      <a:gd name="connsiteY1405" fmla="*/ 289427 h 334834"/>
                      <a:gd name="connsiteX1406" fmla="*/ 204454 w 334956"/>
                      <a:gd name="connsiteY1406" fmla="*/ 280473 h 334834"/>
                      <a:gd name="connsiteX1407" fmla="*/ 200682 w 334956"/>
                      <a:gd name="connsiteY1407" fmla="*/ 283750 h 334834"/>
                      <a:gd name="connsiteX1408" fmla="*/ 86449 w 334956"/>
                      <a:gd name="connsiteY1408" fmla="*/ 284493 h 334834"/>
                      <a:gd name="connsiteX1409" fmla="*/ 90811 w 334956"/>
                      <a:gd name="connsiteY1409" fmla="*/ 288265 h 334834"/>
                      <a:gd name="connsiteX1410" fmla="*/ 89163 w 334956"/>
                      <a:gd name="connsiteY1410" fmla="*/ 281692 h 334834"/>
                      <a:gd name="connsiteX1411" fmla="*/ 86449 w 334956"/>
                      <a:gd name="connsiteY1411" fmla="*/ 284493 h 334834"/>
                      <a:gd name="connsiteX1412" fmla="*/ 260004 w 334956"/>
                      <a:gd name="connsiteY1412" fmla="*/ 284493 h 334834"/>
                      <a:gd name="connsiteX1413" fmla="*/ 263204 w 334956"/>
                      <a:gd name="connsiteY1413" fmla="*/ 287693 h 334834"/>
                      <a:gd name="connsiteX1414" fmla="*/ 261976 w 334956"/>
                      <a:gd name="connsiteY1414" fmla="*/ 282435 h 334834"/>
                      <a:gd name="connsiteX1415" fmla="*/ 260004 w 334956"/>
                      <a:gd name="connsiteY1415" fmla="*/ 284493 h 334834"/>
                      <a:gd name="connsiteX1416" fmla="*/ 178489 w 334956"/>
                      <a:gd name="connsiteY1416" fmla="*/ 288188 h 334834"/>
                      <a:gd name="connsiteX1417" fmla="*/ 183585 w 334956"/>
                      <a:gd name="connsiteY1417" fmla="*/ 293856 h 334834"/>
                      <a:gd name="connsiteX1418" fmla="*/ 182185 w 334956"/>
                      <a:gd name="connsiteY1418" fmla="*/ 284893 h 334834"/>
                      <a:gd name="connsiteX1419" fmla="*/ 178489 w 334956"/>
                      <a:gd name="connsiteY1419" fmla="*/ 288188 h 334834"/>
                      <a:gd name="connsiteX1420" fmla="*/ 121291 w 334956"/>
                      <a:gd name="connsiteY1420" fmla="*/ 288265 h 334834"/>
                      <a:gd name="connsiteX1421" fmla="*/ 125816 w 334956"/>
                      <a:gd name="connsiteY1421" fmla="*/ 293522 h 334834"/>
                      <a:gd name="connsiteX1422" fmla="*/ 124749 w 334956"/>
                      <a:gd name="connsiteY1422" fmla="*/ 285312 h 334834"/>
                      <a:gd name="connsiteX1423" fmla="*/ 121291 w 334956"/>
                      <a:gd name="connsiteY1423" fmla="*/ 288265 h 334834"/>
                      <a:gd name="connsiteX1424" fmla="*/ 237249 w 334956"/>
                      <a:gd name="connsiteY1424" fmla="*/ 288598 h 334834"/>
                      <a:gd name="connsiteX1425" fmla="*/ 241192 w 334956"/>
                      <a:gd name="connsiteY1425" fmla="*/ 292713 h 334834"/>
                      <a:gd name="connsiteX1426" fmla="*/ 239878 w 334956"/>
                      <a:gd name="connsiteY1426" fmla="*/ 286141 h 334834"/>
                      <a:gd name="connsiteX1427" fmla="*/ 237249 w 334956"/>
                      <a:gd name="connsiteY1427" fmla="*/ 288598 h 334834"/>
                      <a:gd name="connsiteX1428" fmla="*/ 65494 w 334956"/>
                      <a:gd name="connsiteY1428" fmla="*/ 289169 h 334834"/>
                      <a:gd name="connsiteX1429" fmla="*/ 67875 w 334956"/>
                      <a:gd name="connsiteY1429" fmla="*/ 291636 h 334834"/>
                      <a:gd name="connsiteX1430" fmla="*/ 67380 w 334956"/>
                      <a:gd name="connsiteY1430" fmla="*/ 287360 h 334834"/>
                      <a:gd name="connsiteX1431" fmla="*/ 65494 w 334956"/>
                      <a:gd name="connsiteY1431" fmla="*/ 289169 h 334834"/>
                      <a:gd name="connsiteX1432" fmla="*/ 156543 w 334956"/>
                      <a:gd name="connsiteY1432" fmla="*/ 292713 h 334834"/>
                      <a:gd name="connsiteX1433" fmla="*/ 161563 w 334956"/>
                      <a:gd name="connsiteY1433" fmla="*/ 298056 h 334834"/>
                      <a:gd name="connsiteX1434" fmla="*/ 160572 w 334956"/>
                      <a:gd name="connsiteY1434" fmla="*/ 289512 h 334834"/>
                      <a:gd name="connsiteX1435" fmla="*/ 156543 w 334956"/>
                      <a:gd name="connsiteY1435" fmla="*/ 292713 h 334834"/>
                      <a:gd name="connsiteX1436" fmla="*/ 214731 w 334956"/>
                      <a:gd name="connsiteY1436" fmla="*/ 292865 h 334834"/>
                      <a:gd name="connsiteX1437" fmla="*/ 219246 w 334956"/>
                      <a:gd name="connsiteY1437" fmla="*/ 297466 h 334834"/>
                      <a:gd name="connsiteX1438" fmla="*/ 217522 w 334956"/>
                      <a:gd name="connsiteY1438" fmla="*/ 290150 h 334834"/>
                      <a:gd name="connsiteX1439" fmla="*/ 214731 w 334956"/>
                      <a:gd name="connsiteY1439" fmla="*/ 292865 h 334834"/>
                      <a:gd name="connsiteX1440" fmla="*/ 99851 w 334956"/>
                      <a:gd name="connsiteY1440" fmla="*/ 293122 h 334834"/>
                      <a:gd name="connsiteX1441" fmla="*/ 103794 w 334956"/>
                      <a:gd name="connsiteY1441" fmla="*/ 297142 h 334834"/>
                      <a:gd name="connsiteX1442" fmla="*/ 102641 w 334956"/>
                      <a:gd name="connsiteY1442" fmla="*/ 290570 h 334834"/>
                      <a:gd name="connsiteX1443" fmla="*/ 99851 w 334956"/>
                      <a:gd name="connsiteY1443" fmla="*/ 293122 h 334834"/>
                      <a:gd name="connsiteX1444" fmla="*/ 274720 w 334956"/>
                      <a:gd name="connsiteY1444" fmla="*/ 294018 h 334834"/>
                      <a:gd name="connsiteX1445" fmla="*/ 275711 w 334956"/>
                      <a:gd name="connsiteY1445" fmla="*/ 295084 h 334834"/>
                      <a:gd name="connsiteX1446" fmla="*/ 276292 w 334956"/>
                      <a:gd name="connsiteY1446" fmla="*/ 295161 h 334834"/>
                      <a:gd name="connsiteX1447" fmla="*/ 277111 w 334956"/>
                      <a:gd name="connsiteY1447" fmla="*/ 294256 h 334834"/>
                      <a:gd name="connsiteX1448" fmla="*/ 276368 w 334956"/>
                      <a:gd name="connsiteY1448" fmla="*/ 292779 h 334834"/>
                      <a:gd name="connsiteX1449" fmla="*/ 275787 w 334956"/>
                      <a:gd name="connsiteY1449" fmla="*/ 292703 h 334834"/>
                      <a:gd name="connsiteX1450" fmla="*/ 274720 w 334956"/>
                      <a:gd name="connsiteY1450" fmla="*/ 294018 h 334834"/>
                      <a:gd name="connsiteX1451" fmla="*/ 192453 w 334956"/>
                      <a:gd name="connsiteY1451" fmla="*/ 297228 h 334834"/>
                      <a:gd name="connsiteX1452" fmla="*/ 196891 w 334956"/>
                      <a:gd name="connsiteY1452" fmla="*/ 302076 h 334834"/>
                      <a:gd name="connsiteX1453" fmla="*/ 195824 w 334956"/>
                      <a:gd name="connsiteY1453" fmla="*/ 294437 h 334834"/>
                      <a:gd name="connsiteX1454" fmla="*/ 192453 w 334956"/>
                      <a:gd name="connsiteY1454" fmla="*/ 297228 h 334834"/>
                      <a:gd name="connsiteX1455" fmla="*/ 134855 w 334956"/>
                      <a:gd name="connsiteY1455" fmla="*/ 297304 h 334834"/>
                      <a:gd name="connsiteX1456" fmla="*/ 138884 w 334956"/>
                      <a:gd name="connsiteY1456" fmla="*/ 302076 h 334834"/>
                      <a:gd name="connsiteX1457" fmla="*/ 137893 w 334956"/>
                      <a:gd name="connsiteY1457" fmla="*/ 294513 h 334834"/>
                      <a:gd name="connsiteX1458" fmla="*/ 134855 w 334956"/>
                      <a:gd name="connsiteY1458" fmla="*/ 297304 h 334834"/>
                      <a:gd name="connsiteX1459" fmla="*/ 78886 w 334956"/>
                      <a:gd name="connsiteY1459" fmla="*/ 297561 h 334834"/>
                      <a:gd name="connsiteX1460" fmla="*/ 81439 w 334956"/>
                      <a:gd name="connsiteY1460" fmla="*/ 300514 h 334834"/>
                      <a:gd name="connsiteX1461" fmla="*/ 80620 w 334956"/>
                      <a:gd name="connsiteY1461" fmla="*/ 296161 h 334834"/>
                      <a:gd name="connsiteX1462" fmla="*/ 78886 w 334956"/>
                      <a:gd name="connsiteY1462" fmla="*/ 297561 h 334834"/>
                      <a:gd name="connsiteX1463" fmla="*/ 251622 w 334956"/>
                      <a:gd name="connsiteY1463" fmla="*/ 297799 h 334834"/>
                      <a:gd name="connsiteX1464" fmla="*/ 254251 w 334956"/>
                      <a:gd name="connsiteY1464" fmla="*/ 300590 h 334834"/>
                      <a:gd name="connsiteX1465" fmla="*/ 253346 w 334956"/>
                      <a:gd name="connsiteY1465" fmla="*/ 296161 h 334834"/>
                      <a:gd name="connsiteX1466" fmla="*/ 251622 w 334956"/>
                      <a:gd name="connsiteY1466" fmla="*/ 297799 h 334834"/>
                      <a:gd name="connsiteX1467" fmla="*/ 170354 w 334956"/>
                      <a:gd name="connsiteY1467" fmla="*/ 301828 h 334834"/>
                      <a:gd name="connsiteX1468" fmla="*/ 174717 w 334956"/>
                      <a:gd name="connsiteY1468" fmla="*/ 306429 h 334834"/>
                      <a:gd name="connsiteX1469" fmla="*/ 173726 w 334956"/>
                      <a:gd name="connsiteY1469" fmla="*/ 298952 h 334834"/>
                      <a:gd name="connsiteX1470" fmla="*/ 170354 w 334956"/>
                      <a:gd name="connsiteY1470" fmla="*/ 301828 h 334834"/>
                      <a:gd name="connsiteX1471" fmla="*/ 113328 w 334956"/>
                      <a:gd name="connsiteY1471" fmla="*/ 302162 h 334834"/>
                      <a:gd name="connsiteX1472" fmla="*/ 117024 w 334956"/>
                      <a:gd name="connsiteY1472" fmla="*/ 305771 h 334834"/>
                      <a:gd name="connsiteX1473" fmla="*/ 116205 w 334956"/>
                      <a:gd name="connsiteY1473" fmla="*/ 299609 h 334834"/>
                      <a:gd name="connsiteX1474" fmla="*/ 113328 w 334956"/>
                      <a:gd name="connsiteY1474" fmla="*/ 302162 h 334834"/>
                      <a:gd name="connsiteX1475" fmla="*/ 228943 w 334956"/>
                      <a:gd name="connsiteY1475" fmla="*/ 301914 h 334834"/>
                      <a:gd name="connsiteX1476" fmla="*/ 232143 w 334956"/>
                      <a:gd name="connsiteY1476" fmla="*/ 305533 h 334834"/>
                      <a:gd name="connsiteX1477" fmla="*/ 230991 w 334956"/>
                      <a:gd name="connsiteY1477" fmla="*/ 300028 h 334834"/>
                      <a:gd name="connsiteX1478" fmla="*/ 228943 w 334956"/>
                      <a:gd name="connsiteY1478" fmla="*/ 301914 h 334834"/>
                      <a:gd name="connsiteX1479" fmla="*/ 148580 w 334956"/>
                      <a:gd name="connsiteY1479" fmla="*/ 306267 h 334834"/>
                      <a:gd name="connsiteX1480" fmla="*/ 152362 w 334956"/>
                      <a:gd name="connsiteY1480" fmla="*/ 310544 h 334834"/>
                      <a:gd name="connsiteX1481" fmla="*/ 151209 w 334956"/>
                      <a:gd name="connsiteY1481" fmla="*/ 303809 h 334834"/>
                      <a:gd name="connsiteX1482" fmla="*/ 148580 w 334956"/>
                      <a:gd name="connsiteY1482" fmla="*/ 306267 h 334834"/>
                      <a:gd name="connsiteX1483" fmla="*/ 206512 w 334956"/>
                      <a:gd name="connsiteY1483" fmla="*/ 306429 h 334834"/>
                      <a:gd name="connsiteX1484" fmla="*/ 209874 w 334956"/>
                      <a:gd name="connsiteY1484" fmla="*/ 310210 h 334834"/>
                      <a:gd name="connsiteX1485" fmla="*/ 209131 w 334956"/>
                      <a:gd name="connsiteY1485" fmla="*/ 304133 h 334834"/>
                      <a:gd name="connsiteX1486" fmla="*/ 206512 w 334956"/>
                      <a:gd name="connsiteY1486" fmla="*/ 306429 h 334834"/>
                      <a:gd name="connsiteX1487" fmla="*/ 92126 w 334956"/>
                      <a:gd name="connsiteY1487" fmla="*/ 306838 h 334834"/>
                      <a:gd name="connsiteX1488" fmla="*/ 94507 w 334956"/>
                      <a:gd name="connsiteY1488" fmla="*/ 309391 h 334834"/>
                      <a:gd name="connsiteX1489" fmla="*/ 93850 w 334956"/>
                      <a:gd name="connsiteY1489" fmla="*/ 305114 h 334834"/>
                      <a:gd name="connsiteX1490" fmla="*/ 92126 w 334956"/>
                      <a:gd name="connsiteY1490" fmla="*/ 306838 h 334834"/>
                      <a:gd name="connsiteX1491" fmla="*/ 184404 w 334956"/>
                      <a:gd name="connsiteY1491" fmla="*/ 310620 h 334834"/>
                      <a:gd name="connsiteX1492" fmla="*/ 187690 w 334956"/>
                      <a:gd name="connsiteY1492" fmla="*/ 314649 h 334834"/>
                      <a:gd name="connsiteX1493" fmla="*/ 186947 w 334956"/>
                      <a:gd name="connsiteY1493" fmla="*/ 308562 h 334834"/>
                      <a:gd name="connsiteX1494" fmla="*/ 184404 w 334956"/>
                      <a:gd name="connsiteY1494" fmla="*/ 310620 h 334834"/>
                      <a:gd name="connsiteX1495" fmla="*/ 127044 w 334956"/>
                      <a:gd name="connsiteY1495" fmla="*/ 310620 h 334834"/>
                      <a:gd name="connsiteX1496" fmla="*/ 130245 w 334956"/>
                      <a:gd name="connsiteY1496" fmla="*/ 314401 h 334834"/>
                      <a:gd name="connsiteX1497" fmla="*/ 129254 w 334956"/>
                      <a:gd name="connsiteY1497" fmla="*/ 308810 h 334834"/>
                      <a:gd name="connsiteX1498" fmla="*/ 127044 w 334956"/>
                      <a:gd name="connsiteY1498" fmla="*/ 310620 h 334834"/>
                      <a:gd name="connsiteX1499" fmla="*/ 243326 w 334956"/>
                      <a:gd name="connsiteY1499" fmla="*/ 311525 h 334834"/>
                      <a:gd name="connsiteX1500" fmla="*/ 244640 w 334956"/>
                      <a:gd name="connsiteY1500" fmla="*/ 313249 h 334834"/>
                      <a:gd name="connsiteX1501" fmla="*/ 246526 w 334956"/>
                      <a:gd name="connsiteY1501" fmla="*/ 311934 h 334834"/>
                      <a:gd name="connsiteX1502" fmla="*/ 244554 w 334956"/>
                      <a:gd name="connsiteY1502" fmla="*/ 310134 h 334834"/>
                      <a:gd name="connsiteX1503" fmla="*/ 243326 w 334956"/>
                      <a:gd name="connsiteY1503" fmla="*/ 311525 h 334834"/>
                      <a:gd name="connsiteX1504" fmla="*/ 162553 w 334956"/>
                      <a:gd name="connsiteY1504" fmla="*/ 314982 h 334834"/>
                      <a:gd name="connsiteX1505" fmla="*/ 165506 w 334956"/>
                      <a:gd name="connsiteY1505" fmla="*/ 318925 h 334834"/>
                      <a:gd name="connsiteX1506" fmla="*/ 164601 w 334956"/>
                      <a:gd name="connsiteY1506" fmla="*/ 313258 h 334834"/>
                      <a:gd name="connsiteX1507" fmla="*/ 162553 w 334956"/>
                      <a:gd name="connsiteY1507" fmla="*/ 314982 h 334834"/>
                      <a:gd name="connsiteX1508" fmla="*/ 220723 w 334956"/>
                      <a:gd name="connsiteY1508" fmla="*/ 315554 h 334834"/>
                      <a:gd name="connsiteX1509" fmla="*/ 223113 w 334956"/>
                      <a:gd name="connsiteY1509" fmla="*/ 318183 h 334834"/>
                      <a:gd name="connsiteX1510" fmla="*/ 222618 w 334956"/>
                      <a:gd name="connsiteY1510" fmla="*/ 313992 h 334834"/>
                      <a:gd name="connsiteX1511" fmla="*/ 220723 w 334956"/>
                      <a:gd name="connsiteY1511" fmla="*/ 315554 h 334834"/>
                      <a:gd name="connsiteX1512" fmla="*/ 105603 w 334956"/>
                      <a:gd name="connsiteY1512" fmla="*/ 315963 h 334834"/>
                      <a:gd name="connsiteX1513" fmla="*/ 108975 w 334956"/>
                      <a:gd name="connsiteY1513" fmla="*/ 317201 h 334834"/>
                      <a:gd name="connsiteX1514" fmla="*/ 107251 w 334956"/>
                      <a:gd name="connsiteY1514" fmla="*/ 314239 h 334834"/>
                      <a:gd name="connsiteX1515" fmla="*/ 105603 w 334956"/>
                      <a:gd name="connsiteY1515" fmla="*/ 315963 h 334834"/>
                      <a:gd name="connsiteX1516" fmla="*/ 140770 w 334956"/>
                      <a:gd name="connsiteY1516" fmla="*/ 319830 h 334834"/>
                      <a:gd name="connsiteX1517" fmla="*/ 143323 w 334956"/>
                      <a:gd name="connsiteY1517" fmla="*/ 322869 h 334834"/>
                      <a:gd name="connsiteX1518" fmla="*/ 142580 w 334956"/>
                      <a:gd name="connsiteY1518" fmla="*/ 318183 h 334834"/>
                      <a:gd name="connsiteX1519" fmla="*/ 140770 w 334956"/>
                      <a:gd name="connsiteY1519" fmla="*/ 319830 h 334834"/>
                      <a:gd name="connsiteX1520" fmla="*/ 200015 w 334956"/>
                      <a:gd name="connsiteY1520" fmla="*/ 322697 h 334834"/>
                      <a:gd name="connsiteX1521" fmla="*/ 202730 w 334956"/>
                      <a:gd name="connsiteY1521" fmla="*/ 319907 h 334834"/>
                      <a:gd name="connsiteX1522" fmla="*/ 200101 w 334956"/>
                      <a:gd name="connsiteY1522" fmla="*/ 318345 h 334834"/>
                      <a:gd name="connsiteX1523" fmla="*/ 200015 w 334956"/>
                      <a:gd name="connsiteY1523" fmla="*/ 322697 h 334834"/>
                      <a:gd name="connsiteX1524" fmla="*/ 177994 w 334956"/>
                      <a:gd name="connsiteY1524" fmla="*/ 327050 h 334834"/>
                      <a:gd name="connsiteX1525" fmla="*/ 178070 w 334956"/>
                      <a:gd name="connsiteY1525" fmla="*/ 322859 h 334834"/>
                      <a:gd name="connsiteX1526" fmla="*/ 177994 w 334956"/>
                      <a:gd name="connsiteY1526" fmla="*/ 327050 h 334834"/>
                      <a:gd name="connsiteX1527" fmla="*/ 119329 w 334956"/>
                      <a:gd name="connsiteY1527" fmla="*/ 324841 h 334834"/>
                      <a:gd name="connsiteX1528" fmla="*/ 120644 w 334956"/>
                      <a:gd name="connsiteY1528" fmla="*/ 326479 h 334834"/>
                      <a:gd name="connsiteX1529" fmla="*/ 122206 w 334956"/>
                      <a:gd name="connsiteY1529" fmla="*/ 325326 h 334834"/>
                      <a:gd name="connsiteX1530" fmla="*/ 122282 w 334956"/>
                      <a:gd name="connsiteY1530" fmla="*/ 324669 h 334834"/>
                      <a:gd name="connsiteX1531" fmla="*/ 120558 w 334956"/>
                      <a:gd name="connsiteY1531" fmla="*/ 323526 h 334834"/>
                      <a:gd name="connsiteX1532" fmla="*/ 119329 w 334956"/>
                      <a:gd name="connsiteY1532" fmla="*/ 324841 h 334834"/>
                      <a:gd name="connsiteX1533" fmla="*/ 154581 w 334956"/>
                      <a:gd name="connsiteY1533" fmla="*/ 329270 h 334834"/>
                      <a:gd name="connsiteX1534" fmla="*/ 156638 w 334956"/>
                      <a:gd name="connsiteY1534" fmla="*/ 331079 h 334834"/>
                      <a:gd name="connsiteX1535" fmla="*/ 157953 w 334956"/>
                      <a:gd name="connsiteY1535" fmla="*/ 329689 h 334834"/>
                      <a:gd name="connsiteX1536" fmla="*/ 155895 w 334956"/>
                      <a:gd name="connsiteY1536" fmla="*/ 327717 h 334834"/>
                      <a:gd name="connsiteX1537" fmla="*/ 154581 w 334956"/>
                      <a:gd name="connsiteY1537" fmla="*/ 329270 h 334834"/>
                      <a:gd name="connsiteX1538" fmla="*/ 213084 w 334956"/>
                      <a:gd name="connsiteY1538" fmla="*/ 329193 h 334834"/>
                      <a:gd name="connsiteX1539" fmla="*/ 213007 w 334956"/>
                      <a:gd name="connsiteY1539" fmla="*/ 329689 h 334834"/>
                      <a:gd name="connsiteX1540" fmla="*/ 213503 w 334956"/>
                      <a:gd name="connsiteY1540" fmla="*/ 330260 h 334834"/>
                      <a:gd name="connsiteX1541" fmla="*/ 214160 w 334956"/>
                      <a:gd name="connsiteY1541" fmla="*/ 330337 h 334834"/>
                      <a:gd name="connsiteX1542" fmla="*/ 214322 w 334956"/>
                      <a:gd name="connsiteY1542" fmla="*/ 330260 h 334834"/>
                      <a:gd name="connsiteX1543" fmla="*/ 214817 w 334956"/>
                      <a:gd name="connsiteY1543" fmla="*/ 329108 h 334834"/>
                      <a:gd name="connsiteX1544" fmla="*/ 213750 w 334956"/>
                      <a:gd name="connsiteY1544" fmla="*/ 328450 h 334834"/>
                      <a:gd name="connsiteX1545" fmla="*/ 213084 w 334956"/>
                      <a:gd name="connsiteY1545" fmla="*/ 329193 h 334834"/>
                      <a:gd name="connsiteX1546" fmla="*/ 190814 w 334956"/>
                      <a:gd name="connsiteY1546" fmla="*/ 333632 h 334834"/>
                      <a:gd name="connsiteX1547" fmla="*/ 190814 w 334956"/>
                      <a:gd name="connsiteY1547" fmla="*/ 334204 h 334834"/>
                      <a:gd name="connsiteX1548" fmla="*/ 191633 w 334956"/>
                      <a:gd name="connsiteY1548" fmla="*/ 334785 h 334834"/>
                      <a:gd name="connsiteX1549" fmla="*/ 191633 w 334956"/>
                      <a:gd name="connsiteY1549" fmla="*/ 332889 h 334834"/>
                      <a:gd name="connsiteX1550" fmla="*/ 190814 w 334956"/>
                      <a:gd name="connsiteY1550" fmla="*/ 333632 h 334834"/>
                      <a:gd name="connsiteX1551" fmla="*/ 133702 w 334956"/>
                      <a:gd name="connsiteY1551" fmla="*/ 334204 h 334834"/>
                      <a:gd name="connsiteX1552" fmla="*/ 133702 w 334956"/>
                      <a:gd name="connsiteY1552" fmla="*/ 334366 h 334834"/>
                      <a:gd name="connsiteX1553" fmla="*/ 134445 w 334956"/>
                      <a:gd name="connsiteY1553" fmla="*/ 334366 h 334834"/>
                      <a:gd name="connsiteX1554" fmla="*/ 134521 w 334956"/>
                      <a:gd name="connsiteY1554" fmla="*/ 333461 h 334834"/>
                      <a:gd name="connsiteX1555" fmla="*/ 133702 w 334956"/>
                      <a:gd name="connsiteY1555" fmla="*/ 333375 h 334834"/>
                      <a:gd name="connsiteX1556" fmla="*/ 133702 w 334956"/>
                      <a:gd name="connsiteY1556" fmla="*/ 334204 h 3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Lst>
                    <a:rect l="l" t="t" r="r" b="b"/>
                    <a:pathLst>
                      <a:path w="334956" h="334834">
                        <a:moveTo>
                          <a:pt x="181527" y="1648"/>
                        </a:moveTo>
                        <a:cubicBezTo>
                          <a:pt x="181927" y="2115"/>
                          <a:pt x="182156" y="2429"/>
                          <a:pt x="182756" y="2715"/>
                        </a:cubicBezTo>
                        <a:cubicBezTo>
                          <a:pt x="184566" y="2581"/>
                          <a:pt x="184585" y="48"/>
                          <a:pt x="182680" y="0"/>
                        </a:cubicBezTo>
                        <a:cubicBezTo>
                          <a:pt x="182061" y="410"/>
                          <a:pt x="181565" y="629"/>
                          <a:pt x="181527" y="1648"/>
                        </a:cubicBezTo>
                        <a:close/>
                        <a:moveTo>
                          <a:pt x="158848" y="6248"/>
                        </a:moveTo>
                        <a:cubicBezTo>
                          <a:pt x="159344" y="7934"/>
                          <a:pt x="161868" y="7963"/>
                          <a:pt x="162458" y="6334"/>
                        </a:cubicBezTo>
                        <a:cubicBezTo>
                          <a:pt x="162487" y="5982"/>
                          <a:pt x="162515" y="5620"/>
                          <a:pt x="162544" y="5267"/>
                        </a:cubicBezTo>
                        <a:cubicBezTo>
                          <a:pt x="161972" y="4591"/>
                          <a:pt x="161677" y="3953"/>
                          <a:pt x="160411" y="3953"/>
                        </a:cubicBezTo>
                        <a:cubicBezTo>
                          <a:pt x="159782" y="4315"/>
                          <a:pt x="158467" y="4953"/>
                          <a:pt x="158848" y="6248"/>
                        </a:cubicBezTo>
                        <a:close/>
                        <a:moveTo>
                          <a:pt x="217360" y="5582"/>
                        </a:moveTo>
                        <a:cubicBezTo>
                          <a:pt x="217398" y="6286"/>
                          <a:pt x="217618" y="6353"/>
                          <a:pt x="217932" y="6734"/>
                        </a:cubicBezTo>
                        <a:cubicBezTo>
                          <a:pt x="218151" y="6734"/>
                          <a:pt x="218370" y="6734"/>
                          <a:pt x="218589" y="6734"/>
                        </a:cubicBezTo>
                        <a:cubicBezTo>
                          <a:pt x="218837" y="6487"/>
                          <a:pt x="219084" y="6239"/>
                          <a:pt x="219332" y="5991"/>
                        </a:cubicBezTo>
                        <a:cubicBezTo>
                          <a:pt x="219332" y="5915"/>
                          <a:pt x="219332" y="5829"/>
                          <a:pt x="219332" y="5744"/>
                        </a:cubicBezTo>
                        <a:cubicBezTo>
                          <a:pt x="219132" y="5353"/>
                          <a:pt x="218989" y="5105"/>
                          <a:pt x="218589" y="4924"/>
                        </a:cubicBezTo>
                        <a:cubicBezTo>
                          <a:pt x="218399" y="4896"/>
                          <a:pt x="218208" y="4867"/>
                          <a:pt x="218008" y="4839"/>
                        </a:cubicBezTo>
                        <a:cubicBezTo>
                          <a:pt x="217799" y="5096"/>
                          <a:pt x="217579" y="5343"/>
                          <a:pt x="217360" y="5582"/>
                        </a:cubicBezTo>
                        <a:close/>
                        <a:moveTo>
                          <a:pt x="136579" y="10106"/>
                        </a:moveTo>
                        <a:cubicBezTo>
                          <a:pt x="136074" y="12230"/>
                          <a:pt x="139274" y="12687"/>
                          <a:pt x="140275" y="11258"/>
                        </a:cubicBezTo>
                        <a:cubicBezTo>
                          <a:pt x="141256" y="9868"/>
                          <a:pt x="139865" y="8172"/>
                          <a:pt x="138303" y="8220"/>
                        </a:cubicBezTo>
                        <a:cubicBezTo>
                          <a:pt x="137484" y="8658"/>
                          <a:pt x="136722" y="8992"/>
                          <a:pt x="136579" y="10106"/>
                        </a:cubicBezTo>
                        <a:close/>
                        <a:moveTo>
                          <a:pt x="194100" y="9858"/>
                        </a:moveTo>
                        <a:cubicBezTo>
                          <a:pt x="194072" y="11297"/>
                          <a:pt x="194862" y="11887"/>
                          <a:pt x="195824" y="12325"/>
                        </a:cubicBezTo>
                        <a:cubicBezTo>
                          <a:pt x="198929" y="12411"/>
                          <a:pt x="198825" y="8068"/>
                          <a:pt x="195662" y="8220"/>
                        </a:cubicBezTo>
                        <a:cubicBezTo>
                          <a:pt x="194929" y="8715"/>
                          <a:pt x="194500" y="9011"/>
                          <a:pt x="194100" y="9858"/>
                        </a:cubicBezTo>
                        <a:close/>
                        <a:moveTo>
                          <a:pt x="171593" y="13802"/>
                        </a:moveTo>
                        <a:cubicBezTo>
                          <a:pt x="170859" y="15478"/>
                          <a:pt x="172564" y="17717"/>
                          <a:pt x="174384" y="17335"/>
                        </a:cubicBezTo>
                        <a:cubicBezTo>
                          <a:pt x="177365" y="16716"/>
                          <a:pt x="177260" y="12001"/>
                          <a:pt x="173564" y="12163"/>
                        </a:cubicBezTo>
                        <a:cubicBezTo>
                          <a:pt x="172774" y="12544"/>
                          <a:pt x="171936" y="13011"/>
                          <a:pt x="171593" y="13802"/>
                        </a:cubicBezTo>
                        <a:close/>
                        <a:moveTo>
                          <a:pt x="114471" y="14297"/>
                        </a:moveTo>
                        <a:cubicBezTo>
                          <a:pt x="114414" y="15697"/>
                          <a:pt x="115433" y="16954"/>
                          <a:pt x="116852" y="16516"/>
                        </a:cubicBezTo>
                        <a:cubicBezTo>
                          <a:pt x="117595" y="16221"/>
                          <a:pt x="118243" y="15497"/>
                          <a:pt x="118338" y="14545"/>
                        </a:cubicBezTo>
                        <a:cubicBezTo>
                          <a:pt x="117958" y="13564"/>
                          <a:pt x="117424" y="12792"/>
                          <a:pt x="116119" y="12735"/>
                        </a:cubicBezTo>
                        <a:cubicBezTo>
                          <a:pt x="115376" y="13211"/>
                          <a:pt x="114881" y="13478"/>
                          <a:pt x="114471" y="14297"/>
                        </a:cubicBezTo>
                        <a:close/>
                        <a:moveTo>
                          <a:pt x="230181" y="14459"/>
                        </a:moveTo>
                        <a:cubicBezTo>
                          <a:pt x="230248" y="16526"/>
                          <a:pt x="232972" y="16592"/>
                          <a:pt x="233134" y="14545"/>
                        </a:cubicBezTo>
                        <a:cubicBezTo>
                          <a:pt x="232743" y="13840"/>
                          <a:pt x="232486" y="13259"/>
                          <a:pt x="231495" y="13154"/>
                        </a:cubicBezTo>
                        <a:cubicBezTo>
                          <a:pt x="230819" y="13573"/>
                          <a:pt x="230610" y="13802"/>
                          <a:pt x="230181" y="14459"/>
                        </a:cubicBezTo>
                        <a:close/>
                        <a:moveTo>
                          <a:pt x="149400" y="17669"/>
                        </a:moveTo>
                        <a:cubicBezTo>
                          <a:pt x="148076" y="19612"/>
                          <a:pt x="149981" y="22631"/>
                          <a:pt x="152524" y="22022"/>
                        </a:cubicBezTo>
                        <a:cubicBezTo>
                          <a:pt x="155695" y="21260"/>
                          <a:pt x="155210" y="16164"/>
                          <a:pt x="151457" y="16269"/>
                        </a:cubicBezTo>
                        <a:cubicBezTo>
                          <a:pt x="150609" y="16650"/>
                          <a:pt x="149885" y="16964"/>
                          <a:pt x="149400" y="17669"/>
                        </a:cubicBezTo>
                        <a:close/>
                        <a:moveTo>
                          <a:pt x="207092" y="18326"/>
                        </a:moveTo>
                        <a:cubicBezTo>
                          <a:pt x="206407" y="19964"/>
                          <a:pt x="208045" y="22088"/>
                          <a:pt x="209969" y="21612"/>
                        </a:cubicBezTo>
                        <a:cubicBezTo>
                          <a:pt x="212817" y="20907"/>
                          <a:pt x="212550" y="16507"/>
                          <a:pt x="208902" y="16678"/>
                        </a:cubicBezTo>
                        <a:cubicBezTo>
                          <a:pt x="208169" y="17107"/>
                          <a:pt x="207426" y="17526"/>
                          <a:pt x="207092" y="18326"/>
                        </a:cubicBezTo>
                        <a:close/>
                        <a:moveTo>
                          <a:pt x="92783" y="18821"/>
                        </a:moveTo>
                        <a:cubicBezTo>
                          <a:pt x="92697" y="21126"/>
                          <a:pt x="95745" y="21002"/>
                          <a:pt x="95660" y="18736"/>
                        </a:cubicBezTo>
                        <a:cubicBezTo>
                          <a:pt x="95383" y="18402"/>
                          <a:pt x="95107" y="18078"/>
                          <a:pt x="94840" y="17745"/>
                        </a:cubicBezTo>
                        <a:cubicBezTo>
                          <a:pt x="94564" y="17688"/>
                          <a:pt x="94288" y="17640"/>
                          <a:pt x="94012" y="17583"/>
                        </a:cubicBezTo>
                        <a:cubicBezTo>
                          <a:pt x="93488" y="17993"/>
                          <a:pt x="93097" y="18193"/>
                          <a:pt x="92783" y="18821"/>
                        </a:cubicBezTo>
                        <a:close/>
                        <a:moveTo>
                          <a:pt x="184156" y="23012"/>
                        </a:moveTo>
                        <a:cubicBezTo>
                          <a:pt x="183651" y="25222"/>
                          <a:pt x="186042" y="27413"/>
                          <a:pt x="188176" y="26708"/>
                        </a:cubicBezTo>
                        <a:cubicBezTo>
                          <a:pt x="191586" y="25584"/>
                          <a:pt x="190890" y="20298"/>
                          <a:pt x="186614" y="20460"/>
                        </a:cubicBezTo>
                        <a:cubicBezTo>
                          <a:pt x="185576" y="21079"/>
                          <a:pt x="184461" y="21679"/>
                          <a:pt x="184156" y="23012"/>
                        </a:cubicBezTo>
                        <a:close/>
                        <a:moveTo>
                          <a:pt x="130330" y="26460"/>
                        </a:moveTo>
                        <a:cubicBezTo>
                          <a:pt x="133483" y="25717"/>
                          <a:pt x="133112" y="20555"/>
                          <a:pt x="129264" y="20707"/>
                        </a:cubicBezTo>
                        <a:cubicBezTo>
                          <a:pt x="125368" y="22412"/>
                          <a:pt x="126854" y="27280"/>
                          <a:pt x="130330" y="26460"/>
                        </a:cubicBezTo>
                        <a:close/>
                        <a:moveTo>
                          <a:pt x="243240" y="23260"/>
                        </a:moveTo>
                        <a:cubicBezTo>
                          <a:pt x="243183" y="25851"/>
                          <a:pt x="246050" y="25460"/>
                          <a:pt x="246688" y="23670"/>
                        </a:cubicBezTo>
                        <a:cubicBezTo>
                          <a:pt x="246640" y="22593"/>
                          <a:pt x="245878" y="21831"/>
                          <a:pt x="244792" y="21784"/>
                        </a:cubicBezTo>
                        <a:cubicBezTo>
                          <a:pt x="244021" y="22203"/>
                          <a:pt x="243630" y="22431"/>
                          <a:pt x="243240" y="23260"/>
                        </a:cubicBezTo>
                        <a:close/>
                        <a:moveTo>
                          <a:pt x="161725" y="27118"/>
                        </a:moveTo>
                        <a:cubicBezTo>
                          <a:pt x="160953" y="29537"/>
                          <a:pt x="163316" y="32147"/>
                          <a:pt x="165830" y="31556"/>
                        </a:cubicBezTo>
                        <a:cubicBezTo>
                          <a:pt x="169802" y="30623"/>
                          <a:pt x="169354" y="24536"/>
                          <a:pt x="164763" y="24489"/>
                        </a:cubicBezTo>
                        <a:cubicBezTo>
                          <a:pt x="163335" y="25117"/>
                          <a:pt x="162211" y="25584"/>
                          <a:pt x="161725" y="27118"/>
                        </a:cubicBezTo>
                        <a:close/>
                        <a:moveTo>
                          <a:pt x="223437" y="30813"/>
                        </a:moveTo>
                        <a:cubicBezTo>
                          <a:pt x="226447" y="30061"/>
                          <a:pt x="226057" y="25089"/>
                          <a:pt x="222370" y="25232"/>
                        </a:cubicBezTo>
                        <a:cubicBezTo>
                          <a:pt x="218504" y="26908"/>
                          <a:pt x="219942" y="31690"/>
                          <a:pt x="223437" y="30813"/>
                        </a:cubicBezTo>
                        <a:close/>
                        <a:moveTo>
                          <a:pt x="105023" y="27118"/>
                        </a:moveTo>
                        <a:cubicBezTo>
                          <a:pt x="104308" y="29061"/>
                          <a:pt x="106108" y="31090"/>
                          <a:pt x="108061" y="30651"/>
                        </a:cubicBezTo>
                        <a:cubicBezTo>
                          <a:pt x="111100" y="29975"/>
                          <a:pt x="110604" y="25203"/>
                          <a:pt x="107080" y="25308"/>
                        </a:cubicBezTo>
                        <a:cubicBezTo>
                          <a:pt x="106213" y="25746"/>
                          <a:pt x="105365" y="26184"/>
                          <a:pt x="105023" y="27118"/>
                        </a:cubicBezTo>
                        <a:close/>
                        <a:moveTo>
                          <a:pt x="139370" y="31633"/>
                        </a:moveTo>
                        <a:cubicBezTo>
                          <a:pt x="138703" y="34099"/>
                          <a:pt x="141094" y="36814"/>
                          <a:pt x="143808" y="36157"/>
                        </a:cubicBezTo>
                        <a:cubicBezTo>
                          <a:pt x="147980" y="35147"/>
                          <a:pt x="147533" y="28661"/>
                          <a:pt x="142246" y="28842"/>
                        </a:cubicBezTo>
                        <a:cubicBezTo>
                          <a:pt x="140941" y="29489"/>
                          <a:pt x="139789" y="30128"/>
                          <a:pt x="139370" y="31633"/>
                        </a:cubicBezTo>
                        <a:close/>
                        <a:moveTo>
                          <a:pt x="197148" y="31309"/>
                        </a:moveTo>
                        <a:cubicBezTo>
                          <a:pt x="196291" y="33633"/>
                          <a:pt x="198453" y="36424"/>
                          <a:pt x="200758" y="36071"/>
                        </a:cubicBezTo>
                        <a:cubicBezTo>
                          <a:pt x="205330" y="35395"/>
                          <a:pt x="205121" y="28823"/>
                          <a:pt x="200263" y="28927"/>
                        </a:cubicBezTo>
                        <a:cubicBezTo>
                          <a:pt x="198825" y="29508"/>
                          <a:pt x="197672" y="29861"/>
                          <a:pt x="197148" y="31309"/>
                        </a:cubicBezTo>
                        <a:close/>
                        <a:moveTo>
                          <a:pt x="83248" y="31880"/>
                        </a:moveTo>
                        <a:cubicBezTo>
                          <a:pt x="82772" y="33175"/>
                          <a:pt x="84296" y="34938"/>
                          <a:pt x="85715" y="34595"/>
                        </a:cubicBezTo>
                        <a:cubicBezTo>
                          <a:pt x="88220" y="33995"/>
                          <a:pt x="87782" y="30480"/>
                          <a:pt x="85144" y="30242"/>
                        </a:cubicBezTo>
                        <a:cubicBezTo>
                          <a:pt x="84325" y="30623"/>
                          <a:pt x="83563" y="31023"/>
                          <a:pt x="83248" y="31880"/>
                        </a:cubicBezTo>
                        <a:close/>
                        <a:moveTo>
                          <a:pt x="256394" y="32537"/>
                        </a:moveTo>
                        <a:cubicBezTo>
                          <a:pt x="256775" y="33223"/>
                          <a:pt x="257032" y="33795"/>
                          <a:pt x="257794" y="34099"/>
                        </a:cubicBezTo>
                        <a:cubicBezTo>
                          <a:pt x="258966" y="34633"/>
                          <a:pt x="260004" y="33233"/>
                          <a:pt x="260013" y="32213"/>
                        </a:cubicBezTo>
                        <a:cubicBezTo>
                          <a:pt x="259642" y="31290"/>
                          <a:pt x="259137" y="30623"/>
                          <a:pt x="257794" y="30651"/>
                        </a:cubicBezTo>
                        <a:cubicBezTo>
                          <a:pt x="257127" y="31156"/>
                          <a:pt x="256508" y="31480"/>
                          <a:pt x="256394" y="32537"/>
                        </a:cubicBezTo>
                        <a:close/>
                        <a:moveTo>
                          <a:pt x="174460" y="35909"/>
                        </a:moveTo>
                        <a:cubicBezTo>
                          <a:pt x="173660" y="38624"/>
                          <a:pt x="176231" y="41491"/>
                          <a:pt x="178898" y="41005"/>
                        </a:cubicBezTo>
                        <a:cubicBezTo>
                          <a:pt x="183709" y="40129"/>
                          <a:pt x="183509" y="32728"/>
                          <a:pt x="177908" y="32871"/>
                        </a:cubicBezTo>
                        <a:cubicBezTo>
                          <a:pt x="176308" y="33585"/>
                          <a:pt x="174974" y="34157"/>
                          <a:pt x="174460" y="35909"/>
                        </a:cubicBezTo>
                        <a:close/>
                        <a:moveTo>
                          <a:pt x="117348" y="36071"/>
                        </a:moveTo>
                        <a:cubicBezTo>
                          <a:pt x="116662" y="38395"/>
                          <a:pt x="118919" y="40862"/>
                          <a:pt x="121129" y="40510"/>
                        </a:cubicBezTo>
                        <a:cubicBezTo>
                          <a:pt x="125663" y="39786"/>
                          <a:pt x="125473" y="33214"/>
                          <a:pt x="120310" y="33366"/>
                        </a:cubicBezTo>
                        <a:cubicBezTo>
                          <a:pt x="118910" y="33985"/>
                          <a:pt x="117805" y="34538"/>
                          <a:pt x="117348" y="36071"/>
                        </a:cubicBezTo>
                        <a:close/>
                        <a:moveTo>
                          <a:pt x="233296" y="35576"/>
                        </a:moveTo>
                        <a:cubicBezTo>
                          <a:pt x="232124" y="37814"/>
                          <a:pt x="234544" y="40462"/>
                          <a:pt x="236829" y="39853"/>
                        </a:cubicBezTo>
                        <a:cubicBezTo>
                          <a:pt x="240116" y="38976"/>
                          <a:pt x="239706" y="33757"/>
                          <a:pt x="235353" y="33937"/>
                        </a:cubicBezTo>
                        <a:cubicBezTo>
                          <a:pt x="234544" y="34385"/>
                          <a:pt x="233724" y="34776"/>
                          <a:pt x="233296" y="35576"/>
                        </a:cubicBezTo>
                        <a:close/>
                        <a:moveTo>
                          <a:pt x="61884" y="36652"/>
                        </a:moveTo>
                        <a:cubicBezTo>
                          <a:pt x="61979" y="38186"/>
                          <a:pt x="63865" y="38548"/>
                          <a:pt x="64351" y="37147"/>
                        </a:cubicBezTo>
                        <a:cubicBezTo>
                          <a:pt x="64665" y="36443"/>
                          <a:pt x="63951" y="35843"/>
                          <a:pt x="63446" y="35671"/>
                        </a:cubicBezTo>
                        <a:cubicBezTo>
                          <a:pt x="63246" y="35642"/>
                          <a:pt x="63065" y="35614"/>
                          <a:pt x="62865" y="35585"/>
                        </a:cubicBezTo>
                        <a:cubicBezTo>
                          <a:pt x="62474" y="35938"/>
                          <a:pt x="62217" y="36233"/>
                          <a:pt x="61884" y="36652"/>
                        </a:cubicBezTo>
                        <a:close/>
                        <a:moveTo>
                          <a:pt x="152276" y="39691"/>
                        </a:moveTo>
                        <a:cubicBezTo>
                          <a:pt x="151076" y="42548"/>
                          <a:pt x="153457" y="46234"/>
                          <a:pt x="156543" y="45768"/>
                        </a:cubicBezTo>
                        <a:cubicBezTo>
                          <a:pt x="162077" y="44939"/>
                          <a:pt x="161839" y="36966"/>
                          <a:pt x="155886" y="37052"/>
                        </a:cubicBezTo>
                        <a:cubicBezTo>
                          <a:pt x="154219" y="37748"/>
                          <a:pt x="152952" y="38062"/>
                          <a:pt x="152276" y="39691"/>
                        </a:cubicBezTo>
                        <a:close/>
                        <a:moveTo>
                          <a:pt x="210045" y="40510"/>
                        </a:moveTo>
                        <a:cubicBezTo>
                          <a:pt x="209264" y="43386"/>
                          <a:pt x="212284" y="46044"/>
                          <a:pt x="215065" y="45110"/>
                        </a:cubicBezTo>
                        <a:cubicBezTo>
                          <a:pt x="219103" y="43758"/>
                          <a:pt x="218456" y="37300"/>
                          <a:pt x="213255" y="37471"/>
                        </a:cubicBezTo>
                        <a:cubicBezTo>
                          <a:pt x="211798" y="38186"/>
                          <a:pt x="210502" y="38833"/>
                          <a:pt x="210045" y="40510"/>
                        </a:cubicBezTo>
                        <a:close/>
                        <a:moveTo>
                          <a:pt x="95488" y="40510"/>
                        </a:moveTo>
                        <a:cubicBezTo>
                          <a:pt x="94850" y="42662"/>
                          <a:pt x="96974" y="45034"/>
                          <a:pt x="99270" y="44539"/>
                        </a:cubicBezTo>
                        <a:cubicBezTo>
                          <a:pt x="102879" y="43767"/>
                          <a:pt x="102518" y="38100"/>
                          <a:pt x="98450" y="38043"/>
                        </a:cubicBezTo>
                        <a:cubicBezTo>
                          <a:pt x="97088" y="38633"/>
                          <a:pt x="95926" y="39043"/>
                          <a:pt x="95488" y="40510"/>
                        </a:cubicBezTo>
                        <a:close/>
                        <a:moveTo>
                          <a:pt x="269872" y="40929"/>
                        </a:moveTo>
                        <a:cubicBezTo>
                          <a:pt x="269853" y="42158"/>
                          <a:pt x="270453" y="42605"/>
                          <a:pt x="271263" y="42986"/>
                        </a:cubicBezTo>
                        <a:cubicBezTo>
                          <a:pt x="273806" y="43015"/>
                          <a:pt x="273834" y="39472"/>
                          <a:pt x="271263" y="39529"/>
                        </a:cubicBezTo>
                        <a:cubicBezTo>
                          <a:pt x="270615" y="39948"/>
                          <a:pt x="270224" y="40205"/>
                          <a:pt x="269872" y="40929"/>
                        </a:cubicBezTo>
                        <a:close/>
                        <a:moveTo>
                          <a:pt x="187452" y="44377"/>
                        </a:moveTo>
                        <a:cubicBezTo>
                          <a:pt x="186433" y="47330"/>
                          <a:pt x="189004" y="50902"/>
                          <a:pt x="192138" y="50378"/>
                        </a:cubicBezTo>
                        <a:cubicBezTo>
                          <a:pt x="197768" y="49425"/>
                          <a:pt x="197444" y="41148"/>
                          <a:pt x="191071" y="41338"/>
                        </a:cubicBezTo>
                        <a:cubicBezTo>
                          <a:pt x="189376" y="42081"/>
                          <a:pt x="188061" y="42596"/>
                          <a:pt x="187452" y="44377"/>
                        </a:cubicBezTo>
                        <a:close/>
                        <a:moveTo>
                          <a:pt x="129921" y="44701"/>
                        </a:moveTo>
                        <a:cubicBezTo>
                          <a:pt x="129026" y="47777"/>
                          <a:pt x="131854" y="50844"/>
                          <a:pt x="135017" y="50120"/>
                        </a:cubicBezTo>
                        <a:cubicBezTo>
                          <a:pt x="139989" y="48987"/>
                          <a:pt x="139598" y="41310"/>
                          <a:pt x="133455" y="41491"/>
                        </a:cubicBezTo>
                        <a:cubicBezTo>
                          <a:pt x="131816" y="42234"/>
                          <a:pt x="130454" y="42901"/>
                          <a:pt x="129921" y="44701"/>
                        </a:cubicBezTo>
                        <a:close/>
                        <a:moveTo>
                          <a:pt x="246450" y="44625"/>
                        </a:moveTo>
                        <a:cubicBezTo>
                          <a:pt x="245535" y="46787"/>
                          <a:pt x="247593" y="49339"/>
                          <a:pt x="249898" y="48816"/>
                        </a:cubicBezTo>
                        <a:cubicBezTo>
                          <a:pt x="253517" y="47987"/>
                          <a:pt x="253089" y="42558"/>
                          <a:pt x="248583" y="42729"/>
                        </a:cubicBezTo>
                        <a:cubicBezTo>
                          <a:pt x="247745" y="43234"/>
                          <a:pt x="246840" y="43691"/>
                          <a:pt x="246450" y="44625"/>
                        </a:cubicBezTo>
                        <a:close/>
                        <a:moveTo>
                          <a:pt x="74123" y="44625"/>
                        </a:moveTo>
                        <a:cubicBezTo>
                          <a:pt x="73142" y="46349"/>
                          <a:pt x="74943" y="48758"/>
                          <a:pt x="76838" y="48406"/>
                        </a:cubicBezTo>
                        <a:cubicBezTo>
                          <a:pt x="79915" y="47834"/>
                          <a:pt x="79715" y="43091"/>
                          <a:pt x="76257" y="43062"/>
                        </a:cubicBezTo>
                        <a:cubicBezTo>
                          <a:pt x="75352" y="43501"/>
                          <a:pt x="74609" y="43777"/>
                          <a:pt x="74123" y="44625"/>
                        </a:cubicBezTo>
                        <a:close/>
                        <a:moveTo>
                          <a:pt x="164763" y="49139"/>
                        </a:moveTo>
                        <a:cubicBezTo>
                          <a:pt x="163935" y="52340"/>
                          <a:pt x="167106" y="55836"/>
                          <a:pt x="170431" y="55140"/>
                        </a:cubicBezTo>
                        <a:cubicBezTo>
                          <a:pt x="176003" y="53978"/>
                          <a:pt x="175746" y="45263"/>
                          <a:pt x="168954" y="45444"/>
                        </a:cubicBezTo>
                        <a:cubicBezTo>
                          <a:pt x="166926" y="46292"/>
                          <a:pt x="165344" y="46911"/>
                          <a:pt x="164763" y="49139"/>
                        </a:cubicBezTo>
                        <a:close/>
                        <a:moveTo>
                          <a:pt x="107985" y="49139"/>
                        </a:moveTo>
                        <a:cubicBezTo>
                          <a:pt x="107185" y="51968"/>
                          <a:pt x="109747" y="54893"/>
                          <a:pt x="112509" y="54397"/>
                        </a:cubicBezTo>
                        <a:cubicBezTo>
                          <a:pt x="117538" y="53492"/>
                          <a:pt x="117281" y="45910"/>
                          <a:pt x="111442" y="46101"/>
                        </a:cubicBezTo>
                        <a:cubicBezTo>
                          <a:pt x="109833" y="46777"/>
                          <a:pt x="108480" y="47396"/>
                          <a:pt x="107985" y="49139"/>
                        </a:cubicBezTo>
                        <a:close/>
                        <a:moveTo>
                          <a:pt x="223361" y="48730"/>
                        </a:moveTo>
                        <a:cubicBezTo>
                          <a:pt x="222170" y="51454"/>
                          <a:pt x="224685" y="54711"/>
                          <a:pt x="227390" y="54321"/>
                        </a:cubicBezTo>
                        <a:cubicBezTo>
                          <a:pt x="232515" y="53569"/>
                          <a:pt x="232391" y="46272"/>
                          <a:pt x="226895" y="46187"/>
                        </a:cubicBezTo>
                        <a:cubicBezTo>
                          <a:pt x="225247" y="46825"/>
                          <a:pt x="224028" y="47177"/>
                          <a:pt x="223361" y="48730"/>
                        </a:cubicBezTo>
                        <a:close/>
                        <a:moveTo>
                          <a:pt x="52597" y="49959"/>
                        </a:moveTo>
                        <a:cubicBezTo>
                          <a:pt x="52664" y="51035"/>
                          <a:pt x="53340" y="51530"/>
                          <a:pt x="54159" y="51854"/>
                        </a:cubicBezTo>
                        <a:cubicBezTo>
                          <a:pt x="55169" y="51787"/>
                          <a:pt x="55636" y="51197"/>
                          <a:pt x="55969" y="50454"/>
                        </a:cubicBezTo>
                        <a:cubicBezTo>
                          <a:pt x="56007" y="49168"/>
                          <a:pt x="55226" y="48482"/>
                          <a:pt x="54073" y="48396"/>
                        </a:cubicBezTo>
                        <a:cubicBezTo>
                          <a:pt x="53359" y="48863"/>
                          <a:pt x="52940" y="49120"/>
                          <a:pt x="52597" y="49959"/>
                        </a:cubicBezTo>
                        <a:close/>
                        <a:moveTo>
                          <a:pt x="283350" y="49959"/>
                        </a:moveTo>
                        <a:cubicBezTo>
                          <a:pt x="283397" y="50730"/>
                          <a:pt x="283835" y="51206"/>
                          <a:pt x="284416" y="51435"/>
                        </a:cubicBezTo>
                        <a:cubicBezTo>
                          <a:pt x="285388" y="51864"/>
                          <a:pt x="285988" y="50825"/>
                          <a:pt x="286302" y="50282"/>
                        </a:cubicBezTo>
                        <a:cubicBezTo>
                          <a:pt x="286255" y="49311"/>
                          <a:pt x="285588" y="48663"/>
                          <a:pt x="284578" y="48635"/>
                        </a:cubicBezTo>
                        <a:cubicBezTo>
                          <a:pt x="284016" y="49082"/>
                          <a:pt x="283673" y="49282"/>
                          <a:pt x="283350" y="49959"/>
                        </a:cubicBezTo>
                        <a:close/>
                        <a:moveTo>
                          <a:pt x="142742" y="52835"/>
                        </a:moveTo>
                        <a:cubicBezTo>
                          <a:pt x="141303" y="56236"/>
                          <a:pt x="144351" y="60388"/>
                          <a:pt x="147999" y="59741"/>
                        </a:cubicBezTo>
                        <a:cubicBezTo>
                          <a:pt x="154019" y="58664"/>
                          <a:pt x="153762" y="49768"/>
                          <a:pt x="147256" y="49635"/>
                        </a:cubicBezTo>
                        <a:cubicBezTo>
                          <a:pt x="145123" y="50482"/>
                          <a:pt x="143608" y="50787"/>
                          <a:pt x="142742" y="52835"/>
                        </a:cubicBezTo>
                        <a:close/>
                        <a:moveTo>
                          <a:pt x="200349" y="53416"/>
                        </a:moveTo>
                        <a:cubicBezTo>
                          <a:pt x="199311" y="56540"/>
                          <a:pt x="202301" y="60036"/>
                          <a:pt x="205445" y="59493"/>
                        </a:cubicBezTo>
                        <a:cubicBezTo>
                          <a:pt x="211388" y="58474"/>
                          <a:pt x="211103" y="50006"/>
                          <a:pt x="204702" y="49882"/>
                        </a:cubicBezTo>
                        <a:cubicBezTo>
                          <a:pt x="202482" y="50749"/>
                          <a:pt x="201111" y="51140"/>
                          <a:pt x="200349" y="53416"/>
                        </a:cubicBezTo>
                        <a:close/>
                        <a:moveTo>
                          <a:pt x="86287" y="53664"/>
                        </a:moveTo>
                        <a:cubicBezTo>
                          <a:pt x="85525" y="56169"/>
                          <a:pt x="87859" y="58883"/>
                          <a:pt x="90392" y="58341"/>
                        </a:cubicBezTo>
                        <a:cubicBezTo>
                          <a:pt x="94555" y="57464"/>
                          <a:pt x="94412" y="50778"/>
                          <a:pt x="89325" y="50949"/>
                        </a:cubicBezTo>
                        <a:cubicBezTo>
                          <a:pt x="87935" y="51625"/>
                          <a:pt x="86763" y="52092"/>
                          <a:pt x="86287" y="53664"/>
                        </a:cubicBezTo>
                        <a:close/>
                        <a:moveTo>
                          <a:pt x="259680" y="53902"/>
                        </a:moveTo>
                        <a:cubicBezTo>
                          <a:pt x="259099" y="56169"/>
                          <a:pt x="261433" y="58255"/>
                          <a:pt x="263547" y="57521"/>
                        </a:cubicBezTo>
                        <a:cubicBezTo>
                          <a:pt x="266747" y="56407"/>
                          <a:pt x="266176" y="51511"/>
                          <a:pt x="261909" y="51683"/>
                        </a:cubicBezTo>
                        <a:cubicBezTo>
                          <a:pt x="261004" y="52225"/>
                          <a:pt x="259966" y="52807"/>
                          <a:pt x="259680" y="53902"/>
                        </a:cubicBezTo>
                        <a:close/>
                        <a:moveTo>
                          <a:pt x="177832" y="57436"/>
                        </a:moveTo>
                        <a:cubicBezTo>
                          <a:pt x="176527" y="61217"/>
                          <a:pt x="179670" y="65208"/>
                          <a:pt x="183747" y="64418"/>
                        </a:cubicBezTo>
                        <a:cubicBezTo>
                          <a:pt x="189862" y="63236"/>
                          <a:pt x="189471" y="53959"/>
                          <a:pt x="182518" y="53816"/>
                        </a:cubicBezTo>
                        <a:cubicBezTo>
                          <a:pt x="180261" y="54721"/>
                          <a:pt x="178622" y="55159"/>
                          <a:pt x="177832" y="57436"/>
                        </a:cubicBezTo>
                        <a:close/>
                        <a:moveTo>
                          <a:pt x="120558" y="57683"/>
                        </a:moveTo>
                        <a:cubicBezTo>
                          <a:pt x="119548" y="60922"/>
                          <a:pt x="122606" y="64703"/>
                          <a:pt x="125901" y="64094"/>
                        </a:cubicBezTo>
                        <a:cubicBezTo>
                          <a:pt x="131883" y="62989"/>
                          <a:pt x="131635" y="54045"/>
                          <a:pt x="124501" y="54235"/>
                        </a:cubicBezTo>
                        <a:cubicBezTo>
                          <a:pt x="122672" y="55074"/>
                          <a:pt x="121177" y="55693"/>
                          <a:pt x="120558" y="57683"/>
                        </a:cubicBezTo>
                        <a:close/>
                        <a:moveTo>
                          <a:pt x="236420" y="58093"/>
                        </a:moveTo>
                        <a:cubicBezTo>
                          <a:pt x="235553" y="61150"/>
                          <a:pt x="238525" y="63894"/>
                          <a:pt x="241516" y="63103"/>
                        </a:cubicBezTo>
                        <a:cubicBezTo>
                          <a:pt x="245973" y="61922"/>
                          <a:pt x="245335" y="54797"/>
                          <a:pt x="239878" y="54969"/>
                        </a:cubicBezTo>
                        <a:cubicBezTo>
                          <a:pt x="238239" y="55664"/>
                          <a:pt x="236925" y="56312"/>
                          <a:pt x="236420" y="58093"/>
                        </a:cubicBezTo>
                        <a:close/>
                        <a:moveTo>
                          <a:pt x="65008" y="57683"/>
                        </a:moveTo>
                        <a:cubicBezTo>
                          <a:pt x="63855" y="59617"/>
                          <a:pt x="65751" y="62436"/>
                          <a:pt x="67970" y="62036"/>
                        </a:cubicBezTo>
                        <a:cubicBezTo>
                          <a:pt x="71438" y="61408"/>
                          <a:pt x="71361" y="56016"/>
                          <a:pt x="67313" y="56036"/>
                        </a:cubicBezTo>
                        <a:cubicBezTo>
                          <a:pt x="66284" y="56483"/>
                          <a:pt x="65541" y="56788"/>
                          <a:pt x="65008" y="57683"/>
                        </a:cubicBezTo>
                        <a:close/>
                        <a:moveTo>
                          <a:pt x="155972" y="60646"/>
                        </a:moveTo>
                        <a:cubicBezTo>
                          <a:pt x="153829" y="64103"/>
                          <a:pt x="156248" y="68475"/>
                          <a:pt x="159506" y="69113"/>
                        </a:cubicBezTo>
                        <a:cubicBezTo>
                          <a:pt x="167592" y="70685"/>
                          <a:pt x="168783" y="57950"/>
                          <a:pt x="160325" y="58017"/>
                        </a:cubicBezTo>
                        <a:cubicBezTo>
                          <a:pt x="158353" y="58798"/>
                          <a:pt x="157010" y="58979"/>
                          <a:pt x="155972" y="60646"/>
                        </a:cubicBezTo>
                        <a:close/>
                        <a:moveTo>
                          <a:pt x="297313" y="58674"/>
                        </a:moveTo>
                        <a:cubicBezTo>
                          <a:pt x="297313" y="58864"/>
                          <a:pt x="297313" y="59055"/>
                          <a:pt x="297313" y="59255"/>
                        </a:cubicBezTo>
                        <a:cubicBezTo>
                          <a:pt x="297447" y="59417"/>
                          <a:pt x="297589" y="59588"/>
                          <a:pt x="297723" y="59750"/>
                        </a:cubicBezTo>
                        <a:cubicBezTo>
                          <a:pt x="297942" y="59779"/>
                          <a:pt x="298161" y="59807"/>
                          <a:pt x="298380" y="59826"/>
                        </a:cubicBezTo>
                        <a:cubicBezTo>
                          <a:pt x="298542" y="59693"/>
                          <a:pt x="298704" y="59550"/>
                          <a:pt x="298875" y="59417"/>
                        </a:cubicBezTo>
                        <a:cubicBezTo>
                          <a:pt x="298894" y="59198"/>
                          <a:pt x="298923" y="58979"/>
                          <a:pt x="298952" y="58760"/>
                        </a:cubicBezTo>
                        <a:cubicBezTo>
                          <a:pt x="298761" y="58598"/>
                          <a:pt x="298570" y="58426"/>
                          <a:pt x="298380" y="58264"/>
                        </a:cubicBezTo>
                        <a:cubicBezTo>
                          <a:pt x="298190" y="58236"/>
                          <a:pt x="297999" y="58207"/>
                          <a:pt x="297799" y="58179"/>
                        </a:cubicBezTo>
                        <a:cubicBezTo>
                          <a:pt x="297637" y="58341"/>
                          <a:pt x="297475" y="58512"/>
                          <a:pt x="297313" y="58674"/>
                        </a:cubicBezTo>
                        <a:close/>
                        <a:moveTo>
                          <a:pt x="213417" y="62455"/>
                        </a:moveTo>
                        <a:cubicBezTo>
                          <a:pt x="212522" y="65932"/>
                          <a:pt x="215589" y="69209"/>
                          <a:pt x="219084" y="68532"/>
                        </a:cubicBezTo>
                        <a:cubicBezTo>
                          <a:pt x="224904" y="67408"/>
                          <a:pt x="224476" y="58398"/>
                          <a:pt x="217522" y="58588"/>
                        </a:cubicBezTo>
                        <a:cubicBezTo>
                          <a:pt x="215560" y="59569"/>
                          <a:pt x="214008" y="60141"/>
                          <a:pt x="213417" y="62455"/>
                        </a:cubicBezTo>
                        <a:close/>
                        <a:moveTo>
                          <a:pt x="98612" y="62617"/>
                        </a:moveTo>
                        <a:cubicBezTo>
                          <a:pt x="97917" y="65541"/>
                          <a:pt x="100946" y="68589"/>
                          <a:pt x="103622" y="68123"/>
                        </a:cubicBezTo>
                        <a:cubicBezTo>
                          <a:pt x="109347" y="67123"/>
                          <a:pt x="109004" y="58826"/>
                          <a:pt x="102556" y="58998"/>
                        </a:cubicBezTo>
                        <a:cubicBezTo>
                          <a:pt x="100603" y="59826"/>
                          <a:pt x="99136" y="60417"/>
                          <a:pt x="98612" y="62617"/>
                        </a:cubicBezTo>
                        <a:close/>
                        <a:moveTo>
                          <a:pt x="273244" y="62617"/>
                        </a:moveTo>
                        <a:cubicBezTo>
                          <a:pt x="272424" y="64703"/>
                          <a:pt x="274739" y="66770"/>
                          <a:pt x="276606" y="66237"/>
                        </a:cubicBezTo>
                        <a:cubicBezTo>
                          <a:pt x="279720" y="65342"/>
                          <a:pt x="279254" y="60550"/>
                          <a:pt x="275291" y="60731"/>
                        </a:cubicBezTo>
                        <a:cubicBezTo>
                          <a:pt x="274453" y="61217"/>
                          <a:pt x="273605" y="61674"/>
                          <a:pt x="273244" y="62617"/>
                        </a:cubicBezTo>
                        <a:close/>
                        <a:moveTo>
                          <a:pt x="43472" y="63274"/>
                        </a:moveTo>
                        <a:cubicBezTo>
                          <a:pt x="43529" y="64637"/>
                          <a:pt x="44510" y="65475"/>
                          <a:pt x="46025" y="65408"/>
                        </a:cubicBezTo>
                        <a:cubicBezTo>
                          <a:pt x="46577" y="64856"/>
                          <a:pt x="47044" y="64618"/>
                          <a:pt x="47425" y="63846"/>
                        </a:cubicBezTo>
                        <a:cubicBezTo>
                          <a:pt x="47472" y="62341"/>
                          <a:pt x="46596" y="61436"/>
                          <a:pt x="45120" y="61465"/>
                        </a:cubicBezTo>
                        <a:cubicBezTo>
                          <a:pt x="44282" y="61989"/>
                          <a:pt x="43834" y="62255"/>
                          <a:pt x="43472" y="63274"/>
                        </a:cubicBezTo>
                        <a:close/>
                        <a:moveTo>
                          <a:pt x="133293" y="66151"/>
                        </a:moveTo>
                        <a:cubicBezTo>
                          <a:pt x="131893" y="69656"/>
                          <a:pt x="134664" y="73019"/>
                          <a:pt x="137398" y="73542"/>
                        </a:cubicBezTo>
                        <a:cubicBezTo>
                          <a:pt x="145609" y="75114"/>
                          <a:pt x="146723" y="62284"/>
                          <a:pt x="138141" y="62446"/>
                        </a:cubicBezTo>
                        <a:cubicBezTo>
                          <a:pt x="135731" y="63370"/>
                          <a:pt x="134217" y="63837"/>
                          <a:pt x="133293" y="66151"/>
                        </a:cubicBezTo>
                        <a:close/>
                        <a:moveTo>
                          <a:pt x="190814" y="66151"/>
                        </a:moveTo>
                        <a:cubicBezTo>
                          <a:pt x="189376" y="69685"/>
                          <a:pt x="192253" y="73133"/>
                          <a:pt x="194843" y="73628"/>
                        </a:cubicBezTo>
                        <a:cubicBezTo>
                          <a:pt x="202902" y="75162"/>
                          <a:pt x="204559" y="62236"/>
                          <a:pt x="195415" y="62455"/>
                        </a:cubicBezTo>
                        <a:cubicBezTo>
                          <a:pt x="193195" y="63351"/>
                          <a:pt x="191710" y="63970"/>
                          <a:pt x="190814" y="66151"/>
                        </a:cubicBezTo>
                        <a:close/>
                        <a:moveTo>
                          <a:pt x="77248" y="66475"/>
                        </a:moveTo>
                        <a:cubicBezTo>
                          <a:pt x="76152" y="69170"/>
                          <a:pt x="78572" y="72485"/>
                          <a:pt x="81439" y="71980"/>
                        </a:cubicBezTo>
                        <a:cubicBezTo>
                          <a:pt x="86125" y="71161"/>
                          <a:pt x="85963" y="64008"/>
                          <a:pt x="80696" y="63932"/>
                        </a:cubicBezTo>
                        <a:cubicBezTo>
                          <a:pt x="79134" y="64570"/>
                          <a:pt x="77867" y="64951"/>
                          <a:pt x="77248" y="66475"/>
                        </a:cubicBezTo>
                        <a:close/>
                        <a:moveTo>
                          <a:pt x="249812" y="66894"/>
                        </a:moveTo>
                        <a:cubicBezTo>
                          <a:pt x="248936" y="69713"/>
                          <a:pt x="251546" y="72504"/>
                          <a:pt x="254251" y="71990"/>
                        </a:cubicBezTo>
                        <a:cubicBezTo>
                          <a:pt x="258842" y="71114"/>
                          <a:pt x="258861" y="63779"/>
                          <a:pt x="253346" y="63941"/>
                        </a:cubicBezTo>
                        <a:cubicBezTo>
                          <a:pt x="251612" y="64618"/>
                          <a:pt x="250384" y="65084"/>
                          <a:pt x="249812" y="66894"/>
                        </a:cubicBezTo>
                        <a:close/>
                        <a:moveTo>
                          <a:pt x="170269" y="67627"/>
                        </a:moveTo>
                        <a:cubicBezTo>
                          <a:pt x="167126" y="69942"/>
                          <a:pt x="168307" y="75076"/>
                          <a:pt x="169773" y="78638"/>
                        </a:cubicBezTo>
                        <a:cubicBezTo>
                          <a:pt x="170869" y="78848"/>
                          <a:pt x="176584" y="77667"/>
                          <a:pt x="177832" y="77238"/>
                        </a:cubicBezTo>
                        <a:cubicBezTo>
                          <a:pt x="178489" y="77010"/>
                          <a:pt x="179432" y="76209"/>
                          <a:pt x="179718" y="75600"/>
                        </a:cubicBezTo>
                        <a:cubicBezTo>
                          <a:pt x="180079" y="74809"/>
                          <a:pt x="179975" y="73428"/>
                          <a:pt x="179794" y="72561"/>
                        </a:cubicBezTo>
                        <a:cubicBezTo>
                          <a:pt x="179079" y="68999"/>
                          <a:pt x="178041" y="66418"/>
                          <a:pt x="173793" y="66484"/>
                        </a:cubicBezTo>
                        <a:cubicBezTo>
                          <a:pt x="172564" y="67008"/>
                          <a:pt x="171250" y="66903"/>
                          <a:pt x="170269" y="67627"/>
                        </a:cubicBezTo>
                        <a:close/>
                        <a:moveTo>
                          <a:pt x="111185" y="71247"/>
                        </a:moveTo>
                        <a:cubicBezTo>
                          <a:pt x="110204" y="74943"/>
                          <a:pt x="113690" y="78600"/>
                          <a:pt x="117510" y="77743"/>
                        </a:cubicBezTo>
                        <a:cubicBezTo>
                          <a:pt x="123739" y="76333"/>
                          <a:pt x="123206" y="66951"/>
                          <a:pt x="115453" y="67142"/>
                        </a:cubicBezTo>
                        <a:cubicBezTo>
                          <a:pt x="113404" y="68161"/>
                          <a:pt x="111823" y="68837"/>
                          <a:pt x="111185" y="71247"/>
                        </a:cubicBezTo>
                        <a:close/>
                        <a:moveTo>
                          <a:pt x="226647" y="71085"/>
                        </a:moveTo>
                        <a:cubicBezTo>
                          <a:pt x="225647" y="74285"/>
                          <a:pt x="228895" y="77972"/>
                          <a:pt x="231819" y="77495"/>
                        </a:cubicBezTo>
                        <a:cubicBezTo>
                          <a:pt x="238249" y="76448"/>
                          <a:pt x="237963" y="67227"/>
                          <a:pt x="231076" y="67389"/>
                        </a:cubicBezTo>
                        <a:cubicBezTo>
                          <a:pt x="228943" y="68275"/>
                          <a:pt x="227352" y="68818"/>
                          <a:pt x="226647" y="71085"/>
                        </a:cubicBezTo>
                        <a:close/>
                        <a:moveTo>
                          <a:pt x="55721" y="71495"/>
                        </a:moveTo>
                        <a:cubicBezTo>
                          <a:pt x="55064" y="73571"/>
                          <a:pt x="57112" y="75905"/>
                          <a:pt x="59169" y="75524"/>
                        </a:cubicBezTo>
                        <a:cubicBezTo>
                          <a:pt x="62960" y="74819"/>
                          <a:pt x="62760" y="69018"/>
                          <a:pt x="58179" y="69199"/>
                        </a:cubicBezTo>
                        <a:cubicBezTo>
                          <a:pt x="57102" y="69790"/>
                          <a:pt x="56121" y="70228"/>
                          <a:pt x="55721" y="71495"/>
                        </a:cubicBezTo>
                        <a:close/>
                        <a:moveTo>
                          <a:pt x="286883" y="71495"/>
                        </a:moveTo>
                        <a:cubicBezTo>
                          <a:pt x="286140" y="73238"/>
                          <a:pt x="287998" y="75219"/>
                          <a:pt x="289760" y="74781"/>
                        </a:cubicBezTo>
                        <a:cubicBezTo>
                          <a:pt x="292532" y="74104"/>
                          <a:pt x="292237" y="69771"/>
                          <a:pt x="288693" y="69933"/>
                        </a:cubicBezTo>
                        <a:cubicBezTo>
                          <a:pt x="288007" y="70332"/>
                          <a:pt x="287198" y="70752"/>
                          <a:pt x="286883" y="71495"/>
                        </a:cubicBezTo>
                        <a:close/>
                        <a:moveTo>
                          <a:pt x="146028" y="74447"/>
                        </a:moveTo>
                        <a:cubicBezTo>
                          <a:pt x="145037" y="77686"/>
                          <a:pt x="148952" y="82182"/>
                          <a:pt x="145447" y="83649"/>
                        </a:cubicBezTo>
                        <a:cubicBezTo>
                          <a:pt x="144075" y="84220"/>
                          <a:pt x="137170" y="85649"/>
                          <a:pt x="136407" y="84639"/>
                        </a:cubicBezTo>
                        <a:cubicBezTo>
                          <a:pt x="134379" y="81934"/>
                          <a:pt x="136131" y="78086"/>
                          <a:pt x="132874" y="76095"/>
                        </a:cubicBezTo>
                        <a:cubicBezTo>
                          <a:pt x="131797" y="75438"/>
                          <a:pt x="130112" y="75152"/>
                          <a:pt x="128435" y="75514"/>
                        </a:cubicBezTo>
                        <a:cubicBezTo>
                          <a:pt x="127749" y="75762"/>
                          <a:pt x="127063" y="76009"/>
                          <a:pt x="126387" y="76257"/>
                        </a:cubicBezTo>
                        <a:cubicBezTo>
                          <a:pt x="125463" y="76819"/>
                          <a:pt x="124377" y="78048"/>
                          <a:pt x="124006" y="79134"/>
                        </a:cubicBezTo>
                        <a:cubicBezTo>
                          <a:pt x="123149" y="81610"/>
                          <a:pt x="124920" y="86649"/>
                          <a:pt x="126635" y="87182"/>
                        </a:cubicBezTo>
                        <a:cubicBezTo>
                          <a:pt x="129197" y="87992"/>
                          <a:pt x="132607" y="85306"/>
                          <a:pt x="135426" y="86030"/>
                        </a:cubicBezTo>
                        <a:cubicBezTo>
                          <a:pt x="136827" y="86706"/>
                          <a:pt x="136836" y="88754"/>
                          <a:pt x="137236" y="90468"/>
                        </a:cubicBezTo>
                        <a:cubicBezTo>
                          <a:pt x="137465" y="91450"/>
                          <a:pt x="137941" y="92650"/>
                          <a:pt x="137646" y="93840"/>
                        </a:cubicBezTo>
                        <a:cubicBezTo>
                          <a:pt x="137074" y="96193"/>
                          <a:pt x="133912" y="98574"/>
                          <a:pt x="130578" y="98031"/>
                        </a:cubicBezTo>
                        <a:cubicBezTo>
                          <a:pt x="124625" y="97060"/>
                          <a:pt x="127692" y="92297"/>
                          <a:pt x="125158" y="89078"/>
                        </a:cubicBezTo>
                        <a:cubicBezTo>
                          <a:pt x="123901" y="87478"/>
                          <a:pt x="120587" y="88668"/>
                          <a:pt x="118824" y="89078"/>
                        </a:cubicBezTo>
                        <a:cubicBezTo>
                          <a:pt x="117605" y="89363"/>
                          <a:pt x="116776" y="89440"/>
                          <a:pt x="115948" y="90068"/>
                        </a:cubicBezTo>
                        <a:cubicBezTo>
                          <a:pt x="112757" y="92469"/>
                          <a:pt x="116872" y="96698"/>
                          <a:pt x="115624" y="99765"/>
                        </a:cubicBezTo>
                        <a:cubicBezTo>
                          <a:pt x="114290" y="103013"/>
                          <a:pt x="108833" y="101336"/>
                          <a:pt x="106499" y="103298"/>
                        </a:cubicBezTo>
                        <a:cubicBezTo>
                          <a:pt x="104184" y="105242"/>
                          <a:pt x="107299" y="108899"/>
                          <a:pt x="106747" y="111842"/>
                        </a:cubicBezTo>
                        <a:cubicBezTo>
                          <a:pt x="106146" y="115052"/>
                          <a:pt x="103270" y="115033"/>
                          <a:pt x="100174" y="115786"/>
                        </a:cubicBezTo>
                        <a:cubicBezTo>
                          <a:pt x="99336" y="115986"/>
                          <a:pt x="98069" y="116395"/>
                          <a:pt x="97050" y="116119"/>
                        </a:cubicBezTo>
                        <a:cubicBezTo>
                          <a:pt x="93888" y="114471"/>
                          <a:pt x="97298" y="104994"/>
                          <a:pt x="89487" y="106423"/>
                        </a:cubicBezTo>
                        <a:cubicBezTo>
                          <a:pt x="88887" y="106585"/>
                          <a:pt x="88287" y="106747"/>
                          <a:pt x="87687" y="106909"/>
                        </a:cubicBezTo>
                        <a:cubicBezTo>
                          <a:pt x="86792" y="107242"/>
                          <a:pt x="85925" y="107699"/>
                          <a:pt x="85392" y="108385"/>
                        </a:cubicBezTo>
                        <a:cubicBezTo>
                          <a:pt x="83067" y="111357"/>
                          <a:pt x="84039" y="117281"/>
                          <a:pt x="87859" y="118081"/>
                        </a:cubicBezTo>
                        <a:cubicBezTo>
                          <a:pt x="89545" y="118434"/>
                          <a:pt x="93516" y="117100"/>
                          <a:pt x="95336" y="116843"/>
                        </a:cubicBezTo>
                        <a:cubicBezTo>
                          <a:pt x="96583" y="117700"/>
                          <a:pt x="96641" y="118558"/>
                          <a:pt x="97060" y="120291"/>
                        </a:cubicBezTo>
                        <a:cubicBezTo>
                          <a:pt x="97879" y="123711"/>
                          <a:pt x="98393" y="127330"/>
                          <a:pt x="94917" y="128425"/>
                        </a:cubicBezTo>
                        <a:cubicBezTo>
                          <a:pt x="92783" y="129092"/>
                          <a:pt x="88602" y="128797"/>
                          <a:pt x="87849" y="130807"/>
                        </a:cubicBezTo>
                        <a:cubicBezTo>
                          <a:pt x="87630" y="131397"/>
                          <a:pt x="87982" y="132197"/>
                          <a:pt x="88097" y="132702"/>
                        </a:cubicBezTo>
                        <a:cubicBezTo>
                          <a:pt x="88716" y="135360"/>
                          <a:pt x="89916" y="139389"/>
                          <a:pt x="87773" y="140999"/>
                        </a:cubicBezTo>
                        <a:cubicBezTo>
                          <a:pt x="85525" y="142694"/>
                          <a:pt x="80677" y="141646"/>
                          <a:pt x="79391" y="144285"/>
                        </a:cubicBezTo>
                        <a:cubicBezTo>
                          <a:pt x="78048" y="147037"/>
                          <a:pt x="81343" y="151533"/>
                          <a:pt x="80620" y="154229"/>
                        </a:cubicBezTo>
                        <a:cubicBezTo>
                          <a:pt x="75066" y="155324"/>
                          <a:pt x="69027" y="155467"/>
                          <a:pt x="71009" y="163020"/>
                        </a:cubicBezTo>
                        <a:cubicBezTo>
                          <a:pt x="71238" y="163887"/>
                          <a:pt x="71590" y="164697"/>
                          <a:pt x="72076" y="165325"/>
                        </a:cubicBezTo>
                        <a:cubicBezTo>
                          <a:pt x="74981" y="169088"/>
                          <a:pt x="78648" y="164792"/>
                          <a:pt x="81858" y="165983"/>
                        </a:cubicBezTo>
                        <a:cubicBezTo>
                          <a:pt x="83906" y="166745"/>
                          <a:pt x="84229" y="170878"/>
                          <a:pt x="84649" y="173212"/>
                        </a:cubicBezTo>
                        <a:cubicBezTo>
                          <a:pt x="85525" y="178022"/>
                          <a:pt x="79867" y="176822"/>
                          <a:pt x="77095" y="178137"/>
                        </a:cubicBezTo>
                        <a:cubicBezTo>
                          <a:pt x="74428" y="179403"/>
                          <a:pt x="74571" y="183575"/>
                          <a:pt x="75781" y="186518"/>
                        </a:cubicBezTo>
                        <a:cubicBezTo>
                          <a:pt x="78276" y="192624"/>
                          <a:pt x="86220" y="184680"/>
                          <a:pt x="88106" y="190548"/>
                        </a:cubicBezTo>
                        <a:cubicBezTo>
                          <a:pt x="88849" y="192853"/>
                          <a:pt x="89925" y="197253"/>
                          <a:pt x="88030" y="198682"/>
                        </a:cubicBezTo>
                        <a:cubicBezTo>
                          <a:pt x="87201" y="199301"/>
                          <a:pt x="86115" y="199301"/>
                          <a:pt x="84906" y="199587"/>
                        </a:cubicBezTo>
                        <a:cubicBezTo>
                          <a:pt x="80734" y="200587"/>
                          <a:pt x="78476" y="201368"/>
                          <a:pt x="79734" y="206740"/>
                        </a:cubicBezTo>
                        <a:cubicBezTo>
                          <a:pt x="80010" y="207483"/>
                          <a:pt x="80286" y="208217"/>
                          <a:pt x="80553" y="208959"/>
                        </a:cubicBezTo>
                        <a:cubicBezTo>
                          <a:pt x="82048" y="211369"/>
                          <a:pt x="84725" y="211322"/>
                          <a:pt x="87944" y="210607"/>
                        </a:cubicBezTo>
                        <a:cubicBezTo>
                          <a:pt x="88744" y="210426"/>
                          <a:pt x="90459" y="209712"/>
                          <a:pt x="91230" y="210198"/>
                        </a:cubicBezTo>
                        <a:cubicBezTo>
                          <a:pt x="94002" y="211931"/>
                          <a:pt x="92097" y="218618"/>
                          <a:pt x="95183" y="220142"/>
                        </a:cubicBezTo>
                        <a:cubicBezTo>
                          <a:pt x="98403" y="221732"/>
                          <a:pt x="102727" y="216798"/>
                          <a:pt x="105537" y="221047"/>
                        </a:cubicBezTo>
                        <a:cubicBezTo>
                          <a:pt x="106089" y="221875"/>
                          <a:pt x="107289" y="227200"/>
                          <a:pt x="107099" y="228524"/>
                        </a:cubicBezTo>
                        <a:cubicBezTo>
                          <a:pt x="107013" y="229124"/>
                          <a:pt x="106318" y="229752"/>
                          <a:pt x="105870" y="230000"/>
                        </a:cubicBezTo>
                        <a:cubicBezTo>
                          <a:pt x="103937" y="231095"/>
                          <a:pt x="100765" y="230467"/>
                          <a:pt x="99050" y="231724"/>
                        </a:cubicBezTo>
                        <a:cubicBezTo>
                          <a:pt x="96383" y="233686"/>
                          <a:pt x="97079" y="238935"/>
                          <a:pt x="99374" y="240763"/>
                        </a:cubicBezTo>
                        <a:cubicBezTo>
                          <a:pt x="102051" y="242897"/>
                          <a:pt x="108147" y="242154"/>
                          <a:pt x="108985" y="238706"/>
                        </a:cubicBezTo>
                        <a:cubicBezTo>
                          <a:pt x="109652" y="235991"/>
                          <a:pt x="107137" y="233200"/>
                          <a:pt x="107918" y="230657"/>
                        </a:cubicBezTo>
                        <a:cubicBezTo>
                          <a:pt x="108309" y="229381"/>
                          <a:pt x="114528" y="227752"/>
                          <a:pt x="116462" y="228438"/>
                        </a:cubicBezTo>
                        <a:cubicBezTo>
                          <a:pt x="117367" y="228752"/>
                          <a:pt x="118443" y="229648"/>
                          <a:pt x="118929" y="230410"/>
                        </a:cubicBezTo>
                        <a:cubicBezTo>
                          <a:pt x="119615" y="231467"/>
                          <a:pt x="120739" y="236820"/>
                          <a:pt x="119834" y="238049"/>
                        </a:cubicBezTo>
                        <a:cubicBezTo>
                          <a:pt x="117510" y="241211"/>
                          <a:pt x="109309" y="238106"/>
                          <a:pt x="110471" y="244869"/>
                        </a:cubicBezTo>
                        <a:cubicBezTo>
                          <a:pt x="110633" y="245583"/>
                          <a:pt x="110795" y="246297"/>
                          <a:pt x="110957" y="247012"/>
                        </a:cubicBezTo>
                        <a:cubicBezTo>
                          <a:pt x="111262" y="247983"/>
                          <a:pt x="111614" y="248793"/>
                          <a:pt x="112271" y="249393"/>
                        </a:cubicBezTo>
                        <a:cubicBezTo>
                          <a:pt x="114871" y="251755"/>
                          <a:pt x="121377" y="251336"/>
                          <a:pt x="122291" y="247583"/>
                        </a:cubicBezTo>
                        <a:cubicBezTo>
                          <a:pt x="123082" y="244345"/>
                          <a:pt x="119539" y="240497"/>
                          <a:pt x="122377" y="238544"/>
                        </a:cubicBezTo>
                        <a:cubicBezTo>
                          <a:pt x="123187" y="237992"/>
                          <a:pt x="124301" y="237973"/>
                          <a:pt x="125416" y="237725"/>
                        </a:cubicBezTo>
                        <a:cubicBezTo>
                          <a:pt x="131311" y="236410"/>
                          <a:pt x="132064" y="238239"/>
                          <a:pt x="133226" y="243402"/>
                        </a:cubicBezTo>
                        <a:cubicBezTo>
                          <a:pt x="133426" y="244297"/>
                          <a:pt x="133921" y="245726"/>
                          <a:pt x="133636" y="246774"/>
                        </a:cubicBezTo>
                        <a:cubicBezTo>
                          <a:pt x="131797" y="250288"/>
                          <a:pt x="122329" y="246364"/>
                          <a:pt x="123853" y="254251"/>
                        </a:cubicBezTo>
                        <a:cubicBezTo>
                          <a:pt x="124073" y="254984"/>
                          <a:pt x="124292" y="255727"/>
                          <a:pt x="124511" y="256470"/>
                        </a:cubicBezTo>
                        <a:cubicBezTo>
                          <a:pt x="124949" y="257537"/>
                          <a:pt x="125606" y="258327"/>
                          <a:pt x="126482" y="258928"/>
                        </a:cubicBezTo>
                        <a:cubicBezTo>
                          <a:pt x="129654" y="261147"/>
                          <a:pt x="134903" y="259004"/>
                          <a:pt x="135522" y="255813"/>
                        </a:cubicBezTo>
                        <a:cubicBezTo>
                          <a:pt x="136074" y="252974"/>
                          <a:pt x="134140" y="250603"/>
                          <a:pt x="134531" y="248002"/>
                        </a:cubicBezTo>
                        <a:cubicBezTo>
                          <a:pt x="137112" y="246364"/>
                          <a:pt x="144113" y="244516"/>
                          <a:pt x="145704" y="248079"/>
                        </a:cubicBezTo>
                        <a:cubicBezTo>
                          <a:pt x="146828" y="250603"/>
                          <a:pt x="146066" y="254222"/>
                          <a:pt x="148333" y="255556"/>
                        </a:cubicBezTo>
                        <a:cubicBezTo>
                          <a:pt x="150543" y="256861"/>
                          <a:pt x="155686" y="253965"/>
                          <a:pt x="158191" y="254489"/>
                        </a:cubicBezTo>
                        <a:cubicBezTo>
                          <a:pt x="159344" y="256508"/>
                          <a:pt x="159010" y="259985"/>
                          <a:pt x="160239" y="262042"/>
                        </a:cubicBezTo>
                        <a:cubicBezTo>
                          <a:pt x="162211" y="265328"/>
                          <a:pt x="168326" y="264738"/>
                          <a:pt x="170431" y="261880"/>
                        </a:cubicBezTo>
                        <a:cubicBezTo>
                          <a:pt x="172193" y="259480"/>
                          <a:pt x="169650" y="256537"/>
                          <a:pt x="170021" y="253832"/>
                        </a:cubicBezTo>
                        <a:cubicBezTo>
                          <a:pt x="170412" y="250993"/>
                          <a:pt x="174812" y="250793"/>
                          <a:pt x="177498" y="250298"/>
                        </a:cubicBezTo>
                        <a:cubicBezTo>
                          <a:pt x="182089" y="249450"/>
                          <a:pt x="181137" y="254870"/>
                          <a:pt x="182261" y="257613"/>
                        </a:cubicBezTo>
                        <a:cubicBezTo>
                          <a:pt x="183432" y="260452"/>
                          <a:pt x="187604" y="260461"/>
                          <a:pt x="190643" y="259166"/>
                        </a:cubicBezTo>
                        <a:cubicBezTo>
                          <a:pt x="196262" y="256784"/>
                          <a:pt x="190890" y="252146"/>
                          <a:pt x="192529" y="248564"/>
                        </a:cubicBezTo>
                        <a:cubicBezTo>
                          <a:pt x="193357" y="246745"/>
                          <a:pt x="195872" y="246783"/>
                          <a:pt x="198034" y="246269"/>
                        </a:cubicBezTo>
                        <a:cubicBezTo>
                          <a:pt x="198939" y="246050"/>
                          <a:pt x="200377" y="245431"/>
                          <a:pt x="201654" y="245774"/>
                        </a:cubicBezTo>
                        <a:cubicBezTo>
                          <a:pt x="204006" y="246412"/>
                          <a:pt x="203482" y="250345"/>
                          <a:pt x="204283" y="252593"/>
                        </a:cubicBezTo>
                        <a:cubicBezTo>
                          <a:pt x="205187" y="255137"/>
                          <a:pt x="208178" y="256013"/>
                          <a:pt x="211350" y="255146"/>
                        </a:cubicBezTo>
                        <a:cubicBezTo>
                          <a:pt x="212169" y="254918"/>
                          <a:pt x="213074" y="254432"/>
                          <a:pt x="213646" y="253917"/>
                        </a:cubicBezTo>
                        <a:cubicBezTo>
                          <a:pt x="214313" y="253317"/>
                          <a:pt x="215055" y="252289"/>
                          <a:pt x="215284" y="251288"/>
                        </a:cubicBezTo>
                        <a:cubicBezTo>
                          <a:pt x="215760" y="249288"/>
                          <a:pt x="214246" y="244107"/>
                          <a:pt x="212988" y="243564"/>
                        </a:cubicBezTo>
                        <a:cubicBezTo>
                          <a:pt x="210941" y="242668"/>
                          <a:pt x="207092" y="245107"/>
                          <a:pt x="204854" y="244792"/>
                        </a:cubicBezTo>
                        <a:cubicBezTo>
                          <a:pt x="201549" y="244326"/>
                          <a:pt x="200673" y="237534"/>
                          <a:pt x="202559" y="235096"/>
                        </a:cubicBezTo>
                        <a:cubicBezTo>
                          <a:pt x="204397" y="232715"/>
                          <a:pt x="209874" y="231858"/>
                          <a:pt x="211922" y="234601"/>
                        </a:cubicBezTo>
                        <a:cubicBezTo>
                          <a:pt x="213169" y="236268"/>
                          <a:pt x="212645" y="239201"/>
                          <a:pt x="213560" y="241259"/>
                        </a:cubicBezTo>
                        <a:cubicBezTo>
                          <a:pt x="214579" y="243526"/>
                          <a:pt x="221313" y="242087"/>
                          <a:pt x="223009" y="240849"/>
                        </a:cubicBezTo>
                        <a:cubicBezTo>
                          <a:pt x="226533" y="238287"/>
                          <a:pt x="222113" y="234039"/>
                          <a:pt x="223590" y="230819"/>
                        </a:cubicBezTo>
                        <a:cubicBezTo>
                          <a:pt x="225019" y="227714"/>
                          <a:pt x="231505" y="229514"/>
                          <a:pt x="233286" y="226800"/>
                        </a:cubicBezTo>
                        <a:cubicBezTo>
                          <a:pt x="234601" y="224800"/>
                          <a:pt x="231248" y="220085"/>
                          <a:pt x="232886" y="217427"/>
                        </a:cubicBezTo>
                        <a:cubicBezTo>
                          <a:pt x="234582" y="214665"/>
                          <a:pt x="241240" y="215789"/>
                          <a:pt x="242335" y="213484"/>
                        </a:cubicBezTo>
                        <a:cubicBezTo>
                          <a:pt x="243364" y="211312"/>
                          <a:pt x="240039" y="206721"/>
                          <a:pt x="241763" y="204035"/>
                        </a:cubicBezTo>
                        <a:cubicBezTo>
                          <a:pt x="243516" y="201282"/>
                          <a:pt x="249888" y="202644"/>
                          <a:pt x="251050" y="199844"/>
                        </a:cubicBezTo>
                        <a:cubicBezTo>
                          <a:pt x="252146" y="197196"/>
                          <a:pt x="248717" y="192757"/>
                          <a:pt x="250307" y="190481"/>
                        </a:cubicBezTo>
                        <a:cubicBezTo>
                          <a:pt x="252222" y="187747"/>
                          <a:pt x="258099" y="189738"/>
                          <a:pt x="259594" y="186042"/>
                        </a:cubicBezTo>
                        <a:cubicBezTo>
                          <a:pt x="260023" y="184975"/>
                          <a:pt x="259747" y="183604"/>
                          <a:pt x="259509" y="182594"/>
                        </a:cubicBezTo>
                        <a:cubicBezTo>
                          <a:pt x="258994" y="180346"/>
                          <a:pt x="258975" y="177794"/>
                          <a:pt x="256965" y="177089"/>
                        </a:cubicBezTo>
                        <a:cubicBezTo>
                          <a:pt x="254117" y="176089"/>
                          <a:pt x="250974" y="179346"/>
                          <a:pt x="248174" y="177251"/>
                        </a:cubicBezTo>
                        <a:cubicBezTo>
                          <a:pt x="245393" y="175174"/>
                          <a:pt x="245116" y="169002"/>
                          <a:pt x="248174" y="167145"/>
                        </a:cubicBezTo>
                        <a:cubicBezTo>
                          <a:pt x="250288" y="165859"/>
                          <a:pt x="253746" y="166240"/>
                          <a:pt x="255651" y="164925"/>
                        </a:cubicBezTo>
                        <a:cubicBezTo>
                          <a:pt x="256213" y="162487"/>
                          <a:pt x="253565" y="156972"/>
                          <a:pt x="254337" y="155229"/>
                        </a:cubicBezTo>
                        <a:cubicBezTo>
                          <a:pt x="255260" y="153143"/>
                          <a:pt x="259004" y="153648"/>
                          <a:pt x="261242" y="152848"/>
                        </a:cubicBezTo>
                        <a:cubicBezTo>
                          <a:pt x="265443" y="151333"/>
                          <a:pt x="264357" y="144456"/>
                          <a:pt x="261404" y="142408"/>
                        </a:cubicBezTo>
                        <a:cubicBezTo>
                          <a:pt x="258889" y="140656"/>
                          <a:pt x="253612" y="143980"/>
                          <a:pt x="252041" y="142484"/>
                        </a:cubicBezTo>
                        <a:cubicBezTo>
                          <a:pt x="250031" y="140579"/>
                          <a:pt x="251117" y="134179"/>
                          <a:pt x="248917" y="132626"/>
                        </a:cubicBezTo>
                        <a:cubicBezTo>
                          <a:pt x="248107" y="132055"/>
                          <a:pt x="246440" y="132740"/>
                          <a:pt x="245545" y="132950"/>
                        </a:cubicBezTo>
                        <a:cubicBezTo>
                          <a:pt x="242173" y="133731"/>
                          <a:pt x="239116" y="133636"/>
                          <a:pt x="237820" y="130892"/>
                        </a:cubicBezTo>
                        <a:cubicBezTo>
                          <a:pt x="237601" y="130073"/>
                          <a:pt x="237382" y="129254"/>
                          <a:pt x="237163" y="128425"/>
                        </a:cubicBezTo>
                        <a:cubicBezTo>
                          <a:pt x="235248" y="120672"/>
                          <a:pt x="242106" y="123539"/>
                          <a:pt x="245459" y="121025"/>
                        </a:cubicBezTo>
                        <a:cubicBezTo>
                          <a:pt x="247307" y="119643"/>
                          <a:pt x="246488" y="115329"/>
                          <a:pt x="245621" y="113224"/>
                        </a:cubicBezTo>
                        <a:cubicBezTo>
                          <a:pt x="243230" y="107385"/>
                          <a:pt x="237296" y="113509"/>
                          <a:pt x="234362" y="111252"/>
                        </a:cubicBezTo>
                        <a:cubicBezTo>
                          <a:pt x="232010" y="109442"/>
                          <a:pt x="233439" y="103737"/>
                          <a:pt x="230991" y="101965"/>
                        </a:cubicBezTo>
                        <a:cubicBezTo>
                          <a:pt x="228647" y="100270"/>
                          <a:pt x="223942" y="104003"/>
                          <a:pt x="221380" y="102137"/>
                        </a:cubicBezTo>
                        <a:cubicBezTo>
                          <a:pt x="218960" y="100365"/>
                          <a:pt x="220228" y="95545"/>
                          <a:pt x="218256" y="93345"/>
                        </a:cubicBezTo>
                        <a:cubicBezTo>
                          <a:pt x="216198" y="91040"/>
                          <a:pt x="211045" y="95069"/>
                          <a:pt x="208312" y="93431"/>
                        </a:cubicBezTo>
                        <a:cubicBezTo>
                          <a:pt x="205521" y="91764"/>
                          <a:pt x="206921" y="86077"/>
                          <a:pt x="204378" y="84229"/>
                        </a:cubicBezTo>
                        <a:cubicBezTo>
                          <a:pt x="202082" y="82572"/>
                          <a:pt x="197682" y="85973"/>
                          <a:pt x="195005" y="84972"/>
                        </a:cubicBezTo>
                        <a:cubicBezTo>
                          <a:pt x="191405" y="83629"/>
                          <a:pt x="194748" y="74000"/>
                          <a:pt x="187862" y="75190"/>
                        </a:cubicBezTo>
                        <a:cubicBezTo>
                          <a:pt x="185585" y="75581"/>
                          <a:pt x="182185" y="75933"/>
                          <a:pt x="181365" y="77819"/>
                        </a:cubicBezTo>
                        <a:cubicBezTo>
                          <a:pt x="179918" y="81172"/>
                          <a:pt x="184499" y="84639"/>
                          <a:pt x="180546" y="87678"/>
                        </a:cubicBezTo>
                        <a:cubicBezTo>
                          <a:pt x="179832" y="88220"/>
                          <a:pt x="179108" y="88401"/>
                          <a:pt x="178079" y="88668"/>
                        </a:cubicBezTo>
                        <a:cubicBezTo>
                          <a:pt x="171974" y="90221"/>
                          <a:pt x="171497" y="87201"/>
                          <a:pt x="170354" y="82505"/>
                        </a:cubicBezTo>
                        <a:cubicBezTo>
                          <a:pt x="170088" y="81382"/>
                          <a:pt x="169812" y="80258"/>
                          <a:pt x="169535" y="79134"/>
                        </a:cubicBezTo>
                        <a:cubicBezTo>
                          <a:pt x="166678" y="78610"/>
                          <a:pt x="163030" y="80639"/>
                          <a:pt x="159506" y="80610"/>
                        </a:cubicBezTo>
                        <a:cubicBezTo>
                          <a:pt x="156010" y="77486"/>
                          <a:pt x="159096" y="70790"/>
                          <a:pt x="152029" y="70828"/>
                        </a:cubicBezTo>
                        <a:cubicBezTo>
                          <a:pt x="149362" y="71990"/>
                          <a:pt x="146952" y="71447"/>
                          <a:pt x="146028" y="74447"/>
                        </a:cubicBezTo>
                        <a:close/>
                        <a:moveTo>
                          <a:pt x="203959" y="74609"/>
                        </a:moveTo>
                        <a:cubicBezTo>
                          <a:pt x="202711" y="77562"/>
                          <a:pt x="204978" y="82210"/>
                          <a:pt x="207331" y="82658"/>
                        </a:cubicBezTo>
                        <a:cubicBezTo>
                          <a:pt x="208464" y="82877"/>
                          <a:pt x="209607" y="82353"/>
                          <a:pt x="210455" y="82163"/>
                        </a:cubicBezTo>
                        <a:cubicBezTo>
                          <a:pt x="217970" y="80477"/>
                          <a:pt x="215989" y="71028"/>
                          <a:pt x="208893" y="71066"/>
                        </a:cubicBezTo>
                        <a:cubicBezTo>
                          <a:pt x="206664" y="71971"/>
                          <a:pt x="204864" y="72485"/>
                          <a:pt x="203959" y="74609"/>
                        </a:cubicBezTo>
                        <a:close/>
                        <a:moveTo>
                          <a:pt x="89573" y="75514"/>
                        </a:moveTo>
                        <a:cubicBezTo>
                          <a:pt x="88449" y="79038"/>
                          <a:pt x="91783" y="82448"/>
                          <a:pt x="95250" y="81677"/>
                        </a:cubicBezTo>
                        <a:cubicBezTo>
                          <a:pt x="100879" y="80420"/>
                          <a:pt x="100489" y="71780"/>
                          <a:pt x="93354" y="71980"/>
                        </a:cubicBezTo>
                        <a:cubicBezTo>
                          <a:pt x="91649" y="72847"/>
                          <a:pt x="90192" y="73600"/>
                          <a:pt x="89573" y="75514"/>
                        </a:cubicBezTo>
                        <a:close/>
                        <a:moveTo>
                          <a:pt x="263376" y="75438"/>
                        </a:moveTo>
                        <a:cubicBezTo>
                          <a:pt x="262318" y="78057"/>
                          <a:pt x="264690" y="81201"/>
                          <a:pt x="267652" y="80610"/>
                        </a:cubicBezTo>
                        <a:cubicBezTo>
                          <a:pt x="272005" y="79753"/>
                          <a:pt x="271719" y="72961"/>
                          <a:pt x="266833" y="72885"/>
                        </a:cubicBezTo>
                        <a:cubicBezTo>
                          <a:pt x="265204" y="73504"/>
                          <a:pt x="264004" y="73885"/>
                          <a:pt x="263376" y="75438"/>
                        </a:cubicBezTo>
                        <a:close/>
                        <a:moveTo>
                          <a:pt x="36243" y="78810"/>
                        </a:moveTo>
                        <a:cubicBezTo>
                          <a:pt x="39300" y="78915"/>
                          <a:pt x="39214" y="74628"/>
                          <a:pt x="36243" y="74695"/>
                        </a:cubicBezTo>
                        <a:cubicBezTo>
                          <a:pt x="34299" y="75857"/>
                          <a:pt x="33852" y="77724"/>
                          <a:pt x="36243" y="78810"/>
                        </a:cubicBezTo>
                        <a:close/>
                        <a:moveTo>
                          <a:pt x="239878" y="80362"/>
                        </a:moveTo>
                        <a:cubicBezTo>
                          <a:pt x="239106" y="83572"/>
                          <a:pt x="242564" y="86877"/>
                          <a:pt x="245793" y="86201"/>
                        </a:cubicBezTo>
                        <a:cubicBezTo>
                          <a:pt x="251384" y="85020"/>
                          <a:pt x="251117" y="76143"/>
                          <a:pt x="244069" y="76343"/>
                        </a:cubicBezTo>
                        <a:cubicBezTo>
                          <a:pt x="242049" y="77248"/>
                          <a:pt x="240430" y="78048"/>
                          <a:pt x="239878" y="80362"/>
                        </a:cubicBezTo>
                        <a:close/>
                        <a:moveTo>
                          <a:pt x="68046" y="80200"/>
                        </a:moveTo>
                        <a:cubicBezTo>
                          <a:pt x="67170" y="83296"/>
                          <a:pt x="70104" y="86096"/>
                          <a:pt x="73057" y="85373"/>
                        </a:cubicBezTo>
                        <a:cubicBezTo>
                          <a:pt x="77762" y="84229"/>
                          <a:pt x="77343" y="76895"/>
                          <a:pt x="71494" y="77076"/>
                        </a:cubicBezTo>
                        <a:cubicBezTo>
                          <a:pt x="69894" y="77800"/>
                          <a:pt x="68551" y="78419"/>
                          <a:pt x="68046" y="80200"/>
                        </a:cubicBezTo>
                        <a:close/>
                        <a:moveTo>
                          <a:pt x="300599" y="80781"/>
                        </a:moveTo>
                        <a:cubicBezTo>
                          <a:pt x="300571" y="82191"/>
                          <a:pt x="301237" y="82744"/>
                          <a:pt x="302162" y="83163"/>
                        </a:cubicBezTo>
                        <a:cubicBezTo>
                          <a:pt x="305133" y="83286"/>
                          <a:pt x="305162" y="79143"/>
                          <a:pt x="302323" y="79143"/>
                        </a:cubicBezTo>
                        <a:cubicBezTo>
                          <a:pt x="301485" y="79600"/>
                          <a:pt x="301028" y="79886"/>
                          <a:pt x="300599" y="80781"/>
                        </a:cubicBezTo>
                        <a:close/>
                        <a:moveTo>
                          <a:pt x="217198" y="83239"/>
                        </a:moveTo>
                        <a:cubicBezTo>
                          <a:pt x="216760" y="84229"/>
                          <a:pt x="217075" y="85487"/>
                          <a:pt x="217275" y="86439"/>
                        </a:cubicBezTo>
                        <a:cubicBezTo>
                          <a:pt x="217827" y="89002"/>
                          <a:pt x="217999" y="91183"/>
                          <a:pt x="220646" y="91621"/>
                        </a:cubicBezTo>
                        <a:cubicBezTo>
                          <a:pt x="221685" y="91430"/>
                          <a:pt x="222723" y="91240"/>
                          <a:pt x="223771" y="91049"/>
                        </a:cubicBezTo>
                        <a:cubicBezTo>
                          <a:pt x="224819" y="90811"/>
                          <a:pt x="225657" y="90802"/>
                          <a:pt x="226400" y="90306"/>
                        </a:cubicBezTo>
                        <a:cubicBezTo>
                          <a:pt x="231076" y="87192"/>
                          <a:pt x="228067" y="79819"/>
                          <a:pt x="221799" y="79953"/>
                        </a:cubicBezTo>
                        <a:cubicBezTo>
                          <a:pt x="219808" y="80810"/>
                          <a:pt x="218046" y="81324"/>
                          <a:pt x="217198" y="83239"/>
                        </a:cubicBezTo>
                        <a:close/>
                        <a:moveTo>
                          <a:pt x="102146" y="84068"/>
                        </a:moveTo>
                        <a:cubicBezTo>
                          <a:pt x="101070" y="87497"/>
                          <a:pt x="103918" y="91983"/>
                          <a:pt x="107652" y="91297"/>
                        </a:cubicBezTo>
                        <a:cubicBezTo>
                          <a:pt x="109737" y="90916"/>
                          <a:pt x="111709" y="90440"/>
                          <a:pt x="112662" y="88916"/>
                        </a:cubicBezTo>
                        <a:cubicBezTo>
                          <a:pt x="115291" y="84706"/>
                          <a:pt x="111300" y="79943"/>
                          <a:pt x="106832" y="80039"/>
                        </a:cubicBezTo>
                        <a:cubicBezTo>
                          <a:pt x="104613" y="81039"/>
                          <a:pt x="102908" y="81658"/>
                          <a:pt x="102146" y="84068"/>
                        </a:cubicBezTo>
                        <a:close/>
                        <a:moveTo>
                          <a:pt x="159506" y="86449"/>
                        </a:moveTo>
                        <a:cubicBezTo>
                          <a:pt x="159668" y="87154"/>
                          <a:pt x="160048" y="88068"/>
                          <a:pt x="159839" y="89078"/>
                        </a:cubicBezTo>
                        <a:cubicBezTo>
                          <a:pt x="159267" y="91849"/>
                          <a:pt x="155477" y="94497"/>
                          <a:pt x="151867" y="93107"/>
                        </a:cubicBezTo>
                        <a:cubicBezTo>
                          <a:pt x="150904" y="92735"/>
                          <a:pt x="149885" y="92069"/>
                          <a:pt x="149323" y="91297"/>
                        </a:cubicBezTo>
                        <a:cubicBezTo>
                          <a:pt x="148123" y="89649"/>
                          <a:pt x="147237" y="84677"/>
                          <a:pt x="148990" y="83325"/>
                        </a:cubicBezTo>
                        <a:cubicBezTo>
                          <a:pt x="150743" y="81982"/>
                          <a:pt x="154029" y="82410"/>
                          <a:pt x="156220" y="81515"/>
                        </a:cubicBezTo>
                        <a:cubicBezTo>
                          <a:pt x="158915" y="81867"/>
                          <a:pt x="158944" y="83953"/>
                          <a:pt x="159506" y="86449"/>
                        </a:cubicBezTo>
                        <a:close/>
                        <a:moveTo>
                          <a:pt x="276853" y="84887"/>
                        </a:moveTo>
                        <a:cubicBezTo>
                          <a:pt x="276215" y="87144"/>
                          <a:pt x="278444" y="89592"/>
                          <a:pt x="280635" y="89240"/>
                        </a:cubicBezTo>
                        <a:cubicBezTo>
                          <a:pt x="284826" y="88582"/>
                          <a:pt x="284864" y="81934"/>
                          <a:pt x="279892" y="82096"/>
                        </a:cubicBezTo>
                        <a:cubicBezTo>
                          <a:pt x="278482" y="82715"/>
                          <a:pt x="277292" y="83334"/>
                          <a:pt x="276853" y="84887"/>
                        </a:cubicBezTo>
                        <a:close/>
                        <a:moveTo>
                          <a:pt x="46844" y="84563"/>
                        </a:moveTo>
                        <a:cubicBezTo>
                          <a:pt x="45968" y="86896"/>
                          <a:pt x="48339" y="89459"/>
                          <a:pt x="50702" y="88830"/>
                        </a:cubicBezTo>
                        <a:cubicBezTo>
                          <a:pt x="54273" y="87887"/>
                          <a:pt x="53959" y="82239"/>
                          <a:pt x="49311" y="82420"/>
                        </a:cubicBezTo>
                        <a:cubicBezTo>
                          <a:pt x="48282" y="82925"/>
                          <a:pt x="47254" y="83458"/>
                          <a:pt x="46844" y="84563"/>
                        </a:cubicBezTo>
                        <a:close/>
                        <a:moveTo>
                          <a:pt x="80458" y="88916"/>
                        </a:moveTo>
                        <a:cubicBezTo>
                          <a:pt x="79419" y="92631"/>
                          <a:pt x="83344" y="96060"/>
                          <a:pt x="86868" y="95079"/>
                        </a:cubicBezTo>
                        <a:cubicBezTo>
                          <a:pt x="92412" y="93535"/>
                          <a:pt x="91573" y="84868"/>
                          <a:pt x="84649" y="85058"/>
                        </a:cubicBezTo>
                        <a:cubicBezTo>
                          <a:pt x="82610" y="85973"/>
                          <a:pt x="81096" y="86639"/>
                          <a:pt x="80458" y="88916"/>
                        </a:cubicBezTo>
                        <a:close/>
                        <a:moveTo>
                          <a:pt x="253517" y="88744"/>
                        </a:moveTo>
                        <a:cubicBezTo>
                          <a:pt x="252403" y="91973"/>
                          <a:pt x="255460" y="95536"/>
                          <a:pt x="258775" y="94907"/>
                        </a:cubicBezTo>
                        <a:cubicBezTo>
                          <a:pt x="264328" y="93850"/>
                          <a:pt x="264242" y="85211"/>
                          <a:pt x="257708" y="85373"/>
                        </a:cubicBezTo>
                        <a:cubicBezTo>
                          <a:pt x="255670" y="86182"/>
                          <a:pt x="254222" y="86687"/>
                          <a:pt x="253517" y="88744"/>
                        </a:cubicBezTo>
                        <a:close/>
                        <a:moveTo>
                          <a:pt x="194843" y="90059"/>
                        </a:moveTo>
                        <a:cubicBezTo>
                          <a:pt x="195063" y="91040"/>
                          <a:pt x="195605" y="92269"/>
                          <a:pt x="195339" y="93593"/>
                        </a:cubicBezTo>
                        <a:cubicBezTo>
                          <a:pt x="194872" y="95898"/>
                          <a:pt x="192033" y="98317"/>
                          <a:pt x="188681" y="97698"/>
                        </a:cubicBezTo>
                        <a:cubicBezTo>
                          <a:pt x="185118" y="97050"/>
                          <a:pt x="181908" y="91945"/>
                          <a:pt x="184737" y="88249"/>
                        </a:cubicBezTo>
                        <a:cubicBezTo>
                          <a:pt x="186042" y="86535"/>
                          <a:pt x="188643" y="87097"/>
                          <a:pt x="190728" y="86116"/>
                        </a:cubicBezTo>
                        <a:cubicBezTo>
                          <a:pt x="193891" y="86039"/>
                          <a:pt x="194281" y="87554"/>
                          <a:pt x="194843" y="90059"/>
                        </a:cubicBezTo>
                        <a:close/>
                        <a:moveTo>
                          <a:pt x="25727" y="89735"/>
                        </a:moveTo>
                        <a:cubicBezTo>
                          <a:pt x="25432" y="90916"/>
                          <a:pt x="26937" y="92402"/>
                          <a:pt x="28194" y="92040"/>
                        </a:cubicBezTo>
                        <a:cubicBezTo>
                          <a:pt x="30375" y="91402"/>
                          <a:pt x="30089" y="87944"/>
                          <a:pt x="27289" y="88097"/>
                        </a:cubicBezTo>
                        <a:cubicBezTo>
                          <a:pt x="26641" y="88487"/>
                          <a:pt x="25927" y="88916"/>
                          <a:pt x="25727" y="89735"/>
                        </a:cubicBezTo>
                        <a:close/>
                        <a:moveTo>
                          <a:pt x="314573" y="90145"/>
                        </a:moveTo>
                        <a:cubicBezTo>
                          <a:pt x="314953" y="90678"/>
                          <a:pt x="315182" y="90916"/>
                          <a:pt x="315725" y="91297"/>
                        </a:cubicBezTo>
                        <a:cubicBezTo>
                          <a:pt x="316573" y="91202"/>
                          <a:pt x="316754" y="90783"/>
                          <a:pt x="317125" y="90230"/>
                        </a:cubicBezTo>
                        <a:cubicBezTo>
                          <a:pt x="317078" y="89373"/>
                          <a:pt x="316535" y="88840"/>
                          <a:pt x="315725" y="88754"/>
                        </a:cubicBezTo>
                        <a:cubicBezTo>
                          <a:pt x="315144" y="89116"/>
                          <a:pt x="314715" y="89325"/>
                          <a:pt x="314573" y="90145"/>
                        </a:cubicBezTo>
                        <a:close/>
                        <a:moveTo>
                          <a:pt x="230505" y="92278"/>
                        </a:moveTo>
                        <a:cubicBezTo>
                          <a:pt x="229333" y="95231"/>
                          <a:pt x="231648" y="99870"/>
                          <a:pt x="233791" y="100327"/>
                        </a:cubicBezTo>
                        <a:cubicBezTo>
                          <a:pt x="234991" y="100584"/>
                          <a:pt x="236220" y="100108"/>
                          <a:pt x="237077" y="99917"/>
                        </a:cubicBezTo>
                        <a:cubicBezTo>
                          <a:pt x="244059" y="98336"/>
                          <a:pt x="242688" y="88687"/>
                          <a:pt x="235515" y="88821"/>
                        </a:cubicBezTo>
                        <a:cubicBezTo>
                          <a:pt x="233239" y="89706"/>
                          <a:pt x="231381" y="90087"/>
                          <a:pt x="230505" y="92278"/>
                        </a:cubicBezTo>
                        <a:close/>
                        <a:moveTo>
                          <a:pt x="59169" y="93345"/>
                        </a:moveTo>
                        <a:cubicBezTo>
                          <a:pt x="58245" y="96393"/>
                          <a:pt x="61141" y="99631"/>
                          <a:pt x="64427" y="98688"/>
                        </a:cubicBezTo>
                        <a:cubicBezTo>
                          <a:pt x="69094" y="97345"/>
                          <a:pt x="68475" y="90116"/>
                          <a:pt x="62455" y="90306"/>
                        </a:cubicBezTo>
                        <a:cubicBezTo>
                          <a:pt x="60960" y="91059"/>
                          <a:pt x="59684" y="91649"/>
                          <a:pt x="59169" y="93345"/>
                        </a:cubicBezTo>
                        <a:close/>
                        <a:moveTo>
                          <a:pt x="168135" y="101813"/>
                        </a:moveTo>
                        <a:cubicBezTo>
                          <a:pt x="164135" y="102584"/>
                          <a:pt x="160668" y="98041"/>
                          <a:pt x="162211" y="94250"/>
                        </a:cubicBezTo>
                        <a:cubicBezTo>
                          <a:pt x="163144" y="91964"/>
                          <a:pt x="164744" y="91840"/>
                          <a:pt x="167059" y="90878"/>
                        </a:cubicBezTo>
                        <a:cubicBezTo>
                          <a:pt x="174374" y="90716"/>
                          <a:pt x="174517" y="100574"/>
                          <a:pt x="168135" y="101813"/>
                        </a:cubicBezTo>
                        <a:close/>
                        <a:moveTo>
                          <a:pt x="290579" y="93840"/>
                        </a:moveTo>
                        <a:cubicBezTo>
                          <a:pt x="290055" y="95964"/>
                          <a:pt x="292037" y="98003"/>
                          <a:pt x="294027" y="97622"/>
                        </a:cubicBezTo>
                        <a:cubicBezTo>
                          <a:pt x="297609" y="96936"/>
                          <a:pt x="297523" y="91430"/>
                          <a:pt x="293446" y="91373"/>
                        </a:cubicBezTo>
                        <a:cubicBezTo>
                          <a:pt x="292075" y="91907"/>
                          <a:pt x="290941" y="92364"/>
                          <a:pt x="290579" y="93840"/>
                        </a:cubicBezTo>
                        <a:close/>
                        <a:moveTo>
                          <a:pt x="93193" y="96964"/>
                        </a:moveTo>
                        <a:cubicBezTo>
                          <a:pt x="91792" y="100403"/>
                          <a:pt x="94412" y="104308"/>
                          <a:pt x="96974" y="104765"/>
                        </a:cubicBezTo>
                        <a:cubicBezTo>
                          <a:pt x="98145" y="104975"/>
                          <a:pt x="99479" y="104423"/>
                          <a:pt x="100422" y="104194"/>
                        </a:cubicBezTo>
                        <a:cubicBezTo>
                          <a:pt x="102222" y="103756"/>
                          <a:pt x="103975" y="103680"/>
                          <a:pt x="104613" y="102146"/>
                        </a:cubicBezTo>
                        <a:cubicBezTo>
                          <a:pt x="104994" y="101232"/>
                          <a:pt x="104518" y="99879"/>
                          <a:pt x="104365" y="99184"/>
                        </a:cubicBezTo>
                        <a:cubicBezTo>
                          <a:pt x="103537" y="95450"/>
                          <a:pt x="102908" y="93031"/>
                          <a:pt x="98365" y="93107"/>
                        </a:cubicBezTo>
                        <a:cubicBezTo>
                          <a:pt x="95850" y="94164"/>
                          <a:pt x="94202" y="94478"/>
                          <a:pt x="93193" y="96964"/>
                        </a:cubicBezTo>
                        <a:close/>
                        <a:moveTo>
                          <a:pt x="267081" y="97698"/>
                        </a:moveTo>
                        <a:cubicBezTo>
                          <a:pt x="266062" y="100965"/>
                          <a:pt x="269052" y="104003"/>
                          <a:pt x="272253" y="103375"/>
                        </a:cubicBezTo>
                        <a:cubicBezTo>
                          <a:pt x="277349" y="102375"/>
                          <a:pt x="276939" y="94412"/>
                          <a:pt x="271024" y="94497"/>
                        </a:cubicBezTo>
                        <a:cubicBezTo>
                          <a:pt x="269148" y="95278"/>
                          <a:pt x="267691" y="95726"/>
                          <a:pt x="267081" y="97698"/>
                        </a:cubicBezTo>
                        <a:close/>
                        <a:moveTo>
                          <a:pt x="202159" y="106499"/>
                        </a:moveTo>
                        <a:cubicBezTo>
                          <a:pt x="198796" y="105880"/>
                          <a:pt x="195710" y="101632"/>
                          <a:pt x="198053" y="97784"/>
                        </a:cubicBezTo>
                        <a:cubicBezTo>
                          <a:pt x="199253" y="95812"/>
                          <a:pt x="201016" y="96107"/>
                          <a:pt x="203311" y="95155"/>
                        </a:cubicBezTo>
                        <a:cubicBezTo>
                          <a:pt x="211026" y="94974"/>
                          <a:pt x="209778" y="107909"/>
                          <a:pt x="202159" y="106499"/>
                        </a:cubicBezTo>
                        <a:close/>
                        <a:moveTo>
                          <a:pt x="145456" y="106251"/>
                        </a:moveTo>
                        <a:cubicBezTo>
                          <a:pt x="142046" y="106813"/>
                          <a:pt x="138836" y="102794"/>
                          <a:pt x="139789" y="99346"/>
                        </a:cubicBezTo>
                        <a:cubicBezTo>
                          <a:pt x="140456" y="96898"/>
                          <a:pt x="142189" y="96383"/>
                          <a:pt x="144389" y="95402"/>
                        </a:cubicBezTo>
                        <a:cubicBezTo>
                          <a:pt x="152305" y="95221"/>
                          <a:pt x="152295" y="105127"/>
                          <a:pt x="145456" y="106251"/>
                        </a:cubicBezTo>
                        <a:close/>
                        <a:moveTo>
                          <a:pt x="37976" y="98031"/>
                        </a:moveTo>
                        <a:cubicBezTo>
                          <a:pt x="37309" y="100136"/>
                          <a:pt x="39348" y="102470"/>
                          <a:pt x="41348" y="102137"/>
                        </a:cubicBezTo>
                        <a:cubicBezTo>
                          <a:pt x="45215" y="101498"/>
                          <a:pt x="45148" y="95764"/>
                          <a:pt x="40767" y="95726"/>
                        </a:cubicBezTo>
                        <a:cubicBezTo>
                          <a:pt x="39453" y="96298"/>
                          <a:pt x="38414" y="96641"/>
                          <a:pt x="37976" y="98031"/>
                        </a:cubicBezTo>
                        <a:close/>
                        <a:moveTo>
                          <a:pt x="243821" y="101898"/>
                        </a:moveTo>
                        <a:cubicBezTo>
                          <a:pt x="242640" y="106080"/>
                          <a:pt x="246431" y="109823"/>
                          <a:pt x="250393" y="108880"/>
                        </a:cubicBezTo>
                        <a:cubicBezTo>
                          <a:pt x="256870" y="107347"/>
                          <a:pt x="256061" y="97679"/>
                          <a:pt x="248250" y="97869"/>
                        </a:cubicBezTo>
                        <a:cubicBezTo>
                          <a:pt x="246221" y="98888"/>
                          <a:pt x="244478" y="99536"/>
                          <a:pt x="243821" y="101898"/>
                        </a:cubicBezTo>
                        <a:close/>
                        <a:moveTo>
                          <a:pt x="71580" y="102146"/>
                        </a:moveTo>
                        <a:cubicBezTo>
                          <a:pt x="70590" y="105356"/>
                          <a:pt x="73857" y="109128"/>
                          <a:pt x="77162" y="108556"/>
                        </a:cubicBezTo>
                        <a:cubicBezTo>
                          <a:pt x="83572" y="107442"/>
                          <a:pt x="83144" y="98136"/>
                          <a:pt x="76257" y="98203"/>
                        </a:cubicBezTo>
                        <a:cubicBezTo>
                          <a:pt x="73876" y="99146"/>
                          <a:pt x="72342" y="99641"/>
                          <a:pt x="71580" y="102146"/>
                        </a:cubicBezTo>
                        <a:close/>
                        <a:moveTo>
                          <a:pt x="122282" y="111014"/>
                        </a:moveTo>
                        <a:cubicBezTo>
                          <a:pt x="119034" y="110471"/>
                          <a:pt x="118158" y="108975"/>
                          <a:pt x="117357" y="105918"/>
                        </a:cubicBezTo>
                        <a:cubicBezTo>
                          <a:pt x="116976" y="104461"/>
                          <a:pt x="116967" y="102813"/>
                          <a:pt x="117767" y="101727"/>
                        </a:cubicBezTo>
                        <a:cubicBezTo>
                          <a:pt x="118996" y="100041"/>
                          <a:pt x="121339" y="100460"/>
                          <a:pt x="123434" y="99584"/>
                        </a:cubicBezTo>
                        <a:cubicBezTo>
                          <a:pt x="130692" y="99470"/>
                          <a:pt x="129730" y="112252"/>
                          <a:pt x="122282" y="111014"/>
                        </a:cubicBezTo>
                        <a:close/>
                        <a:moveTo>
                          <a:pt x="181365" y="110280"/>
                        </a:moveTo>
                        <a:cubicBezTo>
                          <a:pt x="177708" y="110947"/>
                          <a:pt x="174803" y="107232"/>
                          <a:pt x="175784" y="103794"/>
                        </a:cubicBezTo>
                        <a:cubicBezTo>
                          <a:pt x="176393" y="101632"/>
                          <a:pt x="177984" y="101022"/>
                          <a:pt x="179975" y="100184"/>
                        </a:cubicBezTo>
                        <a:cubicBezTo>
                          <a:pt x="187319" y="99993"/>
                          <a:pt x="187547" y="109166"/>
                          <a:pt x="181365" y="110280"/>
                        </a:cubicBezTo>
                        <a:close/>
                        <a:moveTo>
                          <a:pt x="304552" y="102556"/>
                        </a:moveTo>
                        <a:cubicBezTo>
                          <a:pt x="303895" y="104165"/>
                          <a:pt x="305428" y="106318"/>
                          <a:pt x="307267" y="105927"/>
                        </a:cubicBezTo>
                        <a:cubicBezTo>
                          <a:pt x="310210" y="105299"/>
                          <a:pt x="310143" y="100660"/>
                          <a:pt x="306448" y="100832"/>
                        </a:cubicBezTo>
                        <a:cubicBezTo>
                          <a:pt x="305628" y="101279"/>
                          <a:pt x="304905" y="101670"/>
                          <a:pt x="304552" y="102556"/>
                        </a:cubicBezTo>
                        <a:close/>
                        <a:moveTo>
                          <a:pt x="17097" y="103051"/>
                        </a:moveTo>
                        <a:cubicBezTo>
                          <a:pt x="17078" y="104318"/>
                          <a:pt x="17764" y="104842"/>
                          <a:pt x="18659" y="105194"/>
                        </a:cubicBezTo>
                        <a:cubicBezTo>
                          <a:pt x="19907" y="105146"/>
                          <a:pt x="20593" y="104327"/>
                          <a:pt x="20717" y="103137"/>
                        </a:cubicBezTo>
                        <a:cubicBezTo>
                          <a:pt x="20231" y="102365"/>
                          <a:pt x="19907" y="101603"/>
                          <a:pt x="18659" y="101574"/>
                        </a:cubicBezTo>
                        <a:cubicBezTo>
                          <a:pt x="17945" y="102022"/>
                          <a:pt x="17488" y="102260"/>
                          <a:pt x="17097" y="103051"/>
                        </a:cubicBezTo>
                        <a:close/>
                        <a:moveTo>
                          <a:pt x="50301" y="106747"/>
                        </a:moveTo>
                        <a:cubicBezTo>
                          <a:pt x="49358" y="109890"/>
                          <a:pt x="52397" y="112728"/>
                          <a:pt x="55473" y="111919"/>
                        </a:cubicBezTo>
                        <a:cubicBezTo>
                          <a:pt x="60198" y="110690"/>
                          <a:pt x="59541" y="103451"/>
                          <a:pt x="53749" y="103622"/>
                        </a:cubicBezTo>
                        <a:cubicBezTo>
                          <a:pt x="52073" y="104365"/>
                          <a:pt x="50844" y="104918"/>
                          <a:pt x="50301" y="106747"/>
                        </a:cubicBezTo>
                        <a:close/>
                        <a:moveTo>
                          <a:pt x="280797" y="106823"/>
                        </a:moveTo>
                        <a:cubicBezTo>
                          <a:pt x="279997" y="109585"/>
                          <a:pt x="282588" y="112424"/>
                          <a:pt x="285397" y="111842"/>
                        </a:cubicBezTo>
                        <a:cubicBezTo>
                          <a:pt x="290103" y="110861"/>
                          <a:pt x="289884" y="103594"/>
                          <a:pt x="283997" y="103784"/>
                        </a:cubicBezTo>
                        <a:cubicBezTo>
                          <a:pt x="282530" y="104518"/>
                          <a:pt x="281292" y="105146"/>
                          <a:pt x="280797" y="106823"/>
                        </a:cubicBezTo>
                        <a:close/>
                        <a:moveTo>
                          <a:pt x="215960" y="115452"/>
                        </a:moveTo>
                        <a:cubicBezTo>
                          <a:pt x="212360" y="114881"/>
                          <a:pt x="208931" y="110871"/>
                          <a:pt x="211360" y="106823"/>
                        </a:cubicBezTo>
                        <a:cubicBezTo>
                          <a:pt x="212731" y="104527"/>
                          <a:pt x="214113" y="105070"/>
                          <a:pt x="216617" y="104032"/>
                        </a:cubicBezTo>
                        <a:cubicBezTo>
                          <a:pt x="224314" y="103851"/>
                          <a:pt x="223085" y="116586"/>
                          <a:pt x="215960" y="115452"/>
                        </a:cubicBezTo>
                        <a:close/>
                        <a:moveTo>
                          <a:pt x="158687" y="114471"/>
                        </a:moveTo>
                        <a:cubicBezTo>
                          <a:pt x="155686" y="114919"/>
                          <a:pt x="152828" y="111700"/>
                          <a:pt x="153762" y="108471"/>
                        </a:cubicBezTo>
                        <a:cubicBezTo>
                          <a:pt x="154429" y="106137"/>
                          <a:pt x="155829" y="105718"/>
                          <a:pt x="158029" y="104851"/>
                        </a:cubicBezTo>
                        <a:cubicBezTo>
                          <a:pt x="164554" y="104746"/>
                          <a:pt x="164906" y="113538"/>
                          <a:pt x="158687" y="114471"/>
                        </a:cubicBezTo>
                        <a:close/>
                        <a:moveTo>
                          <a:pt x="257461" y="110690"/>
                        </a:moveTo>
                        <a:cubicBezTo>
                          <a:pt x="256270" y="114119"/>
                          <a:pt x="259566" y="118253"/>
                          <a:pt x="263128" y="117586"/>
                        </a:cubicBezTo>
                        <a:cubicBezTo>
                          <a:pt x="269453" y="116405"/>
                          <a:pt x="269196" y="106880"/>
                          <a:pt x="262223" y="106985"/>
                        </a:cubicBezTo>
                        <a:cubicBezTo>
                          <a:pt x="259890" y="107899"/>
                          <a:pt x="258270" y="108337"/>
                          <a:pt x="257461" y="110690"/>
                        </a:cubicBezTo>
                        <a:close/>
                        <a:moveTo>
                          <a:pt x="29337" y="111185"/>
                        </a:moveTo>
                        <a:cubicBezTo>
                          <a:pt x="28556" y="113233"/>
                          <a:pt x="30451" y="115700"/>
                          <a:pt x="32623" y="115300"/>
                        </a:cubicBezTo>
                        <a:cubicBezTo>
                          <a:pt x="36185" y="114633"/>
                          <a:pt x="35843" y="109509"/>
                          <a:pt x="32128" y="109137"/>
                        </a:cubicBezTo>
                        <a:cubicBezTo>
                          <a:pt x="30871" y="109614"/>
                          <a:pt x="29804" y="109966"/>
                          <a:pt x="29337" y="111185"/>
                        </a:cubicBezTo>
                        <a:close/>
                        <a:moveTo>
                          <a:pt x="137074" y="119072"/>
                        </a:moveTo>
                        <a:cubicBezTo>
                          <a:pt x="133693" y="119805"/>
                          <a:pt x="130178" y="116567"/>
                          <a:pt x="131235" y="112909"/>
                        </a:cubicBezTo>
                        <a:cubicBezTo>
                          <a:pt x="131874" y="110709"/>
                          <a:pt x="133369" y="110033"/>
                          <a:pt x="135350" y="109128"/>
                        </a:cubicBezTo>
                        <a:cubicBezTo>
                          <a:pt x="142446" y="108956"/>
                          <a:pt x="142922" y="117805"/>
                          <a:pt x="137074" y="119072"/>
                        </a:cubicBezTo>
                        <a:close/>
                        <a:moveTo>
                          <a:pt x="195091" y="118900"/>
                        </a:moveTo>
                        <a:cubicBezTo>
                          <a:pt x="191653" y="119739"/>
                          <a:pt x="188366" y="116434"/>
                          <a:pt x="189338" y="112900"/>
                        </a:cubicBezTo>
                        <a:cubicBezTo>
                          <a:pt x="189938" y="110699"/>
                          <a:pt x="191510" y="110128"/>
                          <a:pt x="193529" y="109290"/>
                        </a:cubicBezTo>
                        <a:cubicBezTo>
                          <a:pt x="200158" y="109137"/>
                          <a:pt x="200577" y="117567"/>
                          <a:pt x="195091" y="118900"/>
                        </a:cubicBezTo>
                        <a:close/>
                        <a:moveTo>
                          <a:pt x="318516" y="111919"/>
                        </a:moveTo>
                        <a:cubicBezTo>
                          <a:pt x="318516" y="113090"/>
                          <a:pt x="319126" y="113605"/>
                          <a:pt x="319916" y="113976"/>
                        </a:cubicBezTo>
                        <a:cubicBezTo>
                          <a:pt x="321097" y="114024"/>
                          <a:pt x="322545" y="113024"/>
                          <a:pt x="321964" y="111757"/>
                        </a:cubicBezTo>
                        <a:cubicBezTo>
                          <a:pt x="321707" y="111004"/>
                          <a:pt x="321040" y="110433"/>
                          <a:pt x="319992" y="110442"/>
                        </a:cubicBezTo>
                        <a:cubicBezTo>
                          <a:pt x="319344" y="110890"/>
                          <a:pt x="318878" y="111195"/>
                          <a:pt x="318516" y="111919"/>
                        </a:cubicBezTo>
                        <a:close/>
                        <a:moveTo>
                          <a:pt x="62951" y="114795"/>
                        </a:moveTo>
                        <a:cubicBezTo>
                          <a:pt x="61608" y="118139"/>
                          <a:pt x="64684" y="122425"/>
                          <a:pt x="68123" y="121863"/>
                        </a:cubicBezTo>
                        <a:cubicBezTo>
                          <a:pt x="74476" y="120825"/>
                          <a:pt x="74295" y="111642"/>
                          <a:pt x="67627" y="111509"/>
                        </a:cubicBezTo>
                        <a:cubicBezTo>
                          <a:pt x="65408" y="112395"/>
                          <a:pt x="63817" y="112633"/>
                          <a:pt x="62951" y="114795"/>
                        </a:cubicBezTo>
                        <a:close/>
                        <a:moveTo>
                          <a:pt x="235029" y="118005"/>
                        </a:moveTo>
                        <a:cubicBezTo>
                          <a:pt x="235229" y="118824"/>
                          <a:pt x="235648" y="119901"/>
                          <a:pt x="235363" y="120967"/>
                        </a:cubicBezTo>
                        <a:cubicBezTo>
                          <a:pt x="234810" y="122977"/>
                          <a:pt x="231715" y="125063"/>
                          <a:pt x="228705" y="124501"/>
                        </a:cubicBezTo>
                        <a:cubicBezTo>
                          <a:pt x="224637" y="123739"/>
                          <a:pt x="222094" y="118167"/>
                          <a:pt x="225257" y="114643"/>
                        </a:cubicBezTo>
                        <a:cubicBezTo>
                          <a:pt x="226543" y="113214"/>
                          <a:pt x="228828" y="113595"/>
                          <a:pt x="230762" y="112757"/>
                        </a:cubicBezTo>
                        <a:cubicBezTo>
                          <a:pt x="234534" y="112652"/>
                          <a:pt x="234324" y="115033"/>
                          <a:pt x="235029" y="118005"/>
                        </a:cubicBezTo>
                        <a:close/>
                        <a:moveTo>
                          <a:pt x="114881" y="124168"/>
                        </a:moveTo>
                        <a:cubicBezTo>
                          <a:pt x="110737" y="125111"/>
                          <a:pt x="107061" y="120282"/>
                          <a:pt x="108633" y="116367"/>
                        </a:cubicBezTo>
                        <a:cubicBezTo>
                          <a:pt x="109709" y="113681"/>
                          <a:pt x="111223" y="114138"/>
                          <a:pt x="113814" y="113081"/>
                        </a:cubicBezTo>
                        <a:cubicBezTo>
                          <a:pt x="120967" y="112947"/>
                          <a:pt x="121053" y="122768"/>
                          <a:pt x="114881" y="124168"/>
                        </a:cubicBezTo>
                        <a:close/>
                        <a:moveTo>
                          <a:pt x="294608" y="115948"/>
                        </a:moveTo>
                        <a:cubicBezTo>
                          <a:pt x="294027" y="118300"/>
                          <a:pt x="296361" y="120558"/>
                          <a:pt x="298552" y="120139"/>
                        </a:cubicBezTo>
                        <a:cubicBezTo>
                          <a:pt x="302590" y="119367"/>
                          <a:pt x="302333" y="112986"/>
                          <a:pt x="297561" y="113157"/>
                        </a:cubicBezTo>
                        <a:cubicBezTo>
                          <a:pt x="296218" y="113747"/>
                          <a:pt x="294980" y="114424"/>
                          <a:pt x="294608" y="115948"/>
                        </a:cubicBezTo>
                        <a:close/>
                        <a:moveTo>
                          <a:pt x="172983" y="122691"/>
                        </a:moveTo>
                        <a:cubicBezTo>
                          <a:pt x="169773" y="123625"/>
                          <a:pt x="166678" y="120634"/>
                          <a:pt x="167640" y="117434"/>
                        </a:cubicBezTo>
                        <a:cubicBezTo>
                          <a:pt x="168154" y="115710"/>
                          <a:pt x="169440" y="115024"/>
                          <a:pt x="171012" y="114309"/>
                        </a:cubicBezTo>
                        <a:cubicBezTo>
                          <a:pt x="176936" y="114138"/>
                          <a:pt x="177660" y="121329"/>
                          <a:pt x="172983" y="122691"/>
                        </a:cubicBezTo>
                        <a:close/>
                        <a:moveTo>
                          <a:pt x="8553" y="116443"/>
                        </a:moveTo>
                        <a:cubicBezTo>
                          <a:pt x="8639" y="117386"/>
                          <a:pt x="9230" y="117957"/>
                          <a:pt x="10115" y="118091"/>
                        </a:cubicBezTo>
                        <a:cubicBezTo>
                          <a:pt x="10639" y="117834"/>
                          <a:pt x="11039" y="117586"/>
                          <a:pt x="11268" y="117024"/>
                        </a:cubicBezTo>
                        <a:cubicBezTo>
                          <a:pt x="11296" y="116776"/>
                          <a:pt x="11325" y="116529"/>
                          <a:pt x="11344" y="116281"/>
                        </a:cubicBezTo>
                        <a:cubicBezTo>
                          <a:pt x="10916" y="115767"/>
                          <a:pt x="10696" y="115281"/>
                          <a:pt x="9792" y="115214"/>
                        </a:cubicBezTo>
                        <a:cubicBezTo>
                          <a:pt x="9201" y="115605"/>
                          <a:pt x="8972" y="115900"/>
                          <a:pt x="8553" y="116443"/>
                        </a:cubicBezTo>
                        <a:close/>
                        <a:moveTo>
                          <a:pt x="271100" y="119815"/>
                        </a:moveTo>
                        <a:cubicBezTo>
                          <a:pt x="270110" y="123063"/>
                          <a:pt x="273425" y="126568"/>
                          <a:pt x="276520" y="125968"/>
                        </a:cubicBezTo>
                        <a:cubicBezTo>
                          <a:pt x="282254" y="124882"/>
                          <a:pt x="281959" y="116081"/>
                          <a:pt x="275129" y="116272"/>
                        </a:cubicBezTo>
                        <a:cubicBezTo>
                          <a:pt x="273253" y="117110"/>
                          <a:pt x="271729" y="117777"/>
                          <a:pt x="271100" y="119815"/>
                        </a:cubicBezTo>
                        <a:close/>
                        <a:moveTo>
                          <a:pt x="41662" y="119815"/>
                        </a:moveTo>
                        <a:cubicBezTo>
                          <a:pt x="40767" y="122606"/>
                          <a:pt x="43167" y="125787"/>
                          <a:pt x="46187" y="125158"/>
                        </a:cubicBezTo>
                        <a:cubicBezTo>
                          <a:pt x="50873" y="124177"/>
                          <a:pt x="50559" y="116843"/>
                          <a:pt x="44958" y="117024"/>
                        </a:cubicBezTo>
                        <a:cubicBezTo>
                          <a:pt x="43501" y="117729"/>
                          <a:pt x="42186" y="118186"/>
                          <a:pt x="41662" y="119815"/>
                        </a:cubicBezTo>
                        <a:close/>
                        <a:moveTo>
                          <a:pt x="207826" y="127949"/>
                        </a:moveTo>
                        <a:cubicBezTo>
                          <a:pt x="204778" y="128464"/>
                          <a:pt x="201835" y="124815"/>
                          <a:pt x="202730" y="121787"/>
                        </a:cubicBezTo>
                        <a:cubicBezTo>
                          <a:pt x="203425" y="119424"/>
                          <a:pt x="204854" y="119043"/>
                          <a:pt x="207083" y="118167"/>
                        </a:cubicBezTo>
                        <a:cubicBezTo>
                          <a:pt x="213750" y="118053"/>
                          <a:pt x="213950" y="126911"/>
                          <a:pt x="207826" y="127949"/>
                        </a:cubicBezTo>
                        <a:close/>
                        <a:moveTo>
                          <a:pt x="150143" y="127206"/>
                        </a:moveTo>
                        <a:cubicBezTo>
                          <a:pt x="147009" y="127825"/>
                          <a:pt x="144628" y="124654"/>
                          <a:pt x="145456" y="121787"/>
                        </a:cubicBezTo>
                        <a:cubicBezTo>
                          <a:pt x="145999" y="119910"/>
                          <a:pt x="147523" y="119434"/>
                          <a:pt x="149323" y="118748"/>
                        </a:cubicBezTo>
                        <a:cubicBezTo>
                          <a:pt x="154829" y="119120"/>
                          <a:pt x="155048" y="126235"/>
                          <a:pt x="150143" y="127206"/>
                        </a:cubicBezTo>
                        <a:close/>
                        <a:moveTo>
                          <a:pt x="75933" y="122606"/>
                        </a:moveTo>
                        <a:cubicBezTo>
                          <a:pt x="73952" y="125825"/>
                          <a:pt x="76076" y="130454"/>
                          <a:pt x="78886" y="131235"/>
                        </a:cubicBezTo>
                        <a:cubicBezTo>
                          <a:pt x="80810" y="131769"/>
                          <a:pt x="86658" y="130178"/>
                          <a:pt x="87020" y="129016"/>
                        </a:cubicBezTo>
                        <a:cubicBezTo>
                          <a:pt x="87363" y="127921"/>
                          <a:pt x="86782" y="126568"/>
                          <a:pt x="86611" y="125816"/>
                        </a:cubicBezTo>
                        <a:cubicBezTo>
                          <a:pt x="85811" y="122234"/>
                          <a:pt x="85649" y="119605"/>
                          <a:pt x="81267" y="119653"/>
                        </a:cubicBezTo>
                        <a:cubicBezTo>
                          <a:pt x="78514" y="120710"/>
                          <a:pt x="77476" y="120091"/>
                          <a:pt x="75933" y="122606"/>
                        </a:cubicBezTo>
                        <a:close/>
                        <a:moveTo>
                          <a:pt x="248831" y="121291"/>
                        </a:moveTo>
                        <a:cubicBezTo>
                          <a:pt x="246488" y="123168"/>
                          <a:pt x="249060" y="129330"/>
                          <a:pt x="249812" y="131312"/>
                        </a:cubicBezTo>
                        <a:cubicBezTo>
                          <a:pt x="250831" y="131921"/>
                          <a:pt x="252384" y="131502"/>
                          <a:pt x="253594" y="131235"/>
                        </a:cubicBezTo>
                        <a:cubicBezTo>
                          <a:pt x="256375" y="130607"/>
                          <a:pt x="258166" y="130369"/>
                          <a:pt x="259185" y="128025"/>
                        </a:cubicBezTo>
                        <a:cubicBezTo>
                          <a:pt x="261004" y="123806"/>
                          <a:pt x="257746" y="119634"/>
                          <a:pt x="253679" y="119729"/>
                        </a:cubicBezTo>
                        <a:cubicBezTo>
                          <a:pt x="251955" y="120482"/>
                          <a:pt x="250136" y="120244"/>
                          <a:pt x="248831" y="121291"/>
                        </a:cubicBezTo>
                        <a:close/>
                        <a:moveTo>
                          <a:pt x="308905" y="124168"/>
                        </a:moveTo>
                        <a:cubicBezTo>
                          <a:pt x="307648" y="126149"/>
                          <a:pt x="309667" y="128883"/>
                          <a:pt x="312106" y="128273"/>
                        </a:cubicBezTo>
                        <a:cubicBezTo>
                          <a:pt x="315192" y="127511"/>
                          <a:pt x="314668" y="122701"/>
                          <a:pt x="310953" y="122682"/>
                        </a:cubicBezTo>
                        <a:cubicBezTo>
                          <a:pt x="310105" y="123091"/>
                          <a:pt x="309381" y="123406"/>
                          <a:pt x="308905" y="124168"/>
                        </a:cubicBezTo>
                        <a:close/>
                        <a:moveTo>
                          <a:pt x="20717" y="124577"/>
                        </a:moveTo>
                        <a:cubicBezTo>
                          <a:pt x="19945" y="126501"/>
                          <a:pt x="21898" y="128664"/>
                          <a:pt x="23755" y="128273"/>
                        </a:cubicBezTo>
                        <a:cubicBezTo>
                          <a:pt x="26946" y="127606"/>
                          <a:pt x="26660" y="122606"/>
                          <a:pt x="22765" y="122768"/>
                        </a:cubicBezTo>
                        <a:cubicBezTo>
                          <a:pt x="21927" y="123196"/>
                          <a:pt x="21069" y="123692"/>
                          <a:pt x="20717" y="124577"/>
                        </a:cubicBezTo>
                        <a:close/>
                        <a:moveTo>
                          <a:pt x="128606" y="132055"/>
                        </a:moveTo>
                        <a:cubicBezTo>
                          <a:pt x="125301" y="133026"/>
                          <a:pt x="121729" y="130245"/>
                          <a:pt x="122520" y="126625"/>
                        </a:cubicBezTo>
                        <a:cubicBezTo>
                          <a:pt x="123015" y="124358"/>
                          <a:pt x="124520" y="123758"/>
                          <a:pt x="126301" y="122758"/>
                        </a:cubicBezTo>
                        <a:cubicBezTo>
                          <a:pt x="132902" y="122596"/>
                          <a:pt x="133693" y="130550"/>
                          <a:pt x="128606" y="132055"/>
                        </a:cubicBezTo>
                        <a:close/>
                        <a:moveTo>
                          <a:pt x="185395" y="131397"/>
                        </a:moveTo>
                        <a:cubicBezTo>
                          <a:pt x="182861" y="131778"/>
                          <a:pt x="180546" y="128816"/>
                          <a:pt x="181451" y="126216"/>
                        </a:cubicBezTo>
                        <a:cubicBezTo>
                          <a:pt x="182013" y="124606"/>
                          <a:pt x="183223" y="124130"/>
                          <a:pt x="184823" y="123511"/>
                        </a:cubicBezTo>
                        <a:cubicBezTo>
                          <a:pt x="190252" y="123530"/>
                          <a:pt x="190481" y="130635"/>
                          <a:pt x="185395" y="131397"/>
                        </a:cubicBezTo>
                        <a:close/>
                        <a:moveTo>
                          <a:pt x="53997" y="128930"/>
                        </a:moveTo>
                        <a:cubicBezTo>
                          <a:pt x="53045" y="132636"/>
                          <a:pt x="56702" y="135674"/>
                          <a:pt x="60245" y="134760"/>
                        </a:cubicBezTo>
                        <a:cubicBezTo>
                          <a:pt x="65665" y="133359"/>
                          <a:pt x="64941" y="124873"/>
                          <a:pt x="58026" y="125063"/>
                        </a:cubicBezTo>
                        <a:cubicBezTo>
                          <a:pt x="56074" y="126035"/>
                          <a:pt x="54578" y="126644"/>
                          <a:pt x="53997" y="128930"/>
                        </a:cubicBezTo>
                        <a:close/>
                        <a:moveTo>
                          <a:pt x="284988" y="128854"/>
                        </a:moveTo>
                        <a:cubicBezTo>
                          <a:pt x="284045" y="131931"/>
                          <a:pt x="286969" y="135103"/>
                          <a:pt x="290246" y="134198"/>
                        </a:cubicBezTo>
                        <a:cubicBezTo>
                          <a:pt x="294942" y="132912"/>
                          <a:pt x="294294" y="125482"/>
                          <a:pt x="288445" y="125654"/>
                        </a:cubicBezTo>
                        <a:cubicBezTo>
                          <a:pt x="286845" y="126435"/>
                          <a:pt x="285540" y="127044"/>
                          <a:pt x="284988" y="128854"/>
                        </a:cubicBezTo>
                        <a:close/>
                        <a:moveTo>
                          <a:pt x="105680" y="137560"/>
                        </a:moveTo>
                        <a:cubicBezTo>
                          <a:pt x="101955" y="138284"/>
                          <a:pt x="98517" y="134026"/>
                          <a:pt x="99603" y="130169"/>
                        </a:cubicBezTo>
                        <a:cubicBezTo>
                          <a:pt x="100308" y="127635"/>
                          <a:pt x="102117" y="127435"/>
                          <a:pt x="104451" y="126473"/>
                        </a:cubicBezTo>
                        <a:cubicBezTo>
                          <a:pt x="112195" y="126292"/>
                          <a:pt x="112223" y="136293"/>
                          <a:pt x="105680" y="137560"/>
                        </a:cubicBezTo>
                        <a:close/>
                        <a:moveTo>
                          <a:pt x="221551" y="137065"/>
                        </a:moveTo>
                        <a:cubicBezTo>
                          <a:pt x="218199" y="137722"/>
                          <a:pt x="214893" y="134121"/>
                          <a:pt x="215884" y="130654"/>
                        </a:cubicBezTo>
                        <a:cubicBezTo>
                          <a:pt x="216541" y="128359"/>
                          <a:pt x="217979" y="127768"/>
                          <a:pt x="220075" y="126873"/>
                        </a:cubicBezTo>
                        <a:cubicBezTo>
                          <a:pt x="227419" y="126701"/>
                          <a:pt x="227647" y="135884"/>
                          <a:pt x="221551" y="137065"/>
                        </a:cubicBezTo>
                        <a:close/>
                        <a:moveTo>
                          <a:pt x="163201" y="135341"/>
                        </a:moveTo>
                        <a:cubicBezTo>
                          <a:pt x="160953" y="135741"/>
                          <a:pt x="158915" y="133226"/>
                          <a:pt x="159506" y="130988"/>
                        </a:cubicBezTo>
                        <a:cubicBezTo>
                          <a:pt x="159886" y="129569"/>
                          <a:pt x="161144" y="129035"/>
                          <a:pt x="162382" y="128435"/>
                        </a:cubicBezTo>
                        <a:cubicBezTo>
                          <a:pt x="167278" y="128283"/>
                          <a:pt x="167345" y="134607"/>
                          <a:pt x="163201" y="135341"/>
                        </a:cubicBezTo>
                        <a:close/>
                        <a:moveTo>
                          <a:pt x="261652" y="132636"/>
                        </a:moveTo>
                        <a:cubicBezTo>
                          <a:pt x="260366" y="136350"/>
                          <a:pt x="263795" y="140579"/>
                          <a:pt x="267490" y="139941"/>
                        </a:cubicBezTo>
                        <a:cubicBezTo>
                          <a:pt x="274453" y="138741"/>
                          <a:pt x="273920" y="128664"/>
                          <a:pt x="266338" y="128854"/>
                        </a:cubicBezTo>
                        <a:cubicBezTo>
                          <a:pt x="264157" y="129759"/>
                          <a:pt x="262423" y="130388"/>
                          <a:pt x="261652" y="132636"/>
                        </a:cubicBezTo>
                        <a:close/>
                        <a:moveTo>
                          <a:pt x="32956" y="133617"/>
                        </a:moveTo>
                        <a:cubicBezTo>
                          <a:pt x="32328" y="136026"/>
                          <a:pt x="34642" y="138608"/>
                          <a:pt x="37147" y="138141"/>
                        </a:cubicBezTo>
                        <a:cubicBezTo>
                          <a:pt x="41729" y="137274"/>
                          <a:pt x="41329" y="130483"/>
                          <a:pt x="36328" y="130578"/>
                        </a:cubicBezTo>
                        <a:cubicBezTo>
                          <a:pt x="34709" y="131245"/>
                          <a:pt x="33423" y="131835"/>
                          <a:pt x="32956" y="133617"/>
                        </a:cubicBezTo>
                        <a:close/>
                        <a:moveTo>
                          <a:pt x="199368" y="140275"/>
                        </a:moveTo>
                        <a:cubicBezTo>
                          <a:pt x="196453" y="140970"/>
                          <a:pt x="193986" y="138113"/>
                          <a:pt x="194767" y="135341"/>
                        </a:cubicBezTo>
                        <a:cubicBezTo>
                          <a:pt x="195243" y="133645"/>
                          <a:pt x="196424" y="133140"/>
                          <a:pt x="197968" y="132464"/>
                        </a:cubicBezTo>
                        <a:cubicBezTo>
                          <a:pt x="203578" y="132340"/>
                          <a:pt x="203816" y="139208"/>
                          <a:pt x="199368" y="140275"/>
                        </a:cubicBezTo>
                        <a:close/>
                        <a:moveTo>
                          <a:pt x="324517" y="136331"/>
                        </a:moveTo>
                        <a:cubicBezTo>
                          <a:pt x="327250" y="136245"/>
                          <a:pt x="327260" y="132312"/>
                          <a:pt x="324193" y="132464"/>
                        </a:cubicBezTo>
                        <a:cubicBezTo>
                          <a:pt x="322269" y="133912"/>
                          <a:pt x="322354" y="135198"/>
                          <a:pt x="324517" y="136331"/>
                        </a:cubicBezTo>
                        <a:close/>
                        <a:moveTo>
                          <a:pt x="141351" y="140113"/>
                        </a:moveTo>
                        <a:cubicBezTo>
                          <a:pt x="138560" y="140722"/>
                          <a:pt x="136169" y="138074"/>
                          <a:pt x="136827" y="135512"/>
                        </a:cubicBezTo>
                        <a:cubicBezTo>
                          <a:pt x="137284" y="133750"/>
                          <a:pt x="138569" y="133198"/>
                          <a:pt x="140198" y="132550"/>
                        </a:cubicBezTo>
                        <a:cubicBezTo>
                          <a:pt x="145256" y="132559"/>
                          <a:pt x="145666" y="139160"/>
                          <a:pt x="141351" y="140113"/>
                        </a:cubicBezTo>
                        <a:close/>
                        <a:moveTo>
                          <a:pt x="66732" y="136903"/>
                        </a:moveTo>
                        <a:cubicBezTo>
                          <a:pt x="65322" y="140436"/>
                          <a:pt x="68142" y="143894"/>
                          <a:pt x="70837" y="144456"/>
                        </a:cubicBezTo>
                        <a:cubicBezTo>
                          <a:pt x="71894" y="144675"/>
                          <a:pt x="73047" y="144313"/>
                          <a:pt x="73790" y="144132"/>
                        </a:cubicBezTo>
                        <a:cubicBezTo>
                          <a:pt x="76876" y="143370"/>
                          <a:pt x="78391" y="141894"/>
                          <a:pt x="77571" y="138217"/>
                        </a:cubicBezTo>
                        <a:cubicBezTo>
                          <a:pt x="76838" y="134931"/>
                          <a:pt x="75743" y="132959"/>
                          <a:pt x="71733" y="133036"/>
                        </a:cubicBezTo>
                        <a:cubicBezTo>
                          <a:pt x="69361" y="134036"/>
                          <a:pt x="67675" y="134541"/>
                          <a:pt x="66732" y="136903"/>
                        </a:cubicBezTo>
                        <a:close/>
                        <a:moveTo>
                          <a:pt x="298961" y="137808"/>
                        </a:moveTo>
                        <a:cubicBezTo>
                          <a:pt x="298209" y="140351"/>
                          <a:pt x="300542" y="143046"/>
                          <a:pt x="303238" y="142408"/>
                        </a:cubicBezTo>
                        <a:cubicBezTo>
                          <a:pt x="307114" y="141484"/>
                          <a:pt x="306876" y="135245"/>
                          <a:pt x="302333" y="135169"/>
                        </a:cubicBezTo>
                        <a:cubicBezTo>
                          <a:pt x="300695" y="135807"/>
                          <a:pt x="299466" y="136103"/>
                          <a:pt x="298961" y="137808"/>
                        </a:cubicBezTo>
                        <a:close/>
                        <a:moveTo>
                          <a:pt x="234858" y="146437"/>
                        </a:moveTo>
                        <a:cubicBezTo>
                          <a:pt x="231362" y="147104"/>
                          <a:pt x="227724" y="143075"/>
                          <a:pt x="228781" y="139455"/>
                        </a:cubicBezTo>
                        <a:cubicBezTo>
                          <a:pt x="229533" y="136865"/>
                          <a:pt x="231219" y="136360"/>
                          <a:pt x="233629" y="135350"/>
                        </a:cubicBezTo>
                        <a:cubicBezTo>
                          <a:pt x="241202" y="135198"/>
                          <a:pt x="241487" y="145171"/>
                          <a:pt x="234858" y="146437"/>
                        </a:cubicBezTo>
                        <a:close/>
                        <a:moveTo>
                          <a:pt x="118748" y="145532"/>
                        </a:moveTo>
                        <a:cubicBezTo>
                          <a:pt x="115786" y="146028"/>
                          <a:pt x="112938" y="143123"/>
                          <a:pt x="113652" y="139941"/>
                        </a:cubicBezTo>
                        <a:cubicBezTo>
                          <a:pt x="114176" y="137627"/>
                          <a:pt x="115786" y="137017"/>
                          <a:pt x="117843" y="136160"/>
                        </a:cubicBezTo>
                        <a:cubicBezTo>
                          <a:pt x="124311" y="136045"/>
                          <a:pt x="124615" y="144542"/>
                          <a:pt x="118748" y="145532"/>
                        </a:cubicBezTo>
                        <a:close/>
                        <a:moveTo>
                          <a:pt x="14964" y="141094"/>
                        </a:moveTo>
                        <a:cubicBezTo>
                          <a:pt x="17516" y="140417"/>
                          <a:pt x="17097" y="136779"/>
                          <a:pt x="14392" y="136493"/>
                        </a:cubicBezTo>
                        <a:cubicBezTo>
                          <a:pt x="10858" y="137912"/>
                          <a:pt x="12316" y="141799"/>
                          <a:pt x="14964" y="141094"/>
                        </a:cubicBezTo>
                        <a:close/>
                        <a:moveTo>
                          <a:pt x="176927" y="143637"/>
                        </a:moveTo>
                        <a:cubicBezTo>
                          <a:pt x="174612" y="144170"/>
                          <a:pt x="172679" y="141570"/>
                          <a:pt x="173641" y="139608"/>
                        </a:cubicBezTo>
                        <a:cubicBezTo>
                          <a:pt x="174079" y="138722"/>
                          <a:pt x="174955" y="138322"/>
                          <a:pt x="175860" y="137884"/>
                        </a:cubicBezTo>
                        <a:cubicBezTo>
                          <a:pt x="179679" y="137770"/>
                          <a:pt x="180184" y="142894"/>
                          <a:pt x="176927" y="143637"/>
                        </a:cubicBezTo>
                        <a:close/>
                        <a:moveTo>
                          <a:pt x="275453" y="141751"/>
                        </a:moveTo>
                        <a:cubicBezTo>
                          <a:pt x="274225" y="145294"/>
                          <a:pt x="277492" y="148885"/>
                          <a:pt x="281121" y="148161"/>
                        </a:cubicBezTo>
                        <a:cubicBezTo>
                          <a:pt x="286979" y="146980"/>
                          <a:pt x="286493" y="138103"/>
                          <a:pt x="279397" y="138303"/>
                        </a:cubicBezTo>
                        <a:cubicBezTo>
                          <a:pt x="277616" y="139189"/>
                          <a:pt x="276130" y="139798"/>
                          <a:pt x="275453" y="141751"/>
                        </a:cubicBezTo>
                        <a:close/>
                        <a:moveTo>
                          <a:pt x="45444" y="142084"/>
                        </a:moveTo>
                        <a:cubicBezTo>
                          <a:pt x="44548" y="145123"/>
                          <a:pt x="47682" y="148485"/>
                          <a:pt x="50702" y="147914"/>
                        </a:cubicBezTo>
                        <a:cubicBezTo>
                          <a:pt x="56312" y="146866"/>
                          <a:pt x="55978" y="138446"/>
                          <a:pt x="49311" y="138627"/>
                        </a:cubicBezTo>
                        <a:cubicBezTo>
                          <a:pt x="47492" y="139389"/>
                          <a:pt x="46025" y="140141"/>
                          <a:pt x="45444" y="142084"/>
                        </a:cubicBezTo>
                        <a:close/>
                        <a:moveTo>
                          <a:pt x="96641" y="151124"/>
                        </a:moveTo>
                        <a:cubicBezTo>
                          <a:pt x="92964" y="151790"/>
                          <a:pt x="91440" y="148876"/>
                          <a:pt x="90811" y="146190"/>
                        </a:cubicBezTo>
                        <a:cubicBezTo>
                          <a:pt x="90602" y="145304"/>
                          <a:pt x="90183" y="144104"/>
                          <a:pt x="90564" y="143065"/>
                        </a:cubicBezTo>
                        <a:cubicBezTo>
                          <a:pt x="91516" y="140475"/>
                          <a:pt x="93516" y="140741"/>
                          <a:pt x="96069" y="139694"/>
                        </a:cubicBezTo>
                        <a:cubicBezTo>
                          <a:pt x="103518" y="139617"/>
                          <a:pt x="103403" y="149895"/>
                          <a:pt x="96641" y="151124"/>
                        </a:cubicBezTo>
                        <a:close/>
                        <a:moveTo>
                          <a:pt x="212512" y="149638"/>
                        </a:moveTo>
                        <a:cubicBezTo>
                          <a:pt x="209359" y="150247"/>
                          <a:pt x="206969" y="146923"/>
                          <a:pt x="207826" y="143970"/>
                        </a:cubicBezTo>
                        <a:cubicBezTo>
                          <a:pt x="208312" y="142275"/>
                          <a:pt x="209731" y="141713"/>
                          <a:pt x="211274" y="141008"/>
                        </a:cubicBezTo>
                        <a:cubicBezTo>
                          <a:pt x="217532" y="140837"/>
                          <a:pt x="217675" y="148628"/>
                          <a:pt x="212512" y="149638"/>
                        </a:cubicBezTo>
                        <a:close/>
                        <a:moveTo>
                          <a:pt x="154496" y="147999"/>
                        </a:moveTo>
                        <a:cubicBezTo>
                          <a:pt x="152447" y="148514"/>
                          <a:pt x="150571" y="146371"/>
                          <a:pt x="151295" y="144389"/>
                        </a:cubicBezTo>
                        <a:cubicBezTo>
                          <a:pt x="151619" y="143485"/>
                          <a:pt x="152600" y="142932"/>
                          <a:pt x="153429" y="142494"/>
                        </a:cubicBezTo>
                        <a:cubicBezTo>
                          <a:pt x="157239" y="142342"/>
                          <a:pt x="157581" y="147228"/>
                          <a:pt x="154496" y="147999"/>
                        </a:cubicBezTo>
                        <a:close/>
                        <a:moveTo>
                          <a:pt x="250965" y="143808"/>
                        </a:moveTo>
                        <a:cubicBezTo>
                          <a:pt x="252403" y="144637"/>
                          <a:pt x="253470" y="151000"/>
                          <a:pt x="253346" y="153343"/>
                        </a:cubicBezTo>
                        <a:cubicBezTo>
                          <a:pt x="252165" y="154619"/>
                          <a:pt x="251155" y="154734"/>
                          <a:pt x="249069" y="155238"/>
                        </a:cubicBezTo>
                        <a:cubicBezTo>
                          <a:pt x="245126" y="156200"/>
                          <a:pt x="242802" y="154800"/>
                          <a:pt x="241840" y="151371"/>
                        </a:cubicBezTo>
                        <a:cubicBezTo>
                          <a:pt x="241640" y="150666"/>
                          <a:pt x="241325" y="149619"/>
                          <a:pt x="241516" y="148580"/>
                        </a:cubicBezTo>
                        <a:cubicBezTo>
                          <a:pt x="242383" y="143865"/>
                          <a:pt x="245631" y="145199"/>
                          <a:pt x="249403" y="143646"/>
                        </a:cubicBezTo>
                        <a:cubicBezTo>
                          <a:pt x="249926" y="143694"/>
                          <a:pt x="250450" y="143751"/>
                          <a:pt x="250965" y="143808"/>
                        </a:cubicBezTo>
                        <a:close/>
                        <a:moveTo>
                          <a:pt x="24498" y="146933"/>
                        </a:moveTo>
                        <a:cubicBezTo>
                          <a:pt x="23908" y="149333"/>
                          <a:pt x="26108" y="151609"/>
                          <a:pt x="28527" y="151038"/>
                        </a:cubicBezTo>
                        <a:cubicBezTo>
                          <a:pt x="32290" y="150152"/>
                          <a:pt x="31928" y="144351"/>
                          <a:pt x="27461" y="144304"/>
                        </a:cubicBezTo>
                        <a:cubicBezTo>
                          <a:pt x="26060" y="144904"/>
                          <a:pt x="24879" y="145361"/>
                          <a:pt x="24498" y="146933"/>
                        </a:cubicBezTo>
                        <a:close/>
                        <a:moveTo>
                          <a:pt x="313258" y="146437"/>
                        </a:moveTo>
                        <a:cubicBezTo>
                          <a:pt x="312125" y="148428"/>
                          <a:pt x="314144" y="150952"/>
                          <a:pt x="316382" y="150466"/>
                        </a:cubicBezTo>
                        <a:cubicBezTo>
                          <a:pt x="319621" y="149762"/>
                          <a:pt x="319221" y="144770"/>
                          <a:pt x="315392" y="144875"/>
                        </a:cubicBezTo>
                        <a:cubicBezTo>
                          <a:pt x="314477" y="145313"/>
                          <a:pt x="313744" y="145590"/>
                          <a:pt x="313258" y="146437"/>
                        </a:cubicBezTo>
                        <a:close/>
                        <a:moveTo>
                          <a:pt x="132312" y="153505"/>
                        </a:moveTo>
                        <a:cubicBezTo>
                          <a:pt x="129664" y="154038"/>
                          <a:pt x="127311" y="151419"/>
                          <a:pt x="127959" y="148904"/>
                        </a:cubicBezTo>
                        <a:cubicBezTo>
                          <a:pt x="128416" y="147133"/>
                          <a:pt x="129769" y="146666"/>
                          <a:pt x="131407" y="146028"/>
                        </a:cubicBezTo>
                        <a:cubicBezTo>
                          <a:pt x="136284" y="145990"/>
                          <a:pt x="136398" y="152667"/>
                          <a:pt x="132312" y="153505"/>
                        </a:cubicBezTo>
                        <a:close/>
                        <a:moveTo>
                          <a:pt x="58026" y="150704"/>
                        </a:moveTo>
                        <a:cubicBezTo>
                          <a:pt x="56864" y="154495"/>
                          <a:pt x="60531" y="158305"/>
                          <a:pt x="64275" y="157524"/>
                        </a:cubicBezTo>
                        <a:cubicBezTo>
                          <a:pt x="70799" y="156172"/>
                          <a:pt x="70237" y="146485"/>
                          <a:pt x="62379" y="146675"/>
                        </a:cubicBezTo>
                        <a:cubicBezTo>
                          <a:pt x="60312" y="147714"/>
                          <a:pt x="58741" y="148361"/>
                          <a:pt x="58026" y="150704"/>
                        </a:cubicBezTo>
                        <a:close/>
                        <a:moveTo>
                          <a:pt x="190319" y="152600"/>
                        </a:moveTo>
                        <a:cubicBezTo>
                          <a:pt x="188023" y="153162"/>
                          <a:pt x="186099" y="150714"/>
                          <a:pt x="186947" y="148657"/>
                        </a:cubicBezTo>
                        <a:cubicBezTo>
                          <a:pt x="187338" y="147704"/>
                          <a:pt x="188205" y="147333"/>
                          <a:pt x="189081" y="146847"/>
                        </a:cubicBezTo>
                        <a:cubicBezTo>
                          <a:pt x="193195" y="146675"/>
                          <a:pt x="193605" y="151790"/>
                          <a:pt x="190319" y="152600"/>
                        </a:cubicBezTo>
                        <a:close/>
                        <a:moveTo>
                          <a:pt x="289341" y="151124"/>
                        </a:moveTo>
                        <a:cubicBezTo>
                          <a:pt x="288569" y="154067"/>
                          <a:pt x="291246" y="156953"/>
                          <a:pt x="294275" y="156381"/>
                        </a:cubicBezTo>
                        <a:cubicBezTo>
                          <a:pt x="299342" y="155419"/>
                          <a:pt x="298990" y="147647"/>
                          <a:pt x="292875" y="147837"/>
                        </a:cubicBezTo>
                        <a:cubicBezTo>
                          <a:pt x="291236" y="148571"/>
                          <a:pt x="289836" y="149257"/>
                          <a:pt x="289341" y="151124"/>
                        </a:cubicBezTo>
                        <a:close/>
                        <a:moveTo>
                          <a:pt x="110280" y="159096"/>
                        </a:moveTo>
                        <a:cubicBezTo>
                          <a:pt x="106489" y="159839"/>
                          <a:pt x="103461" y="156143"/>
                          <a:pt x="104689" y="152686"/>
                        </a:cubicBezTo>
                        <a:cubicBezTo>
                          <a:pt x="105403" y="150704"/>
                          <a:pt x="106832" y="150171"/>
                          <a:pt x="108718" y="149314"/>
                        </a:cubicBezTo>
                        <a:cubicBezTo>
                          <a:pt x="115491" y="149152"/>
                          <a:pt x="116053" y="157953"/>
                          <a:pt x="110280" y="159096"/>
                        </a:cubicBezTo>
                        <a:close/>
                        <a:moveTo>
                          <a:pt x="226723" y="158925"/>
                        </a:moveTo>
                        <a:cubicBezTo>
                          <a:pt x="223152" y="159963"/>
                          <a:pt x="219608" y="156810"/>
                          <a:pt x="220561" y="153086"/>
                        </a:cubicBezTo>
                        <a:cubicBezTo>
                          <a:pt x="221113" y="150933"/>
                          <a:pt x="222618" y="150247"/>
                          <a:pt x="224504" y="149390"/>
                        </a:cubicBezTo>
                        <a:cubicBezTo>
                          <a:pt x="231105" y="149228"/>
                          <a:pt x="231972" y="157401"/>
                          <a:pt x="226723" y="158925"/>
                        </a:cubicBezTo>
                        <a:close/>
                        <a:moveTo>
                          <a:pt x="3867" y="151857"/>
                        </a:moveTo>
                        <a:cubicBezTo>
                          <a:pt x="3877" y="152962"/>
                          <a:pt x="4505" y="153400"/>
                          <a:pt x="5258" y="153753"/>
                        </a:cubicBezTo>
                        <a:cubicBezTo>
                          <a:pt x="6448" y="153753"/>
                          <a:pt x="6867" y="153086"/>
                          <a:pt x="7230" y="152276"/>
                        </a:cubicBezTo>
                        <a:cubicBezTo>
                          <a:pt x="7201" y="151181"/>
                          <a:pt x="6382" y="150390"/>
                          <a:pt x="5258" y="150390"/>
                        </a:cubicBezTo>
                        <a:cubicBezTo>
                          <a:pt x="4601" y="150809"/>
                          <a:pt x="4200" y="151086"/>
                          <a:pt x="3867" y="151857"/>
                        </a:cubicBezTo>
                        <a:close/>
                        <a:moveTo>
                          <a:pt x="266167" y="154248"/>
                        </a:moveTo>
                        <a:cubicBezTo>
                          <a:pt x="264528" y="157963"/>
                          <a:pt x="267976" y="162754"/>
                          <a:pt x="272005" y="162058"/>
                        </a:cubicBezTo>
                        <a:cubicBezTo>
                          <a:pt x="278787" y="160877"/>
                          <a:pt x="278311" y="150885"/>
                          <a:pt x="271015" y="150962"/>
                        </a:cubicBezTo>
                        <a:cubicBezTo>
                          <a:pt x="268824" y="151828"/>
                          <a:pt x="267090" y="152162"/>
                          <a:pt x="266167" y="154248"/>
                        </a:cubicBezTo>
                        <a:close/>
                        <a:moveTo>
                          <a:pt x="36986" y="155391"/>
                        </a:moveTo>
                        <a:cubicBezTo>
                          <a:pt x="36128" y="158305"/>
                          <a:pt x="38728" y="161296"/>
                          <a:pt x="41510" y="160820"/>
                        </a:cubicBezTo>
                        <a:cubicBezTo>
                          <a:pt x="46920" y="159896"/>
                          <a:pt x="46587" y="152086"/>
                          <a:pt x="40443" y="152276"/>
                        </a:cubicBezTo>
                        <a:cubicBezTo>
                          <a:pt x="38890" y="153038"/>
                          <a:pt x="37500" y="153638"/>
                          <a:pt x="36986" y="155391"/>
                        </a:cubicBezTo>
                        <a:close/>
                        <a:moveTo>
                          <a:pt x="169040" y="154000"/>
                        </a:moveTo>
                        <a:cubicBezTo>
                          <a:pt x="168973" y="154867"/>
                          <a:pt x="168402" y="155467"/>
                          <a:pt x="167726" y="155724"/>
                        </a:cubicBezTo>
                        <a:cubicBezTo>
                          <a:pt x="167449" y="155753"/>
                          <a:pt x="167173" y="155781"/>
                          <a:pt x="166906" y="155810"/>
                        </a:cubicBezTo>
                        <a:cubicBezTo>
                          <a:pt x="166411" y="155381"/>
                          <a:pt x="165992" y="155115"/>
                          <a:pt x="165668" y="154495"/>
                        </a:cubicBezTo>
                        <a:cubicBezTo>
                          <a:pt x="165659" y="153191"/>
                          <a:pt x="166325" y="152895"/>
                          <a:pt x="167154" y="152438"/>
                        </a:cubicBezTo>
                        <a:cubicBezTo>
                          <a:pt x="168221" y="152495"/>
                          <a:pt x="168726" y="153171"/>
                          <a:pt x="169040" y="154000"/>
                        </a:cubicBezTo>
                        <a:close/>
                        <a:moveTo>
                          <a:pt x="89906" y="164020"/>
                        </a:moveTo>
                        <a:cubicBezTo>
                          <a:pt x="87268" y="165078"/>
                          <a:pt x="83486" y="165135"/>
                          <a:pt x="82505" y="162706"/>
                        </a:cubicBezTo>
                        <a:cubicBezTo>
                          <a:pt x="82315" y="161639"/>
                          <a:pt x="82124" y="160572"/>
                          <a:pt x="81934" y="159506"/>
                        </a:cubicBezTo>
                        <a:cubicBezTo>
                          <a:pt x="81572" y="157982"/>
                          <a:pt x="80896" y="156105"/>
                          <a:pt x="81029" y="154486"/>
                        </a:cubicBezTo>
                        <a:cubicBezTo>
                          <a:pt x="83029" y="153533"/>
                          <a:pt x="85792" y="153762"/>
                          <a:pt x="87935" y="152848"/>
                        </a:cubicBezTo>
                        <a:cubicBezTo>
                          <a:pt x="94097" y="152733"/>
                          <a:pt x="94574" y="162144"/>
                          <a:pt x="89906" y="164020"/>
                        </a:cubicBezTo>
                        <a:close/>
                        <a:moveTo>
                          <a:pt x="327307" y="156381"/>
                        </a:moveTo>
                        <a:cubicBezTo>
                          <a:pt x="327384" y="159210"/>
                          <a:pt x="331622" y="158477"/>
                          <a:pt x="330917" y="156134"/>
                        </a:cubicBezTo>
                        <a:cubicBezTo>
                          <a:pt x="330622" y="155362"/>
                          <a:pt x="330003" y="154753"/>
                          <a:pt x="329022" y="154657"/>
                        </a:cubicBezTo>
                        <a:cubicBezTo>
                          <a:pt x="328165" y="155134"/>
                          <a:pt x="327698" y="155410"/>
                          <a:pt x="327307" y="156381"/>
                        </a:cubicBezTo>
                        <a:close/>
                        <a:moveTo>
                          <a:pt x="203797" y="162134"/>
                        </a:moveTo>
                        <a:cubicBezTo>
                          <a:pt x="201330" y="162735"/>
                          <a:pt x="199063" y="160410"/>
                          <a:pt x="199606" y="158029"/>
                        </a:cubicBezTo>
                        <a:cubicBezTo>
                          <a:pt x="199968" y="156439"/>
                          <a:pt x="201139" y="155924"/>
                          <a:pt x="202397" y="155229"/>
                        </a:cubicBezTo>
                        <a:cubicBezTo>
                          <a:pt x="207531" y="155057"/>
                          <a:pt x="207721" y="161172"/>
                          <a:pt x="203797" y="162134"/>
                        </a:cubicBezTo>
                        <a:close/>
                        <a:moveTo>
                          <a:pt x="145294" y="161392"/>
                        </a:moveTo>
                        <a:cubicBezTo>
                          <a:pt x="143580" y="161734"/>
                          <a:pt x="141827" y="159677"/>
                          <a:pt x="142418" y="157934"/>
                        </a:cubicBezTo>
                        <a:cubicBezTo>
                          <a:pt x="142780" y="156886"/>
                          <a:pt x="143723" y="156420"/>
                          <a:pt x="144723" y="155962"/>
                        </a:cubicBezTo>
                        <a:cubicBezTo>
                          <a:pt x="148304" y="156010"/>
                          <a:pt x="148380" y="160782"/>
                          <a:pt x="145294" y="161392"/>
                        </a:cubicBezTo>
                        <a:close/>
                        <a:moveTo>
                          <a:pt x="303476" y="159991"/>
                        </a:moveTo>
                        <a:cubicBezTo>
                          <a:pt x="302714" y="162420"/>
                          <a:pt x="305067" y="165011"/>
                          <a:pt x="307581" y="164430"/>
                        </a:cubicBezTo>
                        <a:cubicBezTo>
                          <a:pt x="311620" y="163497"/>
                          <a:pt x="311125" y="157277"/>
                          <a:pt x="306267" y="157448"/>
                        </a:cubicBezTo>
                        <a:cubicBezTo>
                          <a:pt x="305038" y="158058"/>
                          <a:pt x="303914" y="158620"/>
                          <a:pt x="303476" y="159991"/>
                        </a:cubicBezTo>
                        <a:close/>
                        <a:moveTo>
                          <a:pt x="239058" y="168697"/>
                        </a:moveTo>
                        <a:cubicBezTo>
                          <a:pt x="235382" y="169278"/>
                          <a:pt x="232029" y="164820"/>
                          <a:pt x="233467" y="161220"/>
                        </a:cubicBezTo>
                        <a:cubicBezTo>
                          <a:pt x="234420" y="158829"/>
                          <a:pt x="235915" y="158534"/>
                          <a:pt x="238401" y="157601"/>
                        </a:cubicBezTo>
                        <a:cubicBezTo>
                          <a:pt x="245554" y="157629"/>
                          <a:pt x="245973" y="167621"/>
                          <a:pt x="239058" y="168697"/>
                        </a:cubicBezTo>
                        <a:close/>
                        <a:moveTo>
                          <a:pt x="16116" y="160239"/>
                        </a:moveTo>
                        <a:cubicBezTo>
                          <a:pt x="15507" y="162077"/>
                          <a:pt x="17450" y="164125"/>
                          <a:pt x="19317" y="163773"/>
                        </a:cubicBezTo>
                        <a:cubicBezTo>
                          <a:pt x="22641" y="163125"/>
                          <a:pt x="22269" y="158115"/>
                          <a:pt x="18583" y="158096"/>
                        </a:cubicBezTo>
                        <a:cubicBezTo>
                          <a:pt x="17507" y="158620"/>
                          <a:pt x="16497" y="159077"/>
                          <a:pt x="16116" y="160239"/>
                        </a:cubicBezTo>
                        <a:close/>
                        <a:moveTo>
                          <a:pt x="123349" y="167221"/>
                        </a:moveTo>
                        <a:cubicBezTo>
                          <a:pt x="120539" y="167773"/>
                          <a:pt x="118043" y="164935"/>
                          <a:pt x="118748" y="162201"/>
                        </a:cubicBezTo>
                        <a:cubicBezTo>
                          <a:pt x="119186" y="160487"/>
                          <a:pt x="120444" y="159849"/>
                          <a:pt x="121948" y="159163"/>
                        </a:cubicBezTo>
                        <a:cubicBezTo>
                          <a:pt x="128016" y="158991"/>
                          <a:pt x="128121" y="166287"/>
                          <a:pt x="123349" y="167221"/>
                        </a:cubicBezTo>
                        <a:close/>
                        <a:moveTo>
                          <a:pt x="49549" y="164020"/>
                        </a:moveTo>
                        <a:cubicBezTo>
                          <a:pt x="48606" y="167335"/>
                          <a:pt x="51435" y="170983"/>
                          <a:pt x="54816" y="170421"/>
                        </a:cubicBezTo>
                        <a:cubicBezTo>
                          <a:pt x="61255" y="169374"/>
                          <a:pt x="60912" y="160239"/>
                          <a:pt x="54073" y="160315"/>
                        </a:cubicBezTo>
                        <a:cubicBezTo>
                          <a:pt x="51845" y="161201"/>
                          <a:pt x="50235" y="161658"/>
                          <a:pt x="49549" y="164020"/>
                        </a:cubicBezTo>
                        <a:close/>
                        <a:moveTo>
                          <a:pt x="279892" y="164182"/>
                        </a:moveTo>
                        <a:cubicBezTo>
                          <a:pt x="278920" y="167373"/>
                          <a:pt x="282283" y="170821"/>
                          <a:pt x="285312" y="170269"/>
                        </a:cubicBezTo>
                        <a:cubicBezTo>
                          <a:pt x="291084" y="169221"/>
                          <a:pt x="290931" y="160391"/>
                          <a:pt x="284083" y="160572"/>
                        </a:cubicBezTo>
                        <a:cubicBezTo>
                          <a:pt x="282026" y="161430"/>
                          <a:pt x="280559" y="161992"/>
                          <a:pt x="279892" y="164182"/>
                        </a:cubicBezTo>
                        <a:close/>
                        <a:moveTo>
                          <a:pt x="182594" y="162868"/>
                        </a:moveTo>
                        <a:cubicBezTo>
                          <a:pt x="182585" y="164020"/>
                          <a:pt x="181880" y="164516"/>
                          <a:pt x="181032" y="164840"/>
                        </a:cubicBezTo>
                        <a:cubicBezTo>
                          <a:pt x="179908" y="164820"/>
                          <a:pt x="179422" y="164135"/>
                          <a:pt x="179060" y="163363"/>
                        </a:cubicBezTo>
                        <a:cubicBezTo>
                          <a:pt x="179070" y="162344"/>
                          <a:pt x="179632" y="161754"/>
                          <a:pt x="180384" y="161477"/>
                        </a:cubicBezTo>
                        <a:cubicBezTo>
                          <a:pt x="180518" y="161420"/>
                          <a:pt x="180651" y="161363"/>
                          <a:pt x="180784" y="161306"/>
                        </a:cubicBezTo>
                        <a:cubicBezTo>
                          <a:pt x="181737" y="161611"/>
                          <a:pt x="182194" y="162039"/>
                          <a:pt x="182594" y="162868"/>
                        </a:cubicBezTo>
                        <a:close/>
                        <a:moveTo>
                          <a:pt x="100994" y="172898"/>
                        </a:moveTo>
                        <a:cubicBezTo>
                          <a:pt x="97660" y="173450"/>
                          <a:pt x="94393" y="169793"/>
                          <a:pt x="95326" y="166325"/>
                        </a:cubicBezTo>
                        <a:cubicBezTo>
                          <a:pt x="95974" y="163897"/>
                          <a:pt x="97631" y="163220"/>
                          <a:pt x="99841" y="162296"/>
                        </a:cubicBezTo>
                        <a:cubicBezTo>
                          <a:pt x="107366" y="162144"/>
                          <a:pt x="107709" y="171774"/>
                          <a:pt x="100994" y="172898"/>
                        </a:cubicBezTo>
                        <a:close/>
                        <a:moveTo>
                          <a:pt x="216617" y="171907"/>
                        </a:moveTo>
                        <a:cubicBezTo>
                          <a:pt x="213998" y="172326"/>
                          <a:pt x="211455" y="169345"/>
                          <a:pt x="212265" y="166564"/>
                        </a:cubicBezTo>
                        <a:cubicBezTo>
                          <a:pt x="212788" y="164763"/>
                          <a:pt x="214084" y="164097"/>
                          <a:pt x="215713" y="163363"/>
                        </a:cubicBezTo>
                        <a:cubicBezTo>
                          <a:pt x="222009" y="163182"/>
                          <a:pt x="222142" y="171031"/>
                          <a:pt x="216617" y="171907"/>
                        </a:cubicBezTo>
                        <a:close/>
                        <a:moveTo>
                          <a:pt x="258689" y="164840"/>
                        </a:moveTo>
                        <a:cubicBezTo>
                          <a:pt x="258032" y="165116"/>
                          <a:pt x="257375" y="165392"/>
                          <a:pt x="256718" y="165659"/>
                        </a:cubicBezTo>
                        <a:cubicBezTo>
                          <a:pt x="256051" y="166821"/>
                          <a:pt x="256765" y="168659"/>
                          <a:pt x="257042" y="169935"/>
                        </a:cubicBezTo>
                        <a:cubicBezTo>
                          <a:pt x="257289" y="171221"/>
                          <a:pt x="257537" y="172507"/>
                          <a:pt x="257785" y="173793"/>
                        </a:cubicBezTo>
                        <a:cubicBezTo>
                          <a:pt x="258813" y="176393"/>
                          <a:pt x="262947" y="176079"/>
                          <a:pt x="265509" y="174946"/>
                        </a:cubicBezTo>
                        <a:cubicBezTo>
                          <a:pt x="270272" y="172841"/>
                          <a:pt x="269091" y="163887"/>
                          <a:pt x="262795" y="164020"/>
                        </a:cubicBezTo>
                        <a:cubicBezTo>
                          <a:pt x="261433" y="164297"/>
                          <a:pt x="260061" y="164573"/>
                          <a:pt x="258689" y="164840"/>
                        </a:cubicBezTo>
                        <a:close/>
                        <a:moveTo>
                          <a:pt x="28603" y="168869"/>
                        </a:moveTo>
                        <a:cubicBezTo>
                          <a:pt x="27803" y="171469"/>
                          <a:pt x="30270" y="174174"/>
                          <a:pt x="32956" y="173555"/>
                        </a:cubicBezTo>
                        <a:cubicBezTo>
                          <a:pt x="37090" y="172602"/>
                          <a:pt x="36814" y="165916"/>
                          <a:pt x="31804" y="166078"/>
                        </a:cubicBezTo>
                        <a:cubicBezTo>
                          <a:pt x="30299" y="166726"/>
                          <a:pt x="29099" y="167249"/>
                          <a:pt x="28603" y="168869"/>
                        </a:cubicBezTo>
                        <a:close/>
                        <a:moveTo>
                          <a:pt x="158601" y="166325"/>
                        </a:moveTo>
                        <a:cubicBezTo>
                          <a:pt x="159143" y="166516"/>
                          <a:pt x="159420" y="166907"/>
                          <a:pt x="159668" y="167392"/>
                        </a:cubicBezTo>
                        <a:cubicBezTo>
                          <a:pt x="159610" y="168249"/>
                          <a:pt x="159143" y="168659"/>
                          <a:pt x="158515" y="168954"/>
                        </a:cubicBezTo>
                        <a:cubicBezTo>
                          <a:pt x="157619" y="168907"/>
                          <a:pt x="157001" y="168288"/>
                          <a:pt x="156953" y="167392"/>
                        </a:cubicBezTo>
                        <a:cubicBezTo>
                          <a:pt x="157343" y="166954"/>
                          <a:pt x="157658" y="166611"/>
                          <a:pt x="158105" y="166240"/>
                        </a:cubicBezTo>
                        <a:cubicBezTo>
                          <a:pt x="158277" y="166268"/>
                          <a:pt x="158439" y="166297"/>
                          <a:pt x="158601" y="166325"/>
                        </a:cubicBezTo>
                        <a:close/>
                        <a:moveTo>
                          <a:pt x="317773" y="168954"/>
                        </a:moveTo>
                        <a:cubicBezTo>
                          <a:pt x="317049" y="170774"/>
                          <a:pt x="318935" y="172869"/>
                          <a:pt x="320812" y="172402"/>
                        </a:cubicBezTo>
                        <a:cubicBezTo>
                          <a:pt x="323783" y="171678"/>
                          <a:pt x="323326" y="167135"/>
                          <a:pt x="319583" y="167307"/>
                        </a:cubicBezTo>
                        <a:cubicBezTo>
                          <a:pt x="318868" y="167735"/>
                          <a:pt x="318097" y="168145"/>
                          <a:pt x="317773" y="168954"/>
                        </a:cubicBezTo>
                        <a:close/>
                        <a:moveTo>
                          <a:pt x="62379" y="172317"/>
                        </a:moveTo>
                        <a:cubicBezTo>
                          <a:pt x="60855" y="176222"/>
                          <a:pt x="64217" y="180613"/>
                          <a:pt x="68456" y="179870"/>
                        </a:cubicBezTo>
                        <a:cubicBezTo>
                          <a:pt x="71980" y="179260"/>
                          <a:pt x="73923" y="177346"/>
                          <a:pt x="73057" y="173298"/>
                        </a:cubicBezTo>
                        <a:cubicBezTo>
                          <a:pt x="72352" y="170021"/>
                          <a:pt x="71323" y="168450"/>
                          <a:pt x="67303" y="168535"/>
                        </a:cubicBezTo>
                        <a:cubicBezTo>
                          <a:pt x="64865" y="169564"/>
                          <a:pt x="63332" y="169878"/>
                          <a:pt x="62379" y="172317"/>
                        </a:cubicBezTo>
                        <a:close/>
                        <a:moveTo>
                          <a:pt x="136741" y="175279"/>
                        </a:moveTo>
                        <a:cubicBezTo>
                          <a:pt x="134398" y="175841"/>
                          <a:pt x="132178" y="173345"/>
                          <a:pt x="132959" y="171088"/>
                        </a:cubicBezTo>
                        <a:cubicBezTo>
                          <a:pt x="133340" y="169993"/>
                          <a:pt x="134426" y="169383"/>
                          <a:pt x="135426" y="168869"/>
                        </a:cubicBezTo>
                        <a:cubicBezTo>
                          <a:pt x="140122" y="168697"/>
                          <a:pt x="140436" y="174384"/>
                          <a:pt x="136741" y="175279"/>
                        </a:cubicBezTo>
                        <a:close/>
                        <a:moveTo>
                          <a:pt x="194434" y="174955"/>
                        </a:moveTo>
                        <a:cubicBezTo>
                          <a:pt x="192538" y="175279"/>
                          <a:pt x="190557" y="172936"/>
                          <a:pt x="191471" y="171012"/>
                        </a:cubicBezTo>
                        <a:cubicBezTo>
                          <a:pt x="191881" y="170155"/>
                          <a:pt x="192757" y="169726"/>
                          <a:pt x="193615" y="169288"/>
                        </a:cubicBezTo>
                        <a:cubicBezTo>
                          <a:pt x="197768" y="169107"/>
                          <a:pt x="197863" y="174355"/>
                          <a:pt x="194434" y="174955"/>
                        </a:cubicBezTo>
                        <a:close/>
                        <a:moveTo>
                          <a:pt x="294113" y="173060"/>
                        </a:moveTo>
                        <a:cubicBezTo>
                          <a:pt x="293246" y="175784"/>
                          <a:pt x="295656" y="178813"/>
                          <a:pt x="298466" y="178327"/>
                        </a:cubicBezTo>
                        <a:cubicBezTo>
                          <a:pt x="303219" y="177498"/>
                          <a:pt x="303114" y="170097"/>
                          <a:pt x="297647" y="170183"/>
                        </a:cubicBezTo>
                        <a:cubicBezTo>
                          <a:pt x="295951" y="170878"/>
                          <a:pt x="294675" y="171288"/>
                          <a:pt x="294113" y="173060"/>
                        </a:cubicBezTo>
                        <a:close/>
                        <a:moveTo>
                          <a:pt x="230010" y="181604"/>
                        </a:moveTo>
                        <a:cubicBezTo>
                          <a:pt x="226466" y="182118"/>
                          <a:pt x="223618" y="178022"/>
                          <a:pt x="224999" y="174622"/>
                        </a:cubicBezTo>
                        <a:cubicBezTo>
                          <a:pt x="225847" y="172526"/>
                          <a:pt x="227352" y="172269"/>
                          <a:pt x="229524" y="171412"/>
                        </a:cubicBezTo>
                        <a:cubicBezTo>
                          <a:pt x="236258" y="171421"/>
                          <a:pt x="236496" y="180670"/>
                          <a:pt x="230010" y="181604"/>
                        </a:cubicBezTo>
                        <a:close/>
                        <a:moveTo>
                          <a:pt x="114395" y="181194"/>
                        </a:moveTo>
                        <a:cubicBezTo>
                          <a:pt x="111214" y="181766"/>
                          <a:pt x="108261" y="178308"/>
                          <a:pt x="109385" y="175117"/>
                        </a:cubicBezTo>
                        <a:cubicBezTo>
                          <a:pt x="110061" y="173164"/>
                          <a:pt x="111509" y="172698"/>
                          <a:pt x="113404" y="171907"/>
                        </a:cubicBezTo>
                        <a:cubicBezTo>
                          <a:pt x="119739" y="171793"/>
                          <a:pt x="119948" y="180203"/>
                          <a:pt x="114395" y="181194"/>
                        </a:cubicBezTo>
                        <a:close/>
                        <a:moveTo>
                          <a:pt x="7810" y="173965"/>
                        </a:moveTo>
                        <a:cubicBezTo>
                          <a:pt x="7515" y="175193"/>
                          <a:pt x="9001" y="176660"/>
                          <a:pt x="10192" y="176432"/>
                        </a:cubicBezTo>
                        <a:cubicBezTo>
                          <a:pt x="12763" y="175936"/>
                          <a:pt x="12725" y="171983"/>
                          <a:pt x="9458" y="172155"/>
                        </a:cubicBezTo>
                        <a:cubicBezTo>
                          <a:pt x="8801" y="172621"/>
                          <a:pt x="8029" y="173069"/>
                          <a:pt x="7810" y="173965"/>
                        </a:cubicBezTo>
                        <a:close/>
                        <a:moveTo>
                          <a:pt x="270605" y="177498"/>
                        </a:moveTo>
                        <a:cubicBezTo>
                          <a:pt x="269729" y="180813"/>
                          <a:pt x="273072" y="184490"/>
                          <a:pt x="276196" y="183994"/>
                        </a:cubicBezTo>
                        <a:cubicBezTo>
                          <a:pt x="282959" y="182908"/>
                          <a:pt x="282588" y="173231"/>
                          <a:pt x="275215" y="173393"/>
                        </a:cubicBezTo>
                        <a:cubicBezTo>
                          <a:pt x="272863" y="174326"/>
                          <a:pt x="271281" y="174955"/>
                          <a:pt x="270605" y="177498"/>
                        </a:cubicBezTo>
                        <a:close/>
                        <a:moveTo>
                          <a:pt x="41338" y="177003"/>
                        </a:moveTo>
                        <a:cubicBezTo>
                          <a:pt x="40062" y="180089"/>
                          <a:pt x="42729" y="183851"/>
                          <a:pt x="46272" y="183166"/>
                        </a:cubicBezTo>
                        <a:cubicBezTo>
                          <a:pt x="51540" y="182146"/>
                          <a:pt x="51244" y="174231"/>
                          <a:pt x="45453" y="174126"/>
                        </a:cubicBezTo>
                        <a:cubicBezTo>
                          <a:pt x="43491" y="174898"/>
                          <a:pt x="42120" y="175127"/>
                          <a:pt x="41338" y="177003"/>
                        </a:cubicBezTo>
                        <a:close/>
                        <a:moveTo>
                          <a:pt x="173403" y="176927"/>
                        </a:moveTo>
                        <a:cubicBezTo>
                          <a:pt x="173031" y="177355"/>
                          <a:pt x="172821" y="177765"/>
                          <a:pt x="172250" y="177994"/>
                        </a:cubicBezTo>
                        <a:cubicBezTo>
                          <a:pt x="172002" y="178022"/>
                          <a:pt x="171755" y="178051"/>
                          <a:pt x="171507" y="178070"/>
                        </a:cubicBezTo>
                        <a:cubicBezTo>
                          <a:pt x="171117" y="177660"/>
                          <a:pt x="170755" y="177422"/>
                          <a:pt x="170440" y="176917"/>
                        </a:cubicBezTo>
                        <a:cubicBezTo>
                          <a:pt x="170364" y="175898"/>
                          <a:pt x="171021" y="175555"/>
                          <a:pt x="171755" y="175107"/>
                        </a:cubicBezTo>
                        <a:cubicBezTo>
                          <a:pt x="172688" y="175241"/>
                          <a:pt x="173374" y="175879"/>
                          <a:pt x="173403" y="176927"/>
                        </a:cubicBezTo>
                        <a:close/>
                        <a:moveTo>
                          <a:pt x="92535" y="186538"/>
                        </a:moveTo>
                        <a:cubicBezTo>
                          <a:pt x="91754" y="186738"/>
                          <a:pt x="90744" y="187023"/>
                          <a:pt x="89745" y="186785"/>
                        </a:cubicBezTo>
                        <a:cubicBezTo>
                          <a:pt x="88592" y="186499"/>
                          <a:pt x="87439" y="185595"/>
                          <a:pt x="86954" y="184642"/>
                        </a:cubicBezTo>
                        <a:cubicBezTo>
                          <a:pt x="86249" y="183271"/>
                          <a:pt x="85610" y="178899"/>
                          <a:pt x="86458" y="177574"/>
                        </a:cubicBezTo>
                        <a:cubicBezTo>
                          <a:pt x="87620" y="175765"/>
                          <a:pt x="89468" y="176079"/>
                          <a:pt x="91640" y="175193"/>
                        </a:cubicBezTo>
                        <a:cubicBezTo>
                          <a:pt x="98593" y="175060"/>
                          <a:pt x="99746" y="184737"/>
                          <a:pt x="92535" y="186538"/>
                        </a:cubicBezTo>
                        <a:close/>
                        <a:moveTo>
                          <a:pt x="208236" y="184899"/>
                        </a:moveTo>
                        <a:cubicBezTo>
                          <a:pt x="205473" y="185556"/>
                          <a:pt x="203073" y="182604"/>
                          <a:pt x="203711" y="180051"/>
                        </a:cubicBezTo>
                        <a:cubicBezTo>
                          <a:pt x="204159" y="178289"/>
                          <a:pt x="205502" y="177784"/>
                          <a:pt x="207083" y="177089"/>
                        </a:cubicBezTo>
                        <a:cubicBezTo>
                          <a:pt x="212341" y="177051"/>
                          <a:pt x="212655" y="183842"/>
                          <a:pt x="208236" y="184899"/>
                        </a:cubicBezTo>
                        <a:close/>
                        <a:moveTo>
                          <a:pt x="332327" y="178565"/>
                        </a:moveTo>
                        <a:cubicBezTo>
                          <a:pt x="332118" y="179251"/>
                          <a:pt x="333060" y="179842"/>
                          <a:pt x="333642" y="180041"/>
                        </a:cubicBezTo>
                        <a:cubicBezTo>
                          <a:pt x="334327" y="179765"/>
                          <a:pt x="334642" y="179451"/>
                          <a:pt x="334956" y="178813"/>
                        </a:cubicBezTo>
                        <a:cubicBezTo>
                          <a:pt x="334880" y="178013"/>
                          <a:pt x="334499" y="177822"/>
                          <a:pt x="334051" y="177413"/>
                        </a:cubicBezTo>
                        <a:cubicBezTo>
                          <a:pt x="333803" y="177384"/>
                          <a:pt x="333556" y="177365"/>
                          <a:pt x="333308" y="177327"/>
                        </a:cubicBezTo>
                        <a:cubicBezTo>
                          <a:pt x="332851" y="177698"/>
                          <a:pt x="332470" y="177870"/>
                          <a:pt x="332327" y="178565"/>
                        </a:cubicBezTo>
                        <a:close/>
                        <a:moveTo>
                          <a:pt x="150143" y="183575"/>
                        </a:moveTo>
                        <a:cubicBezTo>
                          <a:pt x="148199" y="184156"/>
                          <a:pt x="146256" y="181985"/>
                          <a:pt x="147018" y="180127"/>
                        </a:cubicBezTo>
                        <a:cubicBezTo>
                          <a:pt x="147342" y="179346"/>
                          <a:pt x="148123" y="178908"/>
                          <a:pt x="148819" y="178479"/>
                        </a:cubicBezTo>
                        <a:cubicBezTo>
                          <a:pt x="152419" y="178327"/>
                          <a:pt x="152990" y="182737"/>
                          <a:pt x="150143" y="183575"/>
                        </a:cubicBezTo>
                        <a:close/>
                        <a:moveTo>
                          <a:pt x="248421" y="184899"/>
                        </a:moveTo>
                        <a:cubicBezTo>
                          <a:pt x="248660" y="185814"/>
                          <a:pt x="249088" y="187204"/>
                          <a:pt x="248669" y="188271"/>
                        </a:cubicBezTo>
                        <a:cubicBezTo>
                          <a:pt x="248002" y="189967"/>
                          <a:pt x="246602" y="190262"/>
                          <a:pt x="244640" y="190728"/>
                        </a:cubicBezTo>
                        <a:cubicBezTo>
                          <a:pt x="243821" y="190929"/>
                          <a:pt x="242744" y="191357"/>
                          <a:pt x="241602" y="191148"/>
                        </a:cubicBezTo>
                        <a:cubicBezTo>
                          <a:pt x="238134" y="190500"/>
                          <a:pt x="235886" y="185537"/>
                          <a:pt x="238230" y="182108"/>
                        </a:cubicBezTo>
                        <a:cubicBezTo>
                          <a:pt x="239487" y="180270"/>
                          <a:pt x="240982" y="180422"/>
                          <a:pt x="243326" y="179556"/>
                        </a:cubicBezTo>
                        <a:cubicBezTo>
                          <a:pt x="247202" y="179556"/>
                          <a:pt x="247602" y="181737"/>
                          <a:pt x="248421" y="184899"/>
                        </a:cubicBezTo>
                        <a:close/>
                        <a:moveTo>
                          <a:pt x="20383" y="182185"/>
                        </a:moveTo>
                        <a:cubicBezTo>
                          <a:pt x="19593" y="184347"/>
                          <a:pt x="21660" y="186614"/>
                          <a:pt x="23755" y="186214"/>
                        </a:cubicBezTo>
                        <a:cubicBezTo>
                          <a:pt x="27375" y="185518"/>
                          <a:pt x="27232" y="179822"/>
                          <a:pt x="22927" y="179965"/>
                        </a:cubicBezTo>
                        <a:cubicBezTo>
                          <a:pt x="21812" y="180470"/>
                          <a:pt x="20812" y="181013"/>
                          <a:pt x="20383" y="182185"/>
                        </a:cubicBezTo>
                        <a:close/>
                        <a:moveTo>
                          <a:pt x="308324" y="182099"/>
                        </a:moveTo>
                        <a:cubicBezTo>
                          <a:pt x="307448" y="184242"/>
                          <a:pt x="309658" y="186766"/>
                          <a:pt x="311944" y="186290"/>
                        </a:cubicBezTo>
                        <a:cubicBezTo>
                          <a:pt x="315658" y="185518"/>
                          <a:pt x="315182" y="179784"/>
                          <a:pt x="310715" y="179956"/>
                        </a:cubicBezTo>
                        <a:cubicBezTo>
                          <a:pt x="309705" y="180480"/>
                          <a:pt x="308762" y="181042"/>
                          <a:pt x="308324" y="182099"/>
                        </a:cubicBezTo>
                        <a:close/>
                        <a:moveTo>
                          <a:pt x="127702" y="189500"/>
                        </a:moveTo>
                        <a:cubicBezTo>
                          <a:pt x="125025" y="189995"/>
                          <a:pt x="122482" y="187157"/>
                          <a:pt x="123263" y="184404"/>
                        </a:cubicBezTo>
                        <a:cubicBezTo>
                          <a:pt x="123815" y="182461"/>
                          <a:pt x="125254" y="182051"/>
                          <a:pt x="127120" y="181366"/>
                        </a:cubicBezTo>
                        <a:cubicBezTo>
                          <a:pt x="132188" y="181708"/>
                          <a:pt x="132340" y="188643"/>
                          <a:pt x="127702" y="189500"/>
                        </a:cubicBezTo>
                        <a:close/>
                        <a:moveTo>
                          <a:pt x="53826" y="186290"/>
                        </a:moveTo>
                        <a:cubicBezTo>
                          <a:pt x="52835" y="189614"/>
                          <a:pt x="56302" y="193272"/>
                          <a:pt x="59493" y="192700"/>
                        </a:cubicBezTo>
                        <a:cubicBezTo>
                          <a:pt x="65837" y="191567"/>
                          <a:pt x="65570" y="182156"/>
                          <a:pt x="58264" y="182347"/>
                        </a:cubicBezTo>
                        <a:cubicBezTo>
                          <a:pt x="56054" y="183328"/>
                          <a:pt x="54550" y="183861"/>
                          <a:pt x="53826" y="186290"/>
                        </a:cubicBezTo>
                        <a:close/>
                        <a:moveTo>
                          <a:pt x="185556" y="188262"/>
                        </a:moveTo>
                        <a:cubicBezTo>
                          <a:pt x="183680" y="188614"/>
                          <a:pt x="181756" y="186280"/>
                          <a:pt x="182680" y="184394"/>
                        </a:cubicBezTo>
                        <a:cubicBezTo>
                          <a:pt x="183080" y="183575"/>
                          <a:pt x="183909" y="183166"/>
                          <a:pt x="184737" y="182747"/>
                        </a:cubicBezTo>
                        <a:cubicBezTo>
                          <a:pt x="188690" y="182604"/>
                          <a:pt x="188843" y="187642"/>
                          <a:pt x="185556" y="188262"/>
                        </a:cubicBezTo>
                        <a:close/>
                        <a:moveTo>
                          <a:pt x="284740" y="186376"/>
                        </a:moveTo>
                        <a:cubicBezTo>
                          <a:pt x="283826" y="189357"/>
                          <a:pt x="286569" y="192653"/>
                          <a:pt x="289750" y="192043"/>
                        </a:cubicBezTo>
                        <a:cubicBezTo>
                          <a:pt x="295132" y="191014"/>
                          <a:pt x="294808" y="183118"/>
                          <a:pt x="288760" y="183004"/>
                        </a:cubicBezTo>
                        <a:cubicBezTo>
                          <a:pt x="286750" y="183804"/>
                          <a:pt x="285379" y="184261"/>
                          <a:pt x="284740" y="186376"/>
                        </a:cubicBezTo>
                        <a:close/>
                        <a:moveTo>
                          <a:pt x="106013" y="195167"/>
                        </a:moveTo>
                        <a:cubicBezTo>
                          <a:pt x="102070" y="196072"/>
                          <a:pt x="98822" y="192005"/>
                          <a:pt x="99851" y="188347"/>
                        </a:cubicBezTo>
                        <a:cubicBezTo>
                          <a:pt x="100517" y="185995"/>
                          <a:pt x="102260" y="185452"/>
                          <a:pt x="104451" y="184566"/>
                        </a:cubicBezTo>
                        <a:cubicBezTo>
                          <a:pt x="111557" y="184433"/>
                          <a:pt x="111995" y="193786"/>
                          <a:pt x="106013" y="195167"/>
                        </a:cubicBezTo>
                        <a:close/>
                        <a:moveTo>
                          <a:pt x="221713" y="194672"/>
                        </a:moveTo>
                        <a:cubicBezTo>
                          <a:pt x="218227" y="195491"/>
                          <a:pt x="215303" y="191795"/>
                          <a:pt x="216208" y="188595"/>
                        </a:cubicBezTo>
                        <a:cubicBezTo>
                          <a:pt x="216780" y="186538"/>
                          <a:pt x="218303" y="185899"/>
                          <a:pt x="220151" y="185061"/>
                        </a:cubicBezTo>
                        <a:cubicBezTo>
                          <a:pt x="226838" y="184899"/>
                          <a:pt x="227304" y="193357"/>
                          <a:pt x="221713" y="194672"/>
                        </a:cubicBezTo>
                        <a:close/>
                        <a:moveTo>
                          <a:pt x="261490" y="189824"/>
                        </a:moveTo>
                        <a:cubicBezTo>
                          <a:pt x="260128" y="193586"/>
                          <a:pt x="263728" y="198234"/>
                          <a:pt x="267576" y="197548"/>
                        </a:cubicBezTo>
                        <a:cubicBezTo>
                          <a:pt x="274453" y="196329"/>
                          <a:pt x="274101" y="186185"/>
                          <a:pt x="266509" y="186376"/>
                        </a:cubicBezTo>
                        <a:cubicBezTo>
                          <a:pt x="264185" y="187338"/>
                          <a:pt x="262337" y="187471"/>
                          <a:pt x="261490" y="189824"/>
                        </a:cubicBezTo>
                        <a:close/>
                        <a:moveTo>
                          <a:pt x="86" y="187280"/>
                        </a:moveTo>
                        <a:cubicBezTo>
                          <a:pt x="57" y="187385"/>
                          <a:pt x="38" y="187500"/>
                          <a:pt x="0" y="187604"/>
                        </a:cubicBezTo>
                        <a:cubicBezTo>
                          <a:pt x="238" y="188071"/>
                          <a:pt x="476" y="188328"/>
                          <a:pt x="905" y="188595"/>
                        </a:cubicBezTo>
                        <a:cubicBezTo>
                          <a:pt x="1581" y="188576"/>
                          <a:pt x="1857" y="188328"/>
                          <a:pt x="2057" y="187852"/>
                        </a:cubicBezTo>
                        <a:cubicBezTo>
                          <a:pt x="2086" y="187662"/>
                          <a:pt x="2114" y="187471"/>
                          <a:pt x="2143" y="187280"/>
                        </a:cubicBezTo>
                        <a:cubicBezTo>
                          <a:pt x="1810" y="186919"/>
                          <a:pt x="1609" y="186633"/>
                          <a:pt x="1076" y="186461"/>
                        </a:cubicBezTo>
                        <a:cubicBezTo>
                          <a:pt x="743" y="186728"/>
                          <a:pt x="419" y="187004"/>
                          <a:pt x="86" y="187280"/>
                        </a:cubicBezTo>
                        <a:close/>
                        <a:moveTo>
                          <a:pt x="163373" y="192615"/>
                        </a:moveTo>
                        <a:cubicBezTo>
                          <a:pt x="161487" y="193043"/>
                          <a:pt x="159715" y="190995"/>
                          <a:pt x="160334" y="189167"/>
                        </a:cubicBezTo>
                        <a:cubicBezTo>
                          <a:pt x="160639" y="188281"/>
                          <a:pt x="161534" y="187795"/>
                          <a:pt x="162306" y="187357"/>
                        </a:cubicBezTo>
                        <a:cubicBezTo>
                          <a:pt x="165963" y="187214"/>
                          <a:pt x="166392" y="191929"/>
                          <a:pt x="163373" y="192615"/>
                        </a:cubicBezTo>
                        <a:close/>
                        <a:moveTo>
                          <a:pt x="32871" y="190976"/>
                        </a:moveTo>
                        <a:cubicBezTo>
                          <a:pt x="31985" y="193805"/>
                          <a:pt x="34880" y="196386"/>
                          <a:pt x="37557" y="195748"/>
                        </a:cubicBezTo>
                        <a:cubicBezTo>
                          <a:pt x="41891" y="194710"/>
                          <a:pt x="41472" y="187919"/>
                          <a:pt x="35995" y="188100"/>
                        </a:cubicBezTo>
                        <a:cubicBezTo>
                          <a:pt x="34633" y="188862"/>
                          <a:pt x="33376" y="189376"/>
                          <a:pt x="32871" y="190976"/>
                        </a:cubicBezTo>
                        <a:close/>
                        <a:moveTo>
                          <a:pt x="322631" y="191633"/>
                        </a:moveTo>
                        <a:cubicBezTo>
                          <a:pt x="322536" y="193719"/>
                          <a:pt x="325012" y="194843"/>
                          <a:pt x="326241" y="193272"/>
                        </a:cubicBezTo>
                        <a:cubicBezTo>
                          <a:pt x="327403" y="191805"/>
                          <a:pt x="326241" y="189805"/>
                          <a:pt x="324269" y="189900"/>
                        </a:cubicBezTo>
                        <a:cubicBezTo>
                          <a:pt x="323488" y="190414"/>
                          <a:pt x="323040" y="190757"/>
                          <a:pt x="322631" y="191633"/>
                        </a:cubicBezTo>
                        <a:close/>
                        <a:moveTo>
                          <a:pt x="199196" y="198206"/>
                        </a:moveTo>
                        <a:cubicBezTo>
                          <a:pt x="196453" y="198749"/>
                          <a:pt x="194091" y="196034"/>
                          <a:pt x="194920" y="193272"/>
                        </a:cubicBezTo>
                        <a:cubicBezTo>
                          <a:pt x="195377" y="191767"/>
                          <a:pt x="196558" y="191233"/>
                          <a:pt x="197882" y="190567"/>
                        </a:cubicBezTo>
                        <a:cubicBezTo>
                          <a:pt x="203473" y="190395"/>
                          <a:pt x="203749" y="197301"/>
                          <a:pt x="199196" y="198206"/>
                        </a:cubicBezTo>
                        <a:close/>
                        <a:moveTo>
                          <a:pt x="67303" y="193357"/>
                        </a:moveTo>
                        <a:cubicBezTo>
                          <a:pt x="64970" y="197129"/>
                          <a:pt x="67885" y="201435"/>
                          <a:pt x="71333" y="202073"/>
                        </a:cubicBezTo>
                        <a:cubicBezTo>
                          <a:pt x="79400" y="203559"/>
                          <a:pt x="80124" y="190481"/>
                          <a:pt x="72152" y="190652"/>
                        </a:cubicBezTo>
                        <a:cubicBezTo>
                          <a:pt x="69952" y="191529"/>
                          <a:pt x="68456" y="191500"/>
                          <a:pt x="67303" y="193357"/>
                        </a:cubicBezTo>
                        <a:close/>
                        <a:moveTo>
                          <a:pt x="141427" y="197958"/>
                        </a:moveTo>
                        <a:cubicBezTo>
                          <a:pt x="138798" y="198663"/>
                          <a:pt x="136322" y="196139"/>
                          <a:pt x="136988" y="193519"/>
                        </a:cubicBezTo>
                        <a:cubicBezTo>
                          <a:pt x="137388" y="191967"/>
                          <a:pt x="138541" y="191376"/>
                          <a:pt x="139865" y="190728"/>
                        </a:cubicBezTo>
                        <a:cubicBezTo>
                          <a:pt x="144951" y="190567"/>
                          <a:pt x="145637" y="196834"/>
                          <a:pt x="141427" y="197958"/>
                        </a:cubicBezTo>
                        <a:close/>
                        <a:moveTo>
                          <a:pt x="299285" y="194672"/>
                        </a:moveTo>
                        <a:cubicBezTo>
                          <a:pt x="297723" y="197253"/>
                          <a:pt x="300352" y="200558"/>
                          <a:pt x="303143" y="199930"/>
                        </a:cubicBezTo>
                        <a:cubicBezTo>
                          <a:pt x="307381" y="198977"/>
                          <a:pt x="307038" y="192672"/>
                          <a:pt x="301752" y="192862"/>
                        </a:cubicBezTo>
                        <a:cubicBezTo>
                          <a:pt x="300714" y="193338"/>
                          <a:pt x="299847" y="193748"/>
                          <a:pt x="299285" y="194672"/>
                        </a:cubicBezTo>
                        <a:close/>
                        <a:moveTo>
                          <a:pt x="233134" y="204368"/>
                        </a:moveTo>
                        <a:cubicBezTo>
                          <a:pt x="229800" y="203749"/>
                          <a:pt x="227028" y="199349"/>
                          <a:pt x="229362" y="195748"/>
                        </a:cubicBezTo>
                        <a:cubicBezTo>
                          <a:pt x="230467" y="194034"/>
                          <a:pt x="231848" y="193910"/>
                          <a:pt x="233962" y="193119"/>
                        </a:cubicBezTo>
                        <a:cubicBezTo>
                          <a:pt x="241963" y="193129"/>
                          <a:pt x="241468" y="205911"/>
                          <a:pt x="233134" y="204368"/>
                        </a:cubicBezTo>
                        <a:close/>
                        <a:moveTo>
                          <a:pt x="119567" y="203549"/>
                        </a:moveTo>
                        <a:cubicBezTo>
                          <a:pt x="115767" y="204568"/>
                          <a:pt x="112576" y="201015"/>
                          <a:pt x="113652" y="197387"/>
                        </a:cubicBezTo>
                        <a:cubicBezTo>
                          <a:pt x="114262" y="195339"/>
                          <a:pt x="115748" y="194777"/>
                          <a:pt x="117595" y="193938"/>
                        </a:cubicBezTo>
                        <a:cubicBezTo>
                          <a:pt x="124253" y="193777"/>
                          <a:pt x="124901" y="202111"/>
                          <a:pt x="119567" y="203549"/>
                        </a:cubicBezTo>
                        <a:close/>
                        <a:moveTo>
                          <a:pt x="12163" y="195986"/>
                        </a:moveTo>
                        <a:cubicBezTo>
                          <a:pt x="11744" y="197606"/>
                          <a:pt x="13659" y="199015"/>
                          <a:pt x="15040" y="198615"/>
                        </a:cubicBezTo>
                        <a:cubicBezTo>
                          <a:pt x="17602" y="197882"/>
                          <a:pt x="17002" y="194024"/>
                          <a:pt x="13887" y="194177"/>
                        </a:cubicBezTo>
                        <a:cubicBezTo>
                          <a:pt x="13211" y="194672"/>
                          <a:pt x="12411" y="195062"/>
                          <a:pt x="12163" y="195986"/>
                        </a:cubicBezTo>
                        <a:close/>
                        <a:moveTo>
                          <a:pt x="177012" y="202149"/>
                        </a:moveTo>
                        <a:cubicBezTo>
                          <a:pt x="174507" y="202768"/>
                          <a:pt x="172421" y="200292"/>
                          <a:pt x="173069" y="197958"/>
                        </a:cubicBezTo>
                        <a:cubicBezTo>
                          <a:pt x="173469" y="196501"/>
                          <a:pt x="174660" y="196139"/>
                          <a:pt x="176022" y="195577"/>
                        </a:cubicBezTo>
                        <a:cubicBezTo>
                          <a:pt x="180222" y="195529"/>
                          <a:pt x="180499" y="201292"/>
                          <a:pt x="177012" y="202149"/>
                        </a:cubicBezTo>
                        <a:close/>
                        <a:moveTo>
                          <a:pt x="275625" y="199444"/>
                        </a:moveTo>
                        <a:cubicBezTo>
                          <a:pt x="274711" y="202463"/>
                          <a:pt x="277558" y="206083"/>
                          <a:pt x="280387" y="205692"/>
                        </a:cubicBezTo>
                        <a:cubicBezTo>
                          <a:pt x="286760" y="204797"/>
                          <a:pt x="286617" y="195786"/>
                          <a:pt x="279397" y="195996"/>
                        </a:cubicBezTo>
                        <a:cubicBezTo>
                          <a:pt x="277644" y="196872"/>
                          <a:pt x="276225" y="197444"/>
                          <a:pt x="275625" y="199444"/>
                        </a:cubicBezTo>
                        <a:close/>
                        <a:moveTo>
                          <a:pt x="45615" y="199520"/>
                        </a:moveTo>
                        <a:cubicBezTo>
                          <a:pt x="44682" y="202663"/>
                          <a:pt x="47425" y="206092"/>
                          <a:pt x="50959" y="205273"/>
                        </a:cubicBezTo>
                        <a:cubicBezTo>
                          <a:pt x="56197" y="204064"/>
                          <a:pt x="55654" y="196129"/>
                          <a:pt x="49149" y="196320"/>
                        </a:cubicBezTo>
                        <a:cubicBezTo>
                          <a:pt x="47577" y="197101"/>
                          <a:pt x="46139" y="197739"/>
                          <a:pt x="45615" y="199520"/>
                        </a:cubicBezTo>
                        <a:close/>
                        <a:moveTo>
                          <a:pt x="101737" y="205607"/>
                        </a:moveTo>
                        <a:cubicBezTo>
                          <a:pt x="100870" y="207750"/>
                          <a:pt x="99460" y="208121"/>
                          <a:pt x="96974" y="208731"/>
                        </a:cubicBezTo>
                        <a:cubicBezTo>
                          <a:pt x="95831" y="209007"/>
                          <a:pt x="94136" y="209636"/>
                          <a:pt x="92697" y="209226"/>
                        </a:cubicBezTo>
                        <a:cubicBezTo>
                          <a:pt x="91183" y="208493"/>
                          <a:pt x="89668" y="200958"/>
                          <a:pt x="90887" y="199368"/>
                        </a:cubicBezTo>
                        <a:cubicBezTo>
                          <a:pt x="92050" y="197853"/>
                          <a:pt x="94116" y="198187"/>
                          <a:pt x="96060" y="197396"/>
                        </a:cubicBezTo>
                        <a:cubicBezTo>
                          <a:pt x="100051" y="197291"/>
                          <a:pt x="103441" y="201425"/>
                          <a:pt x="101737" y="205607"/>
                        </a:cubicBezTo>
                        <a:close/>
                        <a:moveTo>
                          <a:pt x="212265" y="208064"/>
                        </a:moveTo>
                        <a:cubicBezTo>
                          <a:pt x="209036" y="208607"/>
                          <a:pt x="206426" y="205064"/>
                          <a:pt x="207331" y="201901"/>
                        </a:cubicBezTo>
                        <a:cubicBezTo>
                          <a:pt x="207940" y="199796"/>
                          <a:pt x="209521" y="199320"/>
                          <a:pt x="211522" y="198529"/>
                        </a:cubicBezTo>
                        <a:cubicBezTo>
                          <a:pt x="218103" y="198415"/>
                          <a:pt x="218322" y="207045"/>
                          <a:pt x="212265" y="208064"/>
                        </a:cubicBezTo>
                        <a:close/>
                        <a:moveTo>
                          <a:pt x="252527" y="201987"/>
                        </a:moveTo>
                        <a:cubicBezTo>
                          <a:pt x="252079" y="202768"/>
                          <a:pt x="252355" y="204149"/>
                          <a:pt x="252527" y="204940"/>
                        </a:cubicBezTo>
                        <a:cubicBezTo>
                          <a:pt x="253336" y="208531"/>
                          <a:pt x="253670" y="210540"/>
                          <a:pt x="257461" y="211112"/>
                        </a:cubicBezTo>
                        <a:cubicBezTo>
                          <a:pt x="265071" y="212236"/>
                          <a:pt x="266109" y="199358"/>
                          <a:pt x="258528" y="199520"/>
                        </a:cubicBezTo>
                        <a:cubicBezTo>
                          <a:pt x="256203" y="200463"/>
                          <a:pt x="253708" y="199949"/>
                          <a:pt x="252527" y="201987"/>
                        </a:cubicBezTo>
                        <a:close/>
                        <a:moveTo>
                          <a:pt x="154657" y="206997"/>
                        </a:moveTo>
                        <a:cubicBezTo>
                          <a:pt x="151990" y="207597"/>
                          <a:pt x="149695" y="204911"/>
                          <a:pt x="150381" y="202397"/>
                        </a:cubicBezTo>
                        <a:cubicBezTo>
                          <a:pt x="150857" y="200654"/>
                          <a:pt x="152095" y="200234"/>
                          <a:pt x="153753" y="199606"/>
                        </a:cubicBezTo>
                        <a:cubicBezTo>
                          <a:pt x="158467" y="199911"/>
                          <a:pt x="158820" y="206064"/>
                          <a:pt x="154657" y="206997"/>
                        </a:cubicBezTo>
                        <a:close/>
                        <a:moveTo>
                          <a:pt x="24908" y="204121"/>
                        </a:moveTo>
                        <a:cubicBezTo>
                          <a:pt x="23879" y="206407"/>
                          <a:pt x="26051" y="208816"/>
                          <a:pt x="28442" y="208312"/>
                        </a:cubicBezTo>
                        <a:cubicBezTo>
                          <a:pt x="31937" y="207569"/>
                          <a:pt x="31490" y="202006"/>
                          <a:pt x="27375" y="202149"/>
                        </a:cubicBezTo>
                        <a:cubicBezTo>
                          <a:pt x="26318" y="202635"/>
                          <a:pt x="25365" y="203083"/>
                          <a:pt x="24908" y="204121"/>
                        </a:cubicBezTo>
                        <a:close/>
                        <a:moveTo>
                          <a:pt x="313420" y="204368"/>
                        </a:moveTo>
                        <a:cubicBezTo>
                          <a:pt x="312610" y="206007"/>
                          <a:pt x="314449" y="208264"/>
                          <a:pt x="316297" y="207816"/>
                        </a:cubicBezTo>
                        <a:cubicBezTo>
                          <a:pt x="319230" y="207121"/>
                          <a:pt x="318897" y="202635"/>
                          <a:pt x="315230" y="202806"/>
                        </a:cubicBezTo>
                        <a:cubicBezTo>
                          <a:pt x="314535" y="203216"/>
                          <a:pt x="313782" y="203644"/>
                          <a:pt x="313420" y="204368"/>
                        </a:cubicBezTo>
                        <a:close/>
                        <a:moveTo>
                          <a:pt x="132312" y="212341"/>
                        </a:moveTo>
                        <a:cubicBezTo>
                          <a:pt x="128921" y="212960"/>
                          <a:pt x="126387" y="209664"/>
                          <a:pt x="127216" y="206512"/>
                        </a:cubicBezTo>
                        <a:cubicBezTo>
                          <a:pt x="127749" y="204483"/>
                          <a:pt x="129226" y="203911"/>
                          <a:pt x="131073" y="203140"/>
                        </a:cubicBezTo>
                        <a:cubicBezTo>
                          <a:pt x="137579" y="202987"/>
                          <a:pt x="137893" y="211312"/>
                          <a:pt x="132312" y="212341"/>
                        </a:cubicBezTo>
                        <a:close/>
                        <a:moveTo>
                          <a:pt x="190405" y="211846"/>
                        </a:moveTo>
                        <a:cubicBezTo>
                          <a:pt x="187347" y="212455"/>
                          <a:pt x="184766" y="209636"/>
                          <a:pt x="185642" y="206588"/>
                        </a:cubicBezTo>
                        <a:cubicBezTo>
                          <a:pt x="186176" y="204721"/>
                          <a:pt x="187709" y="204235"/>
                          <a:pt x="189500" y="203549"/>
                        </a:cubicBezTo>
                        <a:cubicBezTo>
                          <a:pt x="194738" y="203911"/>
                          <a:pt x="195215" y="210893"/>
                          <a:pt x="190405" y="211846"/>
                        </a:cubicBezTo>
                        <a:close/>
                        <a:moveTo>
                          <a:pt x="58426" y="208312"/>
                        </a:moveTo>
                        <a:cubicBezTo>
                          <a:pt x="57369" y="211788"/>
                          <a:pt x="60407" y="215398"/>
                          <a:pt x="64017" y="214722"/>
                        </a:cubicBezTo>
                        <a:cubicBezTo>
                          <a:pt x="70161" y="213579"/>
                          <a:pt x="69894" y="204416"/>
                          <a:pt x="62293" y="204616"/>
                        </a:cubicBezTo>
                        <a:cubicBezTo>
                          <a:pt x="60522" y="205511"/>
                          <a:pt x="59045" y="206292"/>
                          <a:pt x="58426" y="208312"/>
                        </a:cubicBezTo>
                        <a:close/>
                        <a:moveTo>
                          <a:pt x="289750" y="208721"/>
                        </a:moveTo>
                        <a:cubicBezTo>
                          <a:pt x="288950" y="211550"/>
                          <a:pt x="291722" y="214227"/>
                          <a:pt x="294513" y="213493"/>
                        </a:cubicBezTo>
                        <a:cubicBezTo>
                          <a:pt x="298894" y="212341"/>
                          <a:pt x="298304" y="205607"/>
                          <a:pt x="292960" y="205769"/>
                        </a:cubicBezTo>
                        <a:cubicBezTo>
                          <a:pt x="291484" y="206492"/>
                          <a:pt x="290236" y="207035"/>
                          <a:pt x="289750" y="208721"/>
                        </a:cubicBezTo>
                        <a:close/>
                        <a:moveTo>
                          <a:pt x="109461" y="217846"/>
                        </a:moveTo>
                        <a:cubicBezTo>
                          <a:pt x="105861" y="218494"/>
                          <a:pt x="102984" y="213903"/>
                          <a:pt x="103956" y="210369"/>
                        </a:cubicBezTo>
                        <a:cubicBezTo>
                          <a:pt x="104565" y="208150"/>
                          <a:pt x="106480" y="207416"/>
                          <a:pt x="108480" y="206512"/>
                        </a:cubicBezTo>
                        <a:cubicBezTo>
                          <a:pt x="116795" y="206321"/>
                          <a:pt x="117491" y="216408"/>
                          <a:pt x="109461" y="217846"/>
                        </a:cubicBezTo>
                        <a:close/>
                        <a:moveTo>
                          <a:pt x="225580" y="217684"/>
                        </a:moveTo>
                        <a:cubicBezTo>
                          <a:pt x="222037" y="218313"/>
                          <a:pt x="218875" y="214389"/>
                          <a:pt x="219742" y="210864"/>
                        </a:cubicBezTo>
                        <a:cubicBezTo>
                          <a:pt x="220399" y="208207"/>
                          <a:pt x="222256" y="207550"/>
                          <a:pt x="224590" y="206512"/>
                        </a:cubicBezTo>
                        <a:cubicBezTo>
                          <a:pt x="231924" y="206349"/>
                          <a:pt x="233658" y="216246"/>
                          <a:pt x="225580" y="217684"/>
                        </a:cubicBezTo>
                        <a:close/>
                        <a:moveTo>
                          <a:pt x="167811" y="216284"/>
                        </a:moveTo>
                        <a:cubicBezTo>
                          <a:pt x="165097" y="216770"/>
                          <a:pt x="162687" y="213960"/>
                          <a:pt x="163373" y="211264"/>
                        </a:cubicBezTo>
                        <a:cubicBezTo>
                          <a:pt x="163859" y="209379"/>
                          <a:pt x="165192" y="208855"/>
                          <a:pt x="166906" y="208140"/>
                        </a:cubicBezTo>
                        <a:cubicBezTo>
                          <a:pt x="172488" y="208035"/>
                          <a:pt x="172841" y="215370"/>
                          <a:pt x="167811" y="216284"/>
                        </a:cubicBezTo>
                        <a:close/>
                        <a:moveTo>
                          <a:pt x="4439" y="209626"/>
                        </a:moveTo>
                        <a:cubicBezTo>
                          <a:pt x="4524" y="210436"/>
                          <a:pt x="4972" y="210598"/>
                          <a:pt x="5515" y="210941"/>
                        </a:cubicBezTo>
                        <a:cubicBezTo>
                          <a:pt x="6172" y="210683"/>
                          <a:pt x="6610" y="210417"/>
                          <a:pt x="6667" y="209540"/>
                        </a:cubicBezTo>
                        <a:cubicBezTo>
                          <a:pt x="6296" y="209102"/>
                          <a:pt x="6172" y="208731"/>
                          <a:pt x="5429" y="208636"/>
                        </a:cubicBezTo>
                        <a:cubicBezTo>
                          <a:pt x="4972" y="208959"/>
                          <a:pt x="4705" y="209102"/>
                          <a:pt x="4439" y="209626"/>
                        </a:cubicBezTo>
                        <a:close/>
                        <a:moveTo>
                          <a:pt x="266500" y="212750"/>
                        </a:moveTo>
                        <a:cubicBezTo>
                          <a:pt x="265509" y="216017"/>
                          <a:pt x="268796" y="219818"/>
                          <a:pt x="272329" y="219084"/>
                        </a:cubicBezTo>
                        <a:cubicBezTo>
                          <a:pt x="278063" y="217884"/>
                          <a:pt x="277673" y="208874"/>
                          <a:pt x="270767" y="209055"/>
                        </a:cubicBezTo>
                        <a:cubicBezTo>
                          <a:pt x="268719" y="209921"/>
                          <a:pt x="267167" y="210550"/>
                          <a:pt x="266500" y="212750"/>
                        </a:cubicBezTo>
                        <a:close/>
                        <a:moveTo>
                          <a:pt x="37481" y="212998"/>
                        </a:moveTo>
                        <a:cubicBezTo>
                          <a:pt x="36690" y="215484"/>
                          <a:pt x="38890" y="218389"/>
                          <a:pt x="41510" y="217932"/>
                        </a:cubicBezTo>
                        <a:cubicBezTo>
                          <a:pt x="45891" y="217160"/>
                          <a:pt x="45968" y="210217"/>
                          <a:pt x="40691" y="210369"/>
                        </a:cubicBezTo>
                        <a:cubicBezTo>
                          <a:pt x="39186" y="210988"/>
                          <a:pt x="37976" y="211436"/>
                          <a:pt x="37481" y="212998"/>
                        </a:cubicBezTo>
                        <a:close/>
                        <a:moveTo>
                          <a:pt x="203635" y="221628"/>
                        </a:moveTo>
                        <a:cubicBezTo>
                          <a:pt x="200044" y="222285"/>
                          <a:pt x="197243" y="218656"/>
                          <a:pt x="198215" y="215217"/>
                        </a:cubicBezTo>
                        <a:cubicBezTo>
                          <a:pt x="198834" y="213046"/>
                          <a:pt x="200453" y="212569"/>
                          <a:pt x="202406" y="211684"/>
                        </a:cubicBezTo>
                        <a:cubicBezTo>
                          <a:pt x="209397" y="211512"/>
                          <a:pt x="209645" y="220523"/>
                          <a:pt x="203635" y="221628"/>
                        </a:cubicBezTo>
                        <a:close/>
                        <a:moveTo>
                          <a:pt x="146190" y="221209"/>
                        </a:moveTo>
                        <a:cubicBezTo>
                          <a:pt x="142827" y="222056"/>
                          <a:pt x="139570" y="219027"/>
                          <a:pt x="140522" y="215541"/>
                        </a:cubicBezTo>
                        <a:cubicBezTo>
                          <a:pt x="141075" y="213531"/>
                          <a:pt x="142513" y="212912"/>
                          <a:pt x="144304" y="212093"/>
                        </a:cubicBezTo>
                        <a:cubicBezTo>
                          <a:pt x="150828" y="211922"/>
                          <a:pt x="151286" y="219942"/>
                          <a:pt x="146190" y="221209"/>
                        </a:cubicBezTo>
                        <a:close/>
                        <a:moveTo>
                          <a:pt x="243411" y="214808"/>
                        </a:moveTo>
                        <a:cubicBezTo>
                          <a:pt x="242821" y="215665"/>
                          <a:pt x="243487" y="217503"/>
                          <a:pt x="243659" y="218256"/>
                        </a:cubicBezTo>
                        <a:cubicBezTo>
                          <a:pt x="244354" y="221342"/>
                          <a:pt x="244469" y="223495"/>
                          <a:pt x="247440" y="224257"/>
                        </a:cubicBezTo>
                        <a:cubicBezTo>
                          <a:pt x="256213" y="226495"/>
                          <a:pt x="257680" y="212627"/>
                          <a:pt x="249984" y="212750"/>
                        </a:cubicBezTo>
                        <a:cubicBezTo>
                          <a:pt x="247974" y="213598"/>
                          <a:pt x="244554" y="213122"/>
                          <a:pt x="243411" y="214808"/>
                        </a:cubicBezTo>
                        <a:close/>
                        <a:moveTo>
                          <a:pt x="71494" y="216370"/>
                        </a:moveTo>
                        <a:cubicBezTo>
                          <a:pt x="69875" y="220170"/>
                          <a:pt x="73085" y="224704"/>
                          <a:pt x="77410" y="223933"/>
                        </a:cubicBezTo>
                        <a:cubicBezTo>
                          <a:pt x="84010" y="222752"/>
                          <a:pt x="83534" y="212817"/>
                          <a:pt x="76009" y="212998"/>
                        </a:cubicBezTo>
                        <a:cubicBezTo>
                          <a:pt x="73952" y="213836"/>
                          <a:pt x="72352" y="214370"/>
                          <a:pt x="71494" y="216370"/>
                        </a:cubicBezTo>
                        <a:close/>
                        <a:moveTo>
                          <a:pt x="328212" y="213903"/>
                        </a:moveTo>
                        <a:cubicBezTo>
                          <a:pt x="328193" y="214093"/>
                          <a:pt x="328155" y="214284"/>
                          <a:pt x="328126" y="214484"/>
                        </a:cubicBezTo>
                        <a:cubicBezTo>
                          <a:pt x="328431" y="214760"/>
                          <a:pt x="328727" y="215036"/>
                          <a:pt x="329031" y="215303"/>
                        </a:cubicBezTo>
                        <a:cubicBezTo>
                          <a:pt x="329117" y="215303"/>
                          <a:pt x="329203" y="215303"/>
                          <a:pt x="329279" y="215303"/>
                        </a:cubicBezTo>
                        <a:cubicBezTo>
                          <a:pt x="329774" y="215055"/>
                          <a:pt x="330022" y="214817"/>
                          <a:pt x="330270" y="214313"/>
                        </a:cubicBezTo>
                        <a:cubicBezTo>
                          <a:pt x="330194" y="213560"/>
                          <a:pt x="329765" y="213179"/>
                          <a:pt x="329031" y="213074"/>
                        </a:cubicBezTo>
                        <a:cubicBezTo>
                          <a:pt x="328660" y="213360"/>
                          <a:pt x="328403" y="213427"/>
                          <a:pt x="328212" y="213903"/>
                        </a:cubicBezTo>
                        <a:close/>
                        <a:moveTo>
                          <a:pt x="123510" y="226552"/>
                        </a:moveTo>
                        <a:cubicBezTo>
                          <a:pt x="119739" y="227238"/>
                          <a:pt x="116405" y="223142"/>
                          <a:pt x="117510" y="219485"/>
                        </a:cubicBezTo>
                        <a:cubicBezTo>
                          <a:pt x="118300" y="216894"/>
                          <a:pt x="120005" y="216494"/>
                          <a:pt x="122520" y="215541"/>
                        </a:cubicBezTo>
                        <a:cubicBezTo>
                          <a:pt x="129692" y="215570"/>
                          <a:pt x="130035" y="225361"/>
                          <a:pt x="123510" y="226552"/>
                        </a:cubicBezTo>
                        <a:close/>
                        <a:moveTo>
                          <a:pt x="304381" y="217189"/>
                        </a:moveTo>
                        <a:cubicBezTo>
                          <a:pt x="303171" y="219094"/>
                          <a:pt x="305162" y="221856"/>
                          <a:pt x="307334" y="221466"/>
                        </a:cubicBezTo>
                        <a:cubicBezTo>
                          <a:pt x="310696" y="220856"/>
                          <a:pt x="310391" y="215684"/>
                          <a:pt x="306762" y="215627"/>
                        </a:cubicBezTo>
                        <a:cubicBezTo>
                          <a:pt x="305667" y="216046"/>
                          <a:pt x="304952" y="216294"/>
                          <a:pt x="304381" y="217189"/>
                        </a:cubicBezTo>
                        <a:close/>
                        <a:moveTo>
                          <a:pt x="17916" y="220561"/>
                        </a:moveTo>
                        <a:cubicBezTo>
                          <a:pt x="19498" y="221475"/>
                          <a:pt x="20964" y="219799"/>
                          <a:pt x="21031" y="218341"/>
                        </a:cubicBezTo>
                        <a:cubicBezTo>
                          <a:pt x="20450" y="217227"/>
                          <a:pt x="20164" y="216408"/>
                          <a:pt x="18402" y="216446"/>
                        </a:cubicBezTo>
                        <a:cubicBezTo>
                          <a:pt x="16897" y="217351"/>
                          <a:pt x="15907" y="219389"/>
                          <a:pt x="17916" y="220561"/>
                        </a:cubicBezTo>
                        <a:close/>
                        <a:moveTo>
                          <a:pt x="181365" y="225819"/>
                        </a:moveTo>
                        <a:cubicBezTo>
                          <a:pt x="178079" y="226457"/>
                          <a:pt x="175260" y="223152"/>
                          <a:pt x="176193" y="219818"/>
                        </a:cubicBezTo>
                        <a:cubicBezTo>
                          <a:pt x="176727" y="217903"/>
                          <a:pt x="178222" y="217341"/>
                          <a:pt x="179803" y="216446"/>
                        </a:cubicBezTo>
                        <a:cubicBezTo>
                          <a:pt x="186814" y="216265"/>
                          <a:pt x="187033" y="224714"/>
                          <a:pt x="181365" y="225819"/>
                        </a:cubicBezTo>
                        <a:close/>
                        <a:moveTo>
                          <a:pt x="50301" y="221790"/>
                        </a:moveTo>
                        <a:cubicBezTo>
                          <a:pt x="49416" y="224704"/>
                          <a:pt x="51968" y="227943"/>
                          <a:pt x="55064" y="227295"/>
                        </a:cubicBezTo>
                        <a:cubicBezTo>
                          <a:pt x="60188" y="226247"/>
                          <a:pt x="59998" y="218465"/>
                          <a:pt x="53578" y="218665"/>
                        </a:cubicBezTo>
                        <a:cubicBezTo>
                          <a:pt x="52092" y="219437"/>
                          <a:pt x="50816" y="220075"/>
                          <a:pt x="50301" y="221790"/>
                        </a:cubicBezTo>
                        <a:close/>
                        <a:moveTo>
                          <a:pt x="280721" y="221875"/>
                        </a:moveTo>
                        <a:cubicBezTo>
                          <a:pt x="279892" y="224800"/>
                          <a:pt x="282473" y="227609"/>
                          <a:pt x="285407" y="227047"/>
                        </a:cubicBezTo>
                        <a:cubicBezTo>
                          <a:pt x="290313" y="226104"/>
                          <a:pt x="289903" y="218646"/>
                          <a:pt x="284007" y="218837"/>
                        </a:cubicBezTo>
                        <a:cubicBezTo>
                          <a:pt x="282502" y="219570"/>
                          <a:pt x="281197" y="220161"/>
                          <a:pt x="280721" y="221875"/>
                        </a:cubicBezTo>
                        <a:close/>
                        <a:moveTo>
                          <a:pt x="220723" y="221704"/>
                        </a:moveTo>
                        <a:cubicBezTo>
                          <a:pt x="222199" y="223599"/>
                          <a:pt x="222723" y="228114"/>
                          <a:pt x="220723" y="229676"/>
                        </a:cubicBezTo>
                        <a:cubicBezTo>
                          <a:pt x="219942" y="230286"/>
                          <a:pt x="219189" y="230372"/>
                          <a:pt x="218008" y="230657"/>
                        </a:cubicBezTo>
                        <a:cubicBezTo>
                          <a:pt x="217103" y="230876"/>
                          <a:pt x="215941" y="231381"/>
                          <a:pt x="214722" y="231153"/>
                        </a:cubicBezTo>
                        <a:cubicBezTo>
                          <a:pt x="211884" y="230619"/>
                          <a:pt x="209531" y="226666"/>
                          <a:pt x="211017" y="223180"/>
                        </a:cubicBezTo>
                        <a:cubicBezTo>
                          <a:pt x="211969" y="220961"/>
                          <a:pt x="213617" y="220647"/>
                          <a:pt x="215951" y="219732"/>
                        </a:cubicBezTo>
                        <a:cubicBezTo>
                          <a:pt x="218094" y="219704"/>
                          <a:pt x="219799" y="220513"/>
                          <a:pt x="220723" y="221704"/>
                        </a:cubicBezTo>
                        <a:close/>
                        <a:moveTo>
                          <a:pt x="158763" y="230505"/>
                        </a:moveTo>
                        <a:cubicBezTo>
                          <a:pt x="155915" y="230943"/>
                          <a:pt x="152810" y="227524"/>
                          <a:pt x="153591" y="224504"/>
                        </a:cubicBezTo>
                        <a:cubicBezTo>
                          <a:pt x="154238" y="221999"/>
                          <a:pt x="155857" y="221532"/>
                          <a:pt x="158191" y="220637"/>
                        </a:cubicBezTo>
                        <a:cubicBezTo>
                          <a:pt x="164763" y="220704"/>
                          <a:pt x="164935" y="229543"/>
                          <a:pt x="158763" y="230505"/>
                        </a:cubicBezTo>
                        <a:close/>
                        <a:moveTo>
                          <a:pt x="85134" y="224009"/>
                        </a:moveTo>
                        <a:cubicBezTo>
                          <a:pt x="82363" y="227857"/>
                          <a:pt x="85372" y="232448"/>
                          <a:pt x="89078" y="233134"/>
                        </a:cubicBezTo>
                        <a:cubicBezTo>
                          <a:pt x="92069" y="233686"/>
                          <a:pt x="94907" y="231467"/>
                          <a:pt x="95478" y="229514"/>
                        </a:cubicBezTo>
                        <a:cubicBezTo>
                          <a:pt x="95774" y="228514"/>
                          <a:pt x="95402" y="227352"/>
                          <a:pt x="95240" y="226562"/>
                        </a:cubicBezTo>
                        <a:cubicBezTo>
                          <a:pt x="94621" y="223675"/>
                          <a:pt x="94269" y="221485"/>
                          <a:pt x="90716" y="221542"/>
                        </a:cubicBezTo>
                        <a:cubicBezTo>
                          <a:pt x="88363" y="222533"/>
                          <a:pt x="86506" y="222113"/>
                          <a:pt x="85134" y="224009"/>
                        </a:cubicBezTo>
                        <a:close/>
                        <a:moveTo>
                          <a:pt x="257537" y="226142"/>
                        </a:moveTo>
                        <a:cubicBezTo>
                          <a:pt x="256680" y="229467"/>
                          <a:pt x="259947" y="233086"/>
                          <a:pt x="263204" y="232467"/>
                        </a:cubicBezTo>
                        <a:cubicBezTo>
                          <a:pt x="269300" y="231315"/>
                          <a:pt x="268900" y="222123"/>
                          <a:pt x="262137" y="222199"/>
                        </a:cubicBezTo>
                        <a:cubicBezTo>
                          <a:pt x="259851" y="223104"/>
                          <a:pt x="258185" y="223666"/>
                          <a:pt x="257537" y="226142"/>
                        </a:cubicBezTo>
                        <a:close/>
                        <a:moveTo>
                          <a:pt x="29337" y="226724"/>
                        </a:moveTo>
                        <a:cubicBezTo>
                          <a:pt x="28794" y="228543"/>
                          <a:pt x="30727" y="230743"/>
                          <a:pt x="32785" y="230257"/>
                        </a:cubicBezTo>
                        <a:cubicBezTo>
                          <a:pt x="35976" y="229505"/>
                          <a:pt x="35547" y="224838"/>
                          <a:pt x="32128" y="224504"/>
                        </a:cubicBezTo>
                        <a:cubicBezTo>
                          <a:pt x="30851" y="224990"/>
                          <a:pt x="29737" y="225390"/>
                          <a:pt x="29337" y="226724"/>
                        </a:cubicBezTo>
                        <a:close/>
                        <a:moveTo>
                          <a:pt x="136827" y="235429"/>
                        </a:moveTo>
                        <a:cubicBezTo>
                          <a:pt x="132864" y="236153"/>
                          <a:pt x="129740" y="232248"/>
                          <a:pt x="130826" y="228524"/>
                        </a:cubicBezTo>
                        <a:cubicBezTo>
                          <a:pt x="131540" y="226085"/>
                          <a:pt x="133159" y="225485"/>
                          <a:pt x="135350" y="224495"/>
                        </a:cubicBezTo>
                        <a:cubicBezTo>
                          <a:pt x="143142" y="224323"/>
                          <a:pt x="143646" y="234182"/>
                          <a:pt x="136827" y="235429"/>
                        </a:cubicBezTo>
                        <a:close/>
                        <a:moveTo>
                          <a:pt x="195005" y="235353"/>
                        </a:moveTo>
                        <a:cubicBezTo>
                          <a:pt x="191243" y="236144"/>
                          <a:pt x="187880" y="232134"/>
                          <a:pt x="188843" y="228619"/>
                        </a:cubicBezTo>
                        <a:cubicBezTo>
                          <a:pt x="189481" y="226285"/>
                          <a:pt x="191081" y="225666"/>
                          <a:pt x="193119" y="224676"/>
                        </a:cubicBezTo>
                        <a:cubicBezTo>
                          <a:pt x="200987" y="224495"/>
                          <a:pt x="201311" y="234020"/>
                          <a:pt x="195005" y="235353"/>
                        </a:cubicBezTo>
                        <a:close/>
                        <a:moveTo>
                          <a:pt x="318678" y="227543"/>
                        </a:moveTo>
                        <a:cubicBezTo>
                          <a:pt x="319021" y="228257"/>
                          <a:pt x="319373" y="228676"/>
                          <a:pt x="320078" y="229019"/>
                        </a:cubicBezTo>
                        <a:cubicBezTo>
                          <a:pt x="321030" y="229019"/>
                          <a:pt x="321555" y="228552"/>
                          <a:pt x="321802" y="227866"/>
                        </a:cubicBezTo>
                        <a:cubicBezTo>
                          <a:pt x="322212" y="226971"/>
                          <a:pt x="321250" y="226181"/>
                          <a:pt x="320650" y="225981"/>
                        </a:cubicBezTo>
                        <a:cubicBezTo>
                          <a:pt x="320430" y="225952"/>
                          <a:pt x="320211" y="225923"/>
                          <a:pt x="319992" y="225895"/>
                        </a:cubicBezTo>
                        <a:cubicBezTo>
                          <a:pt x="319354" y="226333"/>
                          <a:pt x="318840" y="226619"/>
                          <a:pt x="318678" y="227543"/>
                        </a:cubicBezTo>
                        <a:close/>
                        <a:moveTo>
                          <a:pt x="234696" y="228448"/>
                        </a:moveTo>
                        <a:cubicBezTo>
                          <a:pt x="234162" y="229305"/>
                          <a:pt x="234591" y="230753"/>
                          <a:pt x="234782" y="231572"/>
                        </a:cubicBezTo>
                        <a:cubicBezTo>
                          <a:pt x="235553" y="235001"/>
                          <a:pt x="236010" y="236982"/>
                          <a:pt x="239468" y="237658"/>
                        </a:cubicBezTo>
                        <a:cubicBezTo>
                          <a:pt x="247297" y="239173"/>
                          <a:pt x="248612" y="225942"/>
                          <a:pt x="241106" y="226066"/>
                        </a:cubicBezTo>
                        <a:cubicBezTo>
                          <a:pt x="238820" y="227028"/>
                          <a:pt x="235925" y="226466"/>
                          <a:pt x="234696" y="228448"/>
                        </a:cubicBezTo>
                        <a:close/>
                        <a:moveTo>
                          <a:pt x="63112" y="230667"/>
                        </a:moveTo>
                        <a:cubicBezTo>
                          <a:pt x="62217" y="233886"/>
                          <a:pt x="65141" y="237058"/>
                          <a:pt x="68284" y="236506"/>
                        </a:cubicBezTo>
                        <a:cubicBezTo>
                          <a:pt x="74019" y="235487"/>
                          <a:pt x="73847" y="226943"/>
                          <a:pt x="67056" y="227133"/>
                        </a:cubicBezTo>
                        <a:cubicBezTo>
                          <a:pt x="65113" y="227952"/>
                          <a:pt x="63703" y="228533"/>
                          <a:pt x="63112" y="230667"/>
                        </a:cubicBezTo>
                        <a:close/>
                        <a:moveTo>
                          <a:pt x="295180" y="230743"/>
                        </a:moveTo>
                        <a:cubicBezTo>
                          <a:pt x="294341" y="232762"/>
                          <a:pt x="296246" y="235448"/>
                          <a:pt x="298628" y="234934"/>
                        </a:cubicBezTo>
                        <a:cubicBezTo>
                          <a:pt x="302257" y="234153"/>
                          <a:pt x="301780" y="228590"/>
                          <a:pt x="297399" y="228771"/>
                        </a:cubicBezTo>
                        <a:cubicBezTo>
                          <a:pt x="296485" y="229314"/>
                          <a:pt x="295608" y="229733"/>
                          <a:pt x="295180" y="230743"/>
                        </a:cubicBezTo>
                        <a:close/>
                        <a:moveTo>
                          <a:pt x="172326" y="239782"/>
                        </a:moveTo>
                        <a:cubicBezTo>
                          <a:pt x="168802" y="240392"/>
                          <a:pt x="165706" y="236410"/>
                          <a:pt x="166649" y="232962"/>
                        </a:cubicBezTo>
                        <a:cubicBezTo>
                          <a:pt x="167335" y="230495"/>
                          <a:pt x="169031" y="230019"/>
                          <a:pt x="171335" y="229105"/>
                        </a:cubicBezTo>
                        <a:cubicBezTo>
                          <a:pt x="178584" y="229000"/>
                          <a:pt x="178936" y="238658"/>
                          <a:pt x="172326" y="239782"/>
                        </a:cubicBezTo>
                        <a:close/>
                        <a:moveTo>
                          <a:pt x="271843" y="235020"/>
                        </a:moveTo>
                        <a:cubicBezTo>
                          <a:pt x="270958" y="237725"/>
                          <a:pt x="273405" y="240925"/>
                          <a:pt x="276196" y="240440"/>
                        </a:cubicBezTo>
                        <a:cubicBezTo>
                          <a:pt x="281483" y="239535"/>
                          <a:pt x="281188" y="231972"/>
                          <a:pt x="275453" y="232058"/>
                        </a:cubicBezTo>
                        <a:cubicBezTo>
                          <a:pt x="273739" y="232762"/>
                          <a:pt x="272424" y="233239"/>
                          <a:pt x="271843" y="235020"/>
                        </a:cubicBezTo>
                        <a:close/>
                        <a:moveTo>
                          <a:pt x="42158" y="235515"/>
                        </a:moveTo>
                        <a:cubicBezTo>
                          <a:pt x="41519" y="237782"/>
                          <a:pt x="43805" y="240211"/>
                          <a:pt x="46272" y="239630"/>
                        </a:cubicBezTo>
                        <a:cubicBezTo>
                          <a:pt x="50082" y="238725"/>
                          <a:pt x="49759" y="232705"/>
                          <a:pt x="44958" y="232896"/>
                        </a:cubicBezTo>
                        <a:cubicBezTo>
                          <a:pt x="43701" y="233496"/>
                          <a:pt x="42567" y="234077"/>
                          <a:pt x="42158" y="235515"/>
                        </a:cubicBezTo>
                        <a:close/>
                        <a:moveTo>
                          <a:pt x="150628" y="244145"/>
                        </a:moveTo>
                        <a:cubicBezTo>
                          <a:pt x="149866" y="244278"/>
                          <a:pt x="149095" y="244421"/>
                          <a:pt x="148333" y="244554"/>
                        </a:cubicBezTo>
                        <a:cubicBezTo>
                          <a:pt x="145618" y="244154"/>
                          <a:pt x="142780" y="240316"/>
                          <a:pt x="144142" y="236906"/>
                        </a:cubicBezTo>
                        <a:cubicBezTo>
                          <a:pt x="145066" y="234601"/>
                          <a:pt x="146695" y="234134"/>
                          <a:pt x="149076" y="233210"/>
                        </a:cubicBezTo>
                        <a:cubicBezTo>
                          <a:pt x="156162" y="233134"/>
                          <a:pt x="157705" y="242554"/>
                          <a:pt x="150628" y="244145"/>
                        </a:cubicBezTo>
                        <a:close/>
                        <a:moveTo>
                          <a:pt x="76428" y="238554"/>
                        </a:moveTo>
                        <a:cubicBezTo>
                          <a:pt x="74838" y="242078"/>
                          <a:pt x="77771" y="246355"/>
                          <a:pt x="81772" y="245621"/>
                        </a:cubicBezTo>
                        <a:cubicBezTo>
                          <a:pt x="87811" y="244516"/>
                          <a:pt x="87287" y="235410"/>
                          <a:pt x="80458" y="235591"/>
                        </a:cubicBezTo>
                        <a:cubicBezTo>
                          <a:pt x="78695" y="236372"/>
                          <a:pt x="77200" y="236839"/>
                          <a:pt x="76428" y="238554"/>
                        </a:cubicBezTo>
                        <a:close/>
                        <a:moveTo>
                          <a:pt x="248755" y="239296"/>
                        </a:moveTo>
                        <a:cubicBezTo>
                          <a:pt x="247802" y="242630"/>
                          <a:pt x="251012" y="246450"/>
                          <a:pt x="254584" y="245707"/>
                        </a:cubicBezTo>
                        <a:cubicBezTo>
                          <a:pt x="260461" y="244488"/>
                          <a:pt x="260061" y="235401"/>
                          <a:pt x="252774" y="235601"/>
                        </a:cubicBezTo>
                        <a:cubicBezTo>
                          <a:pt x="250936" y="236515"/>
                          <a:pt x="249355" y="237182"/>
                          <a:pt x="248755" y="239296"/>
                        </a:cubicBezTo>
                        <a:close/>
                        <a:moveTo>
                          <a:pt x="190814" y="242907"/>
                        </a:moveTo>
                        <a:cubicBezTo>
                          <a:pt x="191110" y="244097"/>
                          <a:pt x="191157" y="245659"/>
                          <a:pt x="190567" y="246602"/>
                        </a:cubicBezTo>
                        <a:cubicBezTo>
                          <a:pt x="189662" y="248041"/>
                          <a:pt x="188090" y="248145"/>
                          <a:pt x="186128" y="248574"/>
                        </a:cubicBezTo>
                        <a:cubicBezTo>
                          <a:pt x="185204" y="248783"/>
                          <a:pt x="184013" y="249336"/>
                          <a:pt x="182756" y="249069"/>
                        </a:cubicBezTo>
                        <a:cubicBezTo>
                          <a:pt x="180660" y="248621"/>
                          <a:pt x="178498" y="244221"/>
                          <a:pt x="179556" y="241344"/>
                        </a:cubicBezTo>
                        <a:cubicBezTo>
                          <a:pt x="180422" y="238963"/>
                          <a:pt x="182013" y="238420"/>
                          <a:pt x="184404" y="237477"/>
                        </a:cubicBezTo>
                        <a:cubicBezTo>
                          <a:pt x="188833" y="237382"/>
                          <a:pt x="189947" y="239382"/>
                          <a:pt x="190814" y="242907"/>
                        </a:cubicBezTo>
                        <a:close/>
                        <a:moveTo>
                          <a:pt x="309553" y="240525"/>
                        </a:moveTo>
                        <a:cubicBezTo>
                          <a:pt x="309601" y="241716"/>
                          <a:pt x="310429" y="242583"/>
                          <a:pt x="311696" y="242583"/>
                        </a:cubicBezTo>
                        <a:cubicBezTo>
                          <a:pt x="312515" y="242259"/>
                          <a:pt x="313525" y="241478"/>
                          <a:pt x="313172" y="240278"/>
                        </a:cubicBezTo>
                        <a:cubicBezTo>
                          <a:pt x="312877" y="239506"/>
                          <a:pt x="312201" y="238868"/>
                          <a:pt x="311115" y="238877"/>
                        </a:cubicBezTo>
                        <a:cubicBezTo>
                          <a:pt x="310372" y="239373"/>
                          <a:pt x="309953" y="239687"/>
                          <a:pt x="309553" y="240525"/>
                        </a:cubicBezTo>
                        <a:close/>
                        <a:moveTo>
                          <a:pt x="21536" y="240611"/>
                        </a:moveTo>
                        <a:cubicBezTo>
                          <a:pt x="21593" y="241678"/>
                          <a:pt x="22231" y="242183"/>
                          <a:pt x="23012" y="242506"/>
                        </a:cubicBezTo>
                        <a:cubicBezTo>
                          <a:pt x="24212" y="242506"/>
                          <a:pt x="24727" y="241782"/>
                          <a:pt x="25070" y="240944"/>
                        </a:cubicBezTo>
                        <a:cubicBezTo>
                          <a:pt x="25041" y="239820"/>
                          <a:pt x="24269" y="239058"/>
                          <a:pt x="23174" y="238973"/>
                        </a:cubicBezTo>
                        <a:cubicBezTo>
                          <a:pt x="22250" y="239468"/>
                          <a:pt x="22041" y="239678"/>
                          <a:pt x="21536" y="240611"/>
                        </a:cubicBezTo>
                        <a:close/>
                        <a:moveTo>
                          <a:pt x="226314" y="242087"/>
                        </a:moveTo>
                        <a:cubicBezTo>
                          <a:pt x="225818" y="242916"/>
                          <a:pt x="225742" y="244278"/>
                          <a:pt x="225980" y="245383"/>
                        </a:cubicBezTo>
                        <a:cubicBezTo>
                          <a:pt x="226685" y="248631"/>
                          <a:pt x="227895" y="250336"/>
                          <a:pt x="231324" y="250803"/>
                        </a:cubicBezTo>
                        <a:cubicBezTo>
                          <a:pt x="238211" y="251755"/>
                          <a:pt x="239439" y="239325"/>
                          <a:pt x="231895" y="239459"/>
                        </a:cubicBezTo>
                        <a:cubicBezTo>
                          <a:pt x="229486" y="240430"/>
                          <a:pt x="227562" y="240001"/>
                          <a:pt x="226314" y="242087"/>
                        </a:cubicBezTo>
                        <a:close/>
                        <a:moveTo>
                          <a:pt x="55150" y="243897"/>
                        </a:moveTo>
                        <a:cubicBezTo>
                          <a:pt x="54264" y="246469"/>
                          <a:pt x="56617" y="249450"/>
                          <a:pt x="59255" y="248993"/>
                        </a:cubicBezTo>
                        <a:cubicBezTo>
                          <a:pt x="63837" y="248193"/>
                          <a:pt x="63693" y="241087"/>
                          <a:pt x="58274" y="241268"/>
                        </a:cubicBezTo>
                        <a:cubicBezTo>
                          <a:pt x="56902" y="241925"/>
                          <a:pt x="55654" y="242421"/>
                          <a:pt x="55150" y="243897"/>
                        </a:cubicBezTo>
                        <a:close/>
                        <a:moveTo>
                          <a:pt x="168545" y="247021"/>
                        </a:moveTo>
                        <a:cubicBezTo>
                          <a:pt x="168830" y="248098"/>
                          <a:pt x="169173" y="249650"/>
                          <a:pt x="168707" y="250803"/>
                        </a:cubicBezTo>
                        <a:cubicBezTo>
                          <a:pt x="168421" y="251498"/>
                          <a:pt x="167535" y="252279"/>
                          <a:pt x="166811" y="252527"/>
                        </a:cubicBezTo>
                        <a:cubicBezTo>
                          <a:pt x="165373" y="253022"/>
                          <a:pt x="159963" y="254203"/>
                          <a:pt x="158677" y="253755"/>
                        </a:cubicBezTo>
                        <a:cubicBezTo>
                          <a:pt x="157772" y="250041"/>
                          <a:pt x="155610" y="245707"/>
                          <a:pt x="159010" y="243078"/>
                        </a:cubicBezTo>
                        <a:cubicBezTo>
                          <a:pt x="160029" y="242287"/>
                          <a:pt x="161277" y="242325"/>
                          <a:pt x="162630" y="241763"/>
                        </a:cubicBezTo>
                        <a:cubicBezTo>
                          <a:pt x="166630" y="241678"/>
                          <a:pt x="167707" y="243821"/>
                          <a:pt x="168545" y="247021"/>
                        </a:cubicBezTo>
                        <a:close/>
                        <a:moveTo>
                          <a:pt x="286140" y="244307"/>
                        </a:moveTo>
                        <a:cubicBezTo>
                          <a:pt x="285426" y="246393"/>
                          <a:pt x="287569" y="248650"/>
                          <a:pt x="289512" y="248326"/>
                        </a:cubicBezTo>
                        <a:cubicBezTo>
                          <a:pt x="293436" y="247688"/>
                          <a:pt x="293227" y="242335"/>
                          <a:pt x="289017" y="241925"/>
                        </a:cubicBezTo>
                        <a:cubicBezTo>
                          <a:pt x="287674" y="242506"/>
                          <a:pt x="286626" y="242897"/>
                          <a:pt x="286140" y="244307"/>
                        </a:cubicBezTo>
                        <a:close/>
                        <a:moveTo>
                          <a:pt x="89240" y="248079"/>
                        </a:moveTo>
                        <a:cubicBezTo>
                          <a:pt x="88325" y="251317"/>
                          <a:pt x="91364" y="255175"/>
                          <a:pt x="94507" y="254736"/>
                        </a:cubicBezTo>
                        <a:cubicBezTo>
                          <a:pt x="101355" y="253774"/>
                          <a:pt x="101165" y="244097"/>
                          <a:pt x="93440" y="244297"/>
                        </a:cubicBezTo>
                        <a:cubicBezTo>
                          <a:pt x="91526" y="245269"/>
                          <a:pt x="89868" y="245878"/>
                          <a:pt x="89240" y="248079"/>
                        </a:cubicBezTo>
                        <a:close/>
                        <a:moveTo>
                          <a:pt x="262966" y="248412"/>
                        </a:moveTo>
                        <a:cubicBezTo>
                          <a:pt x="262109" y="251336"/>
                          <a:pt x="264757" y="254222"/>
                          <a:pt x="267652" y="253670"/>
                        </a:cubicBezTo>
                        <a:cubicBezTo>
                          <a:pt x="272577" y="252727"/>
                          <a:pt x="272348" y="245259"/>
                          <a:pt x="266262" y="245450"/>
                        </a:cubicBezTo>
                        <a:cubicBezTo>
                          <a:pt x="264738" y="246135"/>
                          <a:pt x="263462" y="246755"/>
                          <a:pt x="262966" y="248412"/>
                        </a:cubicBezTo>
                        <a:close/>
                        <a:moveTo>
                          <a:pt x="34357" y="248745"/>
                        </a:moveTo>
                        <a:cubicBezTo>
                          <a:pt x="33652" y="250222"/>
                          <a:pt x="35290" y="252212"/>
                          <a:pt x="36824" y="251946"/>
                        </a:cubicBezTo>
                        <a:cubicBezTo>
                          <a:pt x="39700" y="251460"/>
                          <a:pt x="39538" y="247488"/>
                          <a:pt x="36576" y="247174"/>
                        </a:cubicBezTo>
                        <a:cubicBezTo>
                          <a:pt x="35576" y="247555"/>
                          <a:pt x="34785" y="247840"/>
                          <a:pt x="34357" y="248745"/>
                        </a:cubicBezTo>
                        <a:close/>
                        <a:moveTo>
                          <a:pt x="240116" y="252527"/>
                        </a:moveTo>
                        <a:cubicBezTo>
                          <a:pt x="239173" y="255718"/>
                          <a:pt x="242125" y="259461"/>
                          <a:pt x="245373" y="258851"/>
                        </a:cubicBezTo>
                        <a:cubicBezTo>
                          <a:pt x="251336" y="257737"/>
                          <a:pt x="251212" y="248879"/>
                          <a:pt x="244059" y="249079"/>
                        </a:cubicBezTo>
                        <a:cubicBezTo>
                          <a:pt x="242268" y="249888"/>
                          <a:pt x="240706" y="250545"/>
                          <a:pt x="240116" y="252527"/>
                        </a:cubicBezTo>
                        <a:close/>
                        <a:moveTo>
                          <a:pt x="68046" y="253012"/>
                        </a:moveTo>
                        <a:cubicBezTo>
                          <a:pt x="67265" y="255765"/>
                          <a:pt x="69990" y="258689"/>
                          <a:pt x="72809" y="258108"/>
                        </a:cubicBezTo>
                        <a:cubicBezTo>
                          <a:pt x="77610" y="257118"/>
                          <a:pt x="77391" y="249707"/>
                          <a:pt x="71494" y="249898"/>
                        </a:cubicBezTo>
                        <a:cubicBezTo>
                          <a:pt x="69856" y="250622"/>
                          <a:pt x="68561" y="251203"/>
                          <a:pt x="68046" y="253012"/>
                        </a:cubicBezTo>
                        <a:close/>
                        <a:moveTo>
                          <a:pt x="303066" y="255899"/>
                        </a:moveTo>
                        <a:cubicBezTo>
                          <a:pt x="303866" y="255632"/>
                          <a:pt x="304733" y="254651"/>
                          <a:pt x="304390" y="253508"/>
                        </a:cubicBezTo>
                        <a:cubicBezTo>
                          <a:pt x="304076" y="252708"/>
                          <a:pt x="303409" y="252089"/>
                          <a:pt x="302247" y="252117"/>
                        </a:cubicBezTo>
                        <a:cubicBezTo>
                          <a:pt x="299428" y="253736"/>
                          <a:pt x="301199" y="256746"/>
                          <a:pt x="303066" y="255899"/>
                        </a:cubicBezTo>
                        <a:close/>
                        <a:moveTo>
                          <a:pt x="217446" y="256880"/>
                        </a:moveTo>
                        <a:cubicBezTo>
                          <a:pt x="216408" y="260366"/>
                          <a:pt x="219751" y="264414"/>
                          <a:pt x="223275" y="263785"/>
                        </a:cubicBezTo>
                        <a:cubicBezTo>
                          <a:pt x="229810" y="262614"/>
                          <a:pt x="229591" y="252755"/>
                          <a:pt x="222209" y="252936"/>
                        </a:cubicBezTo>
                        <a:cubicBezTo>
                          <a:pt x="219837" y="253879"/>
                          <a:pt x="218189" y="254375"/>
                          <a:pt x="217446" y="256880"/>
                        </a:cubicBezTo>
                        <a:close/>
                        <a:moveTo>
                          <a:pt x="102480" y="257127"/>
                        </a:moveTo>
                        <a:cubicBezTo>
                          <a:pt x="101394" y="260794"/>
                          <a:pt x="105203" y="264271"/>
                          <a:pt x="108633" y="263538"/>
                        </a:cubicBezTo>
                        <a:cubicBezTo>
                          <a:pt x="114633" y="262271"/>
                          <a:pt x="114185" y="252908"/>
                          <a:pt x="106832" y="253108"/>
                        </a:cubicBezTo>
                        <a:cubicBezTo>
                          <a:pt x="104680" y="254060"/>
                          <a:pt x="103175" y="254756"/>
                          <a:pt x="102480" y="257127"/>
                        </a:cubicBezTo>
                        <a:close/>
                        <a:moveTo>
                          <a:pt x="277263" y="257785"/>
                        </a:moveTo>
                        <a:cubicBezTo>
                          <a:pt x="276711" y="260042"/>
                          <a:pt x="279082" y="262157"/>
                          <a:pt x="281206" y="261480"/>
                        </a:cubicBezTo>
                        <a:cubicBezTo>
                          <a:pt x="284531" y="260423"/>
                          <a:pt x="283883" y="255156"/>
                          <a:pt x="279730" y="255327"/>
                        </a:cubicBezTo>
                        <a:cubicBezTo>
                          <a:pt x="278616" y="255937"/>
                          <a:pt x="277596" y="256413"/>
                          <a:pt x="277263" y="257785"/>
                        </a:cubicBezTo>
                        <a:close/>
                        <a:moveTo>
                          <a:pt x="50702" y="261233"/>
                        </a:moveTo>
                        <a:cubicBezTo>
                          <a:pt x="53673" y="260309"/>
                          <a:pt x="53178" y="255479"/>
                          <a:pt x="49387" y="255641"/>
                        </a:cubicBezTo>
                        <a:cubicBezTo>
                          <a:pt x="45644" y="257556"/>
                          <a:pt x="47339" y="262280"/>
                          <a:pt x="50702" y="261233"/>
                        </a:cubicBezTo>
                        <a:close/>
                        <a:moveTo>
                          <a:pt x="138141" y="259347"/>
                        </a:moveTo>
                        <a:cubicBezTo>
                          <a:pt x="135293" y="263480"/>
                          <a:pt x="138732" y="267881"/>
                          <a:pt x="142580" y="268548"/>
                        </a:cubicBezTo>
                        <a:cubicBezTo>
                          <a:pt x="149676" y="269767"/>
                          <a:pt x="151057" y="256880"/>
                          <a:pt x="143808" y="257042"/>
                        </a:cubicBezTo>
                        <a:cubicBezTo>
                          <a:pt x="141665" y="258070"/>
                          <a:pt x="139408" y="257499"/>
                          <a:pt x="138141" y="259347"/>
                        </a:cubicBezTo>
                        <a:close/>
                        <a:moveTo>
                          <a:pt x="195824" y="259261"/>
                        </a:moveTo>
                        <a:cubicBezTo>
                          <a:pt x="193157" y="262871"/>
                          <a:pt x="196091" y="267652"/>
                          <a:pt x="199520" y="268386"/>
                        </a:cubicBezTo>
                        <a:cubicBezTo>
                          <a:pt x="207188" y="270024"/>
                          <a:pt x="208855" y="257013"/>
                          <a:pt x="200673" y="257203"/>
                        </a:cubicBezTo>
                        <a:cubicBezTo>
                          <a:pt x="198777" y="258061"/>
                          <a:pt x="196977" y="257718"/>
                          <a:pt x="195824" y="259261"/>
                        </a:cubicBezTo>
                        <a:close/>
                        <a:moveTo>
                          <a:pt x="81191" y="261890"/>
                        </a:moveTo>
                        <a:cubicBezTo>
                          <a:pt x="80372" y="264947"/>
                          <a:pt x="83363" y="267795"/>
                          <a:pt x="86373" y="267071"/>
                        </a:cubicBezTo>
                        <a:cubicBezTo>
                          <a:pt x="91183" y="265900"/>
                          <a:pt x="90821" y="258337"/>
                          <a:pt x="84811" y="258528"/>
                        </a:cubicBezTo>
                        <a:cubicBezTo>
                          <a:pt x="83048" y="259309"/>
                          <a:pt x="81724" y="259918"/>
                          <a:pt x="81191" y="261890"/>
                        </a:cubicBezTo>
                        <a:close/>
                        <a:moveTo>
                          <a:pt x="254251" y="261890"/>
                        </a:moveTo>
                        <a:cubicBezTo>
                          <a:pt x="253517" y="264481"/>
                          <a:pt x="255918" y="267252"/>
                          <a:pt x="258442" y="266824"/>
                        </a:cubicBezTo>
                        <a:cubicBezTo>
                          <a:pt x="263480" y="265966"/>
                          <a:pt x="263299" y="258670"/>
                          <a:pt x="257451" y="258851"/>
                        </a:cubicBezTo>
                        <a:cubicBezTo>
                          <a:pt x="256003" y="259575"/>
                          <a:pt x="254727" y="260223"/>
                          <a:pt x="254251" y="261890"/>
                        </a:cubicBezTo>
                        <a:close/>
                        <a:moveTo>
                          <a:pt x="173802" y="263538"/>
                        </a:moveTo>
                        <a:cubicBezTo>
                          <a:pt x="170907" y="267271"/>
                          <a:pt x="173926" y="272205"/>
                          <a:pt x="177755" y="272901"/>
                        </a:cubicBezTo>
                        <a:cubicBezTo>
                          <a:pt x="185004" y="274234"/>
                          <a:pt x="186490" y="261404"/>
                          <a:pt x="178984" y="261566"/>
                        </a:cubicBezTo>
                        <a:cubicBezTo>
                          <a:pt x="177041" y="262376"/>
                          <a:pt x="174984" y="262014"/>
                          <a:pt x="173802" y="263538"/>
                        </a:cubicBezTo>
                        <a:close/>
                        <a:moveTo>
                          <a:pt x="115957" y="265509"/>
                        </a:moveTo>
                        <a:cubicBezTo>
                          <a:pt x="114786" y="268891"/>
                          <a:pt x="117891" y="273034"/>
                          <a:pt x="121377" y="272415"/>
                        </a:cubicBezTo>
                        <a:cubicBezTo>
                          <a:pt x="127806" y="271272"/>
                          <a:pt x="127416" y="261823"/>
                          <a:pt x="120396" y="261985"/>
                        </a:cubicBezTo>
                        <a:cubicBezTo>
                          <a:pt x="118310" y="262842"/>
                          <a:pt x="116700" y="263357"/>
                          <a:pt x="115957" y="265509"/>
                        </a:cubicBezTo>
                        <a:close/>
                        <a:moveTo>
                          <a:pt x="27041" y="262709"/>
                        </a:moveTo>
                        <a:cubicBezTo>
                          <a:pt x="26841" y="263128"/>
                          <a:pt x="27032" y="263414"/>
                          <a:pt x="27289" y="263614"/>
                        </a:cubicBezTo>
                        <a:cubicBezTo>
                          <a:pt x="27508" y="263642"/>
                          <a:pt x="27727" y="263671"/>
                          <a:pt x="27946" y="263690"/>
                        </a:cubicBezTo>
                        <a:cubicBezTo>
                          <a:pt x="28184" y="263366"/>
                          <a:pt x="28318" y="263366"/>
                          <a:pt x="28356" y="262785"/>
                        </a:cubicBezTo>
                        <a:cubicBezTo>
                          <a:pt x="28051" y="262452"/>
                          <a:pt x="28032" y="262309"/>
                          <a:pt x="27365" y="262290"/>
                        </a:cubicBezTo>
                        <a:cubicBezTo>
                          <a:pt x="27261" y="262442"/>
                          <a:pt x="27156" y="262576"/>
                          <a:pt x="27041" y="262709"/>
                        </a:cubicBezTo>
                        <a:close/>
                        <a:moveTo>
                          <a:pt x="231572" y="265757"/>
                        </a:moveTo>
                        <a:cubicBezTo>
                          <a:pt x="230429" y="269043"/>
                          <a:pt x="233372" y="272491"/>
                          <a:pt x="236753" y="271843"/>
                        </a:cubicBezTo>
                        <a:cubicBezTo>
                          <a:pt x="242163" y="270796"/>
                          <a:pt x="241754" y="262480"/>
                          <a:pt x="235525" y="262633"/>
                        </a:cubicBezTo>
                        <a:cubicBezTo>
                          <a:pt x="233648" y="263404"/>
                          <a:pt x="232238" y="263823"/>
                          <a:pt x="231572" y="265757"/>
                        </a:cubicBezTo>
                        <a:close/>
                        <a:moveTo>
                          <a:pt x="60245" y="266243"/>
                        </a:moveTo>
                        <a:cubicBezTo>
                          <a:pt x="59407" y="268319"/>
                          <a:pt x="61455" y="270910"/>
                          <a:pt x="63693" y="270434"/>
                        </a:cubicBezTo>
                        <a:cubicBezTo>
                          <a:pt x="67256" y="269681"/>
                          <a:pt x="67113" y="264014"/>
                          <a:pt x="62703" y="264185"/>
                        </a:cubicBezTo>
                        <a:cubicBezTo>
                          <a:pt x="61655" y="264700"/>
                          <a:pt x="60674" y="265166"/>
                          <a:pt x="60245" y="266243"/>
                        </a:cubicBezTo>
                        <a:close/>
                        <a:moveTo>
                          <a:pt x="291808" y="267148"/>
                        </a:moveTo>
                        <a:cubicBezTo>
                          <a:pt x="291846" y="268253"/>
                          <a:pt x="292513" y="268834"/>
                          <a:pt x="293284" y="269205"/>
                        </a:cubicBezTo>
                        <a:cubicBezTo>
                          <a:pt x="294684" y="269234"/>
                          <a:pt x="295218" y="268472"/>
                          <a:pt x="295589" y="267481"/>
                        </a:cubicBezTo>
                        <a:cubicBezTo>
                          <a:pt x="295532" y="266309"/>
                          <a:pt x="294637" y="265490"/>
                          <a:pt x="293370" y="265509"/>
                        </a:cubicBezTo>
                        <a:cubicBezTo>
                          <a:pt x="292627" y="265995"/>
                          <a:pt x="292208" y="266309"/>
                          <a:pt x="291808" y="267148"/>
                        </a:cubicBezTo>
                        <a:close/>
                        <a:moveTo>
                          <a:pt x="151124" y="269777"/>
                        </a:moveTo>
                        <a:cubicBezTo>
                          <a:pt x="149647" y="273358"/>
                          <a:pt x="153171" y="277778"/>
                          <a:pt x="156963" y="277092"/>
                        </a:cubicBezTo>
                        <a:cubicBezTo>
                          <a:pt x="163478" y="275911"/>
                          <a:pt x="163296" y="265995"/>
                          <a:pt x="156058" y="266167"/>
                        </a:cubicBezTo>
                        <a:cubicBezTo>
                          <a:pt x="153476" y="267233"/>
                          <a:pt x="152200" y="267167"/>
                          <a:pt x="151124" y="269777"/>
                        </a:cubicBezTo>
                        <a:close/>
                        <a:moveTo>
                          <a:pt x="209064" y="270196"/>
                        </a:moveTo>
                        <a:cubicBezTo>
                          <a:pt x="208054" y="273510"/>
                          <a:pt x="210845" y="277139"/>
                          <a:pt x="214074" y="276682"/>
                        </a:cubicBezTo>
                        <a:cubicBezTo>
                          <a:pt x="220542" y="275768"/>
                          <a:pt x="220361" y="266462"/>
                          <a:pt x="213084" y="266662"/>
                        </a:cubicBezTo>
                        <a:cubicBezTo>
                          <a:pt x="211141" y="267519"/>
                          <a:pt x="209702" y="268072"/>
                          <a:pt x="209064" y="270196"/>
                        </a:cubicBezTo>
                        <a:close/>
                        <a:moveTo>
                          <a:pt x="94421" y="270605"/>
                        </a:moveTo>
                        <a:cubicBezTo>
                          <a:pt x="93469" y="273777"/>
                          <a:pt x="96650" y="276768"/>
                          <a:pt x="99755" y="275949"/>
                        </a:cubicBezTo>
                        <a:cubicBezTo>
                          <a:pt x="104546" y="274691"/>
                          <a:pt x="104013" y="267167"/>
                          <a:pt x="98203" y="267319"/>
                        </a:cubicBezTo>
                        <a:cubicBezTo>
                          <a:pt x="96364" y="268072"/>
                          <a:pt x="95012" y="268653"/>
                          <a:pt x="94421" y="270605"/>
                        </a:cubicBezTo>
                        <a:close/>
                        <a:moveTo>
                          <a:pt x="268634" y="270853"/>
                        </a:moveTo>
                        <a:cubicBezTo>
                          <a:pt x="267843" y="272872"/>
                          <a:pt x="269967" y="275053"/>
                          <a:pt x="271843" y="274710"/>
                        </a:cubicBezTo>
                        <a:cubicBezTo>
                          <a:pt x="275311" y="274072"/>
                          <a:pt x="275129" y="268633"/>
                          <a:pt x="271024" y="268795"/>
                        </a:cubicBezTo>
                        <a:cubicBezTo>
                          <a:pt x="270005" y="269300"/>
                          <a:pt x="269062" y="269777"/>
                          <a:pt x="268634" y="270853"/>
                        </a:cubicBezTo>
                        <a:close/>
                        <a:moveTo>
                          <a:pt x="39453" y="271920"/>
                        </a:moveTo>
                        <a:cubicBezTo>
                          <a:pt x="39814" y="272644"/>
                          <a:pt x="40186" y="272891"/>
                          <a:pt x="40853" y="273310"/>
                        </a:cubicBezTo>
                        <a:cubicBezTo>
                          <a:pt x="41805" y="273253"/>
                          <a:pt x="42481" y="272577"/>
                          <a:pt x="42577" y="271663"/>
                        </a:cubicBezTo>
                        <a:cubicBezTo>
                          <a:pt x="42243" y="270872"/>
                          <a:pt x="41824" y="270262"/>
                          <a:pt x="40681" y="270262"/>
                        </a:cubicBezTo>
                        <a:cubicBezTo>
                          <a:pt x="40100" y="270758"/>
                          <a:pt x="39605" y="270977"/>
                          <a:pt x="39453" y="271920"/>
                        </a:cubicBezTo>
                        <a:close/>
                        <a:moveTo>
                          <a:pt x="186709" y="274710"/>
                        </a:moveTo>
                        <a:cubicBezTo>
                          <a:pt x="185566" y="278340"/>
                          <a:pt x="189128" y="282092"/>
                          <a:pt x="192872" y="281121"/>
                        </a:cubicBezTo>
                        <a:cubicBezTo>
                          <a:pt x="198625" y="279616"/>
                          <a:pt x="198034" y="270739"/>
                          <a:pt x="190814" y="270929"/>
                        </a:cubicBezTo>
                        <a:cubicBezTo>
                          <a:pt x="188862" y="271910"/>
                          <a:pt x="187404" y="272501"/>
                          <a:pt x="186709" y="274710"/>
                        </a:cubicBezTo>
                        <a:close/>
                        <a:moveTo>
                          <a:pt x="129264" y="274872"/>
                        </a:moveTo>
                        <a:cubicBezTo>
                          <a:pt x="128311" y="278063"/>
                          <a:pt x="131616" y="281521"/>
                          <a:pt x="134445" y="281121"/>
                        </a:cubicBezTo>
                        <a:cubicBezTo>
                          <a:pt x="140856" y="280216"/>
                          <a:pt x="140732" y="270900"/>
                          <a:pt x="133378" y="271100"/>
                        </a:cubicBezTo>
                        <a:cubicBezTo>
                          <a:pt x="131378" y="271986"/>
                          <a:pt x="129921" y="272682"/>
                          <a:pt x="129264" y="274872"/>
                        </a:cubicBezTo>
                        <a:close/>
                        <a:moveTo>
                          <a:pt x="245707" y="275120"/>
                        </a:moveTo>
                        <a:cubicBezTo>
                          <a:pt x="244897" y="277663"/>
                          <a:pt x="247307" y="280349"/>
                          <a:pt x="249898" y="279806"/>
                        </a:cubicBezTo>
                        <a:cubicBezTo>
                          <a:pt x="254108" y="278930"/>
                          <a:pt x="253774" y="272253"/>
                          <a:pt x="248831" y="272405"/>
                        </a:cubicBezTo>
                        <a:cubicBezTo>
                          <a:pt x="247440" y="273024"/>
                          <a:pt x="246183" y="273634"/>
                          <a:pt x="245707" y="275120"/>
                        </a:cubicBezTo>
                        <a:close/>
                        <a:moveTo>
                          <a:pt x="73304" y="275206"/>
                        </a:moveTo>
                        <a:cubicBezTo>
                          <a:pt x="72476" y="277644"/>
                          <a:pt x="75019" y="280035"/>
                          <a:pt x="77333" y="279397"/>
                        </a:cubicBezTo>
                        <a:cubicBezTo>
                          <a:pt x="81029" y="278387"/>
                          <a:pt x="80648" y="272720"/>
                          <a:pt x="75771" y="272901"/>
                        </a:cubicBezTo>
                        <a:cubicBezTo>
                          <a:pt x="74752" y="273501"/>
                          <a:pt x="73714" y="274015"/>
                          <a:pt x="73304" y="275206"/>
                        </a:cubicBezTo>
                        <a:close/>
                        <a:moveTo>
                          <a:pt x="164678" y="279149"/>
                        </a:moveTo>
                        <a:cubicBezTo>
                          <a:pt x="163744" y="282435"/>
                          <a:pt x="166564" y="286112"/>
                          <a:pt x="169936" y="285559"/>
                        </a:cubicBezTo>
                        <a:cubicBezTo>
                          <a:pt x="176241" y="284521"/>
                          <a:pt x="176031" y="275368"/>
                          <a:pt x="169193" y="275453"/>
                        </a:cubicBezTo>
                        <a:cubicBezTo>
                          <a:pt x="166973" y="276330"/>
                          <a:pt x="165354" y="276787"/>
                          <a:pt x="164678" y="279149"/>
                        </a:cubicBezTo>
                        <a:close/>
                        <a:moveTo>
                          <a:pt x="107823" y="279397"/>
                        </a:moveTo>
                        <a:cubicBezTo>
                          <a:pt x="106861" y="282645"/>
                          <a:pt x="109890" y="285531"/>
                          <a:pt x="113004" y="284740"/>
                        </a:cubicBezTo>
                        <a:cubicBezTo>
                          <a:pt x="117767" y="283531"/>
                          <a:pt x="117357" y="276092"/>
                          <a:pt x="111280" y="276273"/>
                        </a:cubicBezTo>
                        <a:cubicBezTo>
                          <a:pt x="109690" y="277054"/>
                          <a:pt x="108347" y="277606"/>
                          <a:pt x="107823" y="279397"/>
                        </a:cubicBezTo>
                        <a:close/>
                        <a:moveTo>
                          <a:pt x="223113" y="279397"/>
                        </a:moveTo>
                        <a:cubicBezTo>
                          <a:pt x="222275" y="282235"/>
                          <a:pt x="224647" y="285331"/>
                          <a:pt x="227714" y="284740"/>
                        </a:cubicBezTo>
                        <a:cubicBezTo>
                          <a:pt x="232810" y="283759"/>
                          <a:pt x="232496" y="276168"/>
                          <a:pt x="226323" y="276358"/>
                        </a:cubicBezTo>
                        <a:cubicBezTo>
                          <a:pt x="224914" y="277149"/>
                          <a:pt x="223609" y="277720"/>
                          <a:pt x="223113" y="279397"/>
                        </a:cubicBezTo>
                        <a:close/>
                        <a:moveTo>
                          <a:pt x="53997" y="282521"/>
                        </a:moveTo>
                        <a:cubicBezTo>
                          <a:pt x="55216" y="282559"/>
                          <a:pt x="56064" y="281883"/>
                          <a:pt x="56216" y="280873"/>
                        </a:cubicBezTo>
                        <a:cubicBezTo>
                          <a:pt x="56579" y="279768"/>
                          <a:pt x="55111" y="278692"/>
                          <a:pt x="53912" y="278740"/>
                        </a:cubicBezTo>
                        <a:cubicBezTo>
                          <a:pt x="52388" y="279854"/>
                          <a:pt x="51873" y="281578"/>
                          <a:pt x="53997" y="282521"/>
                        </a:cubicBezTo>
                        <a:close/>
                        <a:moveTo>
                          <a:pt x="283178" y="280464"/>
                        </a:moveTo>
                        <a:cubicBezTo>
                          <a:pt x="283226" y="281549"/>
                          <a:pt x="283997" y="282207"/>
                          <a:pt x="284988" y="282349"/>
                        </a:cubicBezTo>
                        <a:cubicBezTo>
                          <a:pt x="285693" y="282016"/>
                          <a:pt x="286122" y="281654"/>
                          <a:pt x="286464" y="280949"/>
                        </a:cubicBezTo>
                        <a:cubicBezTo>
                          <a:pt x="286493" y="279768"/>
                          <a:pt x="285702" y="278997"/>
                          <a:pt x="284578" y="278978"/>
                        </a:cubicBezTo>
                        <a:cubicBezTo>
                          <a:pt x="283978" y="279463"/>
                          <a:pt x="283540" y="279730"/>
                          <a:pt x="283178" y="280464"/>
                        </a:cubicBezTo>
                        <a:close/>
                        <a:moveTo>
                          <a:pt x="142827" y="283912"/>
                        </a:moveTo>
                        <a:cubicBezTo>
                          <a:pt x="141922" y="286979"/>
                          <a:pt x="145218" y="290322"/>
                          <a:pt x="148419" y="289589"/>
                        </a:cubicBezTo>
                        <a:cubicBezTo>
                          <a:pt x="153743" y="288350"/>
                          <a:pt x="153219" y="280035"/>
                          <a:pt x="146780" y="280216"/>
                        </a:cubicBezTo>
                        <a:cubicBezTo>
                          <a:pt x="144799" y="281102"/>
                          <a:pt x="143465" y="281730"/>
                          <a:pt x="142827" y="283912"/>
                        </a:cubicBezTo>
                        <a:close/>
                        <a:moveTo>
                          <a:pt x="200682" y="283750"/>
                        </a:moveTo>
                        <a:cubicBezTo>
                          <a:pt x="199768" y="286760"/>
                          <a:pt x="202511" y="290065"/>
                          <a:pt x="205769" y="289427"/>
                        </a:cubicBezTo>
                        <a:cubicBezTo>
                          <a:pt x="210921" y="288417"/>
                          <a:pt x="210550" y="280311"/>
                          <a:pt x="204454" y="280473"/>
                        </a:cubicBezTo>
                        <a:cubicBezTo>
                          <a:pt x="202654" y="281273"/>
                          <a:pt x="201282" y="281778"/>
                          <a:pt x="200682" y="283750"/>
                        </a:cubicBezTo>
                        <a:close/>
                        <a:moveTo>
                          <a:pt x="86449" y="284493"/>
                        </a:moveTo>
                        <a:cubicBezTo>
                          <a:pt x="85896" y="286807"/>
                          <a:pt x="88516" y="289027"/>
                          <a:pt x="90811" y="288265"/>
                        </a:cubicBezTo>
                        <a:cubicBezTo>
                          <a:pt x="94354" y="287093"/>
                          <a:pt x="93916" y="281511"/>
                          <a:pt x="89163" y="281692"/>
                        </a:cubicBezTo>
                        <a:cubicBezTo>
                          <a:pt x="87897" y="282340"/>
                          <a:pt x="86820" y="282959"/>
                          <a:pt x="86449" y="284493"/>
                        </a:cubicBezTo>
                        <a:close/>
                        <a:moveTo>
                          <a:pt x="260004" y="284493"/>
                        </a:moveTo>
                        <a:cubicBezTo>
                          <a:pt x="259547" y="286264"/>
                          <a:pt x="261451" y="288122"/>
                          <a:pt x="263204" y="287693"/>
                        </a:cubicBezTo>
                        <a:cubicBezTo>
                          <a:pt x="266214" y="286960"/>
                          <a:pt x="265738" y="282264"/>
                          <a:pt x="261976" y="282435"/>
                        </a:cubicBezTo>
                        <a:cubicBezTo>
                          <a:pt x="261166" y="282921"/>
                          <a:pt x="260270" y="283483"/>
                          <a:pt x="260004" y="284493"/>
                        </a:cubicBezTo>
                        <a:close/>
                        <a:moveTo>
                          <a:pt x="178489" y="288188"/>
                        </a:moveTo>
                        <a:cubicBezTo>
                          <a:pt x="177565" y="291208"/>
                          <a:pt x="180318" y="294484"/>
                          <a:pt x="183585" y="293856"/>
                        </a:cubicBezTo>
                        <a:cubicBezTo>
                          <a:pt x="188843" y="292846"/>
                          <a:pt x="188547" y="284702"/>
                          <a:pt x="182185" y="284893"/>
                        </a:cubicBezTo>
                        <a:cubicBezTo>
                          <a:pt x="180432" y="285693"/>
                          <a:pt x="179079" y="286264"/>
                          <a:pt x="178489" y="288188"/>
                        </a:cubicBezTo>
                        <a:close/>
                        <a:moveTo>
                          <a:pt x="121291" y="288265"/>
                        </a:moveTo>
                        <a:cubicBezTo>
                          <a:pt x="120501" y="290951"/>
                          <a:pt x="122901" y="294122"/>
                          <a:pt x="125816" y="293522"/>
                        </a:cubicBezTo>
                        <a:cubicBezTo>
                          <a:pt x="130692" y="292522"/>
                          <a:pt x="130540" y="285131"/>
                          <a:pt x="124749" y="285312"/>
                        </a:cubicBezTo>
                        <a:cubicBezTo>
                          <a:pt x="123111" y="285998"/>
                          <a:pt x="121815" y="286521"/>
                          <a:pt x="121291" y="288265"/>
                        </a:cubicBezTo>
                        <a:close/>
                        <a:moveTo>
                          <a:pt x="237249" y="288598"/>
                        </a:moveTo>
                        <a:cubicBezTo>
                          <a:pt x="236515" y="290932"/>
                          <a:pt x="238792" y="293227"/>
                          <a:pt x="241192" y="292713"/>
                        </a:cubicBezTo>
                        <a:cubicBezTo>
                          <a:pt x="244973" y="291884"/>
                          <a:pt x="244412" y="285978"/>
                          <a:pt x="239878" y="286141"/>
                        </a:cubicBezTo>
                        <a:cubicBezTo>
                          <a:pt x="238725" y="286779"/>
                          <a:pt x="237668" y="287255"/>
                          <a:pt x="237249" y="288598"/>
                        </a:cubicBezTo>
                        <a:close/>
                        <a:moveTo>
                          <a:pt x="65494" y="289169"/>
                        </a:moveTo>
                        <a:cubicBezTo>
                          <a:pt x="65189" y="290408"/>
                          <a:pt x="66713" y="291855"/>
                          <a:pt x="67875" y="291636"/>
                        </a:cubicBezTo>
                        <a:cubicBezTo>
                          <a:pt x="70333" y="291160"/>
                          <a:pt x="70237" y="287360"/>
                          <a:pt x="67380" y="287360"/>
                        </a:cubicBezTo>
                        <a:cubicBezTo>
                          <a:pt x="66580" y="287769"/>
                          <a:pt x="65732" y="288226"/>
                          <a:pt x="65494" y="289169"/>
                        </a:cubicBezTo>
                        <a:close/>
                        <a:moveTo>
                          <a:pt x="156543" y="292713"/>
                        </a:moveTo>
                        <a:cubicBezTo>
                          <a:pt x="155648" y="295751"/>
                          <a:pt x="158439" y="298713"/>
                          <a:pt x="161563" y="298056"/>
                        </a:cubicBezTo>
                        <a:cubicBezTo>
                          <a:pt x="166259" y="297066"/>
                          <a:pt x="165802" y="289608"/>
                          <a:pt x="160572" y="289512"/>
                        </a:cubicBezTo>
                        <a:cubicBezTo>
                          <a:pt x="158639" y="290255"/>
                          <a:pt x="157143" y="290684"/>
                          <a:pt x="156543" y="292713"/>
                        </a:cubicBezTo>
                        <a:close/>
                        <a:moveTo>
                          <a:pt x="214731" y="292865"/>
                        </a:moveTo>
                        <a:cubicBezTo>
                          <a:pt x="213874" y="295589"/>
                          <a:pt x="216608" y="298199"/>
                          <a:pt x="219246" y="297466"/>
                        </a:cubicBezTo>
                        <a:cubicBezTo>
                          <a:pt x="223313" y="296351"/>
                          <a:pt x="222752" y="289970"/>
                          <a:pt x="217522" y="290150"/>
                        </a:cubicBezTo>
                        <a:cubicBezTo>
                          <a:pt x="216332" y="290874"/>
                          <a:pt x="215179" y="291436"/>
                          <a:pt x="214731" y="292865"/>
                        </a:cubicBezTo>
                        <a:close/>
                        <a:moveTo>
                          <a:pt x="99851" y="293122"/>
                        </a:moveTo>
                        <a:cubicBezTo>
                          <a:pt x="99241" y="295323"/>
                          <a:pt x="101403" y="297675"/>
                          <a:pt x="103794" y="297142"/>
                        </a:cubicBezTo>
                        <a:cubicBezTo>
                          <a:pt x="107528" y="296332"/>
                          <a:pt x="107032" y="290417"/>
                          <a:pt x="102641" y="290570"/>
                        </a:cubicBezTo>
                        <a:cubicBezTo>
                          <a:pt x="101432" y="291160"/>
                          <a:pt x="100222" y="291741"/>
                          <a:pt x="99851" y="293122"/>
                        </a:cubicBezTo>
                        <a:close/>
                        <a:moveTo>
                          <a:pt x="274720" y="294018"/>
                        </a:moveTo>
                        <a:cubicBezTo>
                          <a:pt x="274958" y="294532"/>
                          <a:pt x="275158" y="294875"/>
                          <a:pt x="275711" y="295084"/>
                        </a:cubicBezTo>
                        <a:cubicBezTo>
                          <a:pt x="275901" y="295113"/>
                          <a:pt x="276092" y="295142"/>
                          <a:pt x="276292" y="295161"/>
                        </a:cubicBezTo>
                        <a:cubicBezTo>
                          <a:pt x="276644" y="294865"/>
                          <a:pt x="276920" y="294732"/>
                          <a:pt x="277111" y="294256"/>
                        </a:cubicBezTo>
                        <a:cubicBezTo>
                          <a:pt x="277416" y="293551"/>
                          <a:pt x="276749" y="293094"/>
                          <a:pt x="276368" y="292779"/>
                        </a:cubicBezTo>
                        <a:cubicBezTo>
                          <a:pt x="276177" y="292751"/>
                          <a:pt x="275987" y="292732"/>
                          <a:pt x="275787" y="292703"/>
                        </a:cubicBezTo>
                        <a:cubicBezTo>
                          <a:pt x="275244" y="293075"/>
                          <a:pt x="274853" y="293246"/>
                          <a:pt x="274720" y="294018"/>
                        </a:cubicBezTo>
                        <a:close/>
                        <a:moveTo>
                          <a:pt x="192453" y="297228"/>
                        </a:moveTo>
                        <a:cubicBezTo>
                          <a:pt x="191595" y="299961"/>
                          <a:pt x="194138" y="302666"/>
                          <a:pt x="196891" y="302076"/>
                        </a:cubicBezTo>
                        <a:cubicBezTo>
                          <a:pt x="201178" y="301161"/>
                          <a:pt x="200873" y="294503"/>
                          <a:pt x="195824" y="294437"/>
                        </a:cubicBezTo>
                        <a:cubicBezTo>
                          <a:pt x="194243" y="295123"/>
                          <a:pt x="192995" y="295532"/>
                          <a:pt x="192453" y="297228"/>
                        </a:cubicBezTo>
                        <a:close/>
                        <a:moveTo>
                          <a:pt x="134855" y="297304"/>
                        </a:moveTo>
                        <a:cubicBezTo>
                          <a:pt x="134074" y="299799"/>
                          <a:pt x="136436" y="302485"/>
                          <a:pt x="138884" y="302076"/>
                        </a:cubicBezTo>
                        <a:cubicBezTo>
                          <a:pt x="143551" y="301285"/>
                          <a:pt x="143437" y="294332"/>
                          <a:pt x="137893" y="294513"/>
                        </a:cubicBezTo>
                        <a:cubicBezTo>
                          <a:pt x="136550" y="295180"/>
                          <a:pt x="135331" y="295799"/>
                          <a:pt x="134855" y="297304"/>
                        </a:cubicBezTo>
                        <a:close/>
                        <a:moveTo>
                          <a:pt x="78886" y="297561"/>
                        </a:moveTo>
                        <a:cubicBezTo>
                          <a:pt x="78219" y="298971"/>
                          <a:pt x="79772" y="301000"/>
                          <a:pt x="81439" y="300514"/>
                        </a:cubicBezTo>
                        <a:cubicBezTo>
                          <a:pt x="83725" y="299856"/>
                          <a:pt x="83477" y="296075"/>
                          <a:pt x="80620" y="296161"/>
                        </a:cubicBezTo>
                        <a:cubicBezTo>
                          <a:pt x="80000" y="296513"/>
                          <a:pt x="79200" y="296904"/>
                          <a:pt x="78886" y="297561"/>
                        </a:cubicBezTo>
                        <a:close/>
                        <a:moveTo>
                          <a:pt x="251622" y="297799"/>
                        </a:moveTo>
                        <a:cubicBezTo>
                          <a:pt x="251107" y="299209"/>
                          <a:pt x="252651" y="301000"/>
                          <a:pt x="254251" y="300590"/>
                        </a:cubicBezTo>
                        <a:cubicBezTo>
                          <a:pt x="256708" y="299971"/>
                          <a:pt x="256356" y="296027"/>
                          <a:pt x="253346" y="296161"/>
                        </a:cubicBezTo>
                        <a:cubicBezTo>
                          <a:pt x="252679" y="296551"/>
                          <a:pt x="251908" y="297037"/>
                          <a:pt x="251622" y="297799"/>
                        </a:cubicBezTo>
                        <a:close/>
                        <a:moveTo>
                          <a:pt x="170354" y="301828"/>
                        </a:moveTo>
                        <a:cubicBezTo>
                          <a:pt x="169659" y="304305"/>
                          <a:pt x="172060" y="307048"/>
                          <a:pt x="174717" y="306429"/>
                        </a:cubicBezTo>
                        <a:cubicBezTo>
                          <a:pt x="178803" y="305476"/>
                          <a:pt x="178536" y="298942"/>
                          <a:pt x="173726" y="298952"/>
                        </a:cubicBezTo>
                        <a:cubicBezTo>
                          <a:pt x="172117" y="299580"/>
                          <a:pt x="170840" y="300123"/>
                          <a:pt x="170354" y="301828"/>
                        </a:cubicBezTo>
                        <a:close/>
                        <a:moveTo>
                          <a:pt x="113328" y="302162"/>
                        </a:moveTo>
                        <a:cubicBezTo>
                          <a:pt x="112795" y="304305"/>
                          <a:pt x="114900" y="306238"/>
                          <a:pt x="117024" y="305771"/>
                        </a:cubicBezTo>
                        <a:cubicBezTo>
                          <a:pt x="120482" y="305000"/>
                          <a:pt x="120148" y="299647"/>
                          <a:pt x="116205" y="299609"/>
                        </a:cubicBezTo>
                        <a:cubicBezTo>
                          <a:pt x="114833" y="300209"/>
                          <a:pt x="113700" y="300618"/>
                          <a:pt x="113328" y="302162"/>
                        </a:cubicBezTo>
                        <a:close/>
                        <a:moveTo>
                          <a:pt x="228943" y="301914"/>
                        </a:moveTo>
                        <a:cubicBezTo>
                          <a:pt x="228171" y="303876"/>
                          <a:pt x="230200" y="305981"/>
                          <a:pt x="232143" y="305533"/>
                        </a:cubicBezTo>
                        <a:cubicBezTo>
                          <a:pt x="235343" y="304790"/>
                          <a:pt x="234820" y="299866"/>
                          <a:pt x="230991" y="300028"/>
                        </a:cubicBezTo>
                        <a:cubicBezTo>
                          <a:pt x="230153" y="300514"/>
                          <a:pt x="229314" y="300961"/>
                          <a:pt x="228943" y="301914"/>
                        </a:cubicBezTo>
                        <a:close/>
                        <a:moveTo>
                          <a:pt x="148580" y="306267"/>
                        </a:moveTo>
                        <a:cubicBezTo>
                          <a:pt x="147904" y="308534"/>
                          <a:pt x="150038" y="311020"/>
                          <a:pt x="152362" y="310544"/>
                        </a:cubicBezTo>
                        <a:cubicBezTo>
                          <a:pt x="156334" y="309734"/>
                          <a:pt x="156038" y="303628"/>
                          <a:pt x="151209" y="303809"/>
                        </a:cubicBezTo>
                        <a:cubicBezTo>
                          <a:pt x="150009" y="304400"/>
                          <a:pt x="148980" y="304905"/>
                          <a:pt x="148580" y="306267"/>
                        </a:cubicBezTo>
                        <a:close/>
                        <a:moveTo>
                          <a:pt x="206512" y="306429"/>
                        </a:moveTo>
                        <a:cubicBezTo>
                          <a:pt x="205959" y="308572"/>
                          <a:pt x="207921" y="310572"/>
                          <a:pt x="209874" y="310210"/>
                        </a:cubicBezTo>
                        <a:cubicBezTo>
                          <a:pt x="213446" y="309534"/>
                          <a:pt x="213131" y="304162"/>
                          <a:pt x="209131" y="304133"/>
                        </a:cubicBezTo>
                        <a:cubicBezTo>
                          <a:pt x="207959" y="304648"/>
                          <a:pt x="206854" y="305114"/>
                          <a:pt x="206512" y="306429"/>
                        </a:cubicBezTo>
                        <a:close/>
                        <a:moveTo>
                          <a:pt x="92126" y="306838"/>
                        </a:moveTo>
                        <a:cubicBezTo>
                          <a:pt x="91802" y="308124"/>
                          <a:pt x="93307" y="309620"/>
                          <a:pt x="94507" y="309391"/>
                        </a:cubicBezTo>
                        <a:cubicBezTo>
                          <a:pt x="96964" y="308915"/>
                          <a:pt x="96793" y="305019"/>
                          <a:pt x="93850" y="305114"/>
                        </a:cubicBezTo>
                        <a:cubicBezTo>
                          <a:pt x="93154" y="305524"/>
                          <a:pt x="92345" y="305981"/>
                          <a:pt x="92126" y="306838"/>
                        </a:cubicBezTo>
                        <a:close/>
                        <a:moveTo>
                          <a:pt x="184404" y="310620"/>
                        </a:moveTo>
                        <a:cubicBezTo>
                          <a:pt x="183594" y="312782"/>
                          <a:pt x="185652" y="315030"/>
                          <a:pt x="187690" y="314649"/>
                        </a:cubicBezTo>
                        <a:cubicBezTo>
                          <a:pt x="191252" y="313973"/>
                          <a:pt x="191024" y="308467"/>
                          <a:pt x="186947" y="308562"/>
                        </a:cubicBezTo>
                        <a:cubicBezTo>
                          <a:pt x="185842" y="309048"/>
                          <a:pt x="184833" y="309486"/>
                          <a:pt x="184404" y="310620"/>
                        </a:cubicBezTo>
                        <a:close/>
                        <a:moveTo>
                          <a:pt x="127044" y="310620"/>
                        </a:moveTo>
                        <a:cubicBezTo>
                          <a:pt x="126168" y="312496"/>
                          <a:pt x="128187" y="314858"/>
                          <a:pt x="130245" y="314401"/>
                        </a:cubicBezTo>
                        <a:cubicBezTo>
                          <a:pt x="133378" y="313706"/>
                          <a:pt x="132959" y="308715"/>
                          <a:pt x="129254" y="308810"/>
                        </a:cubicBezTo>
                        <a:cubicBezTo>
                          <a:pt x="128330" y="309267"/>
                          <a:pt x="127483" y="309686"/>
                          <a:pt x="127044" y="310620"/>
                        </a:cubicBezTo>
                        <a:close/>
                        <a:moveTo>
                          <a:pt x="243326" y="311525"/>
                        </a:moveTo>
                        <a:cubicBezTo>
                          <a:pt x="243392" y="312439"/>
                          <a:pt x="243973" y="312925"/>
                          <a:pt x="244640" y="313249"/>
                        </a:cubicBezTo>
                        <a:cubicBezTo>
                          <a:pt x="245754" y="313249"/>
                          <a:pt x="246183" y="312677"/>
                          <a:pt x="246526" y="311934"/>
                        </a:cubicBezTo>
                        <a:cubicBezTo>
                          <a:pt x="246526" y="310772"/>
                          <a:pt x="245773" y="310086"/>
                          <a:pt x="244554" y="310134"/>
                        </a:cubicBezTo>
                        <a:cubicBezTo>
                          <a:pt x="244030" y="310563"/>
                          <a:pt x="243630" y="310839"/>
                          <a:pt x="243326" y="311525"/>
                        </a:cubicBezTo>
                        <a:close/>
                        <a:moveTo>
                          <a:pt x="162553" y="314982"/>
                        </a:moveTo>
                        <a:cubicBezTo>
                          <a:pt x="161677" y="316935"/>
                          <a:pt x="163535" y="319288"/>
                          <a:pt x="165506" y="318925"/>
                        </a:cubicBezTo>
                        <a:cubicBezTo>
                          <a:pt x="168840" y="318325"/>
                          <a:pt x="168640" y="313087"/>
                          <a:pt x="164601" y="313258"/>
                        </a:cubicBezTo>
                        <a:cubicBezTo>
                          <a:pt x="163773" y="313715"/>
                          <a:pt x="162944" y="314096"/>
                          <a:pt x="162553" y="314982"/>
                        </a:cubicBezTo>
                        <a:close/>
                        <a:moveTo>
                          <a:pt x="220723" y="315554"/>
                        </a:moveTo>
                        <a:cubicBezTo>
                          <a:pt x="220275" y="316963"/>
                          <a:pt x="221828" y="318478"/>
                          <a:pt x="223113" y="318183"/>
                        </a:cubicBezTo>
                        <a:cubicBezTo>
                          <a:pt x="225695" y="317583"/>
                          <a:pt x="225047" y="314582"/>
                          <a:pt x="222618" y="313992"/>
                        </a:cubicBezTo>
                        <a:cubicBezTo>
                          <a:pt x="221856" y="314354"/>
                          <a:pt x="220989" y="314725"/>
                          <a:pt x="220723" y="315554"/>
                        </a:cubicBezTo>
                        <a:close/>
                        <a:moveTo>
                          <a:pt x="105603" y="315963"/>
                        </a:moveTo>
                        <a:cubicBezTo>
                          <a:pt x="105642" y="317906"/>
                          <a:pt x="107890" y="318602"/>
                          <a:pt x="108975" y="317201"/>
                        </a:cubicBezTo>
                        <a:cubicBezTo>
                          <a:pt x="109976" y="315906"/>
                          <a:pt x="108871" y="314211"/>
                          <a:pt x="107251" y="314239"/>
                        </a:cubicBezTo>
                        <a:cubicBezTo>
                          <a:pt x="106423" y="314773"/>
                          <a:pt x="106089" y="315087"/>
                          <a:pt x="105603" y="315963"/>
                        </a:cubicBezTo>
                        <a:close/>
                        <a:moveTo>
                          <a:pt x="140770" y="319830"/>
                        </a:moveTo>
                        <a:cubicBezTo>
                          <a:pt x="140151" y="321402"/>
                          <a:pt x="141751" y="323202"/>
                          <a:pt x="143323" y="322869"/>
                        </a:cubicBezTo>
                        <a:cubicBezTo>
                          <a:pt x="146009" y="322297"/>
                          <a:pt x="145809" y="318059"/>
                          <a:pt x="142580" y="318183"/>
                        </a:cubicBezTo>
                        <a:cubicBezTo>
                          <a:pt x="141856" y="318602"/>
                          <a:pt x="141094" y="319011"/>
                          <a:pt x="140770" y="319830"/>
                        </a:cubicBezTo>
                        <a:close/>
                        <a:moveTo>
                          <a:pt x="200015" y="322697"/>
                        </a:moveTo>
                        <a:cubicBezTo>
                          <a:pt x="201587" y="323326"/>
                          <a:pt x="203216" y="321450"/>
                          <a:pt x="202730" y="319907"/>
                        </a:cubicBezTo>
                        <a:cubicBezTo>
                          <a:pt x="202349" y="318906"/>
                          <a:pt x="201578" y="318297"/>
                          <a:pt x="200101" y="318345"/>
                        </a:cubicBezTo>
                        <a:cubicBezTo>
                          <a:pt x="198377" y="319354"/>
                          <a:pt x="197701" y="321774"/>
                          <a:pt x="200015" y="322697"/>
                        </a:cubicBezTo>
                        <a:close/>
                        <a:moveTo>
                          <a:pt x="177994" y="327050"/>
                        </a:moveTo>
                        <a:cubicBezTo>
                          <a:pt x="181223" y="327193"/>
                          <a:pt x="181194" y="322783"/>
                          <a:pt x="178070" y="322859"/>
                        </a:cubicBezTo>
                        <a:cubicBezTo>
                          <a:pt x="176165" y="324040"/>
                          <a:pt x="175470" y="325917"/>
                          <a:pt x="177994" y="327050"/>
                        </a:cubicBezTo>
                        <a:close/>
                        <a:moveTo>
                          <a:pt x="119329" y="324841"/>
                        </a:moveTo>
                        <a:cubicBezTo>
                          <a:pt x="119396" y="325764"/>
                          <a:pt x="119958" y="326174"/>
                          <a:pt x="120644" y="326479"/>
                        </a:cubicBezTo>
                        <a:cubicBezTo>
                          <a:pt x="121501" y="326460"/>
                          <a:pt x="121977" y="325955"/>
                          <a:pt x="122206" y="325326"/>
                        </a:cubicBezTo>
                        <a:cubicBezTo>
                          <a:pt x="122234" y="325107"/>
                          <a:pt x="122263" y="324888"/>
                          <a:pt x="122282" y="324669"/>
                        </a:cubicBezTo>
                        <a:cubicBezTo>
                          <a:pt x="121806" y="324107"/>
                          <a:pt x="121586" y="323564"/>
                          <a:pt x="120558" y="323526"/>
                        </a:cubicBezTo>
                        <a:cubicBezTo>
                          <a:pt x="119986" y="323917"/>
                          <a:pt x="119615" y="324155"/>
                          <a:pt x="119329" y="324841"/>
                        </a:cubicBezTo>
                        <a:close/>
                        <a:moveTo>
                          <a:pt x="154581" y="329270"/>
                        </a:moveTo>
                        <a:cubicBezTo>
                          <a:pt x="154648" y="330346"/>
                          <a:pt x="155457" y="331098"/>
                          <a:pt x="156638" y="331079"/>
                        </a:cubicBezTo>
                        <a:cubicBezTo>
                          <a:pt x="157172" y="330613"/>
                          <a:pt x="157619" y="330356"/>
                          <a:pt x="157953" y="329689"/>
                        </a:cubicBezTo>
                        <a:cubicBezTo>
                          <a:pt x="157953" y="328489"/>
                          <a:pt x="157143" y="327679"/>
                          <a:pt x="155895" y="327717"/>
                        </a:cubicBezTo>
                        <a:cubicBezTo>
                          <a:pt x="155257" y="328212"/>
                          <a:pt x="154886" y="328431"/>
                          <a:pt x="154581" y="329270"/>
                        </a:cubicBezTo>
                        <a:close/>
                        <a:moveTo>
                          <a:pt x="213084" y="329193"/>
                        </a:moveTo>
                        <a:cubicBezTo>
                          <a:pt x="213065" y="329355"/>
                          <a:pt x="213027" y="329517"/>
                          <a:pt x="213007" y="329689"/>
                        </a:cubicBezTo>
                        <a:cubicBezTo>
                          <a:pt x="213169" y="329879"/>
                          <a:pt x="213331" y="330070"/>
                          <a:pt x="213503" y="330260"/>
                        </a:cubicBezTo>
                        <a:cubicBezTo>
                          <a:pt x="213722" y="330289"/>
                          <a:pt x="213941" y="330317"/>
                          <a:pt x="214160" y="330337"/>
                        </a:cubicBezTo>
                        <a:cubicBezTo>
                          <a:pt x="214217" y="330308"/>
                          <a:pt x="214274" y="330279"/>
                          <a:pt x="214322" y="330260"/>
                        </a:cubicBezTo>
                        <a:cubicBezTo>
                          <a:pt x="214627" y="329879"/>
                          <a:pt x="214808" y="329841"/>
                          <a:pt x="214817" y="329108"/>
                        </a:cubicBezTo>
                        <a:cubicBezTo>
                          <a:pt x="214503" y="328765"/>
                          <a:pt x="214341" y="328527"/>
                          <a:pt x="213750" y="328450"/>
                        </a:cubicBezTo>
                        <a:cubicBezTo>
                          <a:pt x="213455" y="328708"/>
                          <a:pt x="213255" y="328793"/>
                          <a:pt x="213084" y="329193"/>
                        </a:cubicBezTo>
                        <a:close/>
                        <a:moveTo>
                          <a:pt x="190814" y="333632"/>
                        </a:moveTo>
                        <a:cubicBezTo>
                          <a:pt x="190814" y="333823"/>
                          <a:pt x="190814" y="334013"/>
                          <a:pt x="190814" y="334204"/>
                        </a:cubicBezTo>
                        <a:cubicBezTo>
                          <a:pt x="191110" y="334480"/>
                          <a:pt x="191148" y="334661"/>
                          <a:pt x="191633" y="334785"/>
                        </a:cubicBezTo>
                        <a:cubicBezTo>
                          <a:pt x="192643" y="335185"/>
                          <a:pt x="193176" y="333070"/>
                          <a:pt x="191633" y="332889"/>
                        </a:cubicBezTo>
                        <a:cubicBezTo>
                          <a:pt x="191281" y="333146"/>
                          <a:pt x="191052" y="333261"/>
                          <a:pt x="190814" y="333632"/>
                        </a:cubicBezTo>
                        <a:close/>
                        <a:moveTo>
                          <a:pt x="133702" y="334204"/>
                        </a:moveTo>
                        <a:cubicBezTo>
                          <a:pt x="133702" y="334261"/>
                          <a:pt x="133702" y="334318"/>
                          <a:pt x="133702" y="334366"/>
                        </a:cubicBezTo>
                        <a:cubicBezTo>
                          <a:pt x="133950" y="334366"/>
                          <a:pt x="134198" y="334366"/>
                          <a:pt x="134445" y="334366"/>
                        </a:cubicBezTo>
                        <a:cubicBezTo>
                          <a:pt x="134474" y="334070"/>
                          <a:pt x="134503" y="333766"/>
                          <a:pt x="134521" y="333461"/>
                        </a:cubicBezTo>
                        <a:cubicBezTo>
                          <a:pt x="134245" y="333432"/>
                          <a:pt x="133969" y="333413"/>
                          <a:pt x="133702" y="333375"/>
                        </a:cubicBezTo>
                        <a:cubicBezTo>
                          <a:pt x="133702" y="333651"/>
                          <a:pt x="133702" y="333927"/>
                          <a:pt x="133702" y="334204"/>
                        </a:cubicBezTo>
                        <a:close/>
                      </a:path>
                    </a:pathLst>
                  </a:custGeom>
                  <a:solidFill>
                    <a:srgbClr val="62A844"/>
                  </a:solidFill>
                  <a:ln w="9525" cap="flat">
                    <a:noFill/>
                    <a:prstDash val="solid"/>
                    <a:miter/>
                  </a:ln>
                </p:spPr>
                <p:txBody>
                  <a:bodyPr rtlCol="0" anchor="ctr"/>
                  <a:lstStyle/>
                  <a:p>
                    <a:endParaRPr lang="en-US"/>
                  </a:p>
                </p:txBody>
              </p:sp>
              <p:sp>
                <p:nvSpPr>
                  <p:cNvPr id="1154" name="Freeform: Shape 774">
                    <a:extLst>
                      <a:ext uri="{FF2B5EF4-FFF2-40B4-BE49-F238E27FC236}">
                        <a16:creationId xmlns:a16="http://schemas.microsoft.com/office/drawing/2014/main" id="{370B4047-9BD5-03DA-E0C4-2882BE69E422}"/>
                      </a:ext>
                    </a:extLst>
                  </p:cNvPr>
                  <p:cNvSpPr/>
                  <p:nvPr/>
                </p:nvSpPr>
                <p:spPr>
                  <a:xfrm>
                    <a:off x="-7051057" y="-828085"/>
                    <a:ext cx="334946" cy="334834"/>
                  </a:xfrm>
                  <a:custGeom>
                    <a:avLst/>
                    <a:gdLst>
                      <a:gd name="connsiteX0" fmla="*/ 181527 w 334946"/>
                      <a:gd name="connsiteY0" fmla="*/ 1648 h 334834"/>
                      <a:gd name="connsiteX1" fmla="*/ 182756 w 334946"/>
                      <a:gd name="connsiteY1" fmla="*/ 2715 h 334834"/>
                      <a:gd name="connsiteX2" fmla="*/ 182680 w 334946"/>
                      <a:gd name="connsiteY2" fmla="*/ 0 h 334834"/>
                      <a:gd name="connsiteX3" fmla="*/ 181527 w 334946"/>
                      <a:gd name="connsiteY3" fmla="*/ 1648 h 334834"/>
                      <a:gd name="connsiteX4" fmla="*/ 158848 w 334946"/>
                      <a:gd name="connsiteY4" fmla="*/ 6248 h 334834"/>
                      <a:gd name="connsiteX5" fmla="*/ 162458 w 334946"/>
                      <a:gd name="connsiteY5" fmla="*/ 6334 h 334834"/>
                      <a:gd name="connsiteX6" fmla="*/ 162544 w 334946"/>
                      <a:gd name="connsiteY6" fmla="*/ 5267 h 334834"/>
                      <a:gd name="connsiteX7" fmla="*/ 160410 w 334946"/>
                      <a:gd name="connsiteY7" fmla="*/ 3953 h 334834"/>
                      <a:gd name="connsiteX8" fmla="*/ 158848 w 334946"/>
                      <a:gd name="connsiteY8" fmla="*/ 6248 h 334834"/>
                      <a:gd name="connsiteX9" fmla="*/ 217360 w 334946"/>
                      <a:gd name="connsiteY9" fmla="*/ 5591 h 334834"/>
                      <a:gd name="connsiteX10" fmla="*/ 217942 w 334946"/>
                      <a:gd name="connsiteY10" fmla="*/ 6744 h 334834"/>
                      <a:gd name="connsiteX11" fmla="*/ 218599 w 334946"/>
                      <a:gd name="connsiteY11" fmla="*/ 6744 h 334834"/>
                      <a:gd name="connsiteX12" fmla="*/ 219342 w 334946"/>
                      <a:gd name="connsiteY12" fmla="*/ 6001 h 334834"/>
                      <a:gd name="connsiteX13" fmla="*/ 219342 w 334946"/>
                      <a:gd name="connsiteY13" fmla="*/ 5753 h 334834"/>
                      <a:gd name="connsiteX14" fmla="*/ 218599 w 334946"/>
                      <a:gd name="connsiteY14" fmla="*/ 4934 h 334834"/>
                      <a:gd name="connsiteX15" fmla="*/ 218027 w 334946"/>
                      <a:gd name="connsiteY15" fmla="*/ 4848 h 334834"/>
                      <a:gd name="connsiteX16" fmla="*/ 217360 w 334946"/>
                      <a:gd name="connsiteY16" fmla="*/ 5591 h 334834"/>
                      <a:gd name="connsiteX17" fmla="*/ 136579 w 334946"/>
                      <a:gd name="connsiteY17" fmla="*/ 10116 h 334834"/>
                      <a:gd name="connsiteX18" fmla="*/ 140275 w 334946"/>
                      <a:gd name="connsiteY18" fmla="*/ 11268 h 334834"/>
                      <a:gd name="connsiteX19" fmla="*/ 138303 w 334946"/>
                      <a:gd name="connsiteY19" fmla="*/ 8230 h 334834"/>
                      <a:gd name="connsiteX20" fmla="*/ 136579 w 334946"/>
                      <a:gd name="connsiteY20" fmla="*/ 10116 h 334834"/>
                      <a:gd name="connsiteX21" fmla="*/ 194101 w 334946"/>
                      <a:gd name="connsiteY21" fmla="*/ 9868 h 334834"/>
                      <a:gd name="connsiteX22" fmla="*/ 195825 w 334946"/>
                      <a:gd name="connsiteY22" fmla="*/ 12335 h 334834"/>
                      <a:gd name="connsiteX23" fmla="*/ 195663 w 334946"/>
                      <a:gd name="connsiteY23" fmla="*/ 8230 h 334834"/>
                      <a:gd name="connsiteX24" fmla="*/ 194101 w 334946"/>
                      <a:gd name="connsiteY24" fmla="*/ 9868 h 334834"/>
                      <a:gd name="connsiteX25" fmla="*/ 171583 w 334946"/>
                      <a:gd name="connsiteY25" fmla="*/ 13811 h 334834"/>
                      <a:gd name="connsiteX26" fmla="*/ 174374 w 334946"/>
                      <a:gd name="connsiteY26" fmla="*/ 17345 h 334834"/>
                      <a:gd name="connsiteX27" fmla="*/ 173555 w 334946"/>
                      <a:gd name="connsiteY27" fmla="*/ 12173 h 334834"/>
                      <a:gd name="connsiteX28" fmla="*/ 171583 w 334946"/>
                      <a:gd name="connsiteY28" fmla="*/ 13811 h 334834"/>
                      <a:gd name="connsiteX29" fmla="*/ 114471 w 334946"/>
                      <a:gd name="connsiteY29" fmla="*/ 14307 h 334834"/>
                      <a:gd name="connsiteX30" fmla="*/ 116853 w 334946"/>
                      <a:gd name="connsiteY30" fmla="*/ 16526 h 334834"/>
                      <a:gd name="connsiteX31" fmla="*/ 118339 w 334946"/>
                      <a:gd name="connsiteY31" fmla="*/ 14554 h 334834"/>
                      <a:gd name="connsiteX32" fmla="*/ 116119 w 334946"/>
                      <a:gd name="connsiteY32" fmla="*/ 12744 h 334834"/>
                      <a:gd name="connsiteX33" fmla="*/ 114471 w 334946"/>
                      <a:gd name="connsiteY33" fmla="*/ 14307 h 334834"/>
                      <a:gd name="connsiteX34" fmla="*/ 230181 w 334946"/>
                      <a:gd name="connsiteY34" fmla="*/ 14468 h 334834"/>
                      <a:gd name="connsiteX35" fmla="*/ 233134 w 334946"/>
                      <a:gd name="connsiteY35" fmla="*/ 14554 h 334834"/>
                      <a:gd name="connsiteX36" fmla="*/ 231496 w 334946"/>
                      <a:gd name="connsiteY36" fmla="*/ 13163 h 334834"/>
                      <a:gd name="connsiteX37" fmla="*/ 230181 w 334946"/>
                      <a:gd name="connsiteY37" fmla="*/ 14468 h 334834"/>
                      <a:gd name="connsiteX38" fmla="*/ 149399 w 334946"/>
                      <a:gd name="connsiteY38" fmla="*/ 17669 h 334834"/>
                      <a:gd name="connsiteX39" fmla="*/ 152524 w 334946"/>
                      <a:gd name="connsiteY39" fmla="*/ 22031 h 334834"/>
                      <a:gd name="connsiteX40" fmla="*/ 151457 w 334946"/>
                      <a:gd name="connsiteY40" fmla="*/ 16278 h 334834"/>
                      <a:gd name="connsiteX41" fmla="*/ 149399 w 334946"/>
                      <a:gd name="connsiteY41" fmla="*/ 17669 h 334834"/>
                      <a:gd name="connsiteX42" fmla="*/ 207092 w 334946"/>
                      <a:gd name="connsiteY42" fmla="*/ 18326 h 334834"/>
                      <a:gd name="connsiteX43" fmla="*/ 209969 w 334946"/>
                      <a:gd name="connsiteY43" fmla="*/ 21612 h 334834"/>
                      <a:gd name="connsiteX44" fmla="*/ 208902 w 334946"/>
                      <a:gd name="connsiteY44" fmla="*/ 16678 h 334834"/>
                      <a:gd name="connsiteX45" fmla="*/ 207092 w 334946"/>
                      <a:gd name="connsiteY45" fmla="*/ 18326 h 334834"/>
                      <a:gd name="connsiteX46" fmla="*/ 92783 w 334946"/>
                      <a:gd name="connsiteY46" fmla="*/ 18821 h 334834"/>
                      <a:gd name="connsiteX47" fmla="*/ 95659 w 334946"/>
                      <a:gd name="connsiteY47" fmla="*/ 18736 h 334834"/>
                      <a:gd name="connsiteX48" fmla="*/ 94840 w 334946"/>
                      <a:gd name="connsiteY48" fmla="*/ 17745 h 334834"/>
                      <a:gd name="connsiteX49" fmla="*/ 94021 w 334946"/>
                      <a:gd name="connsiteY49" fmla="*/ 17583 h 334834"/>
                      <a:gd name="connsiteX50" fmla="*/ 92783 w 334946"/>
                      <a:gd name="connsiteY50" fmla="*/ 18821 h 334834"/>
                      <a:gd name="connsiteX51" fmla="*/ 184156 w 334946"/>
                      <a:gd name="connsiteY51" fmla="*/ 23012 h 334834"/>
                      <a:gd name="connsiteX52" fmla="*/ 188176 w 334946"/>
                      <a:gd name="connsiteY52" fmla="*/ 26708 h 334834"/>
                      <a:gd name="connsiteX53" fmla="*/ 186614 w 334946"/>
                      <a:gd name="connsiteY53" fmla="*/ 20460 h 334834"/>
                      <a:gd name="connsiteX54" fmla="*/ 184156 w 334946"/>
                      <a:gd name="connsiteY54" fmla="*/ 23012 h 334834"/>
                      <a:gd name="connsiteX55" fmla="*/ 130331 w 334946"/>
                      <a:gd name="connsiteY55" fmla="*/ 26460 h 334834"/>
                      <a:gd name="connsiteX56" fmla="*/ 129264 w 334946"/>
                      <a:gd name="connsiteY56" fmla="*/ 20707 h 334834"/>
                      <a:gd name="connsiteX57" fmla="*/ 130331 w 334946"/>
                      <a:gd name="connsiteY57" fmla="*/ 26460 h 334834"/>
                      <a:gd name="connsiteX58" fmla="*/ 243240 w 334946"/>
                      <a:gd name="connsiteY58" fmla="*/ 23260 h 334834"/>
                      <a:gd name="connsiteX59" fmla="*/ 246688 w 334946"/>
                      <a:gd name="connsiteY59" fmla="*/ 23670 h 334834"/>
                      <a:gd name="connsiteX60" fmla="*/ 244792 w 334946"/>
                      <a:gd name="connsiteY60" fmla="*/ 21784 h 334834"/>
                      <a:gd name="connsiteX61" fmla="*/ 243240 w 334946"/>
                      <a:gd name="connsiteY61" fmla="*/ 23260 h 334834"/>
                      <a:gd name="connsiteX62" fmla="*/ 161725 w 334946"/>
                      <a:gd name="connsiteY62" fmla="*/ 27118 h 334834"/>
                      <a:gd name="connsiteX63" fmla="*/ 165830 w 334946"/>
                      <a:gd name="connsiteY63" fmla="*/ 31556 h 334834"/>
                      <a:gd name="connsiteX64" fmla="*/ 164763 w 334946"/>
                      <a:gd name="connsiteY64" fmla="*/ 24489 h 334834"/>
                      <a:gd name="connsiteX65" fmla="*/ 161725 w 334946"/>
                      <a:gd name="connsiteY65" fmla="*/ 27118 h 334834"/>
                      <a:gd name="connsiteX66" fmla="*/ 223437 w 334946"/>
                      <a:gd name="connsiteY66" fmla="*/ 30813 h 334834"/>
                      <a:gd name="connsiteX67" fmla="*/ 222371 w 334946"/>
                      <a:gd name="connsiteY67" fmla="*/ 25232 h 334834"/>
                      <a:gd name="connsiteX68" fmla="*/ 223437 w 334946"/>
                      <a:gd name="connsiteY68" fmla="*/ 30813 h 334834"/>
                      <a:gd name="connsiteX69" fmla="*/ 105023 w 334946"/>
                      <a:gd name="connsiteY69" fmla="*/ 27118 h 334834"/>
                      <a:gd name="connsiteX70" fmla="*/ 108061 w 334946"/>
                      <a:gd name="connsiteY70" fmla="*/ 30651 h 334834"/>
                      <a:gd name="connsiteX71" fmla="*/ 107080 w 334946"/>
                      <a:gd name="connsiteY71" fmla="*/ 25308 h 334834"/>
                      <a:gd name="connsiteX72" fmla="*/ 105023 w 334946"/>
                      <a:gd name="connsiteY72" fmla="*/ 27118 h 334834"/>
                      <a:gd name="connsiteX73" fmla="*/ 139370 w 334946"/>
                      <a:gd name="connsiteY73" fmla="*/ 31642 h 334834"/>
                      <a:gd name="connsiteX74" fmla="*/ 143809 w 334946"/>
                      <a:gd name="connsiteY74" fmla="*/ 36166 h 334834"/>
                      <a:gd name="connsiteX75" fmla="*/ 142246 w 334946"/>
                      <a:gd name="connsiteY75" fmla="*/ 28851 h 334834"/>
                      <a:gd name="connsiteX76" fmla="*/ 139370 w 334946"/>
                      <a:gd name="connsiteY76" fmla="*/ 31642 h 334834"/>
                      <a:gd name="connsiteX77" fmla="*/ 197148 w 334946"/>
                      <a:gd name="connsiteY77" fmla="*/ 31309 h 334834"/>
                      <a:gd name="connsiteX78" fmla="*/ 200759 w 334946"/>
                      <a:gd name="connsiteY78" fmla="*/ 36071 h 334834"/>
                      <a:gd name="connsiteX79" fmla="*/ 200263 w 334946"/>
                      <a:gd name="connsiteY79" fmla="*/ 28927 h 334834"/>
                      <a:gd name="connsiteX80" fmla="*/ 197148 w 334946"/>
                      <a:gd name="connsiteY80" fmla="*/ 31309 h 334834"/>
                      <a:gd name="connsiteX81" fmla="*/ 83249 w 334946"/>
                      <a:gd name="connsiteY81" fmla="*/ 31890 h 334834"/>
                      <a:gd name="connsiteX82" fmla="*/ 85716 w 334946"/>
                      <a:gd name="connsiteY82" fmla="*/ 34604 h 334834"/>
                      <a:gd name="connsiteX83" fmla="*/ 85134 w 334946"/>
                      <a:gd name="connsiteY83" fmla="*/ 30251 h 334834"/>
                      <a:gd name="connsiteX84" fmla="*/ 83249 w 334946"/>
                      <a:gd name="connsiteY84" fmla="*/ 31890 h 334834"/>
                      <a:gd name="connsiteX85" fmla="*/ 256394 w 334946"/>
                      <a:gd name="connsiteY85" fmla="*/ 32547 h 334834"/>
                      <a:gd name="connsiteX86" fmla="*/ 257785 w 334946"/>
                      <a:gd name="connsiteY86" fmla="*/ 34109 h 334834"/>
                      <a:gd name="connsiteX87" fmla="*/ 260004 w 334946"/>
                      <a:gd name="connsiteY87" fmla="*/ 32223 h 334834"/>
                      <a:gd name="connsiteX88" fmla="*/ 257785 w 334946"/>
                      <a:gd name="connsiteY88" fmla="*/ 30661 h 334834"/>
                      <a:gd name="connsiteX89" fmla="*/ 256394 w 334946"/>
                      <a:gd name="connsiteY89" fmla="*/ 32547 h 334834"/>
                      <a:gd name="connsiteX90" fmla="*/ 174460 w 334946"/>
                      <a:gd name="connsiteY90" fmla="*/ 35919 h 334834"/>
                      <a:gd name="connsiteX91" fmla="*/ 178899 w 334946"/>
                      <a:gd name="connsiteY91" fmla="*/ 41015 h 334834"/>
                      <a:gd name="connsiteX92" fmla="*/ 177917 w 334946"/>
                      <a:gd name="connsiteY92" fmla="*/ 32880 h 334834"/>
                      <a:gd name="connsiteX93" fmla="*/ 174460 w 334946"/>
                      <a:gd name="connsiteY93" fmla="*/ 35919 h 334834"/>
                      <a:gd name="connsiteX94" fmla="*/ 117348 w 334946"/>
                      <a:gd name="connsiteY94" fmla="*/ 36081 h 334834"/>
                      <a:gd name="connsiteX95" fmla="*/ 121129 w 334946"/>
                      <a:gd name="connsiteY95" fmla="*/ 40519 h 334834"/>
                      <a:gd name="connsiteX96" fmla="*/ 120310 w 334946"/>
                      <a:gd name="connsiteY96" fmla="*/ 33376 h 334834"/>
                      <a:gd name="connsiteX97" fmla="*/ 117348 w 334946"/>
                      <a:gd name="connsiteY97" fmla="*/ 36081 h 334834"/>
                      <a:gd name="connsiteX98" fmla="*/ 233296 w 334946"/>
                      <a:gd name="connsiteY98" fmla="*/ 35585 h 334834"/>
                      <a:gd name="connsiteX99" fmla="*/ 236830 w 334946"/>
                      <a:gd name="connsiteY99" fmla="*/ 39862 h 334834"/>
                      <a:gd name="connsiteX100" fmla="*/ 235353 w 334946"/>
                      <a:gd name="connsiteY100" fmla="*/ 33947 h 334834"/>
                      <a:gd name="connsiteX101" fmla="*/ 233296 w 334946"/>
                      <a:gd name="connsiteY101" fmla="*/ 35585 h 334834"/>
                      <a:gd name="connsiteX102" fmla="*/ 61884 w 334946"/>
                      <a:gd name="connsiteY102" fmla="*/ 36652 h 334834"/>
                      <a:gd name="connsiteX103" fmla="*/ 64351 w 334946"/>
                      <a:gd name="connsiteY103" fmla="*/ 37147 h 334834"/>
                      <a:gd name="connsiteX104" fmla="*/ 63446 w 334946"/>
                      <a:gd name="connsiteY104" fmla="*/ 35671 h 334834"/>
                      <a:gd name="connsiteX105" fmla="*/ 62865 w 334946"/>
                      <a:gd name="connsiteY105" fmla="*/ 35585 h 334834"/>
                      <a:gd name="connsiteX106" fmla="*/ 61884 w 334946"/>
                      <a:gd name="connsiteY106" fmla="*/ 36652 h 334834"/>
                      <a:gd name="connsiteX107" fmla="*/ 152276 w 334946"/>
                      <a:gd name="connsiteY107" fmla="*/ 39691 h 334834"/>
                      <a:gd name="connsiteX108" fmla="*/ 156543 w 334946"/>
                      <a:gd name="connsiteY108" fmla="*/ 45768 h 334834"/>
                      <a:gd name="connsiteX109" fmla="*/ 155886 w 334946"/>
                      <a:gd name="connsiteY109" fmla="*/ 37052 h 334834"/>
                      <a:gd name="connsiteX110" fmla="*/ 152276 w 334946"/>
                      <a:gd name="connsiteY110" fmla="*/ 39691 h 334834"/>
                      <a:gd name="connsiteX111" fmla="*/ 210045 w 334946"/>
                      <a:gd name="connsiteY111" fmla="*/ 40510 h 334834"/>
                      <a:gd name="connsiteX112" fmla="*/ 215065 w 334946"/>
                      <a:gd name="connsiteY112" fmla="*/ 45110 h 334834"/>
                      <a:gd name="connsiteX113" fmla="*/ 213255 w 334946"/>
                      <a:gd name="connsiteY113" fmla="*/ 37471 h 334834"/>
                      <a:gd name="connsiteX114" fmla="*/ 210045 w 334946"/>
                      <a:gd name="connsiteY114" fmla="*/ 40510 h 334834"/>
                      <a:gd name="connsiteX115" fmla="*/ 95488 w 334946"/>
                      <a:gd name="connsiteY115" fmla="*/ 40510 h 334834"/>
                      <a:gd name="connsiteX116" fmla="*/ 99269 w 334946"/>
                      <a:gd name="connsiteY116" fmla="*/ 44539 h 334834"/>
                      <a:gd name="connsiteX117" fmla="*/ 98450 w 334946"/>
                      <a:gd name="connsiteY117" fmla="*/ 38043 h 334834"/>
                      <a:gd name="connsiteX118" fmla="*/ 95488 w 334946"/>
                      <a:gd name="connsiteY118" fmla="*/ 40510 h 334834"/>
                      <a:gd name="connsiteX119" fmla="*/ 269872 w 334946"/>
                      <a:gd name="connsiteY119" fmla="*/ 40929 h 334834"/>
                      <a:gd name="connsiteX120" fmla="*/ 271262 w 334946"/>
                      <a:gd name="connsiteY120" fmla="*/ 42986 h 334834"/>
                      <a:gd name="connsiteX121" fmla="*/ 271262 w 334946"/>
                      <a:gd name="connsiteY121" fmla="*/ 39529 h 334834"/>
                      <a:gd name="connsiteX122" fmla="*/ 269872 w 334946"/>
                      <a:gd name="connsiteY122" fmla="*/ 40929 h 334834"/>
                      <a:gd name="connsiteX123" fmla="*/ 187452 w 334946"/>
                      <a:gd name="connsiteY123" fmla="*/ 44377 h 334834"/>
                      <a:gd name="connsiteX124" fmla="*/ 192138 w 334946"/>
                      <a:gd name="connsiteY124" fmla="*/ 50378 h 334834"/>
                      <a:gd name="connsiteX125" fmla="*/ 191071 w 334946"/>
                      <a:gd name="connsiteY125" fmla="*/ 41338 h 334834"/>
                      <a:gd name="connsiteX126" fmla="*/ 187452 w 334946"/>
                      <a:gd name="connsiteY126" fmla="*/ 44377 h 334834"/>
                      <a:gd name="connsiteX127" fmla="*/ 129921 w 334946"/>
                      <a:gd name="connsiteY127" fmla="*/ 44710 h 334834"/>
                      <a:gd name="connsiteX128" fmla="*/ 135017 w 334946"/>
                      <a:gd name="connsiteY128" fmla="*/ 50130 h 334834"/>
                      <a:gd name="connsiteX129" fmla="*/ 133455 w 334946"/>
                      <a:gd name="connsiteY129" fmla="*/ 41500 h 334834"/>
                      <a:gd name="connsiteX130" fmla="*/ 129921 w 334946"/>
                      <a:gd name="connsiteY130" fmla="*/ 44710 h 334834"/>
                      <a:gd name="connsiteX131" fmla="*/ 246450 w 334946"/>
                      <a:gd name="connsiteY131" fmla="*/ 44625 h 334834"/>
                      <a:gd name="connsiteX132" fmla="*/ 249898 w 334946"/>
                      <a:gd name="connsiteY132" fmla="*/ 48816 h 334834"/>
                      <a:gd name="connsiteX133" fmla="*/ 248584 w 334946"/>
                      <a:gd name="connsiteY133" fmla="*/ 42729 h 334834"/>
                      <a:gd name="connsiteX134" fmla="*/ 246450 w 334946"/>
                      <a:gd name="connsiteY134" fmla="*/ 44625 h 334834"/>
                      <a:gd name="connsiteX135" fmla="*/ 74124 w 334946"/>
                      <a:gd name="connsiteY135" fmla="*/ 44625 h 334834"/>
                      <a:gd name="connsiteX136" fmla="*/ 76838 w 334946"/>
                      <a:gd name="connsiteY136" fmla="*/ 48406 h 334834"/>
                      <a:gd name="connsiteX137" fmla="*/ 76257 w 334946"/>
                      <a:gd name="connsiteY137" fmla="*/ 43062 h 334834"/>
                      <a:gd name="connsiteX138" fmla="*/ 74124 w 334946"/>
                      <a:gd name="connsiteY138" fmla="*/ 44625 h 334834"/>
                      <a:gd name="connsiteX139" fmla="*/ 164763 w 334946"/>
                      <a:gd name="connsiteY139" fmla="*/ 49149 h 334834"/>
                      <a:gd name="connsiteX140" fmla="*/ 170431 w 334946"/>
                      <a:gd name="connsiteY140" fmla="*/ 55150 h 334834"/>
                      <a:gd name="connsiteX141" fmla="*/ 168954 w 334946"/>
                      <a:gd name="connsiteY141" fmla="*/ 45453 h 334834"/>
                      <a:gd name="connsiteX142" fmla="*/ 164763 w 334946"/>
                      <a:gd name="connsiteY142" fmla="*/ 49149 h 334834"/>
                      <a:gd name="connsiteX143" fmla="*/ 107985 w 334946"/>
                      <a:gd name="connsiteY143" fmla="*/ 49149 h 334834"/>
                      <a:gd name="connsiteX144" fmla="*/ 112509 w 334946"/>
                      <a:gd name="connsiteY144" fmla="*/ 54407 h 334834"/>
                      <a:gd name="connsiteX145" fmla="*/ 111442 w 334946"/>
                      <a:gd name="connsiteY145" fmla="*/ 46110 h 334834"/>
                      <a:gd name="connsiteX146" fmla="*/ 107985 w 334946"/>
                      <a:gd name="connsiteY146" fmla="*/ 49149 h 334834"/>
                      <a:gd name="connsiteX147" fmla="*/ 223361 w 334946"/>
                      <a:gd name="connsiteY147" fmla="*/ 48730 h 334834"/>
                      <a:gd name="connsiteX148" fmla="*/ 227390 w 334946"/>
                      <a:gd name="connsiteY148" fmla="*/ 54321 h 334834"/>
                      <a:gd name="connsiteX149" fmla="*/ 226895 w 334946"/>
                      <a:gd name="connsiteY149" fmla="*/ 46187 h 334834"/>
                      <a:gd name="connsiteX150" fmla="*/ 223361 w 334946"/>
                      <a:gd name="connsiteY150" fmla="*/ 48730 h 334834"/>
                      <a:gd name="connsiteX151" fmla="*/ 52597 w 334946"/>
                      <a:gd name="connsiteY151" fmla="*/ 49968 h 334834"/>
                      <a:gd name="connsiteX152" fmla="*/ 54159 w 334946"/>
                      <a:gd name="connsiteY152" fmla="*/ 51864 h 334834"/>
                      <a:gd name="connsiteX153" fmla="*/ 55969 w 334946"/>
                      <a:gd name="connsiteY153" fmla="*/ 50463 h 334834"/>
                      <a:gd name="connsiteX154" fmla="*/ 54073 w 334946"/>
                      <a:gd name="connsiteY154" fmla="*/ 48406 h 334834"/>
                      <a:gd name="connsiteX155" fmla="*/ 52597 w 334946"/>
                      <a:gd name="connsiteY155" fmla="*/ 49968 h 334834"/>
                      <a:gd name="connsiteX156" fmla="*/ 283340 w 334946"/>
                      <a:gd name="connsiteY156" fmla="*/ 49968 h 334834"/>
                      <a:gd name="connsiteX157" fmla="*/ 284407 w 334946"/>
                      <a:gd name="connsiteY157" fmla="*/ 51445 h 334834"/>
                      <a:gd name="connsiteX158" fmla="*/ 286293 w 334946"/>
                      <a:gd name="connsiteY158" fmla="*/ 50292 h 334834"/>
                      <a:gd name="connsiteX159" fmla="*/ 284569 w 334946"/>
                      <a:gd name="connsiteY159" fmla="*/ 48644 h 334834"/>
                      <a:gd name="connsiteX160" fmla="*/ 283340 w 334946"/>
                      <a:gd name="connsiteY160" fmla="*/ 49968 h 334834"/>
                      <a:gd name="connsiteX161" fmla="*/ 142742 w 334946"/>
                      <a:gd name="connsiteY161" fmla="*/ 52845 h 334834"/>
                      <a:gd name="connsiteX162" fmla="*/ 148000 w 334946"/>
                      <a:gd name="connsiteY162" fmla="*/ 59750 h 334834"/>
                      <a:gd name="connsiteX163" fmla="*/ 147257 w 334946"/>
                      <a:gd name="connsiteY163" fmla="*/ 49644 h 334834"/>
                      <a:gd name="connsiteX164" fmla="*/ 142742 w 334946"/>
                      <a:gd name="connsiteY164" fmla="*/ 52845 h 334834"/>
                      <a:gd name="connsiteX165" fmla="*/ 200349 w 334946"/>
                      <a:gd name="connsiteY165" fmla="*/ 53416 h 334834"/>
                      <a:gd name="connsiteX166" fmla="*/ 205445 w 334946"/>
                      <a:gd name="connsiteY166" fmla="*/ 59493 h 334834"/>
                      <a:gd name="connsiteX167" fmla="*/ 204702 w 334946"/>
                      <a:gd name="connsiteY167" fmla="*/ 49882 h 334834"/>
                      <a:gd name="connsiteX168" fmla="*/ 200349 w 334946"/>
                      <a:gd name="connsiteY168" fmla="*/ 53416 h 334834"/>
                      <a:gd name="connsiteX169" fmla="*/ 86287 w 334946"/>
                      <a:gd name="connsiteY169" fmla="*/ 53664 h 334834"/>
                      <a:gd name="connsiteX170" fmla="*/ 90392 w 334946"/>
                      <a:gd name="connsiteY170" fmla="*/ 58341 h 334834"/>
                      <a:gd name="connsiteX171" fmla="*/ 89326 w 334946"/>
                      <a:gd name="connsiteY171" fmla="*/ 50949 h 334834"/>
                      <a:gd name="connsiteX172" fmla="*/ 86287 w 334946"/>
                      <a:gd name="connsiteY172" fmla="*/ 53664 h 334834"/>
                      <a:gd name="connsiteX173" fmla="*/ 259680 w 334946"/>
                      <a:gd name="connsiteY173" fmla="*/ 53911 h 334834"/>
                      <a:gd name="connsiteX174" fmla="*/ 263547 w 334946"/>
                      <a:gd name="connsiteY174" fmla="*/ 57531 h 334834"/>
                      <a:gd name="connsiteX175" fmla="*/ 261909 w 334946"/>
                      <a:gd name="connsiteY175" fmla="*/ 51692 h 334834"/>
                      <a:gd name="connsiteX176" fmla="*/ 259680 w 334946"/>
                      <a:gd name="connsiteY176" fmla="*/ 53911 h 334834"/>
                      <a:gd name="connsiteX177" fmla="*/ 177832 w 334946"/>
                      <a:gd name="connsiteY177" fmla="*/ 57445 h 334834"/>
                      <a:gd name="connsiteX178" fmla="*/ 183747 w 334946"/>
                      <a:gd name="connsiteY178" fmla="*/ 64427 h 334834"/>
                      <a:gd name="connsiteX179" fmla="*/ 182518 w 334946"/>
                      <a:gd name="connsiteY179" fmla="*/ 53826 h 334834"/>
                      <a:gd name="connsiteX180" fmla="*/ 177832 w 334946"/>
                      <a:gd name="connsiteY180" fmla="*/ 57445 h 334834"/>
                      <a:gd name="connsiteX181" fmla="*/ 120548 w 334946"/>
                      <a:gd name="connsiteY181" fmla="*/ 57693 h 334834"/>
                      <a:gd name="connsiteX182" fmla="*/ 125892 w 334946"/>
                      <a:gd name="connsiteY182" fmla="*/ 64103 h 334834"/>
                      <a:gd name="connsiteX183" fmla="*/ 124501 w 334946"/>
                      <a:gd name="connsiteY183" fmla="*/ 54245 h 334834"/>
                      <a:gd name="connsiteX184" fmla="*/ 120548 w 334946"/>
                      <a:gd name="connsiteY184" fmla="*/ 57693 h 334834"/>
                      <a:gd name="connsiteX185" fmla="*/ 236420 w 334946"/>
                      <a:gd name="connsiteY185" fmla="*/ 58102 h 334834"/>
                      <a:gd name="connsiteX186" fmla="*/ 241516 w 334946"/>
                      <a:gd name="connsiteY186" fmla="*/ 63113 h 334834"/>
                      <a:gd name="connsiteX187" fmla="*/ 239878 w 334946"/>
                      <a:gd name="connsiteY187" fmla="*/ 54978 h 334834"/>
                      <a:gd name="connsiteX188" fmla="*/ 236420 w 334946"/>
                      <a:gd name="connsiteY188" fmla="*/ 58102 h 334834"/>
                      <a:gd name="connsiteX189" fmla="*/ 65008 w 334946"/>
                      <a:gd name="connsiteY189" fmla="*/ 57693 h 334834"/>
                      <a:gd name="connsiteX190" fmla="*/ 67970 w 334946"/>
                      <a:gd name="connsiteY190" fmla="*/ 62046 h 334834"/>
                      <a:gd name="connsiteX191" fmla="*/ 67313 w 334946"/>
                      <a:gd name="connsiteY191" fmla="*/ 56045 h 334834"/>
                      <a:gd name="connsiteX192" fmla="*/ 65008 w 334946"/>
                      <a:gd name="connsiteY192" fmla="*/ 57693 h 334834"/>
                      <a:gd name="connsiteX193" fmla="*/ 155972 w 334946"/>
                      <a:gd name="connsiteY193" fmla="*/ 60646 h 334834"/>
                      <a:gd name="connsiteX194" fmla="*/ 159506 w 334946"/>
                      <a:gd name="connsiteY194" fmla="*/ 69113 h 334834"/>
                      <a:gd name="connsiteX195" fmla="*/ 160325 w 334946"/>
                      <a:gd name="connsiteY195" fmla="*/ 58017 h 334834"/>
                      <a:gd name="connsiteX196" fmla="*/ 155972 w 334946"/>
                      <a:gd name="connsiteY196" fmla="*/ 60646 h 334834"/>
                      <a:gd name="connsiteX197" fmla="*/ 297313 w 334946"/>
                      <a:gd name="connsiteY197" fmla="*/ 58674 h 334834"/>
                      <a:gd name="connsiteX198" fmla="*/ 297313 w 334946"/>
                      <a:gd name="connsiteY198" fmla="*/ 59255 h 334834"/>
                      <a:gd name="connsiteX199" fmla="*/ 297723 w 334946"/>
                      <a:gd name="connsiteY199" fmla="*/ 59750 h 334834"/>
                      <a:gd name="connsiteX200" fmla="*/ 298380 w 334946"/>
                      <a:gd name="connsiteY200" fmla="*/ 59826 h 334834"/>
                      <a:gd name="connsiteX201" fmla="*/ 298876 w 334946"/>
                      <a:gd name="connsiteY201" fmla="*/ 59417 h 334834"/>
                      <a:gd name="connsiteX202" fmla="*/ 298952 w 334946"/>
                      <a:gd name="connsiteY202" fmla="*/ 58760 h 334834"/>
                      <a:gd name="connsiteX203" fmla="*/ 298380 w 334946"/>
                      <a:gd name="connsiteY203" fmla="*/ 58264 h 334834"/>
                      <a:gd name="connsiteX204" fmla="*/ 297809 w 334946"/>
                      <a:gd name="connsiteY204" fmla="*/ 58179 h 334834"/>
                      <a:gd name="connsiteX205" fmla="*/ 297313 w 334946"/>
                      <a:gd name="connsiteY205" fmla="*/ 58674 h 334834"/>
                      <a:gd name="connsiteX206" fmla="*/ 213417 w 334946"/>
                      <a:gd name="connsiteY206" fmla="*/ 62455 h 334834"/>
                      <a:gd name="connsiteX207" fmla="*/ 219084 w 334946"/>
                      <a:gd name="connsiteY207" fmla="*/ 68532 h 334834"/>
                      <a:gd name="connsiteX208" fmla="*/ 217522 w 334946"/>
                      <a:gd name="connsiteY208" fmla="*/ 58588 h 334834"/>
                      <a:gd name="connsiteX209" fmla="*/ 213417 w 334946"/>
                      <a:gd name="connsiteY209" fmla="*/ 62455 h 334834"/>
                      <a:gd name="connsiteX210" fmla="*/ 98612 w 334946"/>
                      <a:gd name="connsiteY210" fmla="*/ 62617 h 334834"/>
                      <a:gd name="connsiteX211" fmla="*/ 103622 w 334946"/>
                      <a:gd name="connsiteY211" fmla="*/ 68123 h 334834"/>
                      <a:gd name="connsiteX212" fmla="*/ 102556 w 334946"/>
                      <a:gd name="connsiteY212" fmla="*/ 58998 h 334834"/>
                      <a:gd name="connsiteX213" fmla="*/ 98612 w 334946"/>
                      <a:gd name="connsiteY213" fmla="*/ 62617 h 334834"/>
                      <a:gd name="connsiteX214" fmla="*/ 273234 w 334946"/>
                      <a:gd name="connsiteY214" fmla="*/ 62617 h 334834"/>
                      <a:gd name="connsiteX215" fmla="*/ 276606 w 334946"/>
                      <a:gd name="connsiteY215" fmla="*/ 66237 h 334834"/>
                      <a:gd name="connsiteX216" fmla="*/ 275291 w 334946"/>
                      <a:gd name="connsiteY216" fmla="*/ 60731 h 334834"/>
                      <a:gd name="connsiteX217" fmla="*/ 273234 w 334946"/>
                      <a:gd name="connsiteY217" fmla="*/ 62617 h 334834"/>
                      <a:gd name="connsiteX218" fmla="*/ 43472 w 334946"/>
                      <a:gd name="connsiteY218" fmla="*/ 63274 h 334834"/>
                      <a:gd name="connsiteX219" fmla="*/ 46025 w 334946"/>
                      <a:gd name="connsiteY219" fmla="*/ 65408 h 334834"/>
                      <a:gd name="connsiteX220" fmla="*/ 47425 w 334946"/>
                      <a:gd name="connsiteY220" fmla="*/ 63846 h 334834"/>
                      <a:gd name="connsiteX221" fmla="*/ 45120 w 334946"/>
                      <a:gd name="connsiteY221" fmla="*/ 61465 h 334834"/>
                      <a:gd name="connsiteX222" fmla="*/ 43472 w 334946"/>
                      <a:gd name="connsiteY222" fmla="*/ 63274 h 334834"/>
                      <a:gd name="connsiteX223" fmla="*/ 133293 w 334946"/>
                      <a:gd name="connsiteY223" fmla="*/ 66151 h 334834"/>
                      <a:gd name="connsiteX224" fmla="*/ 137398 w 334946"/>
                      <a:gd name="connsiteY224" fmla="*/ 73542 h 334834"/>
                      <a:gd name="connsiteX225" fmla="*/ 138141 w 334946"/>
                      <a:gd name="connsiteY225" fmla="*/ 62446 h 334834"/>
                      <a:gd name="connsiteX226" fmla="*/ 133293 w 334946"/>
                      <a:gd name="connsiteY226" fmla="*/ 66151 h 334834"/>
                      <a:gd name="connsiteX227" fmla="*/ 190814 w 334946"/>
                      <a:gd name="connsiteY227" fmla="*/ 66151 h 334834"/>
                      <a:gd name="connsiteX228" fmla="*/ 194843 w 334946"/>
                      <a:gd name="connsiteY228" fmla="*/ 73628 h 334834"/>
                      <a:gd name="connsiteX229" fmla="*/ 195424 w 334946"/>
                      <a:gd name="connsiteY229" fmla="*/ 62455 h 334834"/>
                      <a:gd name="connsiteX230" fmla="*/ 190814 w 334946"/>
                      <a:gd name="connsiteY230" fmla="*/ 66151 h 334834"/>
                      <a:gd name="connsiteX231" fmla="*/ 77248 w 334946"/>
                      <a:gd name="connsiteY231" fmla="*/ 66484 h 334834"/>
                      <a:gd name="connsiteX232" fmla="*/ 81439 w 334946"/>
                      <a:gd name="connsiteY232" fmla="*/ 71990 h 334834"/>
                      <a:gd name="connsiteX233" fmla="*/ 80696 w 334946"/>
                      <a:gd name="connsiteY233" fmla="*/ 63941 h 334834"/>
                      <a:gd name="connsiteX234" fmla="*/ 77248 w 334946"/>
                      <a:gd name="connsiteY234" fmla="*/ 66484 h 334834"/>
                      <a:gd name="connsiteX235" fmla="*/ 249812 w 334946"/>
                      <a:gd name="connsiteY235" fmla="*/ 66894 h 334834"/>
                      <a:gd name="connsiteX236" fmla="*/ 254251 w 334946"/>
                      <a:gd name="connsiteY236" fmla="*/ 71990 h 334834"/>
                      <a:gd name="connsiteX237" fmla="*/ 253346 w 334946"/>
                      <a:gd name="connsiteY237" fmla="*/ 63941 h 334834"/>
                      <a:gd name="connsiteX238" fmla="*/ 249812 w 334946"/>
                      <a:gd name="connsiteY238" fmla="*/ 66894 h 334834"/>
                      <a:gd name="connsiteX239" fmla="*/ 170269 w 334946"/>
                      <a:gd name="connsiteY239" fmla="*/ 67637 h 334834"/>
                      <a:gd name="connsiteX240" fmla="*/ 169774 w 334946"/>
                      <a:gd name="connsiteY240" fmla="*/ 78648 h 334834"/>
                      <a:gd name="connsiteX241" fmla="*/ 177832 w 334946"/>
                      <a:gd name="connsiteY241" fmla="*/ 77248 h 334834"/>
                      <a:gd name="connsiteX242" fmla="*/ 179718 w 334946"/>
                      <a:gd name="connsiteY242" fmla="*/ 75609 h 334834"/>
                      <a:gd name="connsiteX243" fmla="*/ 179794 w 334946"/>
                      <a:gd name="connsiteY243" fmla="*/ 72571 h 334834"/>
                      <a:gd name="connsiteX244" fmla="*/ 173793 w 334946"/>
                      <a:gd name="connsiteY244" fmla="*/ 66494 h 334834"/>
                      <a:gd name="connsiteX245" fmla="*/ 170269 w 334946"/>
                      <a:gd name="connsiteY245" fmla="*/ 67637 h 334834"/>
                      <a:gd name="connsiteX246" fmla="*/ 111185 w 334946"/>
                      <a:gd name="connsiteY246" fmla="*/ 71247 h 334834"/>
                      <a:gd name="connsiteX247" fmla="*/ 117519 w 334946"/>
                      <a:gd name="connsiteY247" fmla="*/ 77743 h 334834"/>
                      <a:gd name="connsiteX248" fmla="*/ 115462 w 334946"/>
                      <a:gd name="connsiteY248" fmla="*/ 67142 h 334834"/>
                      <a:gd name="connsiteX249" fmla="*/ 111185 w 334946"/>
                      <a:gd name="connsiteY249" fmla="*/ 71247 h 334834"/>
                      <a:gd name="connsiteX250" fmla="*/ 226647 w 334946"/>
                      <a:gd name="connsiteY250" fmla="*/ 71085 h 334834"/>
                      <a:gd name="connsiteX251" fmla="*/ 231829 w 334946"/>
                      <a:gd name="connsiteY251" fmla="*/ 77495 h 334834"/>
                      <a:gd name="connsiteX252" fmla="*/ 231086 w 334946"/>
                      <a:gd name="connsiteY252" fmla="*/ 67389 h 334834"/>
                      <a:gd name="connsiteX253" fmla="*/ 226647 w 334946"/>
                      <a:gd name="connsiteY253" fmla="*/ 71085 h 334834"/>
                      <a:gd name="connsiteX254" fmla="*/ 55721 w 334946"/>
                      <a:gd name="connsiteY254" fmla="*/ 71495 h 334834"/>
                      <a:gd name="connsiteX255" fmla="*/ 59169 w 334946"/>
                      <a:gd name="connsiteY255" fmla="*/ 75524 h 334834"/>
                      <a:gd name="connsiteX256" fmla="*/ 58179 w 334946"/>
                      <a:gd name="connsiteY256" fmla="*/ 69199 h 334834"/>
                      <a:gd name="connsiteX257" fmla="*/ 55721 w 334946"/>
                      <a:gd name="connsiteY257" fmla="*/ 71495 h 334834"/>
                      <a:gd name="connsiteX258" fmla="*/ 286874 w 334946"/>
                      <a:gd name="connsiteY258" fmla="*/ 71495 h 334834"/>
                      <a:gd name="connsiteX259" fmla="*/ 289750 w 334946"/>
                      <a:gd name="connsiteY259" fmla="*/ 74781 h 334834"/>
                      <a:gd name="connsiteX260" fmla="*/ 288684 w 334946"/>
                      <a:gd name="connsiteY260" fmla="*/ 69933 h 334834"/>
                      <a:gd name="connsiteX261" fmla="*/ 286874 w 334946"/>
                      <a:gd name="connsiteY261" fmla="*/ 71495 h 334834"/>
                      <a:gd name="connsiteX262" fmla="*/ 146028 w 334946"/>
                      <a:gd name="connsiteY262" fmla="*/ 74457 h 334834"/>
                      <a:gd name="connsiteX263" fmla="*/ 145456 w 334946"/>
                      <a:gd name="connsiteY263" fmla="*/ 83658 h 334834"/>
                      <a:gd name="connsiteX264" fmla="*/ 136417 w 334946"/>
                      <a:gd name="connsiteY264" fmla="*/ 84649 h 334834"/>
                      <a:gd name="connsiteX265" fmla="*/ 132883 w 334946"/>
                      <a:gd name="connsiteY265" fmla="*/ 76105 h 334834"/>
                      <a:gd name="connsiteX266" fmla="*/ 128445 w 334946"/>
                      <a:gd name="connsiteY266" fmla="*/ 75524 h 334834"/>
                      <a:gd name="connsiteX267" fmla="*/ 126397 w 334946"/>
                      <a:gd name="connsiteY267" fmla="*/ 76267 h 334834"/>
                      <a:gd name="connsiteX268" fmla="*/ 124006 w 334946"/>
                      <a:gd name="connsiteY268" fmla="*/ 79143 h 334834"/>
                      <a:gd name="connsiteX269" fmla="*/ 126635 w 334946"/>
                      <a:gd name="connsiteY269" fmla="*/ 87192 h 334834"/>
                      <a:gd name="connsiteX270" fmla="*/ 135426 w 334946"/>
                      <a:gd name="connsiteY270" fmla="*/ 86039 h 334834"/>
                      <a:gd name="connsiteX271" fmla="*/ 137236 w 334946"/>
                      <a:gd name="connsiteY271" fmla="*/ 90478 h 334834"/>
                      <a:gd name="connsiteX272" fmla="*/ 137646 w 334946"/>
                      <a:gd name="connsiteY272" fmla="*/ 93850 h 334834"/>
                      <a:gd name="connsiteX273" fmla="*/ 130578 w 334946"/>
                      <a:gd name="connsiteY273" fmla="*/ 98041 h 334834"/>
                      <a:gd name="connsiteX274" fmla="*/ 125158 w 334946"/>
                      <a:gd name="connsiteY274" fmla="*/ 89087 h 334834"/>
                      <a:gd name="connsiteX275" fmla="*/ 118824 w 334946"/>
                      <a:gd name="connsiteY275" fmla="*/ 89087 h 334834"/>
                      <a:gd name="connsiteX276" fmla="*/ 115948 w 334946"/>
                      <a:gd name="connsiteY276" fmla="*/ 90078 h 334834"/>
                      <a:gd name="connsiteX277" fmla="*/ 115624 w 334946"/>
                      <a:gd name="connsiteY277" fmla="*/ 99774 h 334834"/>
                      <a:gd name="connsiteX278" fmla="*/ 106499 w 334946"/>
                      <a:gd name="connsiteY278" fmla="*/ 103308 h 334834"/>
                      <a:gd name="connsiteX279" fmla="*/ 106747 w 334946"/>
                      <a:gd name="connsiteY279" fmla="*/ 111852 h 334834"/>
                      <a:gd name="connsiteX280" fmla="*/ 100174 w 334946"/>
                      <a:gd name="connsiteY280" fmla="*/ 115795 h 334834"/>
                      <a:gd name="connsiteX281" fmla="*/ 97050 w 334946"/>
                      <a:gd name="connsiteY281" fmla="*/ 116129 h 334834"/>
                      <a:gd name="connsiteX282" fmla="*/ 89487 w 334946"/>
                      <a:gd name="connsiteY282" fmla="*/ 106432 h 334834"/>
                      <a:gd name="connsiteX283" fmla="*/ 87687 w 334946"/>
                      <a:gd name="connsiteY283" fmla="*/ 106918 h 334834"/>
                      <a:gd name="connsiteX284" fmla="*/ 85392 w 334946"/>
                      <a:gd name="connsiteY284" fmla="*/ 108404 h 334834"/>
                      <a:gd name="connsiteX285" fmla="*/ 87858 w 334946"/>
                      <a:gd name="connsiteY285" fmla="*/ 118100 h 334834"/>
                      <a:gd name="connsiteX286" fmla="*/ 95336 w 334946"/>
                      <a:gd name="connsiteY286" fmla="*/ 116862 h 334834"/>
                      <a:gd name="connsiteX287" fmla="*/ 97060 w 334946"/>
                      <a:gd name="connsiteY287" fmla="*/ 120320 h 334834"/>
                      <a:gd name="connsiteX288" fmla="*/ 94917 w 334946"/>
                      <a:gd name="connsiteY288" fmla="*/ 128454 h 334834"/>
                      <a:gd name="connsiteX289" fmla="*/ 87849 w 334946"/>
                      <a:gd name="connsiteY289" fmla="*/ 130835 h 334834"/>
                      <a:gd name="connsiteX290" fmla="*/ 88097 w 334946"/>
                      <a:gd name="connsiteY290" fmla="*/ 132731 h 334834"/>
                      <a:gd name="connsiteX291" fmla="*/ 87773 w 334946"/>
                      <a:gd name="connsiteY291" fmla="*/ 141027 h 334834"/>
                      <a:gd name="connsiteX292" fmla="*/ 79391 w 334946"/>
                      <a:gd name="connsiteY292" fmla="*/ 144313 h 334834"/>
                      <a:gd name="connsiteX293" fmla="*/ 80620 w 334946"/>
                      <a:gd name="connsiteY293" fmla="*/ 154257 h 334834"/>
                      <a:gd name="connsiteX294" fmla="*/ 71009 w 334946"/>
                      <a:gd name="connsiteY294" fmla="*/ 163049 h 334834"/>
                      <a:gd name="connsiteX295" fmla="*/ 72076 w 334946"/>
                      <a:gd name="connsiteY295" fmla="*/ 165354 h 334834"/>
                      <a:gd name="connsiteX296" fmla="*/ 81858 w 334946"/>
                      <a:gd name="connsiteY296" fmla="*/ 166011 h 334834"/>
                      <a:gd name="connsiteX297" fmla="*/ 84649 w 334946"/>
                      <a:gd name="connsiteY297" fmla="*/ 173241 h 334834"/>
                      <a:gd name="connsiteX298" fmla="*/ 77095 w 334946"/>
                      <a:gd name="connsiteY298" fmla="*/ 178165 h 334834"/>
                      <a:gd name="connsiteX299" fmla="*/ 75781 w 334946"/>
                      <a:gd name="connsiteY299" fmla="*/ 186547 h 334834"/>
                      <a:gd name="connsiteX300" fmla="*/ 88106 w 334946"/>
                      <a:gd name="connsiteY300" fmla="*/ 190576 h 334834"/>
                      <a:gd name="connsiteX301" fmla="*/ 88020 w 334946"/>
                      <a:gd name="connsiteY301" fmla="*/ 198711 h 334834"/>
                      <a:gd name="connsiteX302" fmla="*/ 84896 w 334946"/>
                      <a:gd name="connsiteY302" fmla="*/ 199615 h 334834"/>
                      <a:gd name="connsiteX303" fmla="*/ 79715 w 334946"/>
                      <a:gd name="connsiteY303" fmla="*/ 206769 h 334834"/>
                      <a:gd name="connsiteX304" fmla="*/ 80534 w 334946"/>
                      <a:gd name="connsiteY304" fmla="*/ 208988 h 334834"/>
                      <a:gd name="connsiteX305" fmla="*/ 87925 w 334946"/>
                      <a:gd name="connsiteY305" fmla="*/ 210636 h 334834"/>
                      <a:gd name="connsiteX306" fmla="*/ 91211 w 334946"/>
                      <a:gd name="connsiteY306" fmla="*/ 210226 h 334834"/>
                      <a:gd name="connsiteX307" fmla="*/ 95164 w 334946"/>
                      <a:gd name="connsiteY307" fmla="*/ 220170 h 334834"/>
                      <a:gd name="connsiteX308" fmla="*/ 105518 w 334946"/>
                      <a:gd name="connsiteY308" fmla="*/ 221075 h 334834"/>
                      <a:gd name="connsiteX309" fmla="*/ 107080 w 334946"/>
                      <a:gd name="connsiteY309" fmla="*/ 228552 h 334834"/>
                      <a:gd name="connsiteX310" fmla="*/ 105851 w 334946"/>
                      <a:gd name="connsiteY310" fmla="*/ 230029 h 334834"/>
                      <a:gd name="connsiteX311" fmla="*/ 99031 w 334946"/>
                      <a:gd name="connsiteY311" fmla="*/ 231753 h 334834"/>
                      <a:gd name="connsiteX312" fmla="*/ 99355 w 334946"/>
                      <a:gd name="connsiteY312" fmla="*/ 240792 h 334834"/>
                      <a:gd name="connsiteX313" fmla="*/ 108966 w 334946"/>
                      <a:gd name="connsiteY313" fmla="*/ 238735 h 334834"/>
                      <a:gd name="connsiteX314" fmla="*/ 107899 w 334946"/>
                      <a:gd name="connsiteY314" fmla="*/ 230686 h 334834"/>
                      <a:gd name="connsiteX315" fmla="*/ 116443 w 334946"/>
                      <a:gd name="connsiteY315" fmla="*/ 228467 h 334834"/>
                      <a:gd name="connsiteX316" fmla="*/ 118910 w 334946"/>
                      <a:gd name="connsiteY316" fmla="*/ 230438 h 334834"/>
                      <a:gd name="connsiteX317" fmla="*/ 119815 w 334946"/>
                      <a:gd name="connsiteY317" fmla="*/ 238077 h 334834"/>
                      <a:gd name="connsiteX318" fmla="*/ 110452 w 334946"/>
                      <a:gd name="connsiteY318" fmla="*/ 244897 h 334834"/>
                      <a:gd name="connsiteX319" fmla="*/ 110938 w 334946"/>
                      <a:gd name="connsiteY319" fmla="*/ 247040 h 334834"/>
                      <a:gd name="connsiteX320" fmla="*/ 112252 w 334946"/>
                      <a:gd name="connsiteY320" fmla="*/ 249422 h 334834"/>
                      <a:gd name="connsiteX321" fmla="*/ 122272 w 334946"/>
                      <a:gd name="connsiteY321" fmla="*/ 247612 h 334834"/>
                      <a:gd name="connsiteX322" fmla="*/ 122358 w 334946"/>
                      <a:gd name="connsiteY322" fmla="*/ 238573 h 334834"/>
                      <a:gd name="connsiteX323" fmla="*/ 125397 w 334946"/>
                      <a:gd name="connsiteY323" fmla="*/ 237754 h 334834"/>
                      <a:gd name="connsiteX324" fmla="*/ 133207 w 334946"/>
                      <a:gd name="connsiteY324" fmla="*/ 243430 h 334834"/>
                      <a:gd name="connsiteX325" fmla="*/ 133617 w 334946"/>
                      <a:gd name="connsiteY325" fmla="*/ 246802 h 334834"/>
                      <a:gd name="connsiteX326" fmla="*/ 123834 w 334946"/>
                      <a:gd name="connsiteY326" fmla="*/ 254279 h 334834"/>
                      <a:gd name="connsiteX327" fmla="*/ 124492 w 334946"/>
                      <a:gd name="connsiteY327" fmla="*/ 256499 h 334834"/>
                      <a:gd name="connsiteX328" fmla="*/ 126463 w 334946"/>
                      <a:gd name="connsiteY328" fmla="*/ 258956 h 334834"/>
                      <a:gd name="connsiteX329" fmla="*/ 135503 w 334946"/>
                      <a:gd name="connsiteY329" fmla="*/ 255842 h 334834"/>
                      <a:gd name="connsiteX330" fmla="*/ 134522 w 334946"/>
                      <a:gd name="connsiteY330" fmla="*/ 248031 h 334834"/>
                      <a:gd name="connsiteX331" fmla="*/ 145694 w 334946"/>
                      <a:gd name="connsiteY331" fmla="*/ 248107 h 334834"/>
                      <a:gd name="connsiteX332" fmla="*/ 148323 w 334946"/>
                      <a:gd name="connsiteY332" fmla="*/ 255584 h 334834"/>
                      <a:gd name="connsiteX333" fmla="*/ 158182 w 334946"/>
                      <a:gd name="connsiteY333" fmla="*/ 254517 h 334834"/>
                      <a:gd name="connsiteX334" fmla="*/ 160230 w 334946"/>
                      <a:gd name="connsiteY334" fmla="*/ 262071 h 334834"/>
                      <a:gd name="connsiteX335" fmla="*/ 170421 w 334946"/>
                      <a:gd name="connsiteY335" fmla="*/ 261909 h 334834"/>
                      <a:gd name="connsiteX336" fmla="*/ 170012 w 334946"/>
                      <a:gd name="connsiteY336" fmla="*/ 253860 h 334834"/>
                      <a:gd name="connsiteX337" fmla="*/ 177489 w 334946"/>
                      <a:gd name="connsiteY337" fmla="*/ 250326 h 334834"/>
                      <a:gd name="connsiteX338" fmla="*/ 182251 w 334946"/>
                      <a:gd name="connsiteY338" fmla="*/ 257642 h 334834"/>
                      <a:gd name="connsiteX339" fmla="*/ 190633 w 334946"/>
                      <a:gd name="connsiteY339" fmla="*/ 259204 h 334834"/>
                      <a:gd name="connsiteX340" fmla="*/ 192519 w 334946"/>
                      <a:gd name="connsiteY340" fmla="*/ 248602 h 334834"/>
                      <a:gd name="connsiteX341" fmla="*/ 198025 w 334946"/>
                      <a:gd name="connsiteY341" fmla="*/ 246307 h 334834"/>
                      <a:gd name="connsiteX342" fmla="*/ 201644 w 334946"/>
                      <a:gd name="connsiteY342" fmla="*/ 245812 h 334834"/>
                      <a:gd name="connsiteX343" fmla="*/ 204273 w 334946"/>
                      <a:gd name="connsiteY343" fmla="*/ 252632 h 334834"/>
                      <a:gd name="connsiteX344" fmla="*/ 211341 w 334946"/>
                      <a:gd name="connsiteY344" fmla="*/ 255184 h 334834"/>
                      <a:gd name="connsiteX345" fmla="*/ 213636 w 334946"/>
                      <a:gd name="connsiteY345" fmla="*/ 253955 h 334834"/>
                      <a:gd name="connsiteX346" fmla="*/ 215275 w 334946"/>
                      <a:gd name="connsiteY346" fmla="*/ 251327 h 334834"/>
                      <a:gd name="connsiteX347" fmla="*/ 212979 w 334946"/>
                      <a:gd name="connsiteY347" fmla="*/ 243602 h 334834"/>
                      <a:gd name="connsiteX348" fmla="*/ 204845 w 334946"/>
                      <a:gd name="connsiteY348" fmla="*/ 244831 h 334834"/>
                      <a:gd name="connsiteX349" fmla="*/ 202549 w 334946"/>
                      <a:gd name="connsiteY349" fmla="*/ 235134 h 334834"/>
                      <a:gd name="connsiteX350" fmla="*/ 211912 w 334946"/>
                      <a:gd name="connsiteY350" fmla="*/ 234639 h 334834"/>
                      <a:gd name="connsiteX351" fmla="*/ 213550 w 334946"/>
                      <a:gd name="connsiteY351" fmla="*/ 241297 h 334834"/>
                      <a:gd name="connsiteX352" fmla="*/ 222999 w 334946"/>
                      <a:gd name="connsiteY352" fmla="*/ 240887 h 334834"/>
                      <a:gd name="connsiteX353" fmla="*/ 223580 w 334946"/>
                      <a:gd name="connsiteY353" fmla="*/ 230857 h 334834"/>
                      <a:gd name="connsiteX354" fmla="*/ 233277 w 334946"/>
                      <a:gd name="connsiteY354" fmla="*/ 226838 h 334834"/>
                      <a:gd name="connsiteX355" fmla="*/ 232877 w 334946"/>
                      <a:gd name="connsiteY355" fmla="*/ 217465 h 334834"/>
                      <a:gd name="connsiteX356" fmla="*/ 242325 w 334946"/>
                      <a:gd name="connsiteY356" fmla="*/ 213522 h 334834"/>
                      <a:gd name="connsiteX357" fmla="*/ 241744 w 334946"/>
                      <a:gd name="connsiteY357" fmla="*/ 204073 h 334834"/>
                      <a:gd name="connsiteX358" fmla="*/ 251031 w 334946"/>
                      <a:gd name="connsiteY358" fmla="*/ 199882 h 334834"/>
                      <a:gd name="connsiteX359" fmla="*/ 250288 w 334946"/>
                      <a:gd name="connsiteY359" fmla="*/ 190519 h 334834"/>
                      <a:gd name="connsiteX360" fmla="*/ 259575 w 334946"/>
                      <a:gd name="connsiteY360" fmla="*/ 186080 h 334834"/>
                      <a:gd name="connsiteX361" fmla="*/ 259490 w 334946"/>
                      <a:gd name="connsiteY361" fmla="*/ 182632 h 334834"/>
                      <a:gd name="connsiteX362" fmla="*/ 256937 w 334946"/>
                      <a:gd name="connsiteY362" fmla="*/ 177127 h 334834"/>
                      <a:gd name="connsiteX363" fmla="*/ 248145 w 334946"/>
                      <a:gd name="connsiteY363" fmla="*/ 177289 h 334834"/>
                      <a:gd name="connsiteX364" fmla="*/ 248145 w 334946"/>
                      <a:gd name="connsiteY364" fmla="*/ 167183 h 334834"/>
                      <a:gd name="connsiteX365" fmla="*/ 255622 w 334946"/>
                      <a:gd name="connsiteY365" fmla="*/ 164963 h 334834"/>
                      <a:gd name="connsiteX366" fmla="*/ 254308 w 334946"/>
                      <a:gd name="connsiteY366" fmla="*/ 155267 h 334834"/>
                      <a:gd name="connsiteX367" fmla="*/ 261214 w 334946"/>
                      <a:gd name="connsiteY367" fmla="*/ 152886 h 334834"/>
                      <a:gd name="connsiteX368" fmla="*/ 261375 w 334946"/>
                      <a:gd name="connsiteY368" fmla="*/ 142456 h 334834"/>
                      <a:gd name="connsiteX369" fmla="*/ 252012 w 334946"/>
                      <a:gd name="connsiteY369" fmla="*/ 142532 h 334834"/>
                      <a:gd name="connsiteX370" fmla="*/ 248888 w 334946"/>
                      <a:gd name="connsiteY370" fmla="*/ 132674 h 334834"/>
                      <a:gd name="connsiteX371" fmla="*/ 245516 w 334946"/>
                      <a:gd name="connsiteY371" fmla="*/ 132998 h 334834"/>
                      <a:gd name="connsiteX372" fmla="*/ 237792 w 334946"/>
                      <a:gd name="connsiteY372" fmla="*/ 130940 h 334834"/>
                      <a:gd name="connsiteX373" fmla="*/ 237135 w 334946"/>
                      <a:gd name="connsiteY373" fmla="*/ 128473 h 334834"/>
                      <a:gd name="connsiteX374" fmla="*/ 245431 w 334946"/>
                      <a:gd name="connsiteY374" fmla="*/ 121072 h 334834"/>
                      <a:gd name="connsiteX375" fmla="*/ 245592 w 334946"/>
                      <a:gd name="connsiteY375" fmla="*/ 113271 h 334834"/>
                      <a:gd name="connsiteX376" fmla="*/ 234334 w 334946"/>
                      <a:gd name="connsiteY376" fmla="*/ 111300 h 334834"/>
                      <a:gd name="connsiteX377" fmla="*/ 230962 w 334946"/>
                      <a:gd name="connsiteY377" fmla="*/ 102013 h 334834"/>
                      <a:gd name="connsiteX378" fmla="*/ 221351 w 334946"/>
                      <a:gd name="connsiteY378" fmla="*/ 102184 h 334834"/>
                      <a:gd name="connsiteX379" fmla="*/ 218227 w 334946"/>
                      <a:gd name="connsiteY379" fmla="*/ 93393 h 334834"/>
                      <a:gd name="connsiteX380" fmla="*/ 208283 w 334946"/>
                      <a:gd name="connsiteY380" fmla="*/ 93478 h 334834"/>
                      <a:gd name="connsiteX381" fmla="*/ 204340 w 334946"/>
                      <a:gd name="connsiteY381" fmla="*/ 84277 h 334834"/>
                      <a:gd name="connsiteX382" fmla="*/ 194967 w 334946"/>
                      <a:gd name="connsiteY382" fmla="*/ 85020 h 334834"/>
                      <a:gd name="connsiteX383" fmla="*/ 187814 w 334946"/>
                      <a:gd name="connsiteY383" fmla="*/ 75238 h 334834"/>
                      <a:gd name="connsiteX384" fmla="*/ 181318 w 334946"/>
                      <a:gd name="connsiteY384" fmla="*/ 77867 h 334834"/>
                      <a:gd name="connsiteX385" fmla="*/ 180499 w 334946"/>
                      <a:gd name="connsiteY385" fmla="*/ 87725 h 334834"/>
                      <a:gd name="connsiteX386" fmla="*/ 178032 w 334946"/>
                      <a:gd name="connsiteY386" fmla="*/ 88716 h 334834"/>
                      <a:gd name="connsiteX387" fmla="*/ 170307 w 334946"/>
                      <a:gd name="connsiteY387" fmla="*/ 82553 h 334834"/>
                      <a:gd name="connsiteX388" fmla="*/ 169488 w 334946"/>
                      <a:gd name="connsiteY388" fmla="*/ 79181 h 334834"/>
                      <a:gd name="connsiteX389" fmla="*/ 159458 w 334946"/>
                      <a:gd name="connsiteY389" fmla="*/ 80658 h 334834"/>
                      <a:gd name="connsiteX390" fmla="*/ 151981 w 334946"/>
                      <a:gd name="connsiteY390" fmla="*/ 70875 h 334834"/>
                      <a:gd name="connsiteX391" fmla="*/ 146028 w 334946"/>
                      <a:gd name="connsiteY391" fmla="*/ 74457 h 334834"/>
                      <a:gd name="connsiteX392" fmla="*/ 203968 w 334946"/>
                      <a:gd name="connsiteY392" fmla="*/ 74619 h 334834"/>
                      <a:gd name="connsiteX393" fmla="*/ 207331 w 334946"/>
                      <a:gd name="connsiteY393" fmla="*/ 82667 h 334834"/>
                      <a:gd name="connsiteX394" fmla="*/ 210455 w 334946"/>
                      <a:gd name="connsiteY394" fmla="*/ 82172 h 334834"/>
                      <a:gd name="connsiteX395" fmla="*/ 208893 w 334946"/>
                      <a:gd name="connsiteY395" fmla="*/ 71075 h 334834"/>
                      <a:gd name="connsiteX396" fmla="*/ 203968 w 334946"/>
                      <a:gd name="connsiteY396" fmla="*/ 74619 h 334834"/>
                      <a:gd name="connsiteX397" fmla="*/ 89573 w 334946"/>
                      <a:gd name="connsiteY397" fmla="*/ 75524 h 334834"/>
                      <a:gd name="connsiteX398" fmla="*/ 95250 w 334946"/>
                      <a:gd name="connsiteY398" fmla="*/ 81686 h 334834"/>
                      <a:gd name="connsiteX399" fmla="*/ 93355 w 334946"/>
                      <a:gd name="connsiteY399" fmla="*/ 71990 h 334834"/>
                      <a:gd name="connsiteX400" fmla="*/ 89573 w 334946"/>
                      <a:gd name="connsiteY400" fmla="*/ 75524 h 334834"/>
                      <a:gd name="connsiteX401" fmla="*/ 263376 w 334946"/>
                      <a:gd name="connsiteY401" fmla="*/ 75438 h 334834"/>
                      <a:gd name="connsiteX402" fmla="*/ 267652 w 334946"/>
                      <a:gd name="connsiteY402" fmla="*/ 80620 h 334834"/>
                      <a:gd name="connsiteX403" fmla="*/ 266833 w 334946"/>
                      <a:gd name="connsiteY403" fmla="*/ 72895 h 334834"/>
                      <a:gd name="connsiteX404" fmla="*/ 263376 w 334946"/>
                      <a:gd name="connsiteY404" fmla="*/ 75438 h 334834"/>
                      <a:gd name="connsiteX405" fmla="*/ 36243 w 334946"/>
                      <a:gd name="connsiteY405" fmla="*/ 78810 h 334834"/>
                      <a:gd name="connsiteX406" fmla="*/ 36243 w 334946"/>
                      <a:gd name="connsiteY406" fmla="*/ 74695 h 334834"/>
                      <a:gd name="connsiteX407" fmla="*/ 36243 w 334946"/>
                      <a:gd name="connsiteY407" fmla="*/ 78810 h 334834"/>
                      <a:gd name="connsiteX408" fmla="*/ 239878 w 334946"/>
                      <a:gd name="connsiteY408" fmla="*/ 80372 h 334834"/>
                      <a:gd name="connsiteX409" fmla="*/ 245793 w 334946"/>
                      <a:gd name="connsiteY409" fmla="*/ 86211 h 334834"/>
                      <a:gd name="connsiteX410" fmla="*/ 244069 w 334946"/>
                      <a:gd name="connsiteY410" fmla="*/ 76352 h 334834"/>
                      <a:gd name="connsiteX411" fmla="*/ 239878 w 334946"/>
                      <a:gd name="connsiteY411" fmla="*/ 80372 h 334834"/>
                      <a:gd name="connsiteX412" fmla="*/ 68047 w 334946"/>
                      <a:gd name="connsiteY412" fmla="*/ 80210 h 334834"/>
                      <a:gd name="connsiteX413" fmla="*/ 73057 w 334946"/>
                      <a:gd name="connsiteY413" fmla="*/ 85382 h 334834"/>
                      <a:gd name="connsiteX414" fmla="*/ 71495 w 334946"/>
                      <a:gd name="connsiteY414" fmla="*/ 77086 h 334834"/>
                      <a:gd name="connsiteX415" fmla="*/ 68047 w 334946"/>
                      <a:gd name="connsiteY415" fmla="*/ 80210 h 334834"/>
                      <a:gd name="connsiteX416" fmla="*/ 300600 w 334946"/>
                      <a:gd name="connsiteY416" fmla="*/ 80781 h 334834"/>
                      <a:gd name="connsiteX417" fmla="*/ 302162 w 334946"/>
                      <a:gd name="connsiteY417" fmla="*/ 83163 h 334834"/>
                      <a:gd name="connsiteX418" fmla="*/ 302324 w 334946"/>
                      <a:gd name="connsiteY418" fmla="*/ 79143 h 334834"/>
                      <a:gd name="connsiteX419" fmla="*/ 300600 w 334946"/>
                      <a:gd name="connsiteY419" fmla="*/ 80781 h 334834"/>
                      <a:gd name="connsiteX420" fmla="*/ 217199 w 334946"/>
                      <a:gd name="connsiteY420" fmla="*/ 83248 h 334834"/>
                      <a:gd name="connsiteX421" fmla="*/ 217275 w 334946"/>
                      <a:gd name="connsiteY421" fmla="*/ 86449 h 334834"/>
                      <a:gd name="connsiteX422" fmla="*/ 220647 w 334946"/>
                      <a:gd name="connsiteY422" fmla="*/ 91630 h 334834"/>
                      <a:gd name="connsiteX423" fmla="*/ 223771 w 334946"/>
                      <a:gd name="connsiteY423" fmla="*/ 91059 h 334834"/>
                      <a:gd name="connsiteX424" fmla="*/ 226400 w 334946"/>
                      <a:gd name="connsiteY424" fmla="*/ 90316 h 334834"/>
                      <a:gd name="connsiteX425" fmla="*/ 221799 w 334946"/>
                      <a:gd name="connsiteY425" fmla="*/ 79962 h 334834"/>
                      <a:gd name="connsiteX426" fmla="*/ 217199 w 334946"/>
                      <a:gd name="connsiteY426" fmla="*/ 83248 h 334834"/>
                      <a:gd name="connsiteX427" fmla="*/ 102146 w 334946"/>
                      <a:gd name="connsiteY427" fmla="*/ 84068 h 334834"/>
                      <a:gd name="connsiteX428" fmla="*/ 107651 w 334946"/>
                      <a:gd name="connsiteY428" fmla="*/ 91297 h 334834"/>
                      <a:gd name="connsiteX429" fmla="*/ 112662 w 334946"/>
                      <a:gd name="connsiteY429" fmla="*/ 88916 h 334834"/>
                      <a:gd name="connsiteX430" fmla="*/ 106832 w 334946"/>
                      <a:gd name="connsiteY430" fmla="*/ 80039 h 334834"/>
                      <a:gd name="connsiteX431" fmla="*/ 102146 w 334946"/>
                      <a:gd name="connsiteY431" fmla="*/ 84068 h 334834"/>
                      <a:gd name="connsiteX432" fmla="*/ 159506 w 334946"/>
                      <a:gd name="connsiteY432" fmla="*/ 86449 h 334834"/>
                      <a:gd name="connsiteX433" fmla="*/ 159839 w 334946"/>
                      <a:gd name="connsiteY433" fmla="*/ 89078 h 334834"/>
                      <a:gd name="connsiteX434" fmla="*/ 151866 w 334946"/>
                      <a:gd name="connsiteY434" fmla="*/ 93107 h 334834"/>
                      <a:gd name="connsiteX435" fmla="*/ 149323 w 334946"/>
                      <a:gd name="connsiteY435" fmla="*/ 91297 h 334834"/>
                      <a:gd name="connsiteX436" fmla="*/ 148990 w 334946"/>
                      <a:gd name="connsiteY436" fmla="*/ 83325 h 334834"/>
                      <a:gd name="connsiteX437" fmla="*/ 156219 w 334946"/>
                      <a:gd name="connsiteY437" fmla="*/ 81515 h 334834"/>
                      <a:gd name="connsiteX438" fmla="*/ 159506 w 334946"/>
                      <a:gd name="connsiteY438" fmla="*/ 86449 h 334834"/>
                      <a:gd name="connsiteX439" fmla="*/ 276854 w 334946"/>
                      <a:gd name="connsiteY439" fmla="*/ 84887 h 334834"/>
                      <a:gd name="connsiteX440" fmla="*/ 280635 w 334946"/>
                      <a:gd name="connsiteY440" fmla="*/ 89240 h 334834"/>
                      <a:gd name="connsiteX441" fmla="*/ 279892 w 334946"/>
                      <a:gd name="connsiteY441" fmla="*/ 82086 h 334834"/>
                      <a:gd name="connsiteX442" fmla="*/ 276854 w 334946"/>
                      <a:gd name="connsiteY442" fmla="*/ 84887 h 334834"/>
                      <a:gd name="connsiteX443" fmla="*/ 46844 w 334946"/>
                      <a:gd name="connsiteY443" fmla="*/ 84563 h 334834"/>
                      <a:gd name="connsiteX444" fmla="*/ 50701 w 334946"/>
                      <a:gd name="connsiteY444" fmla="*/ 88830 h 334834"/>
                      <a:gd name="connsiteX445" fmla="*/ 49301 w 334946"/>
                      <a:gd name="connsiteY445" fmla="*/ 82420 h 334834"/>
                      <a:gd name="connsiteX446" fmla="*/ 46844 w 334946"/>
                      <a:gd name="connsiteY446" fmla="*/ 84563 h 334834"/>
                      <a:gd name="connsiteX447" fmla="*/ 80448 w 334946"/>
                      <a:gd name="connsiteY447" fmla="*/ 88916 h 334834"/>
                      <a:gd name="connsiteX448" fmla="*/ 86859 w 334946"/>
                      <a:gd name="connsiteY448" fmla="*/ 95079 h 334834"/>
                      <a:gd name="connsiteX449" fmla="*/ 84639 w 334946"/>
                      <a:gd name="connsiteY449" fmla="*/ 85058 h 334834"/>
                      <a:gd name="connsiteX450" fmla="*/ 80448 w 334946"/>
                      <a:gd name="connsiteY450" fmla="*/ 88916 h 334834"/>
                      <a:gd name="connsiteX451" fmla="*/ 253517 w 334946"/>
                      <a:gd name="connsiteY451" fmla="*/ 88754 h 334834"/>
                      <a:gd name="connsiteX452" fmla="*/ 258775 w 334946"/>
                      <a:gd name="connsiteY452" fmla="*/ 94917 h 334834"/>
                      <a:gd name="connsiteX453" fmla="*/ 257708 w 334946"/>
                      <a:gd name="connsiteY453" fmla="*/ 85382 h 334834"/>
                      <a:gd name="connsiteX454" fmla="*/ 253517 w 334946"/>
                      <a:gd name="connsiteY454" fmla="*/ 88754 h 334834"/>
                      <a:gd name="connsiteX455" fmla="*/ 194843 w 334946"/>
                      <a:gd name="connsiteY455" fmla="*/ 90068 h 334834"/>
                      <a:gd name="connsiteX456" fmla="*/ 195339 w 334946"/>
                      <a:gd name="connsiteY456" fmla="*/ 93602 h 334834"/>
                      <a:gd name="connsiteX457" fmla="*/ 188681 w 334946"/>
                      <a:gd name="connsiteY457" fmla="*/ 97707 h 334834"/>
                      <a:gd name="connsiteX458" fmla="*/ 184737 w 334946"/>
                      <a:gd name="connsiteY458" fmla="*/ 88259 h 334834"/>
                      <a:gd name="connsiteX459" fmla="*/ 190729 w 334946"/>
                      <a:gd name="connsiteY459" fmla="*/ 86125 h 334834"/>
                      <a:gd name="connsiteX460" fmla="*/ 194843 w 334946"/>
                      <a:gd name="connsiteY460" fmla="*/ 90068 h 334834"/>
                      <a:gd name="connsiteX461" fmla="*/ 25727 w 334946"/>
                      <a:gd name="connsiteY461" fmla="*/ 89735 h 334834"/>
                      <a:gd name="connsiteX462" fmla="*/ 28194 w 334946"/>
                      <a:gd name="connsiteY462" fmla="*/ 92040 h 334834"/>
                      <a:gd name="connsiteX463" fmla="*/ 27289 w 334946"/>
                      <a:gd name="connsiteY463" fmla="*/ 88097 h 334834"/>
                      <a:gd name="connsiteX464" fmla="*/ 25727 w 334946"/>
                      <a:gd name="connsiteY464" fmla="*/ 89735 h 334834"/>
                      <a:gd name="connsiteX465" fmla="*/ 314573 w 334946"/>
                      <a:gd name="connsiteY465" fmla="*/ 90145 h 334834"/>
                      <a:gd name="connsiteX466" fmla="*/ 315725 w 334946"/>
                      <a:gd name="connsiteY466" fmla="*/ 91297 h 334834"/>
                      <a:gd name="connsiteX467" fmla="*/ 317125 w 334946"/>
                      <a:gd name="connsiteY467" fmla="*/ 90230 h 334834"/>
                      <a:gd name="connsiteX468" fmla="*/ 315725 w 334946"/>
                      <a:gd name="connsiteY468" fmla="*/ 88754 h 334834"/>
                      <a:gd name="connsiteX469" fmla="*/ 314573 w 334946"/>
                      <a:gd name="connsiteY469" fmla="*/ 90145 h 334834"/>
                      <a:gd name="connsiteX470" fmla="*/ 230505 w 334946"/>
                      <a:gd name="connsiteY470" fmla="*/ 92288 h 334834"/>
                      <a:gd name="connsiteX471" fmla="*/ 233791 w 334946"/>
                      <a:gd name="connsiteY471" fmla="*/ 100336 h 334834"/>
                      <a:gd name="connsiteX472" fmla="*/ 237077 w 334946"/>
                      <a:gd name="connsiteY472" fmla="*/ 99927 h 334834"/>
                      <a:gd name="connsiteX473" fmla="*/ 235515 w 334946"/>
                      <a:gd name="connsiteY473" fmla="*/ 88830 h 334834"/>
                      <a:gd name="connsiteX474" fmla="*/ 230505 w 334946"/>
                      <a:gd name="connsiteY474" fmla="*/ 92288 h 334834"/>
                      <a:gd name="connsiteX475" fmla="*/ 59169 w 334946"/>
                      <a:gd name="connsiteY475" fmla="*/ 93354 h 334834"/>
                      <a:gd name="connsiteX476" fmla="*/ 64427 w 334946"/>
                      <a:gd name="connsiteY476" fmla="*/ 98698 h 334834"/>
                      <a:gd name="connsiteX477" fmla="*/ 62455 w 334946"/>
                      <a:gd name="connsiteY477" fmla="*/ 90316 h 334834"/>
                      <a:gd name="connsiteX478" fmla="*/ 59169 w 334946"/>
                      <a:gd name="connsiteY478" fmla="*/ 93354 h 334834"/>
                      <a:gd name="connsiteX479" fmla="*/ 168135 w 334946"/>
                      <a:gd name="connsiteY479" fmla="*/ 101822 h 334834"/>
                      <a:gd name="connsiteX480" fmla="*/ 162211 w 334946"/>
                      <a:gd name="connsiteY480" fmla="*/ 94259 h 334834"/>
                      <a:gd name="connsiteX481" fmla="*/ 167059 w 334946"/>
                      <a:gd name="connsiteY481" fmla="*/ 90887 h 334834"/>
                      <a:gd name="connsiteX482" fmla="*/ 168135 w 334946"/>
                      <a:gd name="connsiteY482" fmla="*/ 101822 h 334834"/>
                      <a:gd name="connsiteX483" fmla="*/ 290579 w 334946"/>
                      <a:gd name="connsiteY483" fmla="*/ 93850 h 334834"/>
                      <a:gd name="connsiteX484" fmla="*/ 294027 w 334946"/>
                      <a:gd name="connsiteY484" fmla="*/ 97631 h 334834"/>
                      <a:gd name="connsiteX485" fmla="*/ 293446 w 334946"/>
                      <a:gd name="connsiteY485" fmla="*/ 91383 h 334834"/>
                      <a:gd name="connsiteX486" fmla="*/ 290579 w 334946"/>
                      <a:gd name="connsiteY486" fmla="*/ 93850 h 334834"/>
                      <a:gd name="connsiteX487" fmla="*/ 93192 w 334946"/>
                      <a:gd name="connsiteY487" fmla="*/ 96974 h 334834"/>
                      <a:gd name="connsiteX488" fmla="*/ 96974 w 334946"/>
                      <a:gd name="connsiteY488" fmla="*/ 104775 h 334834"/>
                      <a:gd name="connsiteX489" fmla="*/ 100422 w 334946"/>
                      <a:gd name="connsiteY489" fmla="*/ 104203 h 334834"/>
                      <a:gd name="connsiteX490" fmla="*/ 104613 w 334946"/>
                      <a:gd name="connsiteY490" fmla="*/ 102156 h 334834"/>
                      <a:gd name="connsiteX491" fmla="*/ 104365 w 334946"/>
                      <a:gd name="connsiteY491" fmla="*/ 99193 h 334834"/>
                      <a:gd name="connsiteX492" fmla="*/ 98365 w 334946"/>
                      <a:gd name="connsiteY492" fmla="*/ 93116 h 334834"/>
                      <a:gd name="connsiteX493" fmla="*/ 93192 w 334946"/>
                      <a:gd name="connsiteY493" fmla="*/ 96974 h 334834"/>
                      <a:gd name="connsiteX494" fmla="*/ 267071 w 334946"/>
                      <a:gd name="connsiteY494" fmla="*/ 97707 h 334834"/>
                      <a:gd name="connsiteX495" fmla="*/ 272243 w 334946"/>
                      <a:gd name="connsiteY495" fmla="*/ 103384 h 334834"/>
                      <a:gd name="connsiteX496" fmla="*/ 271015 w 334946"/>
                      <a:gd name="connsiteY496" fmla="*/ 94507 h 334834"/>
                      <a:gd name="connsiteX497" fmla="*/ 267071 w 334946"/>
                      <a:gd name="connsiteY497" fmla="*/ 97707 h 334834"/>
                      <a:gd name="connsiteX498" fmla="*/ 202149 w 334946"/>
                      <a:gd name="connsiteY498" fmla="*/ 106499 h 334834"/>
                      <a:gd name="connsiteX499" fmla="*/ 198044 w 334946"/>
                      <a:gd name="connsiteY499" fmla="*/ 97784 h 334834"/>
                      <a:gd name="connsiteX500" fmla="*/ 203302 w 334946"/>
                      <a:gd name="connsiteY500" fmla="*/ 95155 h 334834"/>
                      <a:gd name="connsiteX501" fmla="*/ 202149 w 334946"/>
                      <a:gd name="connsiteY501" fmla="*/ 106499 h 334834"/>
                      <a:gd name="connsiteX502" fmla="*/ 145456 w 334946"/>
                      <a:gd name="connsiteY502" fmla="*/ 106251 h 334834"/>
                      <a:gd name="connsiteX503" fmla="*/ 139789 w 334946"/>
                      <a:gd name="connsiteY503" fmla="*/ 99346 h 334834"/>
                      <a:gd name="connsiteX504" fmla="*/ 144389 w 334946"/>
                      <a:gd name="connsiteY504" fmla="*/ 95402 h 334834"/>
                      <a:gd name="connsiteX505" fmla="*/ 145456 w 334946"/>
                      <a:gd name="connsiteY505" fmla="*/ 106251 h 334834"/>
                      <a:gd name="connsiteX506" fmla="*/ 37976 w 334946"/>
                      <a:gd name="connsiteY506" fmla="*/ 98041 h 334834"/>
                      <a:gd name="connsiteX507" fmla="*/ 41348 w 334946"/>
                      <a:gd name="connsiteY507" fmla="*/ 102146 h 334834"/>
                      <a:gd name="connsiteX508" fmla="*/ 40767 w 334946"/>
                      <a:gd name="connsiteY508" fmla="*/ 95736 h 334834"/>
                      <a:gd name="connsiteX509" fmla="*/ 37976 w 334946"/>
                      <a:gd name="connsiteY509" fmla="*/ 98041 h 334834"/>
                      <a:gd name="connsiteX510" fmla="*/ 243811 w 334946"/>
                      <a:gd name="connsiteY510" fmla="*/ 101898 h 334834"/>
                      <a:gd name="connsiteX511" fmla="*/ 250393 w 334946"/>
                      <a:gd name="connsiteY511" fmla="*/ 108880 h 334834"/>
                      <a:gd name="connsiteX512" fmla="*/ 248250 w 334946"/>
                      <a:gd name="connsiteY512" fmla="*/ 97869 h 334834"/>
                      <a:gd name="connsiteX513" fmla="*/ 243811 w 334946"/>
                      <a:gd name="connsiteY513" fmla="*/ 101898 h 334834"/>
                      <a:gd name="connsiteX514" fmla="*/ 71580 w 334946"/>
                      <a:gd name="connsiteY514" fmla="*/ 102146 h 334834"/>
                      <a:gd name="connsiteX515" fmla="*/ 77162 w 334946"/>
                      <a:gd name="connsiteY515" fmla="*/ 108556 h 334834"/>
                      <a:gd name="connsiteX516" fmla="*/ 76257 w 334946"/>
                      <a:gd name="connsiteY516" fmla="*/ 98203 h 334834"/>
                      <a:gd name="connsiteX517" fmla="*/ 71580 w 334946"/>
                      <a:gd name="connsiteY517" fmla="*/ 102146 h 334834"/>
                      <a:gd name="connsiteX518" fmla="*/ 122282 w 334946"/>
                      <a:gd name="connsiteY518" fmla="*/ 111023 h 334834"/>
                      <a:gd name="connsiteX519" fmla="*/ 117358 w 334946"/>
                      <a:gd name="connsiteY519" fmla="*/ 105927 h 334834"/>
                      <a:gd name="connsiteX520" fmla="*/ 117767 w 334946"/>
                      <a:gd name="connsiteY520" fmla="*/ 101737 h 334834"/>
                      <a:gd name="connsiteX521" fmla="*/ 123434 w 334946"/>
                      <a:gd name="connsiteY521" fmla="*/ 99593 h 334834"/>
                      <a:gd name="connsiteX522" fmla="*/ 122282 w 334946"/>
                      <a:gd name="connsiteY522" fmla="*/ 111023 h 334834"/>
                      <a:gd name="connsiteX523" fmla="*/ 181366 w 334946"/>
                      <a:gd name="connsiteY523" fmla="*/ 110280 h 334834"/>
                      <a:gd name="connsiteX524" fmla="*/ 175784 w 334946"/>
                      <a:gd name="connsiteY524" fmla="*/ 103794 h 334834"/>
                      <a:gd name="connsiteX525" fmla="*/ 179975 w 334946"/>
                      <a:gd name="connsiteY525" fmla="*/ 100184 h 334834"/>
                      <a:gd name="connsiteX526" fmla="*/ 181366 w 334946"/>
                      <a:gd name="connsiteY526" fmla="*/ 110280 h 334834"/>
                      <a:gd name="connsiteX527" fmla="*/ 304543 w 334946"/>
                      <a:gd name="connsiteY527" fmla="*/ 102556 h 334834"/>
                      <a:gd name="connsiteX528" fmla="*/ 307258 w 334946"/>
                      <a:gd name="connsiteY528" fmla="*/ 105927 h 334834"/>
                      <a:gd name="connsiteX529" fmla="*/ 306438 w 334946"/>
                      <a:gd name="connsiteY529" fmla="*/ 100832 h 334834"/>
                      <a:gd name="connsiteX530" fmla="*/ 304543 w 334946"/>
                      <a:gd name="connsiteY530" fmla="*/ 102556 h 334834"/>
                      <a:gd name="connsiteX531" fmla="*/ 17097 w 334946"/>
                      <a:gd name="connsiteY531" fmla="*/ 103051 h 334834"/>
                      <a:gd name="connsiteX532" fmla="*/ 18659 w 334946"/>
                      <a:gd name="connsiteY532" fmla="*/ 105194 h 334834"/>
                      <a:gd name="connsiteX533" fmla="*/ 20717 w 334946"/>
                      <a:gd name="connsiteY533" fmla="*/ 103137 h 334834"/>
                      <a:gd name="connsiteX534" fmla="*/ 18659 w 334946"/>
                      <a:gd name="connsiteY534" fmla="*/ 101575 h 334834"/>
                      <a:gd name="connsiteX535" fmla="*/ 17097 w 334946"/>
                      <a:gd name="connsiteY535" fmla="*/ 103051 h 334834"/>
                      <a:gd name="connsiteX536" fmla="*/ 50301 w 334946"/>
                      <a:gd name="connsiteY536" fmla="*/ 106747 h 334834"/>
                      <a:gd name="connsiteX537" fmla="*/ 55474 w 334946"/>
                      <a:gd name="connsiteY537" fmla="*/ 111919 h 334834"/>
                      <a:gd name="connsiteX538" fmla="*/ 53749 w 334946"/>
                      <a:gd name="connsiteY538" fmla="*/ 103622 h 334834"/>
                      <a:gd name="connsiteX539" fmla="*/ 50301 w 334946"/>
                      <a:gd name="connsiteY539" fmla="*/ 106747 h 334834"/>
                      <a:gd name="connsiteX540" fmla="*/ 280797 w 334946"/>
                      <a:gd name="connsiteY540" fmla="*/ 106832 h 334834"/>
                      <a:gd name="connsiteX541" fmla="*/ 285398 w 334946"/>
                      <a:gd name="connsiteY541" fmla="*/ 111852 h 334834"/>
                      <a:gd name="connsiteX542" fmla="*/ 283997 w 334946"/>
                      <a:gd name="connsiteY542" fmla="*/ 103794 h 334834"/>
                      <a:gd name="connsiteX543" fmla="*/ 280797 w 334946"/>
                      <a:gd name="connsiteY543" fmla="*/ 106832 h 334834"/>
                      <a:gd name="connsiteX544" fmla="*/ 215960 w 334946"/>
                      <a:gd name="connsiteY544" fmla="*/ 115462 h 334834"/>
                      <a:gd name="connsiteX545" fmla="*/ 211360 w 334946"/>
                      <a:gd name="connsiteY545" fmla="*/ 106832 h 334834"/>
                      <a:gd name="connsiteX546" fmla="*/ 216617 w 334946"/>
                      <a:gd name="connsiteY546" fmla="*/ 104041 h 334834"/>
                      <a:gd name="connsiteX547" fmla="*/ 215960 w 334946"/>
                      <a:gd name="connsiteY547" fmla="*/ 115462 h 334834"/>
                      <a:gd name="connsiteX548" fmla="*/ 158686 w 334946"/>
                      <a:gd name="connsiteY548" fmla="*/ 114471 h 334834"/>
                      <a:gd name="connsiteX549" fmla="*/ 153762 w 334946"/>
                      <a:gd name="connsiteY549" fmla="*/ 108471 h 334834"/>
                      <a:gd name="connsiteX550" fmla="*/ 158039 w 334946"/>
                      <a:gd name="connsiteY550" fmla="*/ 104851 h 334834"/>
                      <a:gd name="connsiteX551" fmla="*/ 158686 w 334946"/>
                      <a:gd name="connsiteY551" fmla="*/ 114471 h 334834"/>
                      <a:gd name="connsiteX552" fmla="*/ 257461 w 334946"/>
                      <a:gd name="connsiteY552" fmla="*/ 110699 h 334834"/>
                      <a:gd name="connsiteX553" fmla="*/ 263128 w 334946"/>
                      <a:gd name="connsiteY553" fmla="*/ 117596 h 334834"/>
                      <a:gd name="connsiteX554" fmla="*/ 262223 w 334946"/>
                      <a:gd name="connsiteY554" fmla="*/ 106994 h 334834"/>
                      <a:gd name="connsiteX555" fmla="*/ 257461 w 334946"/>
                      <a:gd name="connsiteY555" fmla="*/ 110699 h 334834"/>
                      <a:gd name="connsiteX556" fmla="*/ 29337 w 334946"/>
                      <a:gd name="connsiteY556" fmla="*/ 111185 h 334834"/>
                      <a:gd name="connsiteX557" fmla="*/ 32623 w 334946"/>
                      <a:gd name="connsiteY557" fmla="*/ 115300 h 334834"/>
                      <a:gd name="connsiteX558" fmla="*/ 32128 w 334946"/>
                      <a:gd name="connsiteY558" fmla="*/ 109137 h 334834"/>
                      <a:gd name="connsiteX559" fmla="*/ 29337 w 334946"/>
                      <a:gd name="connsiteY559" fmla="*/ 111185 h 334834"/>
                      <a:gd name="connsiteX560" fmla="*/ 137074 w 334946"/>
                      <a:gd name="connsiteY560" fmla="*/ 119072 h 334834"/>
                      <a:gd name="connsiteX561" fmla="*/ 131235 w 334946"/>
                      <a:gd name="connsiteY561" fmla="*/ 112909 h 334834"/>
                      <a:gd name="connsiteX562" fmla="*/ 135350 w 334946"/>
                      <a:gd name="connsiteY562" fmla="*/ 109128 h 334834"/>
                      <a:gd name="connsiteX563" fmla="*/ 137074 w 334946"/>
                      <a:gd name="connsiteY563" fmla="*/ 119072 h 334834"/>
                      <a:gd name="connsiteX564" fmla="*/ 195091 w 334946"/>
                      <a:gd name="connsiteY564" fmla="*/ 118910 h 334834"/>
                      <a:gd name="connsiteX565" fmla="*/ 189338 w 334946"/>
                      <a:gd name="connsiteY565" fmla="*/ 112909 h 334834"/>
                      <a:gd name="connsiteX566" fmla="*/ 193529 w 334946"/>
                      <a:gd name="connsiteY566" fmla="*/ 109299 h 334834"/>
                      <a:gd name="connsiteX567" fmla="*/ 195091 w 334946"/>
                      <a:gd name="connsiteY567" fmla="*/ 118910 h 334834"/>
                      <a:gd name="connsiteX568" fmla="*/ 318516 w 334946"/>
                      <a:gd name="connsiteY568" fmla="*/ 111928 h 334834"/>
                      <a:gd name="connsiteX569" fmla="*/ 319916 w 334946"/>
                      <a:gd name="connsiteY569" fmla="*/ 113986 h 334834"/>
                      <a:gd name="connsiteX570" fmla="*/ 321964 w 334946"/>
                      <a:gd name="connsiteY570" fmla="*/ 111766 h 334834"/>
                      <a:gd name="connsiteX571" fmla="*/ 319992 w 334946"/>
                      <a:gd name="connsiteY571" fmla="*/ 110452 h 334834"/>
                      <a:gd name="connsiteX572" fmla="*/ 318516 w 334946"/>
                      <a:gd name="connsiteY572" fmla="*/ 111928 h 334834"/>
                      <a:gd name="connsiteX573" fmla="*/ 62951 w 334946"/>
                      <a:gd name="connsiteY573" fmla="*/ 114805 h 334834"/>
                      <a:gd name="connsiteX574" fmla="*/ 68123 w 334946"/>
                      <a:gd name="connsiteY574" fmla="*/ 121872 h 334834"/>
                      <a:gd name="connsiteX575" fmla="*/ 67637 w 334946"/>
                      <a:gd name="connsiteY575" fmla="*/ 111519 h 334834"/>
                      <a:gd name="connsiteX576" fmla="*/ 62951 w 334946"/>
                      <a:gd name="connsiteY576" fmla="*/ 114805 h 334834"/>
                      <a:gd name="connsiteX577" fmla="*/ 235029 w 334946"/>
                      <a:gd name="connsiteY577" fmla="*/ 118005 h 334834"/>
                      <a:gd name="connsiteX578" fmla="*/ 235363 w 334946"/>
                      <a:gd name="connsiteY578" fmla="*/ 120967 h 334834"/>
                      <a:gd name="connsiteX579" fmla="*/ 228705 w 334946"/>
                      <a:gd name="connsiteY579" fmla="*/ 124501 h 334834"/>
                      <a:gd name="connsiteX580" fmla="*/ 225257 w 334946"/>
                      <a:gd name="connsiteY580" fmla="*/ 114643 h 334834"/>
                      <a:gd name="connsiteX581" fmla="*/ 230762 w 334946"/>
                      <a:gd name="connsiteY581" fmla="*/ 112757 h 334834"/>
                      <a:gd name="connsiteX582" fmla="*/ 235029 w 334946"/>
                      <a:gd name="connsiteY582" fmla="*/ 118005 h 334834"/>
                      <a:gd name="connsiteX583" fmla="*/ 114881 w 334946"/>
                      <a:gd name="connsiteY583" fmla="*/ 124168 h 334834"/>
                      <a:gd name="connsiteX584" fmla="*/ 108632 w 334946"/>
                      <a:gd name="connsiteY584" fmla="*/ 116367 h 334834"/>
                      <a:gd name="connsiteX585" fmla="*/ 113814 w 334946"/>
                      <a:gd name="connsiteY585" fmla="*/ 113081 h 334834"/>
                      <a:gd name="connsiteX586" fmla="*/ 114881 w 334946"/>
                      <a:gd name="connsiteY586" fmla="*/ 124168 h 334834"/>
                      <a:gd name="connsiteX587" fmla="*/ 294608 w 334946"/>
                      <a:gd name="connsiteY587" fmla="*/ 115948 h 334834"/>
                      <a:gd name="connsiteX588" fmla="*/ 298552 w 334946"/>
                      <a:gd name="connsiteY588" fmla="*/ 120139 h 334834"/>
                      <a:gd name="connsiteX589" fmla="*/ 297570 w 334946"/>
                      <a:gd name="connsiteY589" fmla="*/ 113157 h 334834"/>
                      <a:gd name="connsiteX590" fmla="*/ 294608 w 334946"/>
                      <a:gd name="connsiteY590" fmla="*/ 115948 h 334834"/>
                      <a:gd name="connsiteX591" fmla="*/ 172983 w 334946"/>
                      <a:gd name="connsiteY591" fmla="*/ 122691 h 334834"/>
                      <a:gd name="connsiteX592" fmla="*/ 167640 w 334946"/>
                      <a:gd name="connsiteY592" fmla="*/ 117434 h 334834"/>
                      <a:gd name="connsiteX593" fmla="*/ 171012 w 334946"/>
                      <a:gd name="connsiteY593" fmla="*/ 114309 h 334834"/>
                      <a:gd name="connsiteX594" fmla="*/ 172983 w 334946"/>
                      <a:gd name="connsiteY594" fmla="*/ 122691 h 334834"/>
                      <a:gd name="connsiteX595" fmla="*/ 8553 w 334946"/>
                      <a:gd name="connsiteY595" fmla="*/ 116443 h 334834"/>
                      <a:gd name="connsiteX596" fmla="*/ 10116 w 334946"/>
                      <a:gd name="connsiteY596" fmla="*/ 118091 h 334834"/>
                      <a:gd name="connsiteX597" fmla="*/ 11268 w 334946"/>
                      <a:gd name="connsiteY597" fmla="*/ 117024 h 334834"/>
                      <a:gd name="connsiteX598" fmla="*/ 11344 w 334946"/>
                      <a:gd name="connsiteY598" fmla="*/ 116281 h 334834"/>
                      <a:gd name="connsiteX599" fmla="*/ 9782 w 334946"/>
                      <a:gd name="connsiteY599" fmla="*/ 115214 h 334834"/>
                      <a:gd name="connsiteX600" fmla="*/ 8553 w 334946"/>
                      <a:gd name="connsiteY600" fmla="*/ 116443 h 334834"/>
                      <a:gd name="connsiteX601" fmla="*/ 271100 w 334946"/>
                      <a:gd name="connsiteY601" fmla="*/ 119815 h 334834"/>
                      <a:gd name="connsiteX602" fmla="*/ 276520 w 334946"/>
                      <a:gd name="connsiteY602" fmla="*/ 125968 h 334834"/>
                      <a:gd name="connsiteX603" fmla="*/ 275130 w 334946"/>
                      <a:gd name="connsiteY603" fmla="*/ 116272 h 334834"/>
                      <a:gd name="connsiteX604" fmla="*/ 271100 w 334946"/>
                      <a:gd name="connsiteY604" fmla="*/ 119815 h 334834"/>
                      <a:gd name="connsiteX605" fmla="*/ 41662 w 334946"/>
                      <a:gd name="connsiteY605" fmla="*/ 119815 h 334834"/>
                      <a:gd name="connsiteX606" fmla="*/ 46187 w 334946"/>
                      <a:gd name="connsiteY606" fmla="*/ 125158 h 334834"/>
                      <a:gd name="connsiteX607" fmla="*/ 44958 w 334946"/>
                      <a:gd name="connsiteY607" fmla="*/ 117024 h 334834"/>
                      <a:gd name="connsiteX608" fmla="*/ 41662 w 334946"/>
                      <a:gd name="connsiteY608" fmla="*/ 119815 h 334834"/>
                      <a:gd name="connsiteX609" fmla="*/ 207826 w 334946"/>
                      <a:gd name="connsiteY609" fmla="*/ 127949 h 334834"/>
                      <a:gd name="connsiteX610" fmla="*/ 202730 w 334946"/>
                      <a:gd name="connsiteY610" fmla="*/ 121787 h 334834"/>
                      <a:gd name="connsiteX611" fmla="*/ 207083 w 334946"/>
                      <a:gd name="connsiteY611" fmla="*/ 118167 h 334834"/>
                      <a:gd name="connsiteX612" fmla="*/ 207826 w 334946"/>
                      <a:gd name="connsiteY612" fmla="*/ 127949 h 334834"/>
                      <a:gd name="connsiteX613" fmla="*/ 150142 w 334946"/>
                      <a:gd name="connsiteY613" fmla="*/ 127216 h 334834"/>
                      <a:gd name="connsiteX614" fmla="*/ 145456 w 334946"/>
                      <a:gd name="connsiteY614" fmla="*/ 121796 h 334834"/>
                      <a:gd name="connsiteX615" fmla="*/ 149323 w 334946"/>
                      <a:gd name="connsiteY615" fmla="*/ 118758 h 334834"/>
                      <a:gd name="connsiteX616" fmla="*/ 150142 w 334946"/>
                      <a:gd name="connsiteY616" fmla="*/ 127216 h 334834"/>
                      <a:gd name="connsiteX617" fmla="*/ 75933 w 334946"/>
                      <a:gd name="connsiteY617" fmla="*/ 122606 h 334834"/>
                      <a:gd name="connsiteX618" fmla="*/ 78886 w 334946"/>
                      <a:gd name="connsiteY618" fmla="*/ 131235 h 334834"/>
                      <a:gd name="connsiteX619" fmla="*/ 87020 w 334946"/>
                      <a:gd name="connsiteY619" fmla="*/ 129016 h 334834"/>
                      <a:gd name="connsiteX620" fmla="*/ 86611 w 334946"/>
                      <a:gd name="connsiteY620" fmla="*/ 125816 h 334834"/>
                      <a:gd name="connsiteX621" fmla="*/ 81277 w 334946"/>
                      <a:gd name="connsiteY621" fmla="*/ 119653 h 334834"/>
                      <a:gd name="connsiteX622" fmla="*/ 75933 w 334946"/>
                      <a:gd name="connsiteY622" fmla="*/ 122606 h 334834"/>
                      <a:gd name="connsiteX623" fmla="*/ 248831 w 334946"/>
                      <a:gd name="connsiteY623" fmla="*/ 121301 h 334834"/>
                      <a:gd name="connsiteX624" fmla="*/ 249822 w 334946"/>
                      <a:gd name="connsiteY624" fmla="*/ 131321 h 334834"/>
                      <a:gd name="connsiteX625" fmla="*/ 253603 w 334946"/>
                      <a:gd name="connsiteY625" fmla="*/ 131245 h 334834"/>
                      <a:gd name="connsiteX626" fmla="*/ 259194 w 334946"/>
                      <a:gd name="connsiteY626" fmla="*/ 128035 h 334834"/>
                      <a:gd name="connsiteX627" fmla="*/ 253689 w 334946"/>
                      <a:gd name="connsiteY627" fmla="*/ 119739 h 334834"/>
                      <a:gd name="connsiteX628" fmla="*/ 248831 w 334946"/>
                      <a:gd name="connsiteY628" fmla="*/ 121301 h 334834"/>
                      <a:gd name="connsiteX629" fmla="*/ 308896 w 334946"/>
                      <a:gd name="connsiteY629" fmla="*/ 124168 h 334834"/>
                      <a:gd name="connsiteX630" fmla="*/ 312096 w 334946"/>
                      <a:gd name="connsiteY630" fmla="*/ 128273 h 334834"/>
                      <a:gd name="connsiteX631" fmla="*/ 310944 w 334946"/>
                      <a:gd name="connsiteY631" fmla="*/ 122682 h 334834"/>
                      <a:gd name="connsiteX632" fmla="*/ 308896 w 334946"/>
                      <a:gd name="connsiteY632" fmla="*/ 124168 h 334834"/>
                      <a:gd name="connsiteX633" fmla="*/ 20717 w 334946"/>
                      <a:gd name="connsiteY633" fmla="*/ 124587 h 334834"/>
                      <a:gd name="connsiteX634" fmla="*/ 23755 w 334946"/>
                      <a:gd name="connsiteY634" fmla="*/ 128283 h 334834"/>
                      <a:gd name="connsiteX635" fmla="*/ 22765 w 334946"/>
                      <a:gd name="connsiteY635" fmla="*/ 122777 h 334834"/>
                      <a:gd name="connsiteX636" fmla="*/ 20717 w 334946"/>
                      <a:gd name="connsiteY636" fmla="*/ 124587 h 334834"/>
                      <a:gd name="connsiteX637" fmla="*/ 128607 w 334946"/>
                      <a:gd name="connsiteY637" fmla="*/ 132064 h 334834"/>
                      <a:gd name="connsiteX638" fmla="*/ 122530 w 334946"/>
                      <a:gd name="connsiteY638" fmla="*/ 126635 h 334834"/>
                      <a:gd name="connsiteX639" fmla="*/ 126311 w 334946"/>
                      <a:gd name="connsiteY639" fmla="*/ 122768 h 334834"/>
                      <a:gd name="connsiteX640" fmla="*/ 128607 w 334946"/>
                      <a:gd name="connsiteY640" fmla="*/ 132064 h 334834"/>
                      <a:gd name="connsiteX641" fmla="*/ 185395 w 334946"/>
                      <a:gd name="connsiteY641" fmla="*/ 131397 h 334834"/>
                      <a:gd name="connsiteX642" fmla="*/ 181451 w 334946"/>
                      <a:gd name="connsiteY642" fmla="*/ 126225 h 334834"/>
                      <a:gd name="connsiteX643" fmla="*/ 184823 w 334946"/>
                      <a:gd name="connsiteY643" fmla="*/ 123520 h 334834"/>
                      <a:gd name="connsiteX644" fmla="*/ 185395 w 334946"/>
                      <a:gd name="connsiteY644" fmla="*/ 131397 h 334834"/>
                      <a:gd name="connsiteX645" fmla="*/ 53997 w 334946"/>
                      <a:gd name="connsiteY645" fmla="*/ 128940 h 334834"/>
                      <a:gd name="connsiteX646" fmla="*/ 60246 w 334946"/>
                      <a:gd name="connsiteY646" fmla="*/ 134769 h 334834"/>
                      <a:gd name="connsiteX647" fmla="*/ 58026 w 334946"/>
                      <a:gd name="connsiteY647" fmla="*/ 125073 h 334834"/>
                      <a:gd name="connsiteX648" fmla="*/ 53997 w 334946"/>
                      <a:gd name="connsiteY648" fmla="*/ 128940 h 334834"/>
                      <a:gd name="connsiteX649" fmla="*/ 284988 w 334946"/>
                      <a:gd name="connsiteY649" fmla="*/ 128854 h 334834"/>
                      <a:gd name="connsiteX650" fmla="*/ 290246 w 334946"/>
                      <a:gd name="connsiteY650" fmla="*/ 134198 h 334834"/>
                      <a:gd name="connsiteX651" fmla="*/ 288436 w 334946"/>
                      <a:gd name="connsiteY651" fmla="*/ 125654 h 334834"/>
                      <a:gd name="connsiteX652" fmla="*/ 284988 w 334946"/>
                      <a:gd name="connsiteY652" fmla="*/ 128854 h 334834"/>
                      <a:gd name="connsiteX653" fmla="*/ 105680 w 334946"/>
                      <a:gd name="connsiteY653" fmla="*/ 137560 h 334834"/>
                      <a:gd name="connsiteX654" fmla="*/ 99603 w 334946"/>
                      <a:gd name="connsiteY654" fmla="*/ 130169 h 334834"/>
                      <a:gd name="connsiteX655" fmla="*/ 104451 w 334946"/>
                      <a:gd name="connsiteY655" fmla="*/ 126473 h 334834"/>
                      <a:gd name="connsiteX656" fmla="*/ 105680 w 334946"/>
                      <a:gd name="connsiteY656" fmla="*/ 137560 h 334834"/>
                      <a:gd name="connsiteX657" fmla="*/ 221551 w 334946"/>
                      <a:gd name="connsiteY657" fmla="*/ 137074 h 334834"/>
                      <a:gd name="connsiteX658" fmla="*/ 215884 w 334946"/>
                      <a:gd name="connsiteY658" fmla="*/ 130664 h 334834"/>
                      <a:gd name="connsiteX659" fmla="*/ 220075 w 334946"/>
                      <a:gd name="connsiteY659" fmla="*/ 126883 h 334834"/>
                      <a:gd name="connsiteX660" fmla="*/ 221551 w 334946"/>
                      <a:gd name="connsiteY660" fmla="*/ 137074 h 334834"/>
                      <a:gd name="connsiteX661" fmla="*/ 163201 w 334946"/>
                      <a:gd name="connsiteY661" fmla="*/ 135350 h 334834"/>
                      <a:gd name="connsiteX662" fmla="*/ 159506 w 334946"/>
                      <a:gd name="connsiteY662" fmla="*/ 130997 h 334834"/>
                      <a:gd name="connsiteX663" fmla="*/ 162382 w 334946"/>
                      <a:gd name="connsiteY663" fmla="*/ 128445 h 334834"/>
                      <a:gd name="connsiteX664" fmla="*/ 163201 w 334946"/>
                      <a:gd name="connsiteY664" fmla="*/ 135350 h 334834"/>
                      <a:gd name="connsiteX665" fmla="*/ 261652 w 334946"/>
                      <a:gd name="connsiteY665" fmla="*/ 132636 h 334834"/>
                      <a:gd name="connsiteX666" fmla="*/ 267491 w 334946"/>
                      <a:gd name="connsiteY666" fmla="*/ 139941 h 334834"/>
                      <a:gd name="connsiteX667" fmla="*/ 266338 w 334946"/>
                      <a:gd name="connsiteY667" fmla="*/ 128854 h 334834"/>
                      <a:gd name="connsiteX668" fmla="*/ 261652 w 334946"/>
                      <a:gd name="connsiteY668" fmla="*/ 132636 h 334834"/>
                      <a:gd name="connsiteX669" fmla="*/ 32957 w 334946"/>
                      <a:gd name="connsiteY669" fmla="*/ 133617 h 334834"/>
                      <a:gd name="connsiteX670" fmla="*/ 37148 w 334946"/>
                      <a:gd name="connsiteY670" fmla="*/ 138141 h 334834"/>
                      <a:gd name="connsiteX671" fmla="*/ 36328 w 334946"/>
                      <a:gd name="connsiteY671" fmla="*/ 130578 h 334834"/>
                      <a:gd name="connsiteX672" fmla="*/ 32957 w 334946"/>
                      <a:gd name="connsiteY672" fmla="*/ 133617 h 334834"/>
                      <a:gd name="connsiteX673" fmla="*/ 199358 w 334946"/>
                      <a:gd name="connsiteY673" fmla="*/ 140275 h 334834"/>
                      <a:gd name="connsiteX674" fmla="*/ 194758 w 334946"/>
                      <a:gd name="connsiteY674" fmla="*/ 135341 h 334834"/>
                      <a:gd name="connsiteX675" fmla="*/ 197958 w 334946"/>
                      <a:gd name="connsiteY675" fmla="*/ 132464 h 334834"/>
                      <a:gd name="connsiteX676" fmla="*/ 199358 w 334946"/>
                      <a:gd name="connsiteY676" fmla="*/ 140275 h 334834"/>
                      <a:gd name="connsiteX677" fmla="*/ 324517 w 334946"/>
                      <a:gd name="connsiteY677" fmla="*/ 136331 h 334834"/>
                      <a:gd name="connsiteX678" fmla="*/ 324193 w 334946"/>
                      <a:gd name="connsiteY678" fmla="*/ 132464 h 334834"/>
                      <a:gd name="connsiteX679" fmla="*/ 324517 w 334946"/>
                      <a:gd name="connsiteY679" fmla="*/ 136331 h 334834"/>
                      <a:gd name="connsiteX680" fmla="*/ 141351 w 334946"/>
                      <a:gd name="connsiteY680" fmla="*/ 140113 h 334834"/>
                      <a:gd name="connsiteX681" fmla="*/ 136827 w 334946"/>
                      <a:gd name="connsiteY681" fmla="*/ 135512 h 334834"/>
                      <a:gd name="connsiteX682" fmla="*/ 140199 w 334946"/>
                      <a:gd name="connsiteY682" fmla="*/ 132550 h 334834"/>
                      <a:gd name="connsiteX683" fmla="*/ 141351 w 334946"/>
                      <a:gd name="connsiteY683" fmla="*/ 140113 h 334834"/>
                      <a:gd name="connsiteX684" fmla="*/ 66732 w 334946"/>
                      <a:gd name="connsiteY684" fmla="*/ 136912 h 334834"/>
                      <a:gd name="connsiteX685" fmla="*/ 70837 w 334946"/>
                      <a:gd name="connsiteY685" fmla="*/ 144466 h 334834"/>
                      <a:gd name="connsiteX686" fmla="*/ 73790 w 334946"/>
                      <a:gd name="connsiteY686" fmla="*/ 144142 h 334834"/>
                      <a:gd name="connsiteX687" fmla="*/ 77572 w 334946"/>
                      <a:gd name="connsiteY687" fmla="*/ 138227 h 334834"/>
                      <a:gd name="connsiteX688" fmla="*/ 71733 w 334946"/>
                      <a:gd name="connsiteY688" fmla="*/ 133045 h 334834"/>
                      <a:gd name="connsiteX689" fmla="*/ 66732 w 334946"/>
                      <a:gd name="connsiteY689" fmla="*/ 136912 h 334834"/>
                      <a:gd name="connsiteX690" fmla="*/ 298961 w 334946"/>
                      <a:gd name="connsiteY690" fmla="*/ 137808 h 334834"/>
                      <a:gd name="connsiteX691" fmla="*/ 303238 w 334946"/>
                      <a:gd name="connsiteY691" fmla="*/ 142408 h 334834"/>
                      <a:gd name="connsiteX692" fmla="*/ 302333 w 334946"/>
                      <a:gd name="connsiteY692" fmla="*/ 135169 h 334834"/>
                      <a:gd name="connsiteX693" fmla="*/ 298961 w 334946"/>
                      <a:gd name="connsiteY693" fmla="*/ 137808 h 334834"/>
                      <a:gd name="connsiteX694" fmla="*/ 234858 w 334946"/>
                      <a:gd name="connsiteY694" fmla="*/ 146437 h 334834"/>
                      <a:gd name="connsiteX695" fmla="*/ 228781 w 334946"/>
                      <a:gd name="connsiteY695" fmla="*/ 139455 h 334834"/>
                      <a:gd name="connsiteX696" fmla="*/ 233629 w 334946"/>
                      <a:gd name="connsiteY696" fmla="*/ 135350 h 334834"/>
                      <a:gd name="connsiteX697" fmla="*/ 234858 w 334946"/>
                      <a:gd name="connsiteY697" fmla="*/ 146437 h 334834"/>
                      <a:gd name="connsiteX698" fmla="*/ 118748 w 334946"/>
                      <a:gd name="connsiteY698" fmla="*/ 145532 h 334834"/>
                      <a:gd name="connsiteX699" fmla="*/ 113652 w 334946"/>
                      <a:gd name="connsiteY699" fmla="*/ 139941 h 334834"/>
                      <a:gd name="connsiteX700" fmla="*/ 117843 w 334946"/>
                      <a:gd name="connsiteY700" fmla="*/ 136160 h 334834"/>
                      <a:gd name="connsiteX701" fmla="*/ 118748 w 334946"/>
                      <a:gd name="connsiteY701" fmla="*/ 145532 h 334834"/>
                      <a:gd name="connsiteX702" fmla="*/ 14964 w 334946"/>
                      <a:gd name="connsiteY702" fmla="*/ 141094 h 334834"/>
                      <a:gd name="connsiteX703" fmla="*/ 14392 w 334946"/>
                      <a:gd name="connsiteY703" fmla="*/ 136493 h 334834"/>
                      <a:gd name="connsiteX704" fmla="*/ 14964 w 334946"/>
                      <a:gd name="connsiteY704" fmla="*/ 141094 h 334834"/>
                      <a:gd name="connsiteX705" fmla="*/ 176927 w 334946"/>
                      <a:gd name="connsiteY705" fmla="*/ 143646 h 334834"/>
                      <a:gd name="connsiteX706" fmla="*/ 173641 w 334946"/>
                      <a:gd name="connsiteY706" fmla="*/ 139617 h 334834"/>
                      <a:gd name="connsiteX707" fmla="*/ 175860 w 334946"/>
                      <a:gd name="connsiteY707" fmla="*/ 137893 h 334834"/>
                      <a:gd name="connsiteX708" fmla="*/ 176927 w 334946"/>
                      <a:gd name="connsiteY708" fmla="*/ 143646 h 334834"/>
                      <a:gd name="connsiteX709" fmla="*/ 275453 w 334946"/>
                      <a:gd name="connsiteY709" fmla="*/ 141761 h 334834"/>
                      <a:gd name="connsiteX710" fmla="*/ 281121 w 334946"/>
                      <a:gd name="connsiteY710" fmla="*/ 148171 h 334834"/>
                      <a:gd name="connsiteX711" fmla="*/ 279397 w 334946"/>
                      <a:gd name="connsiteY711" fmla="*/ 138312 h 334834"/>
                      <a:gd name="connsiteX712" fmla="*/ 275453 w 334946"/>
                      <a:gd name="connsiteY712" fmla="*/ 141761 h 334834"/>
                      <a:gd name="connsiteX713" fmla="*/ 45453 w 334946"/>
                      <a:gd name="connsiteY713" fmla="*/ 142084 h 334834"/>
                      <a:gd name="connsiteX714" fmla="*/ 50711 w 334946"/>
                      <a:gd name="connsiteY714" fmla="*/ 147914 h 334834"/>
                      <a:gd name="connsiteX715" fmla="*/ 49311 w 334946"/>
                      <a:gd name="connsiteY715" fmla="*/ 138627 h 334834"/>
                      <a:gd name="connsiteX716" fmla="*/ 45453 w 334946"/>
                      <a:gd name="connsiteY716" fmla="*/ 142084 h 334834"/>
                      <a:gd name="connsiteX717" fmla="*/ 96641 w 334946"/>
                      <a:gd name="connsiteY717" fmla="*/ 151124 h 334834"/>
                      <a:gd name="connsiteX718" fmla="*/ 90811 w 334946"/>
                      <a:gd name="connsiteY718" fmla="*/ 146190 h 334834"/>
                      <a:gd name="connsiteX719" fmla="*/ 90564 w 334946"/>
                      <a:gd name="connsiteY719" fmla="*/ 143065 h 334834"/>
                      <a:gd name="connsiteX720" fmla="*/ 96069 w 334946"/>
                      <a:gd name="connsiteY720" fmla="*/ 139694 h 334834"/>
                      <a:gd name="connsiteX721" fmla="*/ 96641 w 334946"/>
                      <a:gd name="connsiteY721" fmla="*/ 151124 h 334834"/>
                      <a:gd name="connsiteX722" fmla="*/ 212512 w 334946"/>
                      <a:gd name="connsiteY722" fmla="*/ 149647 h 334834"/>
                      <a:gd name="connsiteX723" fmla="*/ 207826 w 334946"/>
                      <a:gd name="connsiteY723" fmla="*/ 143980 h 334834"/>
                      <a:gd name="connsiteX724" fmla="*/ 211274 w 334946"/>
                      <a:gd name="connsiteY724" fmla="*/ 141018 h 334834"/>
                      <a:gd name="connsiteX725" fmla="*/ 212512 w 334946"/>
                      <a:gd name="connsiteY725" fmla="*/ 149647 h 334834"/>
                      <a:gd name="connsiteX726" fmla="*/ 154495 w 334946"/>
                      <a:gd name="connsiteY726" fmla="*/ 147999 h 334834"/>
                      <a:gd name="connsiteX727" fmla="*/ 151295 w 334946"/>
                      <a:gd name="connsiteY727" fmla="*/ 144389 h 334834"/>
                      <a:gd name="connsiteX728" fmla="*/ 153429 w 334946"/>
                      <a:gd name="connsiteY728" fmla="*/ 142494 h 334834"/>
                      <a:gd name="connsiteX729" fmla="*/ 154495 w 334946"/>
                      <a:gd name="connsiteY729" fmla="*/ 147999 h 334834"/>
                      <a:gd name="connsiteX730" fmla="*/ 250965 w 334946"/>
                      <a:gd name="connsiteY730" fmla="*/ 143808 h 334834"/>
                      <a:gd name="connsiteX731" fmla="*/ 253346 w 334946"/>
                      <a:gd name="connsiteY731" fmla="*/ 153343 h 334834"/>
                      <a:gd name="connsiteX732" fmla="*/ 249069 w 334946"/>
                      <a:gd name="connsiteY732" fmla="*/ 155238 h 334834"/>
                      <a:gd name="connsiteX733" fmla="*/ 241840 w 334946"/>
                      <a:gd name="connsiteY733" fmla="*/ 151371 h 334834"/>
                      <a:gd name="connsiteX734" fmla="*/ 241516 w 334946"/>
                      <a:gd name="connsiteY734" fmla="*/ 148580 h 334834"/>
                      <a:gd name="connsiteX735" fmla="*/ 249403 w 334946"/>
                      <a:gd name="connsiteY735" fmla="*/ 143646 h 334834"/>
                      <a:gd name="connsiteX736" fmla="*/ 250965 w 334946"/>
                      <a:gd name="connsiteY736" fmla="*/ 143808 h 334834"/>
                      <a:gd name="connsiteX737" fmla="*/ 24489 w 334946"/>
                      <a:gd name="connsiteY737" fmla="*/ 146933 h 334834"/>
                      <a:gd name="connsiteX738" fmla="*/ 28518 w 334946"/>
                      <a:gd name="connsiteY738" fmla="*/ 151038 h 334834"/>
                      <a:gd name="connsiteX739" fmla="*/ 27451 w 334946"/>
                      <a:gd name="connsiteY739" fmla="*/ 144304 h 334834"/>
                      <a:gd name="connsiteX740" fmla="*/ 24489 w 334946"/>
                      <a:gd name="connsiteY740" fmla="*/ 146933 h 334834"/>
                      <a:gd name="connsiteX741" fmla="*/ 313258 w 334946"/>
                      <a:gd name="connsiteY741" fmla="*/ 146437 h 334834"/>
                      <a:gd name="connsiteX742" fmla="*/ 316382 w 334946"/>
                      <a:gd name="connsiteY742" fmla="*/ 150466 h 334834"/>
                      <a:gd name="connsiteX743" fmla="*/ 315401 w 334946"/>
                      <a:gd name="connsiteY743" fmla="*/ 144875 h 334834"/>
                      <a:gd name="connsiteX744" fmla="*/ 313258 w 334946"/>
                      <a:gd name="connsiteY744" fmla="*/ 146437 h 334834"/>
                      <a:gd name="connsiteX745" fmla="*/ 132312 w 334946"/>
                      <a:gd name="connsiteY745" fmla="*/ 153505 h 334834"/>
                      <a:gd name="connsiteX746" fmla="*/ 127959 w 334946"/>
                      <a:gd name="connsiteY746" fmla="*/ 148904 h 334834"/>
                      <a:gd name="connsiteX747" fmla="*/ 131407 w 334946"/>
                      <a:gd name="connsiteY747" fmla="*/ 146028 h 334834"/>
                      <a:gd name="connsiteX748" fmla="*/ 132312 w 334946"/>
                      <a:gd name="connsiteY748" fmla="*/ 153505 h 334834"/>
                      <a:gd name="connsiteX749" fmla="*/ 58026 w 334946"/>
                      <a:gd name="connsiteY749" fmla="*/ 150714 h 334834"/>
                      <a:gd name="connsiteX750" fmla="*/ 64275 w 334946"/>
                      <a:gd name="connsiteY750" fmla="*/ 157534 h 334834"/>
                      <a:gd name="connsiteX751" fmla="*/ 62379 w 334946"/>
                      <a:gd name="connsiteY751" fmla="*/ 146685 h 334834"/>
                      <a:gd name="connsiteX752" fmla="*/ 58026 w 334946"/>
                      <a:gd name="connsiteY752" fmla="*/ 150714 h 334834"/>
                      <a:gd name="connsiteX753" fmla="*/ 190319 w 334946"/>
                      <a:gd name="connsiteY753" fmla="*/ 152609 h 334834"/>
                      <a:gd name="connsiteX754" fmla="*/ 186957 w 334946"/>
                      <a:gd name="connsiteY754" fmla="*/ 148666 h 334834"/>
                      <a:gd name="connsiteX755" fmla="*/ 189090 w 334946"/>
                      <a:gd name="connsiteY755" fmla="*/ 146856 h 334834"/>
                      <a:gd name="connsiteX756" fmla="*/ 190319 w 334946"/>
                      <a:gd name="connsiteY756" fmla="*/ 152609 h 334834"/>
                      <a:gd name="connsiteX757" fmla="*/ 289341 w 334946"/>
                      <a:gd name="connsiteY757" fmla="*/ 151124 h 334834"/>
                      <a:gd name="connsiteX758" fmla="*/ 294275 w 334946"/>
                      <a:gd name="connsiteY758" fmla="*/ 156381 h 334834"/>
                      <a:gd name="connsiteX759" fmla="*/ 292884 w 334946"/>
                      <a:gd name="connsiteY759" fmla="*/ 147837 h 334834"/>
                      <a:gd name="connsiteX760" fmla="*/ 289341 w 334946"/>
                      <a:gd name="connsiteY760" fmla="*/ 151124 h 334834"/>
                      <a:gd name="connsiteX761" fmla="*/ 110280 w 334946"/>
                      <a:gd name="connsiteY761" fmla="*/ 159096 h 334834"/>
                      <a:gd name="connsiteX762" fmla="*/ 104689 w 334946"/>
                      <a:gd name="connsiteY762" fmla="*/ 152686 h 334834"/>
                      <a:gd name="connsiteX763" fmla="*/ 108718 w 334946"/>
                      <a:gd name="connsiteY763" fmla="*/ 149314 h 334834"/>
                      <a:gd name="connsiteX764" fmla="*/ 110280 w 334946"/>
                      <a:gd name="connsiteY764" fmla="*/ 159096 h 334834"/>
                      <a:gd name="connsiteX765" fmla="*/ 226724 w 334946"/>
                      <a:gd name="connsiteY765" fmla="*/ 158934 h 334834"/>
                      <a:gd name="connsiteX766" fmla="*/ 220561 w 334946"/>
                      <a:gd name="connsiteY766" fmla="*/ 153095 h 334834"/>
                      <a:gd name="connsiteX767" fmla="*/ 224504 w 334946"/>
                      <a:gd name="connsiteY767" fmla="*/ 149400 h 334834"/>
                      <a:gd name="connsiteX768" fmla="*/ 226724 w 334946"/>
                      <a:gd name="connsiteY768" fmla="*/ 158934 h 334834"/>
                      <a:gd name="connsiteX769" fmla="*/ 3867 w 334946"/>
                      <a:gd name="connsiteY769" fmla="*/ 151867 h 334834"/>
                      <a:gd name="connsiteX770" fmla="*/ 5258 w 334946"/>
                      <a:gd name="connsiteY770" fmla="*/ 153762 h 334834"/>
                      <a:gd name="connsiteX771" fmla="*/ 7230 w 334946"/>
                      <a:gd name="connsiteY771" fmla="*/ 152286 h 334834"/>
                      <a:gd name="connsiteX772" fmla="*/ 5258 w 334946"/>
                      <a:gd name="connsiteY772" fmla="*/ 150400 h 334834"/>
                      <a:gd name="connsiteX773" fmla="*/ 3867 w 334946"/>
                      <a:gd name="connsiteY773" fmla="*/ 151867 h 334834"/>
                      <a:gd name="connsiteX774" fmla="*/ 266166 w 334946"/>
                      <a:gd name="connsiteY774" fmla="*/ 154248 h 334834"/>
                      <a:gd name="connsiteX775" fmla="*/ 272005 w 334946"/>
                      <a:gd name="connsiteY775" fmla="*/ 162058 h 334834"/>
                      <a:gd name="connsiteX776" fmla="*/ 271024 w 334946"/>
                      <a:gd name="connsiteY776" fmla="*/ 150962 h 334834"/>
                      <a:gd name="connsiteX777" fmla="*/ 266166 w 334946"/>
                      <a:gd name="connsiteY777" fmla="*/ 154248 h 334834"/>
                      <a:gd name="connsiteX778" fmla="*/ 36986 w 334946"/>
                      <a:gd name="connsiteY778" fmla="*/ 155400 h 334834"/>
                      <a:gd name="connsiteX779" fmla="*/ 41510 w 334946"/>
                      <a:gd name="connsiteY779" fmla="*/ 160830 h 334834"/>
                      <a:gd name="connsiteX780" fmla="*/ 40443 w 334946"/>
                      <a:gd name="connsiteY780" fmla="*/ 152286 h 334834"/>
                      <a:gd name="connsiteX781" fmla="*/ 36986 w 334946"/>
                      <a:gd name="connsiteY781" fmla="*/ 155400 h 334834"/>
                      <a:gd name="connsiteX782" fmla="*/ 169040 w 334946"/>
                      <a:gd name="connsiteY782" fmla="*/ 154000 h 334834"/>
                      <a:gd name="connsiteX783" fmla="*/ 167726 w 334946"/>
                      <a:gd name="connsiteY783" fmla="*/ 155724 h 334834"/>
                      <a:gd name="connsiteX784" fmla="*/ 166907 w 334946"/>
                      <a:gd name="connsiteY784" fmla="*/ 155810 h 334834"/>
                      <a:gd name="connsiteX785" fmla="*/ 165668 w 334946"/>
                      <a:gd name="connsiteY785" fmla="*/ 154496 h 334834"/>
                      <a:gd name="connsiteX786" fmla="*/ 167154 w 334946"/>
                      <a:gd name="connsiteY786" fmla="*/ 152438 h 334834"/>
                      <a:gd name="connsiteX787" fmla="*/ 169040 w 334946"/>
                      <a:gd name="connsiteY787" fmla="*/ 154000 h 334834"/>
                      <a:gd name="connsiteX788" fmla="*/ 89907 w 334946"/>
                      <a:gd name="connsiteY788" fmla="*/ 164030 h 334834"/>
                      <a:gd name="connsiteX789" fmla="*/ 82506 w 334946"/>
                      <a:gd name="connsiteY789" fmla="*/ 162716 h 334834"/>
                      <a:gd name="connsiteX790" fmla="*/ 81934 w 334946"/>
                      <a:gd name="connsiteY790" fmla="*/ 159515 h 334834"/>
                      <a:gd name="connsiteX791" fmla="*/ 81029 w 334946"/>
                      <a:gd name="connsiteY791" fmla="*/ 154496 h 334834"/>
                      <a:gd name="connsiteX792" fmla="*/ 87935 w 334946"/>
                      <a:gd name="connsiteY792" fmla="*/ 152857 h 334834"/>
                      <a:gd name="connsiteX793" fmla="*/ 89907 w 334946"/>
                      <a:gd name="connsiteY793" fmla="*/ 164030 h 334834"/>
                      <a:gd name="connsiteX794" fmla="*/ 327308 w 334946"/>
                      <a:gd name="connsiteY794" fmla="*/ 156381 h 334834"/>
                      <a:gd name="connsiteX795" fmla="*/ 330917 w 334946"/>
                      <a:gd name="connsiteY795" fmla="*/ 156134 h 334834"/>
                      <a:gd name="connsiteX796" fmla="*/ 329022 w 334946"/>
                      <a:gd name="connsiteY796" fmla="*/ 154657 h 334834"/>
                      <a:gd name="connsiteX797" fmla="*/ 327308 w 334946"/>
                      <a:gd name="connsiteY797" fmla="*/ 156381 h 334834"/>
                      <a:gd name="connsiteX798" fmla="*/ 203797 w 334946"/>
                      <a:gd name="connsiteY798" fmla="*/ 162134 h 334834"/>
                      <a:gd name="connsiteX799" fmla="*/ 199606 w 334946"/>
                      <a:gd name="connsiteY799" fmla="*/ 158029 h 334834"/>
                      <a:gd name="connsiteX800" fmla="*/ 202406 w 334946"/>
                      <a:gd name="connsiteY800" fmla="*/ 155238 h 334834"/>
                      <a:gd name="connsiteX801" fmla="*/ 203797 w 334946"/>
                      <a:gd name="connsiteY801" fmla="*/ 162134 h 334834"/>
                      <a:gd name="connsiteX802" fmla="*/ 145294 w 334946"/>
                      <a:gd name="connsiteY802" fmla="*/ 161392 h 334834"/>
                      <a:gd name="connsiteX803" fmla="*/ 142418 w 334946"/>
                      <a:gd name="connsiteY803" fmla="*/ 157934 h 334834"/>
                      <a:gd name="connsiteX804" fmla="*/ 144723 w 334946"/>
                      <a:gd name="connsiteY804" fmla="*/ 155962 h 334834"/>
                      <a:gd name="connsiteX805" fmla="*/ 145294 w 334946"/>
                      <a:gd name="connsiteY805" fmla="*/ 161392 h 334834"/>
                      <a:gd name="connsiteX806" fmla="*/ 303476 w 334946"/>
                      <a:gd name="connsiteY806" fmla="*/ 160001 h 334834"/>
                      <a:gd name="connsiteX807" fmla="*/ 307581 w 334946"/>
                      <a:gd name="connsiteY807" fmla="*/ 164440 h 334834"/>
                      <a:gd name="connsiteX808" fmla="*/ 306267 w 334946"/>
                      <a:gd name="connsiteY808" fmla="*/ 157458 h 334834"/>
                      <a:gd name="connsiteX809" fmla="*/ 303476 w 334946"/>
                      <a:gd name="connsiteY809" fmla="*/ 160001 h 334834"/>
                      <a:gd name="connsiteX810" fmla="*/ 239049 w 334946"/>
                      <a:gd name="connsiteY810" fmla="*/ 168707 h 334834"/>
                      <a:gd name="connsiteX811" fmla="*/ 233458 w 334946"/>
                      <a:gd name="connsiteY811" fmla="*/ 161230 h 334834"/>
                      <a:gd name="connsiteX812" fmla="*/ 238392 w 334946"/>
                      <a:gd name="connsiteY812" fmla="*/ 157610 h 334834"/>
                      <a:gd name="connsiteX813" fmla="*/ 239049 w 334946"/>
                      <a:gd name="connsiteY813" fmla="*/ 168707 h 334834"/>
                      <a:gd name="connsiteX814" fmla="*/ 16107 w 334946"/>
                      <a:gd name="connsiteY814" fmla="*/ 160249 h 334834"/>
                      <a:gd name="connsiteX815" fmla="*/ 19307 w 334946"/>
                      <a:gd name="connsiteY815" fmla="*/ 163782 h 334834"/>
                      <a:gd name="connsiteX816" fmla="*/ 18574 w 334946"/>
                      <a:gd name="connsiteY816" fmla="*/ 158105 h 334834"/>
                      <a:gd name="connsiteX817" fmla="*/ 16107 w 334946"/>
                      <a:gd name="connsiteY817" fmla="*/ 160249 h 334834"/>
                      <a:gd name="connsiteX818" fmla="*/ 123349 w 334946"/>
                      <a:gd name="connsiteY818" fmla="*/ 167230 h 334834"/>
                      <a:gd name="connsiteX819" fmla="*/ 118748 w 334946"/>
                      <a:gd name="connsiteY819" fmla="*/ 162211 h 334834"/>
                      <a:gd name="connsiteX820" fmla="*/ 121949 w 334946"/>
                      <a:gd name="connsiteY820" fmla="*/ 159172 h 334834"/>
                      <a:gd name="connsiteX821" fmla="*/ 123349 w 334946"/>
                      <a:gd name="connsiteY821" fmla="*/ 167230 h 334834"/>
                      <a:gd name="connsiteX822" fmla="*/ 49549 w 334946"/>
                      <a:gd name="connsiteY822" fmla="*/ 164030 h 334834"/>
                      <a:gd name="connsiteX823" fmla="*/ 54816 w 334946"/>
                      <a:gd name="connsiteY823" fmla="*/ 170431 h 334834"/>
                      <a:gd name="connsiteX824" fmla="*/ 54073 w 334946"/>
                      <a:gd name="connsiteY824" fmla="*/ 160325 h 334834"/>
                      <a:gd name="connsiteX825" fmla="*/ 49549 w 334946"/>
                      <a:gd name="connsiteY825" fmla="*/ 164030 h 334834"/>
                      <a:gd name="connsiteX826" fmla="*/ 279892 w 334946"/>
                      <a:gd name="connsiteY826" fmla="*/ 164182 h 334834"/>
                      <a:gd name="connsiteX827" fmla="*/ 285312 w 334946"/>
                      <a:gd name="connsiteY827" fmla="*/ 170269 h 334834"/>
                      <a:gd name="connsiteX828" fmla="*/ 284083 w 334946"/>
                      <a:gd name="connsiteY828" fmla="*/ 160572 h 334834"/>
                      <a:gd name="connsiteX829" fmla="*/ 279892 w 334946"/>
                      <a:gd name="connsiteY829" fmla="*/ 164182 h 334834"/>
                      <a:gd name="connsiteX830" fmla="*/ 182594 w 334946"/>
                      <a:gd name="connsiteY830" fmla="*/ 162877 h 334834"/>
                      <a:gd name="connsiteX831" fmla="*/ 181032 w 334946"/>
                      <a:gd name="connsiteY831" fmla="*/ 164849 h 334834"/>
                      <a:gd name="connsiteX832" fmla="*/ 179060 w 334946"/>
                      <a:gd name="connsiteY832" fmla="*/ 163373 h 334834"/>
                      <a:gd name="connsiteX833" fmla="*/ 180384 w 334946"/>
                      <a:gd name="connsiteY833" fmla="*/ 161487 h 334834"/>
                      <a:gd name="connsiteX834" fmla="*/ 180794 w 334946"/>
                      <a:gd name="connsiteY834" fmla="*/ 161315 h 334834"/>
                      <a:gd name="connsiteX835" fmla="*/ 182594 w 334946"/>
                      <a:gd name="connsiteY835" fmla="*/ 162877 h 334834"/>
                      <a:gd name="connsiteX836" fmla="*/ 100993 w 334946"/>
                      <a:gd name="connsiteY836" fmla="*/ 172907 h 334834"/>
                      <a:gd name="connsiteX837" fmla="*/ 95326 w 334946"/>
                      <a:gd name="connsiteY837" fmla="*/ 166335 h 334834"/>
                      <a:gd name="connsiteX838" fmla="*/ 99841 w 334946"/>
                      <a:gd name="connsiteY838" fmla="*/ 162306 h 334834"/>
                      <a:gd name="connsiteX839" fmla="*/ 100993 w 334946"/>
                      <a:gd name="connsiteY839" fmla="*/ 172907 h 334834"/>
                      <a:gd name="connsiteX840" fmla="*/ 216617 w 334946"/>
                      <a:gd name="connsiteY840" fmla="*/ 171907 h 334834"/>
                      <a:gd name="connsiteX841" fmla="*/ 212265 w 334946"/>
                      <a:gd name="connsiteY841" fmla="*/ 166564 h 334834"/>
                      <a:gd name="connsiteX842" fmla="*/ 215713 w 334946"/>
                      <a:gd name="connsiteY842" fmla="*/ 163363 h 334834"/>
                      <a:gd name="connsiteX843" fmla="*/ 216617 w 334946"/>
                      <a:gd name="connsiteY843" fmla="*/ 171907 h 334834"/>
                      <a:gd name="connsiteX844" fmla="*/ 258689 w 334946"/>
                      <a:gd name="connsiteY844" fmla="*/ 164849 h 334834"/>
                      <a:gd name="connsiteX845" fmla="*/ 256718 w 334946"/>
                      <a:gd name="connsiteY845" fmla="*/ 165668 h 334834"/>
                      <a:gd name="connsiteX846" fmla="*/ 257042 w 334946"/>
                      <a:gd name="connsiteY846" fmla="*/ 169945 h 334834"/>
                      <a:gd name="connsiteX847" fmla="*/ 257785 w 334946"/>
                      <a:gd name="connsiteY847" fmla="*/ 173803 h 334834"/>
                      <a:gd name="connsiteX848" fmla="*/ 265509 w 334946"/>
                      <a:gd name="connsiteY848" fmla="*/ 174955 h 334834"/>
                      <a:gd name="connsiteX849" fmla="*/ 262795 w 334946"/>
                      <a:gd name="connsiteY849" fmla="*/ 164030 h 334834"/>
                      <a:gd name="connsiteX850" fmla="*/ 258689 w 334946"/>
                      <a:gd name="connsiteY850" fmla="*/ 164849 h 334834"/>
                      <a:gd name="connsiteX851" fmla="*/ 28604 w 334946"/>
                      <a:gd name="connsiteY851" fmla="*/ 168878 h 334834"/>
                      <a:gd name="connsiteX852" fmla="*/ 32957 w 334946"/>
                      <a:gd name="connsiteY852" fmla="*/ 173565 h 334834"/>
                      <a:gd name="connsiteX853" fmla="*/ 31804 w 334946"/>
                      <a:gd name="connsiteY853" fmla="*/ 166087 h 334834"/>
                      <a:gd name="connsiteX854" fmla="*/ 28604 w 334946"/>
                      <a:gd name="connsiteY854" fmla="*/ 168878 h 334834"/>
                      <a:gd name="connsiteX855" fmla="*/ 158601 w 334946"/>
                      <a:gd name="connsiteY855" fmla="*/ 166325 h 334834"/>
                      <a:gd name="connsiteX856" fmla="*/ 159667 w 334946"/>
                      <a:gd name="connsiteY856" fmla="*/ 167392 h 334834"/>
                      <a:gd name="connsiteX857" fmla="*/ 158515 w 334946"/>
                      <a:gd name="connsiteY857" fmla="*/ 168954 h 334834"/>
                      <a:gd name="connsiteX858" fmla="*/ 156953 w 334946"/>
                      <a:gd name="connsiteY858" fmla="*/ 167392 h 334834"/>
                      <a:gd name="connsiteX859" fmla="*/ 158105 w 334946"/>
                      <a:gd name="connsiteY859" fmla="*/ 166240 h 334834"/>
                      <a:gd name="connsiteX860" fmla="*/ 158601 w 334946"/>
                      <a:gd name="connsiteY860" fmla="*/ 166325 h 334834"/>
                      <a:gd name="connsiteX861" fmla="*/ 317773 w 334946"/>
                      <a:gd name="connsiteY861" fmla="*/ 168954 h 334834"/>
                      <a:gd name="connsiteX862" fmla="*/ 320811 w 334946"/>
                      <a:gd name="connsiteY862" fmla="*/ 172402 h 334834"/>
                      <a:gd name="connsiteX863" fmla="*/ 319583 w 334946"/>
                      <a:gd name="connsiteY863" fmla="*/ 167307 h 334834"/>
                      <a:gd name="connsiteX864" fmla="*/ 317773 w 334946"/>
                      <a:gd name="connsiteY864" fmla="*/ 168954 h 334834"/>
                      <a:gd name="connsiteX865" fmla="*/ 62379 w 334946"/>
                      <a:gd name="connsiteY865" fmla="*/ 172326 h 334834"/>
                      <a:gd name="connsiteX866" fmla="*/ 68456 w 334946"/>
                      <a:gd name="connsiteY866" fmla="*/ 179889 h 334834"/>
                      <a:gd name="connsiteX867" fmla="*/ 73057 w 334946"/>
                      <a:gd name="connsiteY867" fmla="*/ 173317 h 334834"/>
                      <a:gd name="connsiteX868" fmla="*/ 67304 w 334946"/>
                      <a:gd name="connsiteY868" fmla="*/ 168554 h 334834"/>
                      <a:gd name="connsiteX869" fmla="*/ 62379 w 334946"/>
                      <a:gd name="connsiteY869" fmla="*/ 172326 h 334834"/>
                      <a:gd name="connsiteX870" fmla="*/ 136741 w 334946"/>
                      <a:gd name="connsiteY870" fmla="*/ 175289 h 334834"/>
                      <a:gd name="connsiteX871" fmla="*/ 132959 w 334946"/>
                      <a:gd name="connsiteY871" fmla="*/ 171098 h 334834"/>
                      <a:gd name="connsiteX872" fmla="*/ 135426 w 334946"/>
                      <a:gd name="connsiteY872" fmla="*/ 168878 h 334834"/>
                      <a:gd name="connsiteX873" fmla="*/ 136741 w 334946"/>
                      <a:gd name="connsiteY873" fmla="*/ 175289 h 334834"/>
                      <a:gd name="connsiteX874" fmla="*/ 194434 w 334946"/>
                      <a:gd name="connsiteY874" fmla="*/ 174955 h 334834"/>
                      <a:gd name="connsiteX875" fmla="*/ 191472 w 334946"/>
                      <a:gd name="connsiteY875" fmla="*/ 171012 h 334834"/>
                      <a:gd name="connsiteX876" fmla="*/ 193615 w 334946"/>
                      <a:gd name="connsiteY876" fmla="*/ 169288 h 334834"/>
                      <a:gd name="connsiteX877" fmla="*/ 194434 w 334946"/>
                      <a:gd name="connsiteY877" fmla="*/ 174955 h 334834"/>
                      <a:gd name="connsiteX878" fmla="*/ 294113 w 334946"/>
                      <a:gd name="connsiteY878" fmla="*/ 173060 h 334834"/>
                      <a:gd name="connsiteX879" fmla="*/ 298466 w 334946"/>
                      <a:gd name="connsiteY879" fmla="*/ 178327 h 334834"/>
                      <a:gd name="connsiteX880" fmla="*/ 297647 w 334946"/>
                      <a:gd name="connsiteY880" fmla="*/ 170183 h 334834"/>
                      <a:gd name="connsiteX881" fmla="*/ 294113 w 334946"/>
                      <a:gd name="connsiteY881" fmla="*/ 173060 h 334834"/>
                      <a:gd name="connsiteX882" fmla="*/ 230010 w 334946"/>
                      <a:gd name="connsiteY882" fmla="*/ 181613 h 334834"/>
                      <a:gd name="connsiteX883" fmla="*/ 225000 w 334946"/>
                      <a:gd name="connsiteY883" fmla="*/ 174631 h 334834"/>
                      <a:gd name="connsiteX884" fmla="*/ 229524 w 334946"/>
                      <a:gd name="connsiteY884" fmla="*/ 171421 h 334834"/>
                      <a:gd name="connsiteX885" fmla="*/ 230010 w 334946"/>
                      <a:gd name="connsiteY885" fmla="*/ 181613 h 334834"/>
                      <a:gd name="connsiteX886" fmla="*/ 114395 w 334946"/>
                      <a:gd name="connsiteY886" fmla="*/ 181204 h 334834"/>
                      <a:gd name="connsiteX887" fmla="*/ 109385 w 334946"/>
                      <a:gd name="connsiteY887" fmla="*/ 175127 h 334834"/>
                      <a:gd name="connsiteX888" fmla="*/ 113405 w 334946"/>
                      <a:gd name="connsiteY888" fmla="*/ 171917 h 334834"/>
                      <a:gd name="connsiteX889" fmla="*/ 114395 w 334946"/>
                      <a:gd name="connsiteY889" fmla="*/ 181204 h 334834"/>
                      <a:gd name="connsiteX890" fmla="*/ 7810 w 334946"/>
                      <a:gd name="connsiteY890" fmla="*/ 173965 h 334834"/>
                      <a:gd name="connsiteX891" fmla="*/ 10192 w 334946"/>
                      <a:gd name="connsiteY891" fmla="*/ 176432 h 334834"/>
                      <a:gd name="connsiteX892" fmla="*/ 9458 w 334946"/>
                      <a:gd name="connsiteY892" fmla="*/ 172155 h 334834"/>
                      <a:gd name="connsiteX893" fmla="*/ 7810 w 334946"/>
                      <a:gd name="connsiteY893" fmla="*/ 173965 h 334834"/>
                      <a:gd name="connsiteX894" fmla="*/ 270605 w 334946"/>
                      <a:gd name="connsiteY894" fmla="*/ 177498 h 334834"/>
                      <a:gd name="connsiteX895" fmla="*/ 276196 w 334946"/>
                      <a:gd name="connsiteY895" fmla="*/ 183994 h 334834"/>
                      <a:gd name="connsiteX896" fmla="*/ 275206 w 334946"/>
                      <a:gd name="connsiteY896" fmla="*/ 173393 h 334834"/>
                      <a:gd name="connsiteX897" fmla="*/ 270605 w 334946"/>
                      <a:gd name="connsiteY897" fmla="*/ 177498 h 334834"/>
                      <a:gd name="connsiteX898" fmla="*/ 41339 w 334946"/>
                      <a:gd name="connsiteY898" fmla="*/ 177013 h 334834"/>
                      <a:gd name="connsiteX899" fmla="*/ 46272 w 334946"/>
                      <a:gd name="connsiteY899" fmla="*/ 183175 h 334834"/>
                      <a:gd name="connsiteX900" fmla="*/ 45453 w 334946"/>
                      <a:gd name="connsiteY900" fmla="*/ 174136 h 334834"/>
                      <a:gd name="connsiteX901" fmla="*/ 41339 w 334946"/>
                      <a:gd name="connsiteY901" fmla="*/ 177013 h 334834"/>
                      <a:gd name="connsiteX902" fmla="*/ 173393 w 334946"/>
                      <a:gd name="connsiteY902" fmla="*/ 176927 h 334834"/>
                      <a:gd name="connsiteX903" fmla="*/ 172241 w 334946"/>
                      <a:gd name="connsiteY903" fmla="*/ 177994 h 334834"/>
                      <a:gd name="connsiteX904" fmla="*/ 171498 w 334946"/>
                      <a:gd name="connsiteY904" fmla="*/ 178070 h 334834"/>
                      <a:gd name="connsiteX905" fmla="*/ 170431 w 334946"/>
                      <a:gd name="connsiteY905" fmla="*/ 176917 h 334834"/>
                      <a:gd name="connsiteX906" fmla="*/ 171745 w 334946"/>
                      <a:gd name="connsiteY906" fmla="*/ 175107 h 334834"/>
                      <a:gd name="connsiteX907" fmla="*/ 173393 w 334946"/>
                      <a:gd name="connsiteY907" fmla="*/ 176927 h 334834"/>
                      <a:gd name="connsiteX908" fmla="*/ 92535 w 334946"/>
                      <a:gd name="connsiteY908" fmla="*/ 186538 h 334834"/>
                      <a:gd name="connsiteX909" fmla="*/ 89744 w 334946"/>
                      <a:gd name="connsiteY909" fmla="*/ 186785 h 334834"/>
                      <a:gd name="connsiteX910" fmla="*/ 86944 w 334946"/>
                      <a:gd name="connsiteY910" fmla="*/ 184642 h 334834"/>
                      <a:gd name="connsiteX911" fmla="*/ 86459 w 334946"/>
                      <a:gd name="connsiteY911" fmla="*/ 177574 h 334834"/>
                      <a:gd name="connsiteX912" fmla="*/ 91640 w 334946"/>
                      <a:gd name="connsiteY912" fmla="*/ 175193 h 334834"/>
                      <a:gd name="connsiteX913" fmla="*/ 92535 w 334946"/>
                      <a:gd name="connsiteY913" fmla="*/ 186538 h 334834"/>
                      <a:gd name="connsiteX914" fmla="*/ 208235 w 334946"/>
                      <a:gd name="connsiteY914" fmla="*/ 184899 h 334834"/>
                      <a:gd name="connsiteX915" fmla="*/ 203711 w 334946"/>
                      <a:gd name="connsiteY915" fmla="*/ 180051 h 334834"/>
                      <a:gd name="connsiteX916" fmla="*/ 207083 w 334946"/>
                      <a:gd name="connsiteY916" fmla="*/ 177089 h 334834"/>
                      <a:gd name="connsiteX917" fmla="*/ 208235 w 334946"/>
                      <a:gd name="connsiteY917" fmla="*/ 184899 h 334834"/>
                      <a:gd name="connsiteX918" fmla="*/ 332318 w 334946"/>
                      <a:gd name="connsiteY918" fmla="*/ 178575 h 334834"/>
                      <a:gd name="connsiteX919" fmla="*/ 333632 w 334946"/>
                      <a:gd name="connsiteY919" fmla="*/ 180051 h 334834"/>
                      <a:gd name="connsiteX920" fmla="*/ 334947 w 334946"/>
                      <a:gd name="connsiteY920" fmla="*/ 178822 h 334834"/>
                      <a:gd name="connsiteX921" fmla="*/ 334042 w 334946"/>
                      <a:gd name="connsiteY921" fmla="*/ 177422 h 334834"/>
                      <a:gd name="connsiteX922" fmla="*/ 333299 w 334946"/>
                      <a:gd name="connsiteY922" fmla="*/ 177336 h 334834"/>
                      <a:gd name="connsiteX923" fmla="*/ 332318 w 334946"/>
                      <a:gd name="connsiteY923" fmla="*/ 178575 h 334834"/>
                      <a:gd name="connsiteX924" fmla="*/ 150142 w 334946"/>
                      <a:gd name="connsiteY924" fmla="*/ 183585 h 334834"/>
                      <a:gd name="connsiteX925" fmla="*/ 147018 w 334946"/>
                      <a:gd name="connsiteY925" fmla="*/ 180137 h 334834"/>
                      <a:gd name="connsiteX926" fmla="*/ 148819 w 334946"/>
                      <a:gd name="connsiteY926" fmla="*/ 178489 h 334834"/>
                      <a:gd name="connsiteX927" fmla="*/ 150142 w 334946"/>
                      <a:gd name="connsiteY927" fmla="*/ 183585 h 334834"/>
                      <a:gd name="connsiteX928" fmla="*/ 248422 w 334946"/>
                      <a:gd name="connsiteY928" fmla="*/ 184899 h 334834"/>
                      <a:gd name="connsiteX929" fmla="*/ 248669 w 334946"/>
                      <a:gd name="connsiteY929" fmla="*/ 188271 h 334834"/>
                      <a:gd name="connsiteX930" fmla="*/ 244640 w 334946"/>
                      <a:gd name="connsiteY930" fmla="*/ 190729 h 334834"/>
                      <a:gd name="connsiteX931" fmla="*/ 241602 w 334946"/>
                      <a:gd name="connsiteY931" fmla="*/ 191148 h 334834"/>
                      <a:gd name="connsiteX932" fmla="*/ 238230 w 334946"/>
                      <a:gd name="connsiteY932" fmla="*/ 182108 h 334834"/>
                      <a:gd name="connsiteX933" fmla="*/ 243326 w 334946"/>
                      <a:gd name="connsiteY933" fmla="*/ 179556 h 334834"/>
                      <a:gd name="connsiteX934" fmla="*/ 248422 w 334946"/>
                      <a:gd name="connsiteY934" fmla="*/ 184899 h 334834"/>
                      <a:gd name="connsiteX935" fmla="*/ 20383 w 334946"/>
                      <a:gd name="connsiteY935" fmla="*/ 182185 h 334834"/>
                      <a:gd name="connsiteX936" fmla="*/ 23755 w 334946"/>
                      <a:gd name="connsiteY936" fmla="*/ 186214 h 334834"/>
                      <a:gd name="connsiteX937" fmla="*/ 22936 w 334946"/>
                      <a:gd name="connsiteY937" fmla="*/ 179965 h 334834"/>
                      <a:gd name="connsiteX938" fmla="*/ 20383 w 334946"/>
                      <a:gd name="connsiteY938" fmla="*/ 182185 h 334834"/>
                      <a:gd name="connsiteX939" fmla="*/ 308324 w 334946"/>
                      <a:gd name="connsiteY939" fmla="*/ 182108 h 334834"/>
                      <a:gd name="connsiteX940" fmla="*/ 311944 w 334946"/>
                      <a:gd name="connsiteY940" fmla="*/ 186299 h 334834"/>
                      <a:gd name="connsiteX941" fmla="*/ 310715 w 334946"/>
                      <a:gd name="connsiteY941" fmla="*/ 179965 h 334834"/>
                      <a:gd name="connsiteX942" fmla="*/ 308324 w 334946"/>
                      <a:gd name="connsiteY942" fmla="*/ 182108 h 334834"/>
                      <a:gd name="connsiteX943" fmla="*/ 127702 w 334946"/>
                      <a:gd name="connsiteY943" fmla="*/ 189500 h 334834"/>
                      <a:gd name="connsiteX944" fmla="*/ 123263 w 334946"/>
                      <a:gd name="connsiteY944" fmla="*/ 184404 h 334834"/>
                      <a:gd name="connsiteX945" fmla="*/ 127121 w 334946"/>
                      <a:gd name="connsiteY945" fmla="*/ 181366 h 334834"/>
                      <a:gd name="connsiteX946" fmla="*/ 127702 w 334946"/>
                      <a:gd name="connsiteY946" fmla="*/ 189500 h 334834"/>
                      <a:gd name="connsiteX947" fmla="*/ 53826 w 334946"/>
                      <a:gd name="connsiteY947" fmla="*/ 186299 h 334834"/>
                      <a:gd name="connsiteX948" fmla="*/ 59503 w 334946"/>
                      <a:gd name="connsiteY948" fmla="*/ 192710 h 334834"/>
                      <a:gd name="connsiteX949" fmla="*/ 58274 w 334946"/>
                      <a:gd name="connsiteY949" fmla="*/ 182356 h 334834"/>
                      <a:gd name="connsiteX950" fmla="*/ 53826 w 334946"/>
                      <a:gd name="connsiteY950" fmla="*/ 186299 h 334834"/>
                      <a:gd name="connsiteX951" fmla="*/ 185557 w 334946"/>
                      <a:gd name="connsiteY951" fmla="*/ 188271 h 334834"/>
                      <a:gd name="connsiteX952" fmla="*/ 182680 w 334946"/>
                      <a:gd name="connsiteY952" fmla="*/ 184404 h 334834"/>
                      <a:gd name="connsiteX953" fmla="*/ 184737 w 334946"/>
                      <a:gd name="connsiteY953" fmla="*/ 182756 h 334834"/>
                      <a:gd name="connsiteX954" fmla="*/ 185557 w 334946"/>
                      <a:gd name="connsiteY954" fmla="*/ 188271 h 334834"/>
                      <a:gd name="connsiteX955" fmla="*/ 284740 w 334946"/>
                      <a:gd name="connsiteY955" fmla="*/ 186376 h 334834"/>
                      <a:gd name="connsiteX956" fmla="*/ 289750 w 334946"/>
                      <a:gd name="connsiteY956" fmla="*/ 192043 h 334834"/>
                      <a:gd name="connsiteX957" fmla="*/ 288760 w 334946"/>
                      <a:gd name="connsiteY957" fmla="*/ 183004 h 334834"/>
                      <a:gd name="connsiteX958" fmla="*/ 284740 w 334946"/>
                      <a:gd name="connsiteY958" fmla="*/ 186376 h 334834"/>
                      <a:gd name="connsiteX959" fmla="*/ 106013 w 334946"/>
                      <a:gd name="connsiteY959" fmla="*/ 195167 h 334834"/>
                      <a:gd name="connsiteX960" fmla="*/ 99850 w 334946"/>
                      <a:gd name="connsiteY960" fmla="*/ 188347 h 334834"/>
                      <a:gd name="connsiteX961" fmla="*/ 104451 w 334946"/>
                      <a:gd name="connsiteY961" fmla="*/ 184566 h 334834"/>
                      <a:gd name="connsiteX962" fmla="*/ 106013 w 334946"/>
                      <a:gd name="connsiteY962" fmla="*/ 195167 h 334834"/>
                      <a:gd name="connsiteX963" fmla="*/ 221713 w 334946"/>
                      <a:gd name="connsiteY963" fmla="*/ 194681 h 334834"/>
                      <a:gd name="connsiteX964" fmla="*/ 216208 w 334946"/>
                      <a:gd name="connsiteY964" fmla="*/ 188604 h 334834"/>
                      <a:gd name="connsiteX965" fmla="*/ 220151 w 334946"/>
                      <a:gd name="connsiteY965" fmla="*/ 185071 h 334834"/>
                      <a:gd name="connsiteX966" fmla="*/ 221713 w 334946"/>
                      <a:gd name="connsiteY966" fmla="*/ 194681 h 334834"/>
                      <a:gd name="connsiteX967" fmla="*/ 261490 w 334946"/>
                      <a:gd name="connsiteY967" fmla="*/ 189824 h 334834"/>
                      <a:gd name="connsiteX968" fmla="*/ 267576 w 334946"/>
                      <a:gd name="connsiteY968" fmla="*/ 197548 h 334834"/>
                      <a:gd name="connsiteX969" fmla="*/ 266509 w 334946"/>
                      <a:gd name="connsiteY969" fmla="*/ 186376 h 334834"/>
                      <a:gd name="connsiteX970" fmla="*/ 261490 w 334946"/>
                      <a:gd name="connsiteY970" fmla="*/ 189824 h 334834"/>
                      <a:gd name="connsiteX971" fmla="*/ 86 w 334946"/>
                      <a:gd name="connsiteY971" fmla="*/ 187280 h 334834"/>
                      <a:gd name="connsiteX972" fmla="*/ 0 w 334946"/>
                      <a:gd name="connsiteY972" fmla="*/ 187604 h 334834"/>
                      <a:gd name="connsiteX973" fmla="*/ 905 w 334946"/>
                      <a:gd name="connsiteY973" fmla="*/ 188595 h 334834"/>
                      <a:gd name="connsiteX974" fmla="*/ 2057 w 334946"/>
                      <a:gd name="connsiteY974" fmla="*/ 187852 h 334834"/>
                      <a:gd name="connsiteX975" fmla="*/ 2143 w 334946"/>
                      <a:gd name="connsiteY975" fmla="*/ 187280 h 334834"/>
                      <a:gd name="connsiteX976" fmla="*/ 1067 w 334946"/>
                      <a:gd name="connsiteY976" fmla="*/ 186461 h 334834"/>
                      <a:gd name="connsiteX977" fmla="*/ 86 w 334946"/>
                      <a:gd name="connsiteY977" fmla="*/ 187280 h 334834"/>
                      <a:gd name="connsiteX978" fmla="*/ 163373 w 334946"/>
                      <a:gd name="connsiteY978" fmla="*/ 192624 h 334834"/>
                      <a:gd name="connsiteX979" fmla="*/ 160334 w 334946"/>
                      <a:gd name="connsiteY979" fmla="*/ 189176 h 334834"/>
                      <a:gd name="connsiteX980" fmla="*/ 162306 w 334946"/>
                      <a:gd name="connsiteY980" fmla="*/ 187366 h 334834"/>
                      <a:gd name="connsiteX981" fmla="*/ 163373 w 334946"/>
                      <a:gd name="connsiteY981" fmla="*/ 192624 h 334834"/>
                      <a:gd name="connsiteX982" fmla="*/ 32871 w 334946"/>
                      <a:gd name="connsiteY982" fmla="*/ 190976 h 334834"/>
                      <a:gd name="connsiteX983" fmla="*/ 37557 w 334946"/>
                      <a:gd name="connsiteY983" fmla="*/ 195748 h 334834"/>
                      <a:gd name="connsiteX984" fmla="*/ 35995 w 334946"/>
                      <a:gd name="connsiteY984" fmla="*/ 188100 h 334834"/>
                      <a:gd name="connsiteX985" fmla="*/ 32871 w 334946"/>
                      <a:gd name="connsiteY985" fmla="*/ 190976 h 334834"/>
                      <a:gd name="connsiteX986" fmla="*/ 322631 w 334946"/>
                      <a:gd name="connsiteY986" fmla="*/ 191633 h 334834"/>
                      <a:gd name="connsiteX987" fmla="*/ 326241 w 334946"/>
                      <a:gd name="connsiteY987" fmla="*/ 193272 h 334834"/>
                      <a:gd name="connsiteX988" fmla="*/ 324269 w 334946"/>
                      <a:gd name="connsiteY988" fmla="*/ 189900 h 334834"/>
                      <a:gd name="connsiteX989" fmla="*/ 322631 w 334946"/>
                      <a:gd name="connsiteY989" fmla="*/ 191633 h 334834"/>
                      <a:gd name="connsiteX990" fmla="*/ 199196 w 334946"/>
                      <a:gd name="connsiteY990" fmla="*/ 198206 h 334834"/>
                      <a:gd name="connsiteX991" fmla="*/ 194920 w 334946"/>
                      <a:gd name="connsiteY991" fmla="*/ 193272 h 334834"/>
                      <a:gd name="connsiteX992" fmla="*/ 197882 w 334946"/>
                      <a:gd name="connsiteY992" fmla="*/ 190567 h 334834"/>
                      <a:gd name="connsiteX993" fmla="*/ 199196 w 334946"/>
                      <a:gd name="connsiteY993" fmla="*/ 198206 h 334834"/>
                      <a:gd name="connsiteX994" fmla="*/ 67304 w 334946"/>
                      <a:gd name="connsiteY994" fmla="*/ 193357 h 334834"/>
                      <a:gd name="connsiteX995" fmla="*/ 71333 w 334946"/>
                      <a:gd name="connsiteY995" fmla="*/ 202073 h 334834"/>
                      <a:gd name="connsiteX996" fmla="*/ 72152 w 334946"/>
                      <a:gd name="connsiteY996" fmla="*/ 190652 h 334834"/>
                      <a:gd name="connsiteX997" fmla="*/ 67304 w 334946"/>
                      <a:gd name="connsiteY997" fmla="*/ 193357 h 334834"/>
                      <a:gd name="connsiteX998" fmla="*/ 141427 w 334946"/>
                      <a:gd name="connsiteY998" fmla="*/ 197958 h 334834"/>
                      <a:gd name="connsiteX999" fmla="*/ 136989 w 334946"/>
                      <a:gd name="connsiteY999" fmla="*/ 193519 h 334834"/>
                      <a:gd name="connsiteX1000" fmla="*/ 139865 w 334946"/>
                      <a:gd name="connsiteY1000" fmla="*/ 190729 h 334834"/>
                      <a:gd name="connsiteX1001" fmla="*/ 141427 w 334946"/>
                      <a:gd name="connsiteY1001" fmla="*/ 197958 h 334834"/>
                      <a:gd name="connsiteX1002" fmla="*/ 299285 w 334946"/>
                      <a:gd name="connsiteY1002" fmla="*/ 194681 h 334834"/>
                      <a:gd name="connsiteX1003" fmla="*/ 303143 w 334946"/>
                      <a:gd name="connsiteY1003" fmla="*/ 199939 h 334834"/>
                      <a:gd name="connsiteX1004" fmla="*/ 301752 w 334946"/>
                      <a:gd name="connsiteY1004" fmla="*/ 192872 h 334834"/>
                      <a:gd name="connsiteX1005" fmla="*/ 299285 w 334946"/>
                      <a:gd name="connsiteY1005" fmla="*/ 194681 h 334834"/>
                      <a:gd name="connsiteX1006" fmla="*/ 233134 w 334946"/>
                      <a:gd name="connsiteY1006" fmla="*/ 204368 h 334834"/>
                      <a:gd name="connsiteX1007" fmla="*/ 229352 w 334946"/>
                      <a:gd name="connsiteY1007" fmla="*/ 195739 h 334834"/>
                      <a:gd name="connsiteX1008" fmla="*/ 233953 w 334946"/>
                      <a:gd name="connsiteY1008" fmla="*/ 193110 h 334834"/>
                      <a:gd name="connsiteX1009" fmla="*/ 233134 w 334946"/>
                      <a:gd name="connsiteY1009" fmla="*/ 204368 h 334834"/>
                      <a:gd name="connsiteX1010" fmla="*/ 119567 w 334946"/>
                      <a:gd name="connsiteY1010" fmla="*/ 203549 h 334834"/>
                      <a:gd name="connsiteX1011" fmla="*/ 113652 w 334946"/>
                      <a:gd name="connsiteY1011" fmla="*/ 197387 h 334834"/>
                      <a:gd name="connsiteX1012" fmla="*/ 117596 w 334946"/>
                      <a:gd name="connsiteY1012" fmla="*/ 193938 h 334834"/>
                      <a:gd name="connsiteX1013" fmla="*/ 119567 w 334946"/>
                      <a:gd name="connsiteY1013" fmla="*/ 203549 h 334834"/>
                      <a:gd name="connsiteX1014" fmla="*/ 12163 w 334946"/>
                      <a:gd name="connsiteY1014" fmla="*/ 195996 h 334834"/>
                      <a:gd name="connsiteX1015" fmla="*/ 15040 w 334946"/>
                      <a:gd name="connsiteY1015" fmla="*/ 198625 h 334834"/>
                      <a:gd name="connsiteX1016" fmla="*/ 13887 w 334946"/>
                      <a:gd name="connsiteY1016" fmla="*/ 194186 h 334834"/>
                      <a:gd name="connsiteX1017" fmla="*/ 12163 w 334946"/>
                      <a:gd name="connsiteY1017" fmla="*/ 195996 h 334834"/>
                      <a:gd name="connsiteX1018" fmla="*/ 177013 w 334946"/>
                      <a:gd name="connsiteY1018" fmla="*/ 202149 h 334834"/>
                      <a:gd name="connsiteX1019" fmla="*/ 173069 w 334946"/>
                      <a:gd name="connsiteY1019" fmla="*/ 197958 h 334834"/>
                      <a:gd name="connsiteX1020" fmla="*/ 176032 w 334946"/>
                      <a:gd name="connsiteY1020" fmla="*/ 195577 h 334834"/>
                      <a:gd name="connsiteX1021" fmla="*/ 177013 w 334946"/>
                      <a:gd name="connsiteY1021" fmla="*/ 202149 h 334834"/>
                      <a:gd name="connsiteX1022" fmla="*/ 275615 w 334946"/>
                      <a:gd name="connsiteY1022" fmla="*/ 199444 h 334834"/>
                      <a:gd name="connsiteX1023" fmla="*/ 280387 w 334946"/>
                      <a:gd name="connsiteY1023" fmla="*/ 205692 h 334834"/>
                      <a:gd name="connsiteX1024" fmla="*/ 279397 w 334946"/>
                      <a:gd name="connsiteY1024" fmla="*/ 195996 h 334834"/>
                      <a:gd name="connsiteX1025" fmla="*/ 275615 w 334946"/>
                      <a:gd name="connsiteY1025" fmla="*/ 199444 h 334834"/>
                      <a:gd name="connsiteX1026" fmla="*/ 45615 w 334946"/>
                      <a:gd name="connsiteY1026" fmla="*/ 199520 h 334834"/>
                      <a:gd name="connsiteX1027" fmla="*/ 50959 w 334946"/>
                      <a:gd name="connsiteY1027" fmla="*/ 205273 h 334834"/>
                      <a:gd name="connsiteX1028" fmla="*/ 49149 w 334946"/>
                      <a:gd name="connsiteY1028" fmla="*/ 196320 h 334834"/>
                      <a:gd name="connsiteX1029" fmla="*/ 45615 w 334946"/>
                      <a:gd name="connsiteY1029" fmla="*/ 199520 h 334834"/>
                      <a:gd name="connsiteX1030" fmla="*/ 101736 w 334946"/>
                      <a:gd name="connsiteY1030" fmla="*/ 205607 h 334834"/>
                      <a:gd name="connsiteX1031" fmla="*/ 96974 w 334946"/>
                      <a:gd name="connsiteY1031" fmla="*/ 208731 h 334834"/>
                      <a:gd name="connsiteX1032" fmla="*/ 92707 w 334946"/>
                      <a:gd name="connsiteY1032" fmla="*/ 209226 h 334834"/>
                      <a:gd name="connsiteX1033" fmla="*/ 90897 w 334946"/>
                      <a:gd name="connsiteY1033" fmla="*/ 199368 h 334834"/>
                      <a:gd name="connsiteX1034" fmla="*/ 96069 w 334946"/>
                      <a:gd name="connsiteY1034" fmla="*/ 197396 h 334834"/>
                      <a:gd name="connsiteX1035" fmla="*/ 101736 w 334946"/>
                      <a:gd name="connsiteY1035" fmla="*/ 205607 h 334834"/>
                      <a:gd name="connsiteX1036" fmla="*/ 212265 w 334946"/>
                      <a:gd name="connsiteY1036" fmla="*/ 208074 h 334834"/>
                      <a:gd name="connsiteX1037" fmla="*/ 207331 w 334946"/>
                      <a:gd name="connsiteY1037" fmla="*/ 201911 h 334834"/>
                      <a:gd name="connsiteX1038" fmla="*/ 211522 w 334946"/>
                      <a:gd name="connsiteY1038" fmla="*/ 198539 h 334834"/>
                      <a:gd name="connsiteX1039" fmla="*/ 212265 w 334946"/>
                      <a:gd name="connsiteY1039" fmla="*/ 208074 h 334834"/>
                      <a:gd name="connsiteX1040" fmla="*/ 252527 w 334946"/>
                      <a:gd name="connsiteY1040" fmla="*/ 201997 h 334834"/>
                      <a:gd name="connsiteX1041" fmla="*/ 252527 w 334946"/>
                      <a:gd name="connsiteY1041" fmla="*/ 204949 h 334834"/>
                      <a:gd name="connsiteX1042" fmla="*/ 257461 w 334946"/>
                      <a:gd name="connsiteY1042" fmla="*/ 211122 h 334834"/>
                      <a:gd name="connsiteX1043" fmla="*/ 258527 w 334946"/>
                      <a:gd name="connsiteY1043" fmla="*/ 199530 h 334834"/>
                      <a:gd name="connsiteX1044" fmla="*/ 252527 w 334946"/>
                      <a:gd name="connsiteY1044" fmla="*/ 201997 h 334834"/>
                      <a:gd name="connsiteX1045" fmla="*/ 154657 w 334946"/>
                      <a:gd name="connsiteY1045" fmla="*/ 207007 h 334834"/>
                      <a:gd name="connsiteX1046" fmla="*/ 150381 w 334946"/>
                      <a:gd name="connsiteY1046" fmla="*/ 202406 h 334834"/>
                      <a:gd name="connsiteX1047" fmla="*/ 153752 w 334946"/>
                      <a:gd name="connsiteY1047" fmla="*/ 199615 h 334834"/>
                      <a:gd name="connsiteX1048" fmla="*/ 154657 w 334946"/>
                      <a:gd name="connsiteY1048" fmla="*/ 207007 h 334834"/>
                      <a:gd name="connsiteX1049" fmla="*/ 24898 w 334946"/>
                      <a:gd name="connsiteY1049" fmla="*/ 204130 h 334834"/>
                      <a:gd name="connsiteX1050" fmla="*/ 28432 w 334946"/>
                      <a:gd name="connsiteY1050" fmla="*/ 208321 h 334834"/>
                      <a:gd name="connsiteX1051" fmla="*/ 27365 w 334946"/>
                      <a:gd name="connsiteY1051" fmla="*/ 202159 h 334834"/>
                      <a:gd name="connsiteX1052" fmla="*/ 24898 w 334946"/>
                      <a:gd name="connsiteY1052" fmla="*/ 204130 h 334834"/>
                      <a:gd name="connsiteX1053" fmla="*/ 313420 w 334946"/>
                      <a:gd name="connsiteY1053" fmla="*/ 204368 h 334834"/>
                      <a:gd name="connsiteX1054" fmla="*/ 316297 w 334946"/>
                      <a:gd name="connsiteY1054" fmla="*/ 207816 h 334834"/>
                      <a:gd name="connsiteX1055" fmla="*/ 315230 w 334946"/>
                      <a:gd name="connsiteY1055" fmla="*/ 202806 h 334834"/>
                      <a:gd name="connsiteX1056" fmla="*/ 313420 w 334946"/>
                      <a:gd name="connsiteY1056" fmla="*/ 204368 h 334834"/>
                      <a:gd name="connsiteX1057" fmla="*/ 132312 w 334946"/>
                      <a:gd name="connsiteY1057" fmla="*/ 212341 h 334834"/>
                      <a:gd name="connsiteX1058" fmla="*/ 127216 w 334946"/>
                      <a:gd name="connsiteY1058" fmla="*/ 206512 h 334834"/>
                      <a:gd name="connsiteX1059" fmla="*/ 131074 w 334946"/>
                      <a:gd name="connsiteY1059" fmla="*/ 203140 h 334834"/>
                      <a:gd name="connsiteX1060" fmla="*/ 132312 w 334946"/>
                      <a:gd name="connsiteY1060" fmla="*/ 212341 h 334834"/>
                      <a:gd name="connsiteX1061" fmla="*/ 190405 w 334946"/>
                      <a:gd name="connsiteY1061" fmla="*/ 211846 h 334834"/>
                      <a:gd name="connsiteX1062" fmla="*/ 185633 w 334946"/>
                      <a:gd name="connsiteY1062" fmla="*/ 206588 h 334834"/>
                      <a:gd name="connsiteX1063" fmla="*/ 189490 w 334946"/>
                      <a:gd name="connsiteY1063" fmla="*/ 203549 h 334834"/>
                      <a:gd name="connsiteX1064" fmla="*/ 190405 w 334946"/>
                      <a:gd name="connsiteY1064" fmla="*/ 211846 h 334834"/>
                      <a:gd name="connsiteX1065" fmla="*/ 58426 w 334946"/>
                      <a:gd name="connsiteY1065" fmla="*/ 208321 h 334834"/>
                      <a:gd name="connsiteX1066" fmla="*/ 64017 w 334946"/>
                      <a:gd name="connsiteY1066" fmla="*/ 214732 h 334834"/>
                      <a:gd name="connsiteX1067" fmla="*/ 62293 w 334946"/>
                      <a:gd name="connsiteY1067" fmla="*/ 204626 h 334834"/>
                      <a:gd name="connsiteX1068" fmla="*/ 58426 w 334946"/>
                      <a:gd name="connsiteY1068" fmla="*/ 208321 h 334834"/>
                      <a:gd name="connsiteX1069" fmla="*/ 289750 w 334946"/>
                      <a:gd name="connsiteY1069" fmla="*/ 208731 h 334834"/>
                      <a:gd name="connsiteX1070" fmla="*/ 294513 w 334946"/>
                      <a:gd name="connsiteY1070" fmla="*/ 213503 h 334834"/>
                      <a:gd name="connsiteX1071" fmla="*/ 292951 w 334946"/>
                      <a:gd name="connsiteY1071" fmla="*/ 205778 h 334834"/>
                      <a:gd name="connsiteX1072" fmla="*/ 289750 w 334946"/>
                      <a:gd name="connsiteY1072" fmla="*/ 208731 h 334834"/>
                      <a:gd name="connsiteX1073" fmla="*/ 109461 w 334946"/>
                      <a:gd name="connsiteY1073" fmla="*/ 217846 h 334834"/>
                      <a:gd name="connsiteX1074" fmla="*/ 103956 w 334946"/>
                      <a:gd name="connsiteY1074" fmla="*/ 210369 h 334834"/>
                      <a:gd name="connsiteX1075" fmla="*/ 108480 w 334946"/>
                      <a:gd name="connsiteY1075" fmla="*/ 206512 h 334834"/>
                      <a:gd name="connsiteX1076" fmla="*/ 109461 w 334946"/>
                      <a:gd name="connsiteY1076" fmla="*/ 217846 h 334834"/>
                      <a:gd name="connsiteX1077" fmla="*/ 225571 w 334946"/>
                      <a:gd name="connsiteY1077" fmla="*/ 217684 h 334834"/>
                      <a:gd name="connsiteX1078" fmla="*/ 219732 w 334946"/>
                      <a:gd name="connsiteY1078" fmla="*/ 210864 h 334834"/>
                      <a:gd name="connsiteX1079" fmla="*/ 224580 w 334946"/>
                      <a:gd name="connsiteY1079" fmla="*/ 206512 h 334834"/>
                      <a:gd name="connsiteX1080" fmla="*/ 225571 w 334946"/>
                      <a:gd name="connsiteY1080" fmla="*/ 217684 h 334834"/>
                      <a:gd name="connsiteX1081" fmla="*/ 167802 w 334946"/>
                      <a:gd name="connsiteY1081" fmla="*/ 216294 h 334834"/>
                      <a:gd name="connsiteX1082" fmla="*/ 163363 w 334946"/>
                      <a:gd name="connsiteY1082" fmla="*/ 211274 h 334834"/>
                      <a:gd name="connsiteX1083" fmla="*/ 166897 w 334946"/>
                      <a:gd name="connsiteY1083" fmla="*/ 208150 h 334834"/>
                      <a:gd name="connsiteX1084" fmla="*/ 167802 w 334946"/>
                      <a:gd name="connsiteY1084" fmla="*/ 216294 h 334834"/>
                      <a:gd name="connsiteX1085" fmla="*/ 4439 w 334946"/>
                      <a:gd name="connsiteY1085" fmla="*/ 209636 h 334834"/>
                      <a:gd name="connsiteX1086" fmla="*/ 5515 w 334946"/>
                      <a:gd name="connsiteY1086" fmla="*/ 210950 h 334834"/>
                      <a:gd name="connsiteX1087" fmla="*/ 6667 w 334946"/>
                      <a:gd name="connsiteY1087" fmla="*/ 209550 h 334834"/>
                      <a:gd name="connsiteX1088" fmla="*/ 5429 w 334946"/>
                      <a:gd name="connsiteY1088" fmla="*/ 208645 h 334834"/>
                      <a:gd name="connsiteX1089" fmla="*/ 4439 w 334946"/>
                      <a:gd name="connsiteY1089" fmla="*/ 209636 h 334834"/>
                      <a:gd name="connsiteX1090" fmla="*/ 266500 w 334946"/>
                      <a:gd name="connsiteY1090" fmla="*/ 212760 h 334834"/>
                      <a:gd name="connsiteX1091" fmla="*/ 272329 w 334946"/>
                      <a:gd name="connsiteY1091" fmla="*/ 219094 h 334834"/>
                      <a:gd name="connsiteX1092" fmla="*/ 270767 w 334946"/>
                      <a:gd name="connsiteY1092" fmla="*/ 209064 h 334834"/>
                      <a:gd name="connsiteX1093" fmla="*/ 266500 w 334946"/>
                      <a:gd name="connsiteY1093" fmla="*/ 212760 h 334834"/>
                      <a:gd name="connsiteX1094" fmla="*/ 37481 w 334946"/>
                      <a:gd name="connsiteY1094" fmla="*/ 212998 h 334834"/>
                      <a:gd name="connsiteX1095" fmla="*/ 41510 w 334946"/>
                      <a:gd name="connsiteY1095" fmla="*/ 217932 h 334834"/>
                      <a:gd name="connsiteX1096" fmla="*/ 40691 w 334946"/>
                      <a:gd name="connsiteY1096" fmla="*/ 210369 h 334834"/>
                      <a:gd name="connsiteX1097" fmla="*/ 37481 w 334946"/>
                      <a:gd name="connsiteY1097" fmla="*/ 212998 h 334834"/>
                      <a:gd name="connsiteX1098" fmla="*/ 203635 w 334946"/>
                      <a:gd name="connsiteY1098" fmla="*/ 221628 h 334834"/>
                      <a:gd name="connsiteX1099" fmla="*/ 198215 w 334946"/>
                      <a:gd name="connsiteY1099" fmla="*/ 215217 h 334834"/>
                      <a:gd name="connsiteX1100" fmla="*/ 202406 w 334946"/>
                      <a:gd name="connsiteY1100" fmla="*/ 211684 h 334834"/>
                      <a:gd name="connsiteX1101" fmla="*/ 203635 w 334946"/>
                      <a:gd name="connsiteY1101" fmla="*/ 221628 h 334834"/>
                      <a:gd name="connsiteX1102" fmla="*/ 146190 w 334946"/>
                      <a:gd name="connsiteY1102" fmla="*/ 221218 h 334834"/>
                      <a:gd name="connsiteX1103" fmla="*/ 140522 w 334946"/>
                      <a:gd name="connsiteY1103" fmla="*/ 215551 h 334834"/>
                      <a:gd name="connsiteX1104" fmla="*/ 144304 w 334946"/>
                      <a:gd name="connsiteY1104" fmla="*/ 212103 h 334834"/>
                      <a:gd name="connsiteX1105" fmla="*/ 146190 w 334946"/>
                      <a:gd name="connsiteY1105" fmla="*/ 221218 h 334834"/>
                      <a:gd name="connsiteX1106" fmla="*/ 243411 w 334946"/>
                      <a:gd name="connsiteY1106" fmla="*/ 214808 h 334834"/>
                      <a:gd name="connsiteX1107" fmla="*/ 243659 w 334946"/>
                      <a:gd name="connsiteY1107" fmla="*/ 218256 h 334834"/>
                      <a:gd name="connsiteX1108" fmla="*/ 247440 w 334946"/>
                      <a:gd name="connsiteY1108" fmla="*/ 224257 h 334834"/>
                      <a:gd name="connsiteX1109" fmla="*/ 249984 w 334946"/>
                      <a:gd name="connsiteY1109" fmla="*/ 212750 h 334834"/>
                      <a:gd name="connsiteX1110" fmla="*/ 243411 w 334946"/>
                      <a:gd name="connsiteY1110" fmla="*/ 214808 h 334834"/>
                      <a:gd name="connsiteX1111" fmla="*/ 71495 w 334946"/>
                      <a:gd name="connsiteY1111" fmla="*/ 216370 h 334834"/>
                      <a:gd name="connsiteX1112" fmla="*/ 77410 w 334946"/>
                      <a:gd name="connsiteY1112" fmla="*/ 223933 h 334834"/>
                      <a:gd name="connsiteX1113" fmla="*/ 76009 w 334946"/>
                      <a:gd name="connsiteY1113" fmla="*/ 212998 h 334834"/>
                      <a:gd name="connsiteX1114" fmla="*/ 71495 w 334946"/>
                      <a:gd name="connsiteY1114" fmla="*/ 216370 h 334834"/>
                      <a:gd name="connsiteX1115" fmla="*/ 328212 w 334946"/>
                      <a:gd name="connsiteY1115" fmla="*/ 213903 h 334834"/>
                      <a:gd name="connsiteX1116" fmla="*/ 328127 w 334946"/>
                      <a:gd name="connsiteY1116" fmla="*/ 214484 h 334834"/>
                      <a:gd name="connsiteX1117" fmla="*/ 329032 w 334946"/>
                      <a:gd name="connsiteY1117" fmla="*/ 215303 h 334834"/>
                      <a:gd name="connsiteX1118" fmla="*/ 329279 w 334946"/>
                      <a:gd name="connsiteY1118" fmla="*/ 215303 h 334834"/>
                      <a:gd name="connsiteX1119" fmla="*/ 330260 w 334946"/>
                      <a:gd name="connsiteY1119" fmla="*/ 214313 h 334834"/>
                      <a:gd name="connsiteX1120" fmla="*/ 329022 w 334946"/>
                      <a:gd name="connsiteY1120" fmla="*/ 213074 h 334834"/>
                      <a:gd name="connsiteX1121" fmla="*/ 328212 w 334946"/>
                      <a:gd name="connsiteY1121" fmla="*/ 213903 h 334834"/>
                      <a:gd name="connsiteX1122" fmla="*/ 123511 w 334946"/>
                      <a:gd name="connsiteY1122" fmla="*/ 226562 h 334834"/>
                      <a:gd name="connsiteX1123" fmla="*/ 117510 w 334946"/>
                      <a:gd name="connsiteY1123" fmla="*/ 219494 h 334834"/>
                      <a:gd name="connsiteX1124" fmla="*/ 122520 w 334946"/>
                      <a:gd name="connsiteY1124" fmla="*/ 215551 h 334834"/>
                      <a:gd name="connsiteX1125" fmla="*/ 123511 w 334946"/>
                      <a:gd name="connsiteY1125" fmla="*/ 226562 h 334834"/>
                      <a:gd name="connsiteX1126" fmla="*/ 304381 w 334946"/>
                      <a:gd name="connsiteY1126" fmla="*/ 217189 h 334834"/>
                      <a:gd name="connsiteX1127" fmla="*/ 307334 w 334946"/>
                      <a:gd name="connsiteY1127" fmla="*/ 221466 h 334834"/>
                      <a:gd name="connsiteX1128" fmla="*/ 306753 w 334946"/>
                      <a:gd name="connsiteY1128" fmla="*/ 215627 h 334834"/>
                      <a:gd name="connsiteX1129" fmla="*/ 304381 w 334946"/>
                      <a:gd name="connsiteY1129" fmla="*/ 217189 h 334834"/>
                      <a:gd name="connsiteX1130" fmla="*/ 17916 w 334946"/>
                      <a:gd name="connsiteY1130" fmla="*/ 220561 h 334834"/>
                      <a:gd name="connsiteX1131" fmla="*/ 21031 w 334946"/>
                      <a:gd name="connsiteY1131" fmla="*/ 218341 h 334834"/>
                      <a:gd name="connsiteX1132" fmla="*/ 18402 w 334946"/>
                      <a:gd name="connsiteY1132" fmla="*/ 216456 h 334834"/>
                      <a:gd name="connsiteX1133" fmla="*/ 17916 w 334946"/>
                      <a:gd name="connsiteY1133" fmla="*/ 220561 h 334834"/>
                      <a:gd name="connsiteX1134" fmla="*/ 181366 w 334946"/>
                      <a:gd name="connsiteY1134" fmla="*/ 225819 h 334834"/>
                      <a:gd name="connsiteX1135" fmla="*/ 176193 w 334946"/>
                      <a:gd name="connsiteY1135" fmla="*/ 219818 h 334834"/>
                      <a:gd name="connsiteX1136" fmla="*/ 179803 w 334946"/>
                      <a:gd name="connsiteY1136" fmla="*/ 216446 h 334834"/>
                      <a:gd name="connsiteX1137" fmla="*/ 181366 w 334946"/>
                      <a:gd name="connsiteY1137" fmla="*/ 225819 h 334834"/>
                      <a:gd name="connsiteX1138" fmla="*/ 50301 w 334946"/>
                      <a:gd name="connsiteY1138" fmla="*/ 221790 h 334834"/>
                      <a:gd name="connsiteX1139" fmla="*/ 55064 w 334946"/>
                      <a:gd name="connsiteY1139" fmla="*/ 227295 h 334834"/>
                      <a:gd name="connsiteX1140" fmla="*/ 53578 w 334946"/>
                      <a:gd name="connsiteY1140" fmla="*/ 218665 h 334834"/>
                      <a:gd name="connsiteX1141" fmla="*/ 50301 w 334946"/>
                      <a:gd name="connsiteY1141" fmla="*/ 221790 h 334834"/>
                      <a:gd name="connsiteX1142" fmla="*/ 280721 w 334946"/>
                      <a:gd name="connsiteY1142" fmla="*/ 221875 h 334834"/>
                      <a:gd name="connsiteX1143" fmla="*/ 285407 w 334946"/>
                      <a:gd name="connsiteY1143" fmla="*/ 227047 h 334834"/>
                      <a:gd name="connsiteX1144" fmla="*/ 284007 w 334946"/>
                      <a:gd name="connsiteY1144" fmla="*/ 218837 h 334834"/>
                      <a:gd name="connsiteX1145" fmla="*/ 280721 w 334946"/>
                      <a:gd name="connsiteY1145" fmla="*/ 221875 h 334834"/>
                      <a:gd name="connsiteX1146" fmla="*/ 220723 w 334946"/>
                      <a:gd name="connsiteY1146" fmla="*/ 221713 h 334834"/>
                      <a:gd name="connsiteX1147" fmla="*/ 220723 w 334946"/>
                      <a:gd name="connsiteY1147" fmla="*/ 229686 h 334834"/>
                      <a:gd name="connsiteX1148" fmla="*/ 218008 w 334946"/>
                      <a:gd name="connsiteY1148" fmla="*/ 230667 h 334834"/>
                      <a:gd name="connsiteX1149" fmla="*/ 214722 w 334946"/>
                      <a:gd name="connsiteY1149" fmla="*/ 231162 h 334834"/>
                      <a:gd name="connsiteX1150" fmla="*/ 211017 w 334946"/>
                      <a:gd name="connsiteY1150" fmla="*/ 223190 h 334834"/>
                      <a:gd name="connsiteX1151" fmla="*/ 215951 w 334946"/>
                      <a:gd name="connsiteY1151" fmla="*/ 219742 h 334834"/>
                      <a:gd name="connsiteX1152" fmla="*/ 220723 w 334946"/>
                      <a:gd name="connsiteY1152" fmla="*/ 221713 h 334834"/>
                      <a:gd name="connsiteX1153" fmla="*/ 158772 w 334946"/>
                      <a:gd name="connsiteY1153" fmla="*/ 230505 h 334834"/>
                      <a:gd name="connsiteX1154" fmla="*/ 153590 w 334946"/>
                      <a:gd name="connsiteY1154" fmla="*/ 224504 h 334834"/>
                      <a:gd name="connsiteX1155" fmla="*/ 158191 w 334946"/>
                      <a:gd name="connsiteY1155" fmla="*/ 220637 h 334834"/>
                      <a:gd name="connsiteX1156" fmla="*/ 158772 w 334946"/>
                      <a:gd name="connsiteY1156" fmla="*/ 230505 h 334834"/>
                      <a:gd name="connsiteX1157" fmla="*/ 85134 w 334946"/>
                      <a:gd name="connsiteY1157" fmla="*/ 224018 h 334834"/>
                      <a:gd name="connsiteX1158" fmla="*/ 89087 w 334946"/>
                      <a:gd name="connsiteY1158" fmla="*/ 233143 h 334834"/>
                      <a:gd name="connsiteX1159" fmla="*/ 95488 w 334946"/>
                      <a:gd name="connsiteY1159" fmla="*/ 229524 h 334834"/>
                      <a:gd name="connsiteX1160" fmla="*/ 95250 w 334946"/>
                      <a:gd name="connsiteY1160" fmla="*/ 226571 h 334834"/>
                      <a:gd name="connsiteX1161" fmla="*/ 90726 w 334946"/>
                      <a:gd name="connsiteY1161" fmla="*/ 221551 h 334834"/>
                      <a:gd name="connsiteX1162" fmla="*/ 85134 w 334946"/>
                      <a:gd name="connsiteY1162" fmla="*/ 224018 h 334834"/>
                      <a:gd name="connsiteX1163" fmla="*/ 257546 w 334946"/>
                      <a:gd name="connsiteY1163" fmla="*/ 226152 h 334834"/>
                      <a:gd name="connsiteX1164" fmla="*/ 263214 w 334946"/>
                      <a:gd name="connsiteY1164" fmla="*/ 232477 h 334834"/>
                      <a:gd name="connsiteX1165" fmla="*/ 262147 w 334946"/>
                      <a:gd name="connsiteY1165" fmla="*/ 222209 h 334834"/>
                      <a:gd name="connsiteX1166" fmla="*/ 257546 w 334946"/>
                      <a:gd name="connsiteY1166" fmla="*/ 226152 h 334834"/>
                      <a:gd name="connsiteX1167" fmla="*/ 29337 w 334946"/>
                      <a:gd name="connsiteY1167" fmla="*/ 226724 h 334834"/>
                      <a:gd name="connsiteX1168" fmla="*/ 32785 w 334946"/>
                      <a:gd name="connsiteY1168" fmla="*/ 230257 h 334834"/>
                      <a:gd name="connsiteX1169" fmla="*/ 32128 w 334946"/>
                      <a:gd name="connsiteY1169" fmla="*/ 224504 h 334834"/>
                      <a:gd name="connsiteX1170" fmla="*/ 29337 w 334946"/>
                      <a:gd name="connsiteY1170" fmla="*/ 226724 h 334834"/>
                      <a:gd name="connsiteX1171" fmla="*/ 136827 w 334946"/>
                      <a:gd name="connsiteY1171" fmla="*/ 235439 h 334834"/>
                      <a:gd name="connsiteX1172" fmla="*/ 130826 w 334946"/>
                      <a:gd name="connsiteY1172" fmla="*/ 228533 h 334834"/>
                      <a:gd name="connsiteX1173" fmla="*/ 135350 w 334946"/>
                      <a:gd name="connsiteY1173" fmla="*/ 224504 h 334834"/>
                      <a:gd name="connsiteX1174" fmla="*/ 136827 w 334946"/>
                      <a:gd name="connsiteY1174" fmla="*/ 235439 h 334834"/>
                      <a:gd name="connsiteX1175" fmla="*/ 195005 w 334946"/>
                      <a:gd name="connsiteY1175" fmla="*/ 235353 h 334834"/>
                      <a:gd name="connsiteX1176" fmla="*/ 188843 w 334946"/>
                      <a:gd name="connsiteY1176" fmla="*/ 228609 h 334834"/>
                      <a:gd name="connsiteX1177" fmla="*/ 193119 w 334946"/>
                      <a:gd name="connsiteY1177" fmla="*/ 224666 h 334834"/>
                      <a:gd name="connsiteX1178" fmla="*/ 195005 w 334946"/>
                      <a:gd name="connsiteY1178" fmla="*/ 235353 h 334834"/>
                      <a:gd name="connsiteX1179" fmla="*/ 318678 w 334946"/>
                      <a:gd name="connsiteY1179" fmla="*/ 227543 h 334834"/>
                      <a:gd name="connsiteX1180" fmla="*/ 320078 w 334946"/>
                      <a:gd name="connsiteY1180" fmla="*/ 229019 h 334834"/>
                      <a:gd name="connsiteX1181" fmla="*/ 321802 w 334946"/>
                      <a:gd name="connsiteY1181" fmla="*/ 227866 h 334834"/>
                      <a:gd name="connsiteX1182" fmla="*/ 320649 w 334946"/>
                      <a:gd name="connsiteY1182" fmla="*/ 225981 h 334834"/>
                      <a:gd name="connsiteX1183" fmla="*/ 319992 w 334946"/>
                      <a:gd name="connsiteY1183" fmla="*/ 225895 h 334834"/>
                      <a:gd name="connsiteX1184" fmla="*/ 318678 w 334946"/>
                      <a:gd name="connsiteY1184" fmla="*/ 227543 h 334834"/>
                      <a:gd name="connsiteX1185" fmla="*/ 234696 w 334946"/>
                      <a:gd name="connsiteY1185" fmla="*/ 228457 h 334834"/>
                      <a:gd name="connsiteX1186" fmla="*/ 234782 w 334946"/>
                      <a:gd name="connsiteY1186" fmla="*/ 231581 h 334834"/>
                      <a:gd name="connsiteX1187" fmla="*/ 239468 w 334946"/>
                      <a:gd name="connsiteY1187" fmla="*/ 237668 h 334834"/>
                      <a:gd name="connsiteX1188" fmla="*/ 241106 w 334946"/>
                      <a:gd name="connsiteY1188" fmla="*/ 226076 h 334834"/>
                      <a:gd name="connsiteX1189" fmla="*/ 234696 w 334946"/>
                      <a:gd name="connsiteY1189" fmla="*/ 228457 h 334834"/>
                      <a:gd name="connsiteX1190" fmla="*/ 63113 w 334946"/>
                      <a:gd name="connsiteY1190" fmla="*/ 230667 h 334834"/>
                      <a:gd name="connsiteX1191" fmla="*/ 68285 w 334946"/>
                      <a:gd name="connsiteY1191" fmla="*/ 236506 h 334834"/>
                      <a:gd name="connsiteX1192" fmla="*/ 67056 w 334946"/>
                      <a:gd name="connsiteY1192" fmla="*/ 227133 h 334834"/>
                      <a:gd name="connsiteX1193" fmla="*/ 63113 w 334946"/>
                      <a:gd name="connsiteY1193" fmla="*/ 230667 h 334834"/>
                      <a:gd name="connsiteX1194" fmla="*/ 295180 w 334946"/>
                      <a:gd name="connsiteY1194" fmla="*/ 230753 h 334834"/>
                      <a:gd name="connsiteX1195" fmla="*/ 298628 w 334946"/>
                      <a:gd name="connsiteY1195" fmla="*/ 234944 h 334834"/>
                      <a:gd name="connsiteX1196" fmla="*/ 297399 w 334946"/>
                      <a:gd name="connsiteY1196" fmla="*/ 228781 h 334834"/>
                      <a:gd name="connsiteX1197" fmla="*/ 295180 w 334946"/>
                      <a:gd name="connsiteY1197" fmla="*/ 230753 h 334834"/>
                      <a:gd name="connsiteX1198" fmla="*/ 172326 w 334946"/>
                      <a:gd name="connsiteY1198" fmla="*/ 239792 h 334834"/>
                      <a:gd name="connsiteX1199" fmla="*/ 166649 w 334946"/>
                      <a:gd name="connsiteY1199" fmla="*/ 232972 h 334834"/>
                      <a:gd name="connsiteX1200" fmla="*/ 171336 w 334946"/>
                      <a:gd name="connsiteY1200" fmla="*/ 229114 h 334834"/>
                      <a:gd name="connsiteX1201" fmla="*/ 172326 w 334946"/>
                      <a:gd name="connsiteY1201" fmla="*/ 239792 h 334834"/>
                      <a:gd name="connsiteX1202" fmla="*/ 271843 w 334946"/>
                      <a:gd name="connsiteY1202" fmla="*/ 235020 h 334834"/>
                      <a:gd name="connsiteX1203" fmla="*/ 276196 w 334946"/>
                      <a:gd name="connsiteY1203" fmla="*/ 240440 h 334834"/>
                      <a:gd name="connsiteX1204" fmla="*/ 275453 w 334946"/>
                      <a:gd name="connsiteY1204" fmla="*/ 232058 h 334834"/>
                      <a:gd name="connsiteX1205" fmla="*/ 271843 w 334946"/>
                      <a:gd name="connsiteY1205" fmla="*/ 235020 h 334834"/>
                      <a:gd name="connsiteX1206" fmla="*/ 42158 w 334946"/>
                      <a:gd name="connsiteY1206" fmla="*/ 235515 h 334834"/>
                      <a:gd name="connsiteX1207" fmla="*/ 46272 w 334946"/>
                      <a:gd name="connsiteY1207" fmla="*/ 239630 h 334834"/>
                      <a:gd name="connsiteX1208" fmla="*/ 44958 w 334946"/>
                      <a:gd name="connsiteY1208" fmla="*/ 232896 h 334834"/>
                      <a:gd name="connsiteX1209" fmla="*/ 42158 w 334946"/>
                      <a:gd name="connsiteY1209" fmla="*/ 235515 h 334834"/>
                      <a:gd name="connsiteX1210" fmla="*/ 150628 w 334946"/>
                      <a:gd name="connsiteY1210" fmla="*/ 244145 h 334834"/>
                      <a:gd name="connsiteX1211" fmla="*/ 148333 w 334946"/>
                      <a:gd name="connsiteY1211" fmla="*/ 244554 h 334834"/>
                      <a:gd name="connsiteX1212" fmla="*/ 144142 w 334946"/>
                      <a:gd name="connsiteY1212" fmla="*/ 236906 h 334834"/>
                      <a:gd name="connsiteX1213" fmla="*/ 149076 w 334946"/>
                      <a:gd name="connsiteY1213" fmla="*/ 233210 h 334834"/>
                      <a:gd name="connsiteX1214" fmla="*/ 150628 w 334946"/>
                      <a:gd name="connsiteY1214" fmla="*/ 244145 h 334834"/>
                      <a:gd name="connsiteX1215" fmla="*/ 76429 w 334946"/>
                      <a:gd name="connsiteY1215" fmla="*/ 238563 h 334834"/>
                      <a:gd name="connsiteX1216" fmla="*/ 81772 w 334946"/>
                      <a:gd name="connsiteY1216" fmla="*/ 245631 h 334834"/>
                      <a:gd name="connsiteX1217" fmla="*/ 80458 w 334946"/>
                      <a:gd name="connsiteY1217" fmla="*/ 235601 h 334834"/>
                      <a:gd name="connsiteX1218" fmla="*/ 76429 w 334946"/>
                      <a:gd name="connsiteY1218" fmla="*/ 238563 h 334834"/>
                      <a:gd name="connsiteX1219" fmla="*/ 248755 w 334946"/>
                      <a:gd name="connsiteY1219" fmla="*/ 239297 h 334834"/>
                      <a:gd name="connsiteX1220" fmla="*/ 254584 w 334946"/>
                      <a:gd name="connsiteY1220" fmla="*/ 245707 h 334834"/>
                      <a:gd name="connsiteX1221" fmla="*/ 252775 w 334946"/>
                      <a:gd name="connsiteY1221" fmla="*/ 235601 h 334834"/>
                      <a:gd name="connsiteX1222" fmla="*/ 248755 w 334946"/>
                      <a:gd name="connsiteY1222" fmla="*/ 239297 h 334834"/>
                      <a:gd name="connsiteX1223" fmla="*/ 190814 w 334946"/>
                      <a:gd name="connsiteY1223" fmla="*/ 242916 h 334834"/>
                      <a:gd name="connsiteX1224" fmla="*/ 190567 w 334946"/>
                      <a:gd name="connsiteY1224" fmla="*/ 246612 h 334834"/>
                      <a:gd name="connsiteX1225" fmla="*/ 186128 w 334946"/>
                      <a:gd name="connsiteY1225" fmla="*/ 248583 h 334834"/>
                      <a:gd name="connsiteX1226" fmla="*/ 182756 w 334946"/>
                      <a:gd name="connsiteY1226" fmla="*/ 249079 h 334834"/>
                      <a:gd name="connsiteX1227" fmla="*/ 179556 w 334946"/>
                      <a:gd name="connsiteY1227" fmla="*/ 241354 h 334834"/>
                      <a:gd name="connsiteX1228" fmla="*/ 184404 w 334946"/>
                      <a:gd name="connsiteY1228" fmla="*/ 237487 h 334834"/>
                      <a:gd name="connsiteX1229" fmla="*/ 190814 w 334946"/>
                      <a:gd name="connsiteY1229" fmla="*/ 242916 h 334834"/>
                      <a:gd name="connsiteX1230" fmla="*/ 309553 w 334946"/>
                      <a:gd name="connsiteY1230" fmla="*/ 240535 h 334834"/>
                      <a:gd name="connsiteX1231" fmla="*/ 311696 w 334946"/>
                      <a:gd name="connsiteY1231" fmla="*/ 242592 h 334834"/>
                      <a:gd name="connsiteX1232" fmla="*/ 313172 w 334946"/>
                      <a:gd name="connsiteY1232" fmla="*/ 240287 h 334834"/>
                      <a:gd name="connsiteX1233" fmla="*/ 311115 w 334946"/>
                      <a:gd name="connsiteY1233" fmla="*/ 238887 h 334834"/>
                      <a:gd name="connsiteX1234" fmla="*/ 309553 w 334946"/>
                      <a:gd name="connsiteY1234" fmla="*/ 240535 h 334834"/>
                      <a:gd name="connsiteX1235" fmla="*/ 21536 w 334946"/>
                      <a:gd name="connsiteY1235" fmla="*/ 240611 h 334834"/>
                      <a:gd name="connsiteX1236" fmla="*/ 23012 w 334946"/>
                      <a:gd name="connsiteY1236" fmla="*/ 242506 h 334834"/>
                      <a:gd name="connsiteX1237" fmla="*/ 25070 w 334946"/>
                      <a:gd name="connsiteY1237" fmla="*/ 240944 h 334834"/>
                      <a:gd name="connsiteX1238" fmla="*/ 23184 w 334946"/>
                      <a:gd name="connsiteY1238" fmla="*/ 238973 h 334834"/>
                      <a:gd name="connsiteX1239" fmla="*/ 21536 w 334946"/>
                      <a:gd name="connsiteY1239" fmla="*/ 240611 h 334834"/>
                      <a:gd name="connsiteX1240" fmla="*/ 226314 w 334946"/>
                      <a:gd name="connsiteY1240" fmla="*/ 242087 h 334834"/>
                      <a:gd name="connsiteX1241" fmla="*/ 225981 w 334946"/>
                      <a:gd name="connsiteY1241" fmla="*/ 245383 h 334834"/>
                      <a:gd name="connsiteX1242" fmla="*/ 231324 w 334946"/>
                      <a:gd name="connsiteY1242" fmla="*/ 250803 h 334834"/>
                      <a:gd name="connsiteX1243" fmla="*/ 231905 w 334946"/>
                      <a:gd name="connsiteY1243" fmla="*/ 239459 h 334834"/>
                      <a:gd name="connsiteX1244" fmla="*/ 226314 w 334946"/>
                      <a:gd name="connsiteY1244" fmla="*/ 242087 h 334834"/>
                      <a:gd name="connsiteX1245" fmla="*/ 55150 w 334946"/>
                      <a:gd name="connsiteY1245" fmla="*/ 243897 h 334834"/>
                      <a:gd name="connsiteX1246" fmla="*/ 59255 w 334946"/>
                      <a:gd name="connsiteY1246" fmla="*/ 248993 h 334834"/>
                      <a:gd name="connsiteX1247" fmla="*/ 58274 w 334946"/>
                      <a:gd name="connsiteY1247" fmla="*/ 241268 h 334834"/>
                      <a:gd name="connsiteX1248" fmla="*/ 55150 w 334946"/>
                      <a:gd name="connsiteY1248" fmla="*/ 243897 h 334834"/>
                      <a:gd name="connsiteX1249" fmla="*/ 168545 w 334946"/>
                      <a:gd name="connsiteY1249" fmla="*/ 247021 h 334834"/>
                      <a:gd name="connsiteX1250" fmla="*/ 168707 w 334946"/>
                      <a:gd name="connsiteY1250" fmla="*/ 250803 h 334834"/>
                      <a:gd name="connsiteX1251" fmla="*/ 166821 w 334946"/>
                      <a:gd name="connsiteY1251" fmla="*/ 252527 h 334834"/>
                      <a:gd name="connsiteX1252" fmla="*/ 158686 w 334946"/>
                      <a:gd name="connsiteY1252" fmla="*/ 253755 h 334834"/>
                      <a:gd name="connsiteX1253" fmla="*/ 159020 w 334946"/>
                      <a:gd name="connsiteY1253" fmla="*/ 243078 h 334834"/>
                      <a:gd name="connsiteX1254" fmla="*/ 162639 w 334946"/>
                      <a:gd name="connsiteY1254" fmla="*/ 241763 h 334834"/>
                      <a:gd name="connsiteX1255" fmla="*/ 168545 w 334946"/>
                      <a:gd name="connsiteY1255" fmla="*/ 247021 h 334834"/>
                      <a:gd name="connsiteX1256" fmla="*/ 286141 w 334946"/>
                      <a:gd name="connsiteY1256" fmla="*/ 244307 h 334834"/>
                      <a:gd name="connsiteX1257" fmla="*/ 289512 w 334946"/>
                      <a:gd name="connsiteY1257" fmla="*/ 248326 h 334834"/>
                      <a:gd name="connsiteX1258" fmla="*/ 289017 w 334946"/>
                      <a:gd name="connsiteY1258" fmla="*/ 241926 h 334834"/>
                      <a:gd name="connsiteX1259" fmla="*/ 286141 w 334946"/>
                      <a:gd name="connsiteY1259" fmla="*/ 244307 h 334834"/>
                      <a:gd name="connsiteX1260" fmla="*/ 89240 w 334946"/>
                      <a:gd name="connsiteY1260" fmla="*/ 248088 h 334834"/>
                      <a:gd name="connsiteX1261" fmla="*/ 94507 w 334946"/>
                      <a:gd name="connsiteY1261" fmla="*/ 254746 h 334834"/>
                      <a:gd name="connsiteX1262" fmla="*/ 93440 w 334946"/>
                      <a:gd name="connsiteY1262" fmla="*/ 244307 h 334834"/>
                      <a:gd name="connsiteX1263" fmla="*/ 89240 w 334946"/>
                      <a:gd name="connsiteY1263" fmla="*/ 248088 h 334834"/>
                      <a:gd name="connsiteX1264" fmla="*/ 262966 w 334946"/>
                      <a:gd name="connsiteY1264" fmla="*/ 248421 h 334834"/>
                      <a:gd name="connsiteX1265" fmla="*/ 267652 w 334946"/>
                      <a:gd name="connsiteY1265" fmla="*/ 253679 h 334834"/>
                      <a:gd name="connsiteX1266" fmla="*/ 266252 w 334946"/>
                      <a:gd name="connsiteY1266" fmla="*/ 245459 h 334834"/>
                      <a:gd name="connsiteX1267" fmla="*/ 262966 w 334946"/>
                      <a:gd name="connsiteY1267" fmla="*/ 248421 h 334834"/>
                      <a:gd name="connsiteX1268" fmla="*/ 34357 w 334946"/>
                      <a:gd name="connsiteY1268" fmla="*/ 248745 h 334834"/>
                      <a:gd name="connsiteX1269" fmla="*/ 36823 w 334946"/>
                      <a:gd name="connsiteY1269" fmla="*/ 251946 h 334834"/>
                      <a:gd name="connsiteX1270" fmla="*/ 36576 w 334946"/>
                      <a:gd name="connsiteY1270" fmla="*/ 247174 h 334834"/>
                      <a:gd name="connsiteX1271" fmla="*/ 34357 w 334946"/>
                      <a:gd name="connsiteY1271" fmla="*/ 248745 h 334834"/>
                      <a:gd name="connsiteX1272" fmla="*/ 240116 w 334946"/>
                      <a:gd name="connsiteY1272" fmla="*/ 252527 h 334834"/>
                      <a:gd name="connsiteX1273" fmla="*/ 245374 w 334946"/>
                      <a:gd name="connsiteY1273" fmla="*/ 258851 h 334834"/>
                      <a:gd name="connsiteX1274" fmla="*/ 244059 w 334946"/>
                      <a:gd name="connsiteY1274" fmla="*/ 249079 h 334834"/>
                      <a:gd name="connsiteX1275" fmla="*/ 240116 w 334946"/>
                      <a:gd name="connsiteY1275" fmla="*/ 252527 h 334834"/>
                      <a:gd name="connsiteX1276" fmla="*/ 68047 w 334946"/>
                      <a:gd name="connsiteY1276" fmla="*/ 253022 h 334834"/>
                      <a:gd name="connsiteX1277" fmla="*/ 72819 w 334946"/>
                      <a:gd name="connsiteY1277" fmla="*/ 258118 h 334834"/>
                      <a:gd name="connsiteX1278" fmla="*/ 71504 w 334946"/>
                      <a:gd name="connsiteY1278" fmla="*/ 249907 h 334834"/>
                      <a:gd name="connsiteX1279" fmla="*/ 68047 w 334946"/>
                      <a:gd name="connsiteY1279" fmla="*/ 253022 h 334834"/>
                      <a:gd name="connsiteX1280" fmla="*/ 303067 w 334946"/>
                      <a:gd name="connsiteY1280" fmla="*/ 255899 h 334834"/>
                      <a:gd name="connsiteX1281" fmla="*/ 304390 w 334946"/>
                      <a:gd name="connsiteY1281" fmla="*/ 253508 h 334834"/>
                      <a:gd name="connsiteX1282" fmla="*/ 302247 w 334946"/>
                      <a:gd name="connsiteY1282" fmla="*/ 252117 h 334834"/>
                      <a:gd name="connsiteX1283" fmla="*/ 303067 w 334946"/>
                      <a:gd name="connsiteY1283" fmla="*/ 255899 h 334834"/>
                      <a:gd name="connsiteX1284" fmla="*/ 217446 w 334946"/>
                      <a:gd name="connsiteY1284" fmla="*/ 256880 h 334834"/>
                      <a:gd name="connsiteX1285" fmla="*/ 223275 w 334946"/>
                      <a:gd name="connsiteY1285" fmla="*/ 263785 h 334834"/>
                      <a:gd name="connsiteX1286" fmla="*/ 222209 w 334946"/>
                      <a:gd name="connsiteY1286" fmla="*/ 252936 h 334834"/>
                      <a:gd name="connsiteX1287" fmla="*/ 217446 w 334946"/>
                      <a:gd name="connsiteY1287" fmla="*/ 256880 h 334834"/>
                      <a:gd name="connsiteX1288" fmla="*/ 102479 w 334946"/>
                      <a:gd name="connsiteY1288" fmla="*/ 257127 h 334834"/>
                      <a:gd name="connsiteX1289" fmla="*/ 108642 w 334946"/>
                      <a:gd name="connsiteY1289" fmla="*/ 263538 h 334834"/>
                      <a:gd name="connsiteX1290" fmla="*/ 106842 w 334946"/>
                      <a:gd name="connsiteY1290" fmla="*/ 253108 h 334834"/>
                      <a:gd name="connsiteX1291" fmla="*/ 102479 w 334946"/>
                      <a:gd name="connsiteY1291" fmla="*/ 257127 h 334834"/>
                      <a:gd name="connsiteX1292" fmla="*/ 277263 w 334946"/>
                      <a:gd name="connsiteY1292" fmla="*/ 257785 h 334834"/>
                      <a:gd name="connsiteX1293" fmla="*/ 281207 w 334946"/>
                      <a:gd name="connsiteY1293" fmla="*/ 261480 h 334834"/>
                      <a:gd name="connsiteX1294" fmla="*/ 279730 w 334946"/>
                      <a:gd name="connsiteY1294" fmla="*/ 255327 h 334834"/>
                      <a:gd name="connsiteX1295" fmla="*/ 277263 w 334946"/>
                      <a:gd name="connsiteY1295" fmla="*/ 257785 h 334834"/>
                      <a:gd name="connsiteX1296" fmla="*/ 50711 w 334946"/>
                      <a:gd name="connsiteY1296" fmla="*/ 261242 h 334834"/>
                      <a:gd name="connsiteX1297" fmla="*/ 49397 w 334946"/>
                      <a:gd name="connsiteY1297" fmla="*/ 255651 h 334834"/>
                      <a:gd name="connsiteX1298" fmla="*/ 50711 w 334946"/>
                      <a:gd name="connsiteY1298" fmla="*/ 261242 h 334834"/>
                      <a:gd name="connsiteX1299" fmla="*/ 138141 w 334946"/>
                      <a:gd name="connsiteY1299" fmla="*/ 259347 h 334834"/>
                      <a:gd name="connsiteX1300" fmla="*/ 142580 w 334946"/>
                      <a:gd name="connsiteY1300" fmla="*/ 268548 h 334834"/>
                      <a:gd name="connsiteX1301" fmla="*/ 143809 w 334946"/>
                      <a:gd name="connsiteY1301" fmla="*/ 257042 h 334834"/>
                      <a:gd name="connsiteX1302" fmla="*/ 138141 w 334946"/>
                      <a:gd name="connsiteY1302" fmla="*/ 259347 h 334834"/>
                      <a:gd name="connsiteX1303" fmla="*/ 195825 w 334946"/>
                      <a:gd name="connsiteY1303" fmla="*/ 259271 h 334834"/>
                      <a:gd name="connsiteX1304" fmla="*/ 199520 w 334946"/>
                      <a:gd name="connsiteY1304" fmla="*/ 268395 h 334834"/>
                      <a:gd name="connsiteX1305" fmla="*/ 200673 w 334946"/>
                      <a:gd name="connsiteY1305" fmla="*/ 257213 h 334834"/>
                      <a:gd name="connsiteX1306" fmla="*/ 195825 w 334946"/>
                      <a:gd name="connsiteY1306" fmla="*/ 259271 h 334834"/>
                      <a:gd name="connsiteX1307" fmla="*/ 81191 w 334946"/>
                      <a:gd name="connsiteY1307" fmla="*/ 261899 h 334834"/>
                      <a:gd name="connsiteX1308" fmla="*/ 86363 w 334946"/>
                      <a:gd name="connsiteY1308" fmla="*/ 267081 h 334834"/>
                      <a:gd name="connsiteX1309" fmla="*/ 84811 w 334946"/>
                      <a:gd name="connsiteY1309" fmla="*/ 258537 h 334834"/>
                      <a:gd name="connsiteX1310" fmla="*/ 81191 w 334946"/>
                      <a:gd name="connsiteY1310" fmla="*/ 261899 h 334834"/>
                      <a:gd name="connsiteX1311" fmla="*/ 254251 w 334946"/>
                      <a:gd name="connsiteY1311" fmla="*/ 261899 h 334834"/>
                      <a:gd name="connsiteX1312" fmla="*/ 258442 w 334946"/>
                      <a:gd name="connsiteY1312" fmla="*/ 266833 h 334834"/>
                      <a:gd name="connsiteX1313" fmla="*/ 257461 w 334946"/>
                      <a:gd name="connsiteY1313" fmla="*/ 258861 h 334834"/>
                      <a:gd name="connsiteX1314" fmla="*/ 254251 w 334946"/>
                      <a:gd name="connsiteY1314" fmla="*/ 261899 h 334834"/>
                      <a:gd name="connsiteX1315" fmla="*/ 173803 w 334946"/>
                      <a:gd name="connsiteY1315" fmla="*/ 263538 h 334834"/>
                      <a:gd name="connsiteX1316" fmla="*/ 177746 w 334946"/>
                      <a:gd name="connsiteY1316" fmla="*/ 272901 h 334834"/>
                      <a:gd name="connsiteX1317" fmla="*/ 178975 w 334946"/>
                      <a:gd name="connsiteY1317" fmla="*/ 261566 h 334834"/>
                      <a:gd name="connsiteX1318" fmla="*/ 173803 w 334946"/>
                      <a:gd name="connsiteY1318" fmla="*/ 263538 h 334834"/>
                      <a:gd name="connsiteX1319" fmla="*/ 115957 w 334946"/>
                      <a:gd name="connsiteY1319" fmla="*/ 265509 h 334834"/>
                      <a:gd name="connsiteX1320" fmla="*/ 121377 w 334946"/>
                      <a:gd name="connsiteY1320" fmla="*/ 272415 h 334834"/>
                      <a:gd name="connsiteX1321" fmla="*/ 120386 w 334946"/>
                      <a:gd name="connsiteY1321" fmla="*/ 261985 h 334834"/>
                      <a:gd name="connsiteX1322" fmla="*/ 115957 w 334946"/>
                      <a:gd name="connsiteY1322" fmla="*/ 265509 h 334834"/>
                      <a:gd name="connsiteX1323" fmla="*/ 27042 w 334946"/>
                      <a:gd name="connsiteY1323" fmla="*/ 262719 h 334834"/>
                      <a:gd name="connsiteX1324" fmla="*/ 27289 w 334946"/>
                      <a:gd name="connsiteY1324" fmla="*/ 263623 h 334834"/>
                      <a:gd name="connsiteX1325" fmla="*/ 27946 w 334946"/>
                      <a:gd name="connsiteY1325" fmla="*/ 263700 h 334834"/>
                      <a:gd name="connsiteX1326" fmla="*/ 28356 w 334946"/>
                      <a:gd name="connsiteY1326" fmla="*/ 262795 h 334834"/>
                      <a:gd name="connsiteX1327" fmla="*/ 27375 w 334946"/>
                      <a:gd name="connsiteY1327" fmla="*/ 262299 h 334834"/>
                      <a:gd name="connsiteX1328" fmla="*/ 27042 w 334946"/>
                      <a:gd name="connsiteY1328" fmla="*/ 262719 h 334834"/>
                      <a:gd name="connsiteX1329" fmla="*/ 231572 w 334946"/>
                      <a:gd name="connsiteY1329" fmla="*/ 265757 h 334834"/>
                      <a:gd name="connsiteX1330" fmla="*/ 236744 w 334946"/>
                      <a:gd name="connsiteY1330" fmla="*/ 271843 h 334834"/>
                      <a:gd name="connsiteX1331" fmla="*/ 235515 w 334946"/>
                      <a:gd name="connsiteY1331" fmla="*/ 262633 h 334834"/>
                      <a:gd name="connsiteX1332" fmla="*/ 231572 w 334946"/>
                      <a:gd name="connsiteY1332" fmla="*/ 265757 h 334834"/>
                      <a:gd name="connsiteX1333" fmla="*/ 60236 w 334946"/>
                      <a:gd name="connsiteY1333" fmla="*/ 266252 h 334834"/>
                      <a:gd name="connsiteX1334" fmla="*/ 63684 w 334946"/>
                      <a:gd name="connsiteY1334" fmla="*/ 270443 h 334834"/>
                      <a:gd name="connsiteX1335" fmla="*/ 62693 w 334946"/>
                      <a:gd name="connsiteY1335" fmla="*/ 264195 h 334834"/>
                      <a:gd name="connsiteX1336" fmla="*/ 60236 w 334946"/>
                      <a:gd name="connsiteY1336" fmla="*/ 266252 h 334834"/>
                      <a:gd name="connsiteX1337" fmla="*/ 291808 w 334946"/>
                      <a:gd name="connsiteY1337" fmla="*/ 267157 h 334834"/>
                      <a:gd name="connsiteX1338" fmla="*/ 293284 w 334946"/>
                      <a:gd name="connsiteY1338" fmla="*/ 269215 h 334834"/>
                      <a:gd name="connsiteX1339" fmla="*/ 295589 w 334946"/>
                      <a:gd name="connsiteY1339" fmla="*/ 267491 h 334834"/>
                      <a:gd name="connsiteX1340" fmla="*/ 293370 w 334946"/>
                      <a:gd name="connsiteY1340" fmla="*/ 265519 h 334834"/>
                      <a:gd name="connsiteX1341" fmla="*/ 291808 w 334946"/>
                      <a:gd name="connsiteY1341" fmla="*/ 267157 h 334834"/>
                      <a:gd name="connsiteX1342" fmla="*/ 151123 w 334946"/>
                      <a:gd name="connsiteY1342" fmla="*/ 269786 h 334834"/>
                      <a:gd name="connsiteX1343" fmla="*/ 156962 w 334946"/>
                      <a:gd name="connsiteY1343" fmla="*/ 277101 h 334834"/>
                      <a:gd name="connsiteX1344" fmla="*/ 156057 w 334946"/>
                      <a:gd name="connsiteY1344" fmla="*/ 266176 h 334834"/>
                      <a:gd name="connsiteX1345" fmla="*/ 151123 w 334946"/>
                      <a:gd name="connsiteY1345" fmla="*/ 269786 h 334834"/>
                      <a:gd name="connsiteX1346" fmla="*/ 209064 w 334946"/>
                      <a:gd name="connsiteY1346" fmla="*/ 270196 h 334834"/>
                      <a:gd name="connsiteX1347" fmla="*/ 214074 w 334946"/>
                      <a:gd name="connsiteY1347" fmla="*/ 276682 h 334834"/>
                      <a:gd name="connsiteX1348" fmla="*/ 213084 w 334946"/>
                      <a:gd name="connsiteY1348" fmla="*/ 266662 h 334834"/>
                      <a:gd name="connsiteX1349" fmla="*/ 209064 w 334946"/>
                      <a:gd name="connsiteY1349" fmla="*/ 270196 h 334834"/>
                      <a:gd name="connsiteX1350" fmla="*/ 94421 w 334946"/>
                      <a:gd name="connsiteY1350" fmla="*/ 270605 h 334834"/>
                      <a:gd name="connsiteX1351" fmla="*/ 99765 w 334946"/>
                      <a:gd name="connsiteY1351" fmla="*/ 275949 h 334834"/>
                      <a:gd name="connsiteX1352" fmla="*/ 98203 w 334946"/>
                      <a:gd name="connsiteY1352" fmla="*/ 267319 h 334834"/>
                      <a:gd name="connsiteX1353" fmla="*/ 94421 w 334946"/>
                      <a:gd name="connsiteY1353" fmla="*/ 270605 h 334834"/>
                      <a:gd name="connsiteX1354" fmla="*/ 268633 w 334946"/>
                      <a:gd name="connsiteY1354" fmla="*/ 270853 h 334834"/>
                      <a:gd name="connsiteX1355" fmla="*/ 271843 w 334946"/>
                      <a:gd name="connsiteY1355" fmla="*/ 274710 h 334834"/>
                      <a:gd name="connsiteX1356" fmla="*/ 271024 w 334946"/>
                      <a:gd name="connsiteY1356" fmla="*/ 268796 h 334834"/>
                      <a:gd name="connsiteX1357" fmla="*/ 268633 w 334946"/>
                      <a:gd name="connsiteY1357" fmla="*/ 270853 h 334834"/>
                      <a:gd name="connsiteX1358" fmla="*/ 39452 w 334946"/>
                      <a:gd name="connsiteY1358" fmla="*/ 271920 h 334834"/>
                      <a:gd name="connsiteX1359" fmla="*/ 40853 w 334946"/>
                      <a:gd name="connsiteY1359" fmla="*/ 273310 h 334834"/>
                      <a:gd name="connsiteX1360" fmla="*/ 42577 w 334946"/>
                      <a:gd name="connsiteY1360" fmla="*/ 271663 h 334834"/>
                      <a:gd name="connsiteX1361" fmla="*/ 40681 w 334946"/>
                      <a:gd name="connsiteY1361" fmla="*/ 270262 h 334834"/>
                      <a:gd name="connsiteX1362" fmla="*/ 39452 w 334946"/>
                      <a:gd name="connsiteY1362" fmla="*/ 271920 h 334834"/>
                      <a:gd name="connsiteX1363" fmla="*/ 186709 w 334946"/>
                      <a:gd name="connsiteY1363" fmla="*/ 274710 h 334834"/>
                      <a:gd name="connsiteX1364" fmla="*/ 192872 w 334946"/>
                      <a:gd name="connsiteY1364" fmla="*/ 281121 h 334834"/>
                      <a:gd name="connsiteX1365" fmla="*/ 190814 w 334946"/>
                      <a:gd name="connsiteY1365" fmla="*/ 270929 h 334834"/>
                      <a:gd name="connsiteX1366" fmla="*/ 186709 w 334946"/>
                      <a:gd name="connsiteY1366" fmla="*/ 274710 h 334834"/>
                      <a:gd name="connsiteX1367" fmla="*/ 129264 w 334946"/>
                      <a:gd name="connsiteY1367" fmla="*/ 274872 h 334834"/>
                      <a:gd name="connsiteX1368" fmla="*/ 134445 w 334946"/>
                      <a:gd name="connsiteY1368" fmla="*/ 281121 h 334834"/>
                      <a:gd name="connsiteX1369" fmla="*/ 133379 w 334946"/>
                      <a:gd name="connsiteY1369" fmla="*/ 271100 h 334834"/>
                      <a:gd name="connsiteX1370" fmla="*/ 129264 w 334946"/>
                      <a:gd name="connsiteY1370" fmla="*/ 274872 h 334834"/>
                      <a:gd name="connsiteX1371" fmla="*/ 245707 w 334946"/>
                      <a:gd name="connsiteY1371" fmla="*/ 275130 h 334834"/>
                      <a:gd name="connsiteX1372" fmla="*/ 249898 w 334946"/>
                      <a:gd name="connsiteY1372" fmla="*/ 279816 h 334834"/>
                      <a:gd name="connsiteX1373" fmla="*/ 248831 w 334946"/>
                      <a:gd name="connsiteY1373" fmla="*/ 272415 h 334834"/>
                      <a:gd name="connsiteX1374" fmla="*/ 245707 w 334946"/>
                      <a:gd name="connsiteY1374" fmla="*/ 275130 h 334834"/>
                      <a:gd name="connsiteX1375" fmla="*/ 73304 w 334946"/>
                      <a:gd name="connsiteY1375" fmla="*/ 275206 h 334834"/>
                      <a:gd name="connsiteX1376" fmla="*/ 77334 w 334946"/>
                      <a:gd name="connsiteY1376" fmla="*/ 279397 h 334834"/>
                      <a:gd name="connsiteX1377" fmla="*/ 75771 w 334946"/>
                      <a:gd name="connsiteY1377" fmla="*/ 272901 h 334834"/>
                      <a:gd name="connsiteX1378" fmla="*/ 73304 w 334946"/>
                      <a:gd name="connsiteY1378" fmla="*/ 275206 h 334834"/>
                      <a:gd name="connsiteX1379" fmla="*/ 164678 w 334946"/>
                      <a:gd name="connsiteY1379" fmla="*/ 279149 h 334834"/>
                      <a:gd name="connsiteX1380" fmla="*/ 169935 w 334946"/>
                      <a:gd name="connsiteY1380" fmla="*/ 285559 h 334834"/>
                      <a:gd name="connsiteX1381" fmla="*/ 169192 w 334946"/>
                      <a:gd name="connsiteY1381" fmla="*/ 275453 h 334834"/>
                      <a:gd name="connsiteX1382" fmla="*/ 164678 w 334946"/>
                      <a:gd name="connsiteY1382" fmla="*/ 279149 h 334834"/>
                      <a:gd name="connsiteX1383" fmla="*/ 107823 w 334946"/>
                      <a:gd name="connsiteY1383" fmla="*/ 279397 h 334834"/>
                      <a:gd name="connsiteX1384" fmla="*/ 112995 w 334946"/>
                      <a:gd name="connsiteY1384" fmla="*/ 284740 h 334834"/>
                      <a:gd name="connsiteX1385" fmla="*/ 111271 w 334946"/>
                      <a:gd name="connsiteY1385" fmla="*/ 276273 h 334834"/>
                      <a:gd name="connsiteX1386" fmla="*/ 107823 w 334946"/>
                      <a:gd name="connsiteY1386" fmla="*/ 279397 h 334834"/>
                      <a:gd name="connsiteX1387" fmla="*/ 223114 w 334946"/>
                      <a:gd name="connsiteY1387" fmla="*/ 279397 h 334834"/>
                      <a:gd name="connsiteX1388" fmla="*/ 227714 w 334946"/>
                      <a:gd name="connsiteY1388" fmla="*/ 284740 h 334834"/>
                      <a:gd name="connsiteX1389" fmla="*/ 226314 w 334946"/>
                      <a:gd name="connsiteY1389" fmla="*/ 276358 h 334834"/>
                      <a:gd name="connsiteX1390" fmla="*/ 223114 w 334946"/>
                      <a:gd name="connsiteY1390" fmla="*/ 279397 h 334834"/>
                      <a:gd name="connsiteX1391" fmla="*/ 53997 w 334946"/>
                      <a:gd name="connsiteY1391" fmla="*/ 282521 h 334834"/>
                      <a:gd name="connsiteX1392" fmla="*/ 56216 w 334946"/>
                      <a:gd name="connsiteY1392" fmla="*/ 280873 h 334834"/>
                      <a:gd name="connsiteX1393" fmla="*/ 53911 w 334946"/>
                      <a:gd name="connsiteY1393" fmla="*/ 278740 h 334834"/>
                      <a:gd name="connsiteX1394" fmla="*/ 53997 w 334946"/>
                      <a:gd name="connsiteY1394" fmla="*/ 282521 h 334834"/>
                      <a:gd name="connsiteX1395" fmla="*/ 283178 w 334946"/>
                      <a:gd name="connsiteY1395" fmla="*/ 280464 h 334834"/>
                      <a:gd name="connsiteX1396" fmla="*/ 284988 w 334946"/>
                      <a:gd name="connsiteY1396" fmla="*/ 282359 h 334834"/>
                      <a:gd name="connsiteX1397" fmla="*/ 286464 w 334946"/>
                      <a:gd name="connsiteY1397" fmla="*/ 280959 h 334834"/>
                      <a:gd name="connsiteX1398" fmla="*/ 284578 w 334946"/>
                      <a:gd name="connsiteY1398" fmla="*/ 278987 h 334834"/>
                      <a:gd name="connsiteX1399" fmla="*/ 283178 w 334946"/>
                      <a:gd name="connsiteY1399" fmla="*/ 280464 h 334834"/>
                      <a:gd name="connsiteX1400" fmla="*/ 142827 w 334946"/>
                      <a:gd name="connsiteY1400" fmla="*/ 283921 h 334834"/>
                      <a:gd name="connsiteX1401" fmla="*/ 148418 w 334946"/>
                      <a:gd name="connsiteY1401" fmla="*/ 289598 h 334834"/>
                      <a:gd name="connsiteX1402" fmla="*/ 146780 w 334946"/>
                      <a:gd name="connsiteY1402" fmla="*/ 280225 h 334834"/>
                      <a:gd name="connsiteX1403" fmla="*/ 142827 w 334946"/>
                      <a:gd name="connsiteY1403" fmla="*/ 283921 h 334834"/>
                      <a:gd name="connsiteX1404" fmla="*/ 200682 w 334946"/>
                      <a:gd name="connsiteY1404" fmla="*/ 283750 h 334834"/>
                      <a:gd name="connsiteX1405" fmla="*/ 205768 w 334946"/>
                      <a:gd name="connsiteY1405" fmla="*/ 289427 h 334834"/>
                      <a:gd name="connsiteX1406" fmla="*/ 204454 w 334946"/>
                      <a:gd name="connsiteY1406" fmla="*/ 280464 h 334834"/>
                      <a:gd name="connsiteX1407" fmla="*/ 200682 w 334946"/>
                      <a:gd name="connsiteY1407" fmla="*/ 283750 h 334834"/>
                      <a:gd name="connsiteX1408" fmla="*/ 86449 w 334946"/>
                      <a:gd name="connsiteY1408" fmla="*/ 284493 h 334834"/>
                      <a:gd name="connsiteX1409" fmla="*/ 90802 w 334946"/>
                      <a:gd name="connsiteY1409" fmla="*/ 288265 h 334834"/>
                      <a:gd name="connsiteX1410" fmla="*/ 89154 w 334946"/>
                      <a:gd name="connsiteY1410" fmla="*/ 281692 h 334834"/>
                      <a:gd name="connsiteX1411" fmla="*/ 86449 w 334946"/>
                      <a:gd name="connsiteY1411" fmla="*/ 284493 h 334834"/>
                      <a:gd name="connsiteX1412" fmla="*/ 260004 w 334946"/>
                      <a:gd name="connsiteY1412" fmla="*/ 284493 h 334834"/>
                      <a:gd name="connsiteX1413" fmla="*/ 263204 w 334946"/>
                      <a:gd name="connsiteY1413" fmla="*/ 287693 h 334834"/>
                      <a:gd name="connsiteX1414" fmla="*/ 261975 w 334946"/>
                      <a:gd name="connsiteY1414" fmla="*/ 282435 h 334834"/>
                      <a:gd name="connsiteX1415" fmla="*/ 260004 w 334946"/>
                      <a:gd name="connsiteY1415" fmla="*/ 284493 h 334834"/>
                      <a:gd name="connsiteX1416" fmla="*/ 178489 w 334946"/>
                      <a:gd name="connsiteY1416" fmla="*/ 288198 h 334834"/>
                      <a:gd name="connsiteX1417" fmla="*/ 183585 w 334946"/>
                      <a:gd name="connsiteY1417" fmla="*/ 293865 h 334834"/>
                      <a:gd name="connsiteX1418" fmla="*/ 182194 w 334946"/>
                      <a:gd name="connsiteY1418" fmla="*/ 284902 h 334834"/>
                      <a:gd name="connsiteX1419" fmla="*/ 178489 w 334946"/>
                      <a:gd name="connsiteY1419" fmla="*/ 288198 h 334834"/>
                      <a:gd name="connsiteX1420" fmla="*/ 121291 w 334946"/>
                      <a:gd name="connsiteY1420" fmla="*/ 288274 h 334834"/>
                      <a:gd name="connsiteX1421" fmla="*/ 125816 w 334946"/>
                      <a:gd name="connsiteY1421" fmla="*/ 293532 h 334834"/>
                      <a:gd name="connsiteX1422" fmla="*/ 124749 w 334946"/>
                      <a:gd name="connsiteY1422" fmla="*/ 285321 h 334834"/>
                      <a:gd name="connsiteX1423" fmla="*/ 121291 w 334946"/>
                      <a:gd name="connsiteY1423" fmla="*/ 288274 h 334834"/>
                      <a:gd name="connsiteX1424" fmla="*/ 237249 w 334946"/>
                      <a:gd name="connsiteY1424" fmla="*/ 288598 h 334834"/>
                      <a:gd name="connsiteX1425" fmla="*/ 241192 w 334946"/>
                      <a:gd name="connsiteY1425" fmla="*/ 292713 h 334834"/>
                      <a:gd name="connsiteX1426" fmla="*/ 239878 w 334946"/>
                      <a:gd name="connsiteY1426" fmla="*/ 286141 h 334834"/>
                      <a:gd name="connsiteX1427" fmla="*/ 237249 w 334946"/>
                      <a:gd name="connsiteY1427" fmla="*/ 288598 h 334834"/>
                      <a:gd name="connsiteX1428" fmla="*/ 65494 w 334946"/>
                      <a:gd name="connsiteY1428" fmla="*/ 289179 h 334834"/>
                      <a:gd name="connsiteX1429" fmla="*/ 67875 w 334946"/>
                      <a:gd name="connsiteY1429" fmla="*/ 291646 h 334834"/>
                      <a:gd name="connsiteX1430" fmla="*/ 67380 w 334946"/>
                      <a:gd name="connsiteY1430" fmla="*/ 287369 h 334834"/>
                      <a:gd name="connsiteX1431" fmla="*/ 65494 w 334946"/>
                      <a:gd name="connsiteY1431" fmla="*/ 289179 h 334834"/>
                      <a:gd name="connsiteX1432" fmla="*/ 156543 w 334946"/>
                      <a:gd name="connsiteY1432" fmla="*/ 292713 h 334834"/>
                      <a:gd name="connsiteX1433" fmla="*/ 161563 w 334946"/>
                      <a:gd name="connsiteY1433" fmla="*/ 298056 h 334834"/>
                      <a:gd name="connsiteX1434" fmla="*/ 160572 w 334946"/>
                      <a:gd name="connsiteY1434" fmla="*/ 289512 h 334834"/>
                      <a:gd name="connsiteX1435" fmla="*/ 156543 w 334946"/>
                      <a:gd name="connsiteY1435" fmla="*/ 292713 h 334834"/>
                      <a:gd name="connsiteX1436" fmla="*/ 214732 w 334946"/>
                      <a:gd name="connsiteY1436" fmla="*/ 292875 h 334834"/>
                      <a:gd name="connsiteX1437" fmla="*/ 219246 w 334946"/>
                      <a:gd name="connsiteY1437" fmla="*/ 297475 h 334834"/>
                      <a:gd name="connsiteX1438" fmla="*/ 217522 w 334946"/>
                      <a:gd name="connsiteY1438" fmla="*/ 290160 h 334834"/>
                      <a:gd name="connsiteX1439" fmla="*/ 214732 w 334946"/>
                      <a:gd name="connsiteY1439" fmla="*/ 292875 h 334834"/>
                      <a:gd name="connsiteX1440" fmla="*/ 99850 w 334946"/>
                      <a:gd name="connsiteY1440" fmla="*/ 293122 h 334834"/>
                      <a:gd name="connsiteX1441" fmla="*/ 103794 w 334946"/>
                      <a:gd name="connsiteY1441" fmla="*/ 297142 h 334834"/>
                      <a:gd name="connsiteX1442" fmla="*/ 102641 w 334946"/>
                      <a:gd name="connsiteY1442" fmla="*/ 290570 h 334834"/>
                      <a:gd name="connsiteX1443" fmla="*/ 99850 w 334946"/>
                      <a:gd name="connsiteY1443" fmla="*/ 293122 h 334834"/>
                      <a:gd name="connsiteX1444" fmla="*/ 274720 w 334946"/>
                      <a:gd name="connsiteY1444" fmla="*/ 294027 h 334834"/>
                      <a:gd name="connsiteX1445" fmla="*/ 275711 w 334946"/>
                      <a:gd name="connsiteY1445" fmla="*/ 295094 h 334834"/>
                      <a:gd name="connsiteX1446" fmla="*/ 276282 w 334946"/>
                      <a:gd name="connsiteY1446" fmla="*/ 295170 h 334834"/>
                      <a:gd name="connsiteX1447" fmla="*/ 277101 w 334946"/>
                      <a:gd name="connsiteY1447" fmla="*/ 294265 h 334834"/>
                      <a:gd name="connsiteX1448" fmla="*/ 276358 w 334946"/>
                      <a:gd name="connsiteY1448" fmla="*/ 292789 h 334834"/>
                      <a:gd name="connsiteX1449" fmla="*/ 275787 w 334946"/>
                      <a:gd name="connsiteY1449" fmla="*/ 292713 h 334834"/>
                      <a:gd name="connsiteX1450" fmla="*/ 274720 w 334946"/>
                      <a:gd name="connsiteY1450" fmla="*/ 294027 h 334834"/>
                      <a:gd name="connsiteX1451" fmla="*/ 192453 w 334946"/>
                      <a:gd name="connsiteY1451" fmla="*/ 297228 h 334834"/>
                      <a:gd name="connsiteX1452" fmla="*/ 196891 w 334946"/>
                      <a:gd name="connsiteY1452" fmla="*/ 302076 h 334834"/>
                      <a:gd name="connsiteX1453" fmla="*/ 195825 w 334946"/>
                      <a:gd name="connsiteY1453" fmla="*/ 294437 h 334834"/>
                      <a:gd name="connsiteX1454" fmla="*/ 192453 w 334946"/>
                      <a:gd name="connsiteY1454" fmla="*/ 297228 h 334834"/>
                      <a:gd name="connsiteX1455" fmla="*/ 134855 w 334946"/>
                      <a:gd name="connsiteY1455" fmla="*/ 297313 h 334834"/>
                      <a:gd name="connsiteX1456" fmla="*/ 138884 w 334946"/>
                      <a:gd name="connsiteY1456" fmla="*/ 302085 h 334834"/>
                      <a:gd name="connsiteX1457" fmla="*/ 137893 w 334946"/>
                      <a:gd name="connsiteY1457" fmla="*/ 294522 h 334834"/>
                      <a:gd name="connsiteX1458" fmla="*/ 134855 w 334946"/>
                      <a:gd name="connsiteY1458" fmla="*/ 297313 h 334834"/>
                      <a:gd name="connsiteX1459" fmla="*/ 78886 w 334946"/>
                      <a:gd name="connsiteY1459" fmla="*/ 297561 h 334834"/>
                      <a:gd name="connsiteX1460" fmla="*/ 81439 w 334946"/>
                      <a:gd name="connsiteY1460" fmla="*/ 300514 h 334834"/>
                      <a:gd name="connsiteX1461" fmla="*/ 80610 w 334946"/>
                      <a:gd name="connsiteY1461" fmla="*/ 296161 h 334834"/>
                      <a:gd name="connsiteX1462" fmla="*/ 78886 w 334946"/>
                      <a:gd name="connsiteY1462" fmla="*/ 297561 h 334834"/>
                      <a:gd name="connsiteX1463" fmla="*/ 251622 w 334946"/>
                      <a:gd name="connsiteY1463" fmla="*/ 297809 h 334834"/>
                      <a:gd name="connsiteX1464" fmla="*/ 254251 w 334946"/>
                      <a:gd name="connsiteY1464" fmla="*/ 300599 h 334834"/>
                      <a:gd name="connsiteX1465" fmla="*/ 253346 w 334946"/>
                      <a:gd name="connsiteY1465" fmla="*/ 296170 h 334834"/>
                      <a:gd name="connsiteX1466" fmla="*/ 251622 w 334946"/>
                      <a:gd name="connsiteY1466" fmla="*/ 297809 h 334834"/>
                      <a:gd name="connsiteX1467" fmla="*/ 170355 w 334946"/>
                      <a:gd name="connsiteY1467" fmla="*/ 301838 h 334834"/>
                      <a:gd name="connsiteX1468" fmla="*/ 174717 w 334946"/>
                      <a:gd name="connsiteY1468" fmla="*/ 306438 h 334834"/>
                      <a:gd name="connsiteX1469" fmla="*/ 173736 w 334946"/>
                      <a:gd name="connsiteY1469" fmla="*/ 298961 h 334834"/>
                      <a:gd name="connsiteX1470" fmla="*/ 170355 w 334946"/>
                      <a:gd name="connsiteY1470" fmla="*/ 301838 h 334834"/>
                      <a:gd name="connsiteX1471" fmla="*/ 113328 w 334946"/>
                      <a:gd name="connsiteY1471" fmla="*/ 302162 h 334834"/>
                      <a:gd name="connsiteX1472" fmla="*/ 117024 w 334946"/>
                      <a:gd name="connsiteY1472" fmla="*/ 305771 h 334834"/>
                      <a:gd name="connsiteX1473" fmla="*/ 116205 w 334946"/>
                      <a:gd name="connsiteY1473" fmla="*/ 299609 h 334834"/>
                      <a:gd name="connsiteX1474" fmla="*/ 113328 w 334946"/>
                      <a:gd name="connsiteY1474" fmla="*/ 302162 h 334834"/>
                      <a:gd name="connsiteX1475" fmla="*/ 228943 w 334946"/>
                      <a:gd name="connsiteY1475" fmla="*/ 301914 h 334834"/>
                      <a:gd name="connsiteX1476" fmla="*/ 232143 w 334946"/>
                      <a:gd name="connsiteY1476" fmla="*/ 305533 h 334834"/>
                      <a:gd name="connsiteX1477" fmla="*/ 230991 w 334946"/>
                      <a:gd name="connsiteY1477" fmla="*/ 300028 h 334834"/>
                      <a:gd name="connsiteX1478" fmla="*/ 228943 w 334946"/>
                      <a:gd name="connsiteY1478" fmla="*/ 301914 h 334834"/>
                      <a:gd name="connsiteX1479" fmla="*/ 148580 w 334946"/>
                      <a:gd name="connsiteY1479" fmla="*/ 306267 h 334834"/>
                      <a:gd name="connsiteX1480" fmla="*/ 152352 w 334946"/>
                      <a:gd name="connsiteY1480" fmla="*/ 310544 h 334834"/>
                      <a:gd name="connsiteX1481" fmla="*/ 151200 w 334946"/>
                      <a:gd name="connsiteY1481" fmla="*/ 303809 h 334834"/>
                      <a:gd name="connsiteX1482" fmla="*/ 148580 w 334946"/>
                      <a:gd name="connsiteY1482" fmla="*/ 306267 h 334834"/>
                      <a:gd name="connsiteX1483" fmla="*/ 206511 w 334946"/>
                      <a:gd name="connsiteY1483" fmla="*/ 306438 h 334834"/>
                      <a:gd name="connsiteX1484" fmla="*/ 209883 w 334946"/>
                      <a:gd name="connsiteY1484" fmla="*/ 310220 h 334834"/>
                      <a:gd name="connsiteX1485" fmla="*/ 209140 w 334946"/>
                      <a:gd name="connsiteY1485" fmla="*/ 304143 h 334834"/>
                      <a:gd name="connsiteX1486" fmla="*/ 206511 w 334946"/>
                      <a:gd name="connsiteY1486" fmla="*/ 306438 h 334834"/>
                      <a:gd name="connsiteX1487" fmla="*/ 92126 w 334946"/>
                      <a:gd name="connsiteY1487" fmla="*/ 306838 h 334834"/>
                      <a:gd name="connsiteX1488" fmla="*/ 94516 w 334946"/>
                      <a:gd name="connsiteY1488" fmla="*/ 309391 h 334834"/>
                      <a:gd name="connsiteX1489" fmla="*/ 93859 w 334946"/>
                      <a:gd name="connsiteY1489" fmla="*/ 305114 h 334834"/>
                      <a:gd name="connsiteX1490" fmla="*/ 92126 w 334946"/>
                      <a:gd name="connsiteY1490" fmla="*/ 306838 h 334834"/>
                      <a:gd name="connsiteX1491" fmla="*/ 184404 w 334946"/>
                      <a:gd name="connsiteY1491" fmla="*/ 310629 h 334834"/>
                      <a:gd name="connsiteX1492" fmla="*/ 187690 w 334946"/>
                      <a:gd name="connsiteY1492" fmla="*/ 314658 h 334834"/>
                      <a:gd name="connsiteX1493" fmla="*/ 186947 w 334946"/>
                      <a:gd name="connsiteY1493" fmla="*/ 308572 h 334834"/>
                      <a:gd name="connsiteX1494" fmla="*/ 184404 w 334946"/>
                      <a:gd name="connsiteY1494" fmla="*/ 310629 h 334834"/>
                      <a:gd name="connsiteX1495" fmla="*/ 127044 w 334946"/>
                      <a:gd name="connsiteY1495" fmla="*/ 310629 h 334834"/>
                      <a:gd name="connsiteX1496" fmla="*/ 130245 w 334946"/>
                      <a:gd name="connsiteY1496" fmla="*/ 314411 h 334834"/>
                      <a:gd name="connsiteX1497" fmla="*/ 129254 w 334946"/>
                      <a:gd name="connsiteY1497" fmla="*/ 308820 h 334834"/>
                      <a:gd name="connsiteX1498" fmla="*/ 127044 w 334946"/>
                      <a:gd name="connsiteY1498" fmla="*/ 310629 h 334834"/>
                      <a:gd name="connsiteX1499" fmla="*/ 243326 w 334946"/>
                      <a:gd name="connsiteY1499" fmla="*/ 311534 h 334834"/>
                      <a:gd name="connsiteX1500" fmla="*/ 244640 w 334946"/>
                      <a:gd name="connsiteY1500" fmla="*/ 313258 h 334834"/>
                      <a:gd name="connsiteX1501" fmla="*/ 246526 w 334946"/>
                      <a:gd name="connsiteY1501" fmla="*/ 311944 h 334834"/>
                      <a:gd name="connsiteX1502" fmla="*/ 244554 w 334946"/>
                      <a:gd name="connsiteY1502" fmla="*/ 310143 h 334834"/>
                      <a:gd name="connsiteX1503" fmla="*/ 243326 w 334946"/>
                      <a:gd name="connsiteY1503" fmla="*/ 311534 h 334834"/>
                      <a:gd name="connsiteX1504" fmla="*/ 162544 w 334946"/>
                      <a:gd name="connsiteY1504" fmla="*/ 314982 h 334834"/>
                      <a:gd name="connsiteX1505" fmla="*/ 165497 w 334946"/>
                      <a:gd name="connsiteY1505" fmla="*/ 318926 h 334834"/>
                      <a:gd name="connsiteX1506" fmla="*/ 164592 w 334946"/>
                      <a:gd name="connsiteY1506" fmla="*/ 313258 h 334834"/>
                      <a:gd name="connsiteX1507" fmla="*/ 162544 w 334946"/>
                      <a:gd name="connsiteY1507" fmla="*/ 314982 h 334834"/>
                      <a:gd name="connsiteX1508" fmla="*/ 220723 w 334946"/>
                      <a:gd name="connsiteY1508" fmla="*/ 315563 h 334834"/>
                      <a:gd name="connsiteX1509" fmla="*/ 223104 w 334946"/>
                      <a:gd name="connsiteY1509" fmla="*/ 318192 h 334834"/>
                      <a:gd name="connsiteX1510" fmla="*/ 222609 w 334946"/>
                      <a:gd name="connsiteY1510" fmla="*/ 314001 h 334834"/>
                      <a:gd name="connsiteX1511" fmla="*/ 220723 w 334946"/>
                      <a:gd name="connsiteY1511" fmla="*/ 315563 h 334834"/>
                      <a:gd name="connsiteX1512" fmla="*/ 105604 w 334946"/>
                      <a:gd name="connsiteY1512" fmla="*/ 315963 h 334834"/>
                      <a:gd name="connsiteX1513" fmla="*/ 108975 w 334946"/>
                      <a:gd name="connsiteY1513" fmla="*/ 317202 h 334834"/>
                      <a:gd name="connsiteX1514" fmla="*/ 107251 w 334946"/>
                      <a:gd name="connsiteY1514" fmla="*/ 314239 h 334834"/>
                      <a:gd name="connsiteX1515" fmla="*/ 105604 w 334946"/>
                      <a:gd name="connsiteY1515" fmla="*/ 315963 h 334834"/>
                      <a:gd name="connsiteX1516" fmla="*/ 140770 w 334946"/>
                      <a:gd name="connsiteY1516" fmla="*/ 319830 h 334834"/>
                      <a:gd name="connsiteX1517" fmla="*/ 143313 w 334946"/>
                      <a:gd name="connsiteY1517" fmla="*/ 322869 h 334834"/>
                      <a:gd name="connsiteX1518" fmla="*/ 142570 w 334946"/>
                      <a:gd name="connsiteY1518" fmla="*/ 318183 h 334834"/>
                      <a:gd name="connsiteX1519" fmla="*/ 140770 w 334946"/>
                      <a:gd name="connsiteY1519" fmla="*/ 319830 h 334834"/>
                      <a:gd name="connsiteX1520" fmla="*/ 200016 w 334946"/>
                      <a:gd name="connsiteY1520" fmla="*/ 322707 h 334834"/>
                      <a:gd name="connsiteX1521" fmla="*/ 202730 w 334946"/>
                      <a:gd name="connsiteY1521" fmla="*/ 319916 h 334834"/>
                      <a:gd name="connsiteX1522" fmla="*/ 200101 w 334946"/>
                      <a:gd name="connsiteY1522" fmla="*/ 318354 h 334834"/>
                      <a:gd name="connsiteX1523" fmla="*/ 200016 w 334946"/>
                      <a:gd name="connsiteY1523" fmla="*/ 322707 h 334834"/>
                      <a:gd name="connsiteX1524" fmla="*/ 177994 w 334946"/>
                      <a:gd name="connsiteY1524" fmla="*/ 327060 h 334834"/>
                      <a:gd name="connsiteX1525" fmla="*/ 178070 w 334946"/>
                      <a:gd name="connsiteY1525" fmla="*/ 322869 h 334834"/>
                      <a:gd name="connsiteX1526" fmla="*/ 177994 w 334946"/>
                      <a:gd name="connsiteY1526" fmla="*/ 327060 h 334834"/>
                      <a:gd name="connsiteX1527" fmla="*/ 119329 w 334946"/>
                      <a:gd name="connsiteY1527" fmla="*/ 324841 h 334834"/>
                      <a:gd name="connsiteX1528" fmla="*/ 120644 w 334946"/>
                      <a:gd name="connsiteY1528" fmla="*/ 326479 h 334834"/>
                      <a:gd name="connsiteX1529" fmla="*/ 122206 w 334946"/>
                      <a:gd name="connsiteY1529" fmla="*/ 325326 h 334834"/>
                      <a:gd name="connsiteX1530" fmla="*/ 122282 w 334946"/>
                      <a:gd name="connsiteY1530" fmla="*/ 324669 h 334834"/>
                      <a:gd name="connsiteX1531" fmla="*/ 120558 w 334946"/>
                      <a:gd name="connsiteY1531" fmla="*/ 323526 h 334834"/>
                      <a:gd name="connsiteX1532" fmla="*/ 119329 w 334946"/>
                      <a:gd name="connsiteY1532" fmla="*/ 324841 h 334834"/>
                      <a:gd name="connsiteX1533" fmla="*/ 154581 w 334946"/>
                      <a:gd name="connsiteY1533" fmla="*/ 329279 h 334834"/>
                      <a:gd name="connsiteX1534" fmla="*/ 156639 w 334946"/>
                      <a:gd name="connsiteY1534" fmla="*/ 331089 h 334834"/>
                      <a:gd name="connsiteX1535" fmla="*/ 157953 w 334946"/>
                      <a:gd name="connsiteY1535" fmla="*/ 329698 h 334834"/>
                      <a:gd name="connsiteX1536" fmla="*/ 155905 w 334946"/>
                      <a:gd name="connsiteY1536" fmla="*/ 327727 h 334834"/>
                      <a:gd name="connsiteX1537" fmla="*/ 154581 w 334946"/>
                      <a:gd name="connsiteY1537" fmla="*/ 329279 h 334834"/>
                      <a:gd name="connsiteX1538" fmla="*/ 213084 w 334946"/>
                      <a:gd name="connsiteY1538" fmla="*/ 329193 h 334834"/>
                      <a:gd name="connsiteX1539" fmla="*/ 213008 w 334946"/>
                      <a:gd name="connsiteY1539" fmla="*/ 329689 h 334834"/>
                      <a:gd name="connsiteX1540" fmla="*/ 213503 w 334946"/>
                      <a:gd name="connsiteY1540" fmla="*/ 330260 h 334834"/>
                      <a:gd name="connsiteX1541" fmla="*/ 214160 w 334946"/>
                      <a:gd name="connsiteY1541" fmla="*/ 330337 h 334834"/>
                      <a:gd name="connsiteX1542" fmla="*/ 214322 w 334946"/>
                      <a:gd name="connsiteY1542" fmla="*/ 330260 h 334834"/>
                      <a:gd name="connsiteX1543" fmla="*/ 214817 w 334946"/>
                      <a:gd name="connsiteY1543" fmla="*/ 329108 h 334834"/>
                      <a:gd name="connsiteX1544" fmla="*/ 213750 w 334946"/>
                      <a:gd name="connsiteY1544" fmla="*/ 328451 h 334834"/>
                      <a:gd name="connsiteX1545" fmla="*/ 213084 w 334946"/>
                      <a:gd name="connsiteY1545" fmla="*/ 329193 h 334834"/>
                      <a:gd name="connsiteX1546" fmla="*/ 190814 w 334946"/>
                      <a:gd name="connsiteY1546" fmla="*/ 333632 h 334834"/>
                      <a:gd name="connsiteX1547" fmla="*/ 190814 w 334946"/>
                      <a:gd name="connsiteY1547" fmla="*/ 334204 h 334834"/>
                      <a:gd name="connsiteX1548" fmla="*/ 191634 w 334946"/>
                      <a:gd name="connsiteY1548" fmla="*/ 334785 h 334834"/>
                      <a:gd name="connsiteX1549" fmla="*/ 191634 w 334946"/>
                      <a:gd name="connsiteY1549" fmla="*/ 332889 h 334834"/>
                      <a:gd name="connsiteX1550" fmla="*/ 190814 w 334946"/>
                      <a:gd name="connsiteY1550" fmla="*/ 333632 h 334834"/>
                      <a:gd name="connsiteX1551" fmla="*/ 133702 w 334946"/>
                      <a:gd name="connsiteY1551" fmla="*/ 334204 h 334834"/>
                      <a:gd name="connsiteX1552" fmla="*/ 133702 w 334946"/>
                      <a:gd name="connsiteY1552" fmla="*/ 334366 h 334834"/>
                      <a:gd name="connsiteX1553" fmla="*/ 134445 w 334946"/>
                      <a:gd name="connsiteY1553" fmla="*/ 334366 h 334834"/>
                      <a:gd name="connsiteX1554" fmla="*/ 134522 w 334946"/>
                      <a:gd name="connsiteY1554" fmla="*/ 333461 h 334834"/>
                      <a:gd name="connsiteX1555" fmla="*/ 133702 w 334946"/>
                      <a:gd name="connsiteY1555" fmla="*/ 333375 h 334834"/>
                      <a:gd name="connsiteX1556" fmla="*/ 133702 w 334946"/>
                      <a:gd name="connsiteY1556" fmla="*/ 334204 h 3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Lst>
                    <a:rect l="l" t="t" r="r" b="b"/>
                    <a:pathLst>
                      <a:path w="334946" h="334834">
                        <a:moveTo>
                          <a:pt x="181527" y="1648"/>
                        </a:moveTo>
                        <a:cubicBezTo>
                          <a:pt x="181927" y="2115"/>
                          <a:pt x="182156" y="2429"/>
                          <a:pt x="182756" y="2715"/>
                        </a:cubicBezTo>
                        <a:cubicBezTo>
                          <a:pt x="184566" y="2581"/>
                          <a:pt x="184585" y="48"/>
                          <a:pt x="182680" y="0"/>
                        </a:cubicBezTo>
                        <a:cubicBezTo>
                          <a:pt x="182061" y="419"/>
                          <a:pt x="181566" y="638"/>
                          <a:pt x="181527" y="1648"/>
                        </a:cubicBezTo>
                        <a:close/>
                        <a:moveTo>
                          <a:pt x="158848" y="6248"/>
                        </a:moveTo>
                        <a:cubicBezTo>
                          <a:pt x="159344" y="7934"/>
                          <a:pt x="161868" y="7963"/>
                          <a:pt x="162458" y="6334"/>
                        </a:cubicBezTo>
                        <a:cubicBezTo>
                          <a:pt x="162487" y="5982"/>
                          <a:pt x="162516" y="5620"/>
                          <a:pt x="162544" y="5267"/>
                        </a:cubicBezTo>
                        <a:cubicBezTo>
                          <a:pt x="161973" y="4591"/>
                          <a:pt x="161677" y="3953"/>
                          <a:pt x="160410" y="3953"/>
                        </a:cubicBezTo>
                        <a:cubicBezTo>
                          <a:pt x="159782" y="4315"/>
                          <a:pt x="158477" y="4953"/>
                          <a:pt x="158848" y="6248"/>
                        </a:cubicBezTo>
                        <a:close/>
                        <a:moveTo>
                          <a:pt x="217360" y="5591"/>
                        </a:moveTo>
                        <a:cubicBezTo>
                          <a:pt x="217399" y="6296"/>
                          <a:pt x="217618" y="6363"/>
                          <a:pt x="217942" y="6744"/>
                        </a:cubicBezTo>
                        <a:cubicBezTo>
                          <a:pt x="218161" y="6744"/>
                          <a:pt x="218380" y="6744"/>
                          <a:pt x="218599" y="6744"/>
                        </a:cubicBezTo>
                        <a:cubicBezTo>
                          <a:pt x="218846" y="6496"/>
                          <a:pt x="219094" y="6248"/>
                          <a:pt x="219342" y="6001"/>
                        </a:cubicBezTo>
                        <a:cubicBezTo>
                          <a:pt x="219342" y="5924"/>
                          <a:pt x="219342" y="5839"/>
                          <a:pt x="219342" y="5753"/>
                        </a:cubicBezTo>
                        <a:cubicBezTo>
                          <a:pt x="219142" y="5362"/>
                          <a:pt x="218999" y="5115"/>
                          <a:pt x="218599" y="4934"/>
                        </a:cubicBezTo>
                        <a:cubicBezTo>
                          <a:pt x="218408" y="4905"/>
                          <a:pt x="218218" y="4877"/>
                          <a:pt x="218027" y="4848"/>
                        </a:cubicBezTo>
                        <a:cubicBezTo>
                          <a:pt x="217798" y="5096"/>
                          <a:pt x="217580" y="5343"/>
                          <a:pt x="217360" y="5591"/>
                        </a:cubicBezTo>
                        <a:close/>
                        <a:moveTo>
                          <a:pt x="136579" y="10116"/>
                        </a:moveTo>
                        <a:cubicBezTo>
                          <a:pt x="136074" y="12240"/>
                          <a:pt x="139265" y="12697"/>
                          <a:pt x="140275" y="11268"/>
                        </a:cubicBezTo>
                        <a:cubicBezTo>
                          <a:pt x="141256" y="9877"/>
                          <a:pt x="139865" y="8182"/>
                          <a:pt x="138303" y="8230"/>
                        </a:cubicBezTo>
                        <a:cubicBezTo>
                          <a:pt x="137484" y="8658"/>
                          <a:pt x="136722" y="9001"/>
                          <a:pt x="136579" y="10116"/>
                        </a:cubicBezTo>
                        <a:close/>
                        <a:moveTo>
                          <a:pt x="194101" y="9868"/>
                        </a:moveTo>
                        <a:cubicBezTo>
                          <a:pt x="194081" y="11306"/>
                          <a:pt x="194862" y="11897"/>
                          <a:pt x="195825" y="12335"/>
                        </a:cubicBezTo>
                        <a:cubicBezTo>
                          <a:pt x="198930" y="12421"/>
                          <a:pt x="198825" y="8077"/>
                          <a:pt x="195663" y="8230"/>
                        </a:cubicBezTo>
                        <a:cubicBezTo>
                          <a:pt x="194929" y="8725"/>
                          <a:pt x="194500" y="9020"/>
                          <a:pt x="194101" y="9868"/>
                        </a:cubicBezTo>
                        <a:close/>
                        <a:moveTo>
                          <a:pt x="171583" y="13811"/>
                        </a:moveTo>
                        <a:cubicBezTo>
                          <a:pt x="170850" y="15488"/>
                          <a:pt x="172555" y="17726"/>
                          <a:pt x="174374" y="17345"/>
                        </a:cubicBezTo>
                        <a:cubicBezTo>
                          <a:pt x="177365" y="16726"/>
                          <a:pt x="177251" y="12011"/>
                          <a:pt x="173555" y="12173"/>
                        </a:cubicBezTo>
                        <a:cubicBezTo>
                          <a:pt x="172774" y="12554"/>
                          <a:pt x="171936" y="13011"/>
                          <a:pt x="171583" y="13811"/>
                        </a:cubicBezTo>
                        <a:close/>
                        <a:moveTo>
                          <a:pt x="114471" y="14307"/>
                        </a:moveTo>
                        <a:cubicBezTo>
                          <a:pt x="114414" y="15707"/>
                          <a:pt x="115434" y="16964"/>
                          <a:pt x="116853" y="16526"/>
                        </a:cubicBezTo>
                        <a:cubicBezTo>
                          <a:pt x="117596" y="16231"/>
                          <a:pt x="118243" y="15507"/>
                          <a:pt x="118339" y="14554"/>
                        </a:cubicBezTo>
                        <a:cubicBezTo>
                          <a:pt x="117957" y="13573"/>
                          <a:pt x="117424" y="12802"/>
                          <a:pt x="116119" y="12744"/>
                        </a:cubicBezTo>
                        <a:cubicBezTo>
                          <a:pt x="115376" y="13211"/>
                          <a:pt x="114881" y="13487"/>
                          <a:pt x="114471" y="14307"/>
                        </a:cubicBezTo>
                        <a:close/>
                        <a:moveTo>
                          <a:pt x="230181" y="14468"/>
                        </a:moveTo>
                        <a:cubicBezTo>
                          <a:pt x="230248" y="16535"/>
                          <a:pt x="232982" y="16602"/>
                          <a:pt x="233134" y="14554"/>
                        </a:cubicBezTo>
                        <a:cubicBezTo>
                          <a:pt x="232743" y="13849"/>
                          <a:pt x="232486" y="13268"/>
                          <a:pt x="231496" y="13163"/>
                        </a:cubicBezTo>
                        <a:cubicBezTo>
                          <a:pt x="230819" y="13583"/>
                          <a:pt x="230610" y="13802"/>
                          <a:pt x="230181" y="14468"/>
                        </a:cubicBezTo>
                        <a:close/>
                        <a:moveTo>
                          <a:pt x="149399" y="17669"/>
                        </a:moveTo>
                        <a:cubicBezTo>
                          <a:pt x="148076" y="19612"/>
                          <a:pt x="149981" y="22631"/>
                          <a:pt x="152524" y="22031"/>
                        </a:cubicBezTo>
                        <a:cubicBezTo>
                          <a:pt x="155696" y="21269"/>
                          <a:pt x="155210" y="16173"/>
                          <a:pt x="151457" y="16278"/>
                        </a:cubicBezTo>
                        <a:cubicBezTo>
                          <a:pt x="150609" y="16650"/>
                          <a:pt x="149885" y="16964"/>
                          <a:pt x="149399" y="17669"/>
                        </a:cubicBezTo>
                        <a:close/>
                        <a:moveTo>
                          <a:pt x="207092" y="18326"/>
                        </a:moveTo>
                        <a:cubicBezTo>
                          <a:pt x="206407" y="19964"/>
                          <a:pt x="208045" y="22088"/>
                          <a:pt x="209969" y="21612"/>
                        </a:cubicBezTo>
                        <a:cubicBezTo>
                          <a:pt x="212817" y="20907"/>
                          <a:pt x="212550" y="16507"/>
                          <a:pt x="208902" y="16678"/>
                        </a:cubicBezTo>
                        <a:cubicBezTo>
                          <a:pt x="208169" y="17107"/>
                          <a:pt x="207426" y="17535"/>
                          <a:pt x="207092" y="18326"/>
                        </a:cubicBezTo>
                        <a:close/>
                        <a:moveTo>
                          <a:pt x="92783" y="18821"/>
                        </a:moveTo>
                        <a:cubicBezTo>
                          <a:pt x="92697" y="21126"/>
                          <a:pt x="95745" y="21003"/>
                          <a:pt x="95659" y="18736"/>
                        </a:cubicBezTo>
                        <a:cubicBezTo>
                          <a:pt x="95383" y="18402"/>
                          <a:pt x="95107" y="18078"/>
                          <a:pt x="94840" y="17745"/>
                        </a:cubicBezTo>
                        <a:cubicBezTo>
                          <a:pt x="94564" y="17688"/>
                          <a:pt x="94288" y="17640"/>
                          <a:pt x="94021" y="17583"/>
                        </a:cubicBezTo>
                        <a:cubicBezTo>
                          <a:pt x="93488" y="17993"/>
                          <a:pt x="93097" y="18193"/>
                          <a:pt x="92783" y="18821"/>
                        </a:cubicBezTo>
                        <a:close/>
                        <a:moveTo>
                          <a:pt x="184156" y="23012"/>
                        </a:moveTo>
                        <a:cubicBezTo>
                          <a:pt x="183651" y="25222"/>
                          <a:pt x="186042" y="27413"/>
                          <a:pt x="188176" y="26708"/>
                        </a:cubicBezTo>
                        <a:cubicBezTo>
                          <a:pt x="191586" y="25584"/>
                          <a:pt x="190891" y="20298"/>
                          <a:pt x="186614" y="20460"/>
                        </a:cubicBezTo>
                        <a:cubicBezTo>
                          <a:pt x="185575" y="21088"/>
                          <a:pt x="184461" y="21679"/>
                          <a:pt x="184156" y="23012"/>
                        </a:cubicBezTo>
                        <a:close/>
                        <a:moveTo>
                          <a:pt x="130331" y="26460"/>
                        </a:moveTo>
                        <a:cubicBezTo>
                          <a:pt x="133483" y="25717"/>
                          <a:pt x="133112" y="20555"/>
                          <a:pt x="129264" y="20707"/>
                        </a:cubicBezTo>
                        <a:cubicBezTo>
                          <a:pt x="125368" y="22412"/>
                          <a:pt x="126854" y="27289"/>
                          <a:pt x="130331" y="26460"/>
                        </a:cubicBezTo>
                        <a:close/>
                        <a:moveTo>
                          <a:pt x="243240" y="23260"/>
                        </a:moveTo>
                        <a:cubicBezTo>
                          <a:pt x="243183" y="25851"/>
                          <a:pt x="246050" y="25460"/>
                          <a:pt x="246688" y="23670"/>
                        </a:cubicBezTo>
                        <a:cubicBezTo>
                          <a:pt x="246640" y="22593"/>
                          <a:pt x="245869" y="21831"/>
                          <a:pt x="244792" y="21784"/>
                        </a:cubicBezTo>
                        <a:cubicBezTo>
                          <a:pt x="244011" y="22203"/>
                          <a:pt x="243630" y="22441"/>
                          <a:pt x="243240" y="23260"/>
                        </a:cubicBezTo>
                        <a:close/>
                        <a:moveTo>
                          <a:pt x="161725" y="27118"/>
                        </a:moveTo>
                        <a:cubicBezTo>
                          <a:pt x="160953" y="29537"/>
                          <a:pt x="163316" y="32147"/>
                          <a:pt x="165830" y="31556"/>
                        </a:cubicBezTo>
                        <a:cubicBezTo>
                          <a:pt x="169802" y="30623"/>
                          <a:pt x="169354" y="24536"/>
                          <a:pt x="164763" y="24489"/>
                        </a:cubicBezTo>
                        <a:cubicBezTo>
                          <a:pt x="163335" y="25117"/>
                          <a:pt x="162201" y="25594"/>
                          <a:pt x="161725" y="27118"/>
                        </a:cubicBezTo>
                        <a:close/>
                        <a:moveTo>
                          <a:pt x="223437" y="30813"/>
                        </a:moveTo>
                        <a:cubicBezTo>
                          <a:pt x="226447" y="30061"/>
                          <a:pt x="226057" y="25089"/>
                          <a:pt x="222371" y="25232"/>
                        </a:cubicBezTo>
                        <a:cubicBezTo>
                          <a:pt x="218503" y="26918"/>
                          <a:pt x="219942" y="31690"/>
                          <a:pt x="223437" y="30813"/>
                        </a:cubicBezTo>
                        <a:close/>
                        <a:moveTo>
                          <a:pt x="105023" y="27118"/>
                        </a:moveTo>
                        <a:cubicBezTo>
                          <a:pt x="104308" y="29061"/>
                          <a:pt x="106108" y="31090"/>
                          <a:pt x="108061" y="30651"/>
                        </a:cubicBezTo>
                        <a:cubicBezTo>
                          <a:pt x="111099" y="29975"/>
                          <a:pt x="110604" y="25203"/>
                          <a:pt x="107080" y="25308"/>
                        </a:cubicBezTo>
                        <a:cubicBezTo>
                          <a:pt x="106213" y="25746"/>
                          <a:pt x="105366" y="26194"/>
                          <a:pt x="105023" y="27118"/>
                        </a:cubicBezTo>
                        <a:close/>
                        <a:moveTo>
                          <a:pt x="139370" y="31642"/>
                        </a:moveTo>
                        <a:cubicBezTo>
                          <a:pt x="138703" y="34109"/>
                          <a:pt x="141094" y="36824"/>
                          <a:pt x="143809" y="36166"/>
                        </a:cubicBezTo>
                        <a:cubicBezTo>
                          <a:pt x="147980" y="35157"/>
                          <a:pt x="147533" y="28670"/>
                          <a:pt x="142246" y="28851"/>
                        </a:cubicBezTo>
                        <a:cubicBezTo>
                          <a:pt x="140941" y="29499"/>
                          <a:pt x="139779" y="30128"/>
                          <a:pt x="139370" y="31642"/>
                        </a:cubicBezTo>
                        <a:close/>
                        <a:moveTo>
                          <a:pt x="197148" y="31309"/>
                        </a:moveTo>
                        <a:cubicBezTo>
                          <a:pt x="196291" y="33633"/>
                          <a:pt x="198453" y="36424"/>
                          <a:pt x="200759" y="36071"/>
                        </a:cubicBezTo>
                        <a:cubicBezTo>
                          <a:pt x="205330" y="35395"/>
                          <a:pt x="205121" y="28823"/>
                          <a:pt x="200263" y="28927"/>
                        </a:cubicBezTo>
                        <a:cubicBezTo>
                          <a:pt x="198825" y="29508"/>
                          <a:pt x="197672" y="29870"/>
                          <a:pt x="197148" y="31309"/>
                        </a:cubicBezTo>
                        <a:close/>
                        <a:moveTo>
                          <a:pt x="83249" y="31890"/>
                        </a:moveTo>
                        <a:cubicBezTo>
                          <a:pt x="82772" y="33185"/>
                          <a:pt x="84296" y="34947"/>
                          <a:pt x="85716" y="34604"/>
                        </a:cubicBezTo>
                        <a:cubicBezTo>
                          <a:pt x="88221" y="34004"/>
                          <a:pt x="87782" y="30489"/>
                          <a:pt x="85134" y="30251"/>
                        </a:cubicBezTo>
                        <a:cubicBezTo>
                          <a:pt x="84325" y="30632"/>
                          <a:pt x="83563" y="31032"/>
                          <a:pt x="83249" y="31890"/>
                        </a:cubicBezTo>
                        <a:close/>
                        <a:moveTo>
                          <a:pt x="256394" y="32547"/>
                        </a:moveTo>
                        <a:cubicBezTo>
                          <a:pt x="256765" y="33233"/>
                          <a:pt x="257032" y="33804"/>
                          <a:pt x="257785" y="34109"/>
                        </a:cubicBezTo>
                        <a:cubicBezTo>
                          <a:pt x="258956" y="34642"/>
                          <a:pt x="260004" y="33242"/>
                          <a:pt x="260004" y="32223"/>
                        </a:cubicBezTo>
                        <a:cubicBezTo>
                          <a:pt x="259633" y="31299"/>
                          <a:pt x="259128" y="30632"/>
                          <a:pt x="257785" y="30661"/>
                        </a:cubicBezTo>
                        <a:cubicBezTo>
                          <a:pt x="257127" y="31166"/>
                          <a:pt x="256508" y="31480"/>
                          <a:pt x="256394" y="32547"/>
                        </a:cubicBezTo>
                        <a:close/>
                        <a:moveTo>
                          <a:pt x="174460" y="35919"/>
                        </a:moveTo>
                        <a:cubicBezTo>
                          <a:pt x="173660" y="38633"/>
                          <a:pt x="176222" y="41500"/>
                          <a:pt x="178899" y="41015"/>
                        </a:cubicBezTo>
                        <a:cubicBezTo>
                          <a:pt x="183709" y="40138"/>
                          <a:pt x="183509" y="32737"/>
                          <a:pt x="177917" y="32880"/>
                        </a:cubicBezTo>
                        <a:cubicBezTo>
                          <a:pt x="176308" y="33585"/>
                          <a:pt x="174984" y="34166"/>
                          <a:pt x="174460" y="35919"/>
                        </a:cubicBezTo>
                        <a:close/>
                        <a:moveTo>
                          <a:pt x="117348" y="36081"/>
                        </a:moveTo>
                        <a:cubicBezTo>
                          <a:pt x="116662" y="38405"/>
                          <a:pt x="118920" y="40872"/>
                          <a:pt x="121129" y="40519"/>
                        </a:cubicBezTo>
                        <a:cubicBezTo>
                          <a:pt x="125663" y="39795"/>
                          <a:pt x="125473" y="33223"/>
                          <a:pt x="120310" y="33376"/>
                        </a:cubicBezTo>
                        <a:cubicBezTo>
                          <a:pt x="118910" y="33995"/>
                          <a:pt x="117805" y="34547"/>
                          <a:pt x="117348" y="36081"/>
                        </a:cubicBezTo>
                        <a:close/>
                        <a:moveTo>
                          <a:pt x="233296" y="35585"/>
                        </a:moveTo>
                        <a:cubicBezTo>
                          <a:pt x="232115" y="37824"/>
                          <a:pt x="234544" y="40472"/>
                          <a:pt x="236830" y="39862"/>
                        </a:cubicBezTo>
                        <a:cubicBezTo>
                          <a:pt x="240116" y="38986"/>
                          <a:pt x="239706" y="33766"/>
                          <a:pt x="235353" y="33947"/>
                        </a:cubicBezTo>
                        <a:cubicBezTo>
                          <a:pt x="234544" y="34395"/>
                          <a:pt x="233734" y="34776"/>
                          <a:pt x="233296" y="35585"/>
                        </a:cubicBezTo>
                        <a:close/>
                        <a:moveTo>
                          <a:pt x="61884" y="36652"/>
                        </a:moveTo>
                        <a:cubicBezTo>
                          <a:pt x="61979" y="38186"/>
                          <a:pt x="63865" y="38548"/>
                          <a:pt x="64351" y="37147"/>
                        </a:cubicBezTo>
                        <a:cubicBezTo>
                          <a:pt x="64665" y="36443"/>
                          <a:pt x="63951" y="35843"/>
                          <a:pt x="63446" y="35671"/>
                        </a:cubicBezTo>
                        <a:cubicBezTo>
                          <a:pt x="63246" y="35642"/>
                          <a:pt x="63056" y="35614"/>
                          <a:pt x="62865" y="35585"/>
                        </a:cubicBezTo>
                        <a:cubicBezTo>
                          <a:pt x="62475" y="35938"/>
                          <a:pt x="62217" y="36233"/>
                          <a:pt x="61884" y="36652"/>
                        </a:cubicBezTo>
                        <a:close/>
                        <a:moveTo>
                          <a:pt x="152276" y="39691"/>
                        </a:moveTo>
                        <a:cubicBezTo>
                          <a:pt x="151076" y="42548"/>
                          <a:pt x="153448" y="46234"/>
                          <a:pt x="156543" y="45768"/>
                        </a:cubicBezTo>
                        <a:cubicBezTo>
                          <a:pt x="162087" y="44939"/>
                          <a:pt x="161839" y="36966"/>
                          <a:pt x="155886" y="37052"/>
                        </a:cubicBezTo>
                        <a:cubicBezTo>
                          <a:pt x="154219" y="37757"/>
                          <a:pt x="152952" y="38071"/>
                          <a:pt x="152276" y="39691"/>
                        </a:cubicBezTo>
                        <a:close/>
                        <a:moveTo>
                          <a:pt x="210045" y="40510"/>
                        </a:moveTo>
                        <a:cubicBezTo>
                          <a:pt x="209264" y="43386"/>
                          <a:pt x="212284" y="46044"/>
                          <a:pt x="215065" y="45110"/>
                        </a:cubicBezTo>
                        <a:cubicBezTo>
                          <a:pt x="219104" y="43758"/>
                          <a:pt x="218456" y="37300"/>
                          <a:pt x="213255" y="37471"/>
                        </a:cubicBezTo>
                        <a:cubicBezTo>
                          <a:pt x="211798" y="38195"/>
                          <a:pt x="210502" y="38833"/>
                          <a:pt x="210045" y="40510"/>
                        </a:cubicBezTo>
                        <a:close/>
                        <a:moveTo>
                          <a:pt x="95488" y="40510"/>
                        </a:moveTo>
                        <a:cubicBezTo>
                          <a:pt x="94850" y="42662"/>
                          <a:pt x="96974" y="45034"/>
                          <a:pt x="99269" y="44539"/>
                        </a:cubicBezTo>
                        <a:cubicBezTo>
                          <a:pt x="102880" y="43767"/>
                          <a:pt x="102517" y="38100"/>
                          <a:pt x="98450" y="38043"/>
                        </a:cubicBezTo>
                        <a:cubicBezTo>
                          <a:pt x="97088" y="38633"/>
                          <a:pt x="95926" y="39043"/>
                          <a:pt x="95488" y="40510"/>
                        </a:cubicBezTo>
                        <a:close/>
                        <a:moveTo>
                          <a:pt x="269872" y="40929"/>
                        </a:moveTo>
                        <a:cubicBezTo>
                          <a:pt x="269843" y="42158"/>
                          <a:pt x="270453" y="42605"/>
                          <a:pt x="271262" y="42986"/>
                        </a:cubicBezTo>
                        <a:cubicBezTo>
                          <a:pt x="273806" y="43015"/>
                          <a:pt x="273834" y="39472"/>
                          <a:pt x="271262" y="39529"/>
                        </a:cubicBezTo>
                        <a:cubicBezTo>
                          <a:pt x="270615" y="39948"/>
                          <a:pt x="270224" y="40205"/>
                          <a:pt x="269872" y="40929"/>
                        </a:cubicBezTo>
                        <a:close/>
                        <a:moveTo>
                          <a:pt x="187452" y="44377"/>
                        </a:moveTo>
                        <a:cubicBezTo>
                          <a:pt x="186433" y="47330"/>
                          <a:pt x="189005" y="50911"/>
                          <a:pt x="192138" y="50378"/>
                        </a:cubicBezTo>
                        <a:cubicBezTo>
                          <a:pt x="197767" y="49425"/>
                          <a:pt x="197444" y="41148"/>
                          <a:pt x="191071" y="41338"/>
                        </a:cubicBezTo>
                        <a:cubicBezTo>
                          <a:pt x="189376" y="42091"/>
                          <a:pt x="188062" y="42605"/>
                          <a:pt x="187452" y="44377"/>
                        </a:cubicBezTo>
                        <a:close/>
                        <a:moveTo>
                          <a:pt x="129921" y="44710"/>
                        </a:moveTo>
                        <a:cubicBezTo>
                          <a:pt x="129016" y="47787"/>
                          <a:pt x="131855" y="50854"/>
                          <a:pt x="135017" y="50130"/>
                        </a:cubicBezTo>
                        <a:cubicBezTo>
                          <a:pt x="139989" y="48997"/>
                          <a:pt x="139598" y="41319"/>
                          <a:pt x="133455" y="41500"/>
                        </a:cubicBezTo>
                        <a:cubicBezTo>
                          <a:pt x="131817" y="42243"/>
                          <a:pt x="130454" y="42901"/>
                          <a:pt x="129921" y="44710"/>
                        </a:cubicBezTo>
                        <a:close/>
                        <a:moveTo>
                          <a:pt x="246450" y="44625"/>
                        </a:moveTo>
                        <a:cubicBezTo>
                          <a:pt x="245535" y="46787"/>
                          <a:pt x="247593" y="49339"/>
                          <a:pt x="249898" y="48816"/>
                        </a:cubicBezTo>
                        <a:cubicBezTo>
                          <a:pt x="253517" y="47987"/>
                          <a:pt x="253098" y="42558"/>
                          <a:pt x="248584" y="42729"/>
                        </a:cubicBezTo>
                        <a:cubicBezTo>
                          <a:pt x="247745" y="43234"/>
                          <a:pt x="246840" y="43691"/>
                          <a:pt x="246450" y="44625"/>
                        </a:cubicBezTo>
                        <a:close/>
                        <a:moveTo>
                          <a:pt x="74124" y="44625"/>
                        </a:moveTo>
                        <a:cubicBezTo>
                          <a:pt x="73133" y="46349"/>
                          <a:pt x="74943" y="48758"/>
                          <a:pt x="76838" y="48406"/>
                        </a:cubicBezTo>
                        <a:cubicBezTo>
                          <a:pt x="79915" y="47834"/>
                          <a:pt x="79715" y="43091"/>
                          <a:pt x="76257" y="43062"/>
                        </a:cubicBezTo>
                        <a:cubicBezTo>
                          <a:pt x="75343" y="43501"/>
                          <a:pt x="74609" y="43777"/>
                          <a:pt x="74124" y="44625"/>
                        </a:cubicBezTo>
                        <a:close/>
                        <a:moveTo>
                          <a:pt x="164763" y="49149"/>
                        </a:moveTo>
                        <a:cubicBezTo>
                          <a:pt x="163944" y="52349"/>
                          <a:pt x="167107" y="55845"/>
                          <a:pt x="170431" y="55150"/>
                        </a:cubicBezTo>
                        <a:cubicBezTo>
                          <a:pt x="176003" y="53988"/>
                          <a:pt x="175746" y="45272"/>
                          <a:pt x="168954" y="45453"/>
                        </a:cubicBezTo>
                        <a:cubicBezTo>
                          <a:pt x="166926" y="46292"/>
                          <a:pt x="165344" y="46911"/>
                          <a:pt x="164763" y="49149"/>
                        </a:cubicBezTo>
                        <a:close/>
                        <a:moveTo>
                          <a:pt x="107985" y="49149"/>
                        </a:moveTo>
                        <a:cubicBezTo>
                          <a:pt x="107185" y="51978"/>
                          <a:pt x="109747" y="54902"/>
                          <a:pt x="112509" y="54407"/>
                        </a:cubicBezTo>
                        <a:cubicBezTo>
                          <a:pt x="117539" y="53502"/>
                          <a:pt x="117272" y="45920"/>
                          <a:pt x="111442" y="46110"/>
                        </a:cubicBezTo>
                        <a:cubicBezTo>
                          <a:pt x="109833" y="46787"/>
                          <a:pt x="108480" y="47396"/>
                          <a:pt x="107985" y="49149"/>
                        </a:cubicBezTo>
                        <a:close/>
                        <a:moveTo>
                          <a:pt x="223361" y="48730"/>
                        </a:moveTo>
                        <a:cubicBezTo>
                          <a:pt x="222161" y="51454"/>
                          <a:pt x="224685" y="54711"/>
                          <a:pt x="227390" y="54321"/>
                        </a:cubicBezTo>
                        <a:cubicBezTo>
                          <a:pt x="232515" y="53569"/>
                          <a:pt x="232391" y="46263"/>
                          <a:pt x="226895" y="46187"/>
                        </a:cubicBezTo>
                        <a:cubicBezTo>
                          <a:pt x="225247" y="46834"/>
                          <a:pt x="224028" y="47187"/>
                          <a:pt x="223361" y="48730"/>
                        </a:cubicBezTo>
                        <a:close/>
                        <a:moveTo>
                          <a:pt x="52597" y="49968"/>
                        </a:moveTo>
                        <a:cubicBezTo>
                          <a:pt x="52664" y="51044"/>
                          <a:pt x="53340" y="51540"/>
                          <a:pt x="54159" y="51864"/>
                        </a:cubicBezTo>
                        <a:cubicBezTo>
                          <a:pt x="55169" y="51797"/>
                          <a:pt x="55635" y="51206"/>
                          <a:pt x="55969" y="50463"/>
                        </a:cubicBezTo>
                        <a:cubicBezTo>
                          <a:pt x="56007" y="49178"/>
                          <a:pt x="55226" y="48492"/>
                          <a:pt x="54073" y="48406"/>
                        </a:cubicBezTo>
                        <a:cubicBezTo>
                          <a:pt x="53359" y="48863"/>
                          <a:pt x="52940" y="49130"/>
                          <a:pt x="52597" y="49968"/>
                        </a:cubicBezTo>
                        <a:close/>
                        <a:moveTo>
                          <a:pt x="283340" y="49968"/>
                        </a:moveTo>
                        <a:cubicBezTo>
                          <a:pt x="283388" y="50740"/>
                          <a:pt x="283826" y="51216"/>
                          <a:pt x="284407" y="51445"/>
                        </a:cubicBezTo>
                        <a:cubicBezTo>
                          <a:pt x="285378" y="51873"/>
                          <a:pt x="285979" y="50835"/>
                          <a:pt x="286293" y="50292"/>
                        </a:cubicBezTo>
                        <a:cubicBezTo>
                          <a:pt x="286245" y="49320"/>
                          <a:pt x="285579" y="48673"/>
                          <a:pt x="284569" y="48644"/>
                        </a:cubicBezTo>
                        <a:cubicBezTo>
                          <a:pt x="284017" y="49082"/>
                          <a:pt x="283674" y="49282"/>
                          <a:pt x="283340" y="49968"/>
                        </a:cubicBezTo>
                        <a:close/>
                        <a:moveTo>
                          <a:pt x="142742" y="52845"/>
                        </a:moveTo>
                        <a:cubicBezTo>
                          <a:pt x="141303" y="56245"/>
                          <a:pt x="144351" y="60398"/>
                          <a:pt x="148000" y="59750"/>
                        </a:cubicBezTo>
                        <a:cubicBezTo>
                          <a:pt x="154019" y="58674"/>
                          <a:pt x="153762" y="49778"/>
                          <a:pt x="147257" y="49644"/>
                        </a:cubicBezTo>
                        <a:cubicBezTo>
                          <a:pt x="145123" y="50482"/>
                          <a:pt x="143609" y="50797"/>
                          <a:pt x="142742" y="52845"/>
                        </a:cubicBezTo>
                        <a:close/>
                        <a:moveTo>
                          <a:pt x="200349" y="53416"/>
                        </a:moveTo>
                        <a:cubicBezTo>
                          <a:pt x="199311" y="56540"/>
                          <a:pt x="202301" y="60036"/>
                          <a:pt x="205445" y="59493"/>
                        </a:cubicBezTo>
                        <a:cubicBezTo>
                          <a:pt x="211388" y="58474"/>
                          <a:pt x="211103" y="50006"/>
                          <a:pt x="204702" y="49882"/>
                        </a:cubicBezTo>
                        <a:cubicBezTo>
                          <a:pt x="202483" y="50759"/>
                          <a:pt x="201111" y="51149"/>
                          <a:pt x="200349" y="53416"/>
                        </a:cubicBezTo>
                        <a:close/>
                        <a:moveTo>
                          <a:pt x="86287" y="53664"/>
                        </a:moveTo>
                        <a:cubicBezTo>
                          <a:pt x="85525" y="56169"/>
                          <a:pt x="87858" y="58883"/>
                          <a:pt x="90392" y="58341"/>
                        </a:cubicBezTo>
                        <a:cubicBezTo>
                          <a:pt x="94555" y="57464"/>
                          <a:pt x="94412" y="50778"/>
                          <a:pt x="89326" y="50949"/>
                        </a:cubicBezTo>
                        <a:cubicBezTo>
                          <a:pt x="87935" y="51635"/>
                          <a:pt x="86763" y="52092"/>
                          <a:pt x="86287" y="53664"/>
                        </a:cubicBezTo>
                        <a:close/>
                        <a:moveTo>
                          <a:pt x="259680" y="53911"/>
                        </a:moveTo>
                        <a:cubicBezTo>
                          <a:pt x="259099" y="56178"/>
                          <a:pt x="261433" y="58264"/>
                          <a:pt x="263547" y="57531"/>
                        </a:cubicBezTo>
                        <a:cubicBezTo>
                          <a:pt x="266748" y="56416"/>
                          <a:pt x="266176" y="51521"/>
                          <a:pt x="261909" y="51692"/>
                        </a:cubicBezTo>
                        <a:cubicBezTo>
                          <a:pt x="261004" y="52226"/>
                          <a:pt x="259966" y="52807"/>
                          <a:pt x="259680" y="53911"/>
                        </a:cubicBezTo>
                        <a:close/>
                        <a:moveTo>
                          <a:pt x="177832" y="57445"/>
                        </a:moveTo>
                        <a:cubicBezTo>
                          <a:pt x="176527" y="61227"/>
                          <a:pt x="179670" y="65218"/>
                          <a:pt x="183747" y="64427"/>
                        </a:cubicBezTo>
                        <a:cubicBezTo>
                          <a:pt x="189862" y="63246"/>
                          <a:pt x="189471" y="53969"/>
                          <a:pt x="182518" y="53826"/>
                        </a:cubicBezTo>
                        <a:cubicBezTo>
                          <a:pt x="180261" y="54721"/>
                          <a:pt x="178622" y="55159"/>
                          <a:pt x="177832" y="57445"/>
                        </a:cubicBezTo>
                        <a:close/>
                        <a:moveTo>
                          <a:pt x="120548" y="57693"/>
                        </a:moveTo>
                        <a:cubicBezTo>
                          <a:pt x="119539" y="60931"/>
                          <a:pt x="122596" y="64713"/>
                          <a:pt x="125892" y="64103"/>
                        </a:cubicBezTo>
                        <a:cubicBezTo>
                          <a:pt x="131873" y="62998"/>
                          <a:pt x="131626" y="54054"/>
                          <a:pt x="124501" y="54245"/>
                        </a:cubicBezTo>
                        <a:cubicBezTo>
                          <a:pt x="122672" y="55074"/>
                          <a:pt x="121177" y="55693"/>
                          <a:pt x="120548" y="57693"/>
                        </a:cubicBezTo>
                        <a:close/>
                        <a:moveTo>
                          <a:pt x="236420" y="58102"/>
                        </a:moveTo>
                        <a:cubicBezTo>
                          <a:pt x="235553" y="61160"/>
                          <a:pt x="238525" y="63903"/>
                          <a:pt x="241516" y="63113"/>
                        </a:cubicBezTo>
                        <a:cubicBezTo>
                          <a:pt x="245974" y="61932"/>
                          <a:pt x="245335" y="54807"/>
                          <a:pt x="239878" y="54978"/>
                        </a:cubicBezTo>
                        <a:cubicBezTo>
                          <a:pt x="238239" y="55674"/>
                          <a:pt x="236925" y="56321"/>
                          <a:pt x="236420" y="58102"/>
                        </a:cubicBezTo>
                        <a:close/>
                        <a:moveTo>
                          <a:pt x="65008" y="57693"/>
                        </a:moveTo>
                        <a:cubicBezTo>
                          <a:pt x="63856" y="59626"/>
                          <a:pt x="65751" y="62446"/>
                          <a:pt x="67970" y="62046"/>
                        </a:cubicBezTo>
                        <a:cubicBezTo>
                          <a:pt x="71437" y="61417"/>
                          <a:pt x="71361" y="56026"/>
                          <a:pt x="67313" y="56045"/>
                        </a:cubicBezTo>
                        <a:cubicBezTo>
                          <a:pt x="66284" y="56493"/>
                          <a:pt x="65541" y="56788"/>
                          <a:pt x="65008" y="57693"/>
                        </a:cubicBezTo>
                        <a:close/>
                        <a:moveTo>
                          <a:pt x="155972" y="60646"/>
                        </a:moveTo>
                        <a:cubicBezTo>
                          <a:pt x="153829" y="64103"/>
                          <a:pt x="156248" y="68475"/>
                          <a:pt x="159506" y="69113"/>
                        </a:cubicBezTo>
                        <a:cubicBezTo>
                          <a:pt x="167592" y="70685"/>
                          <a:pt x="168783" y="57950"/>
                          <a:pt x="160325" y="58017"/>
                        </a:cubicBezTo>
                        <a:cubicBezTo>
                          <a:pt x="158353" y="58807"/>
                          <a:pt x="157000" y="58988"/>
                          <a:pt x="155972" y="60646"/>
                        </a:cubicBezTo>
                        <a:close/>
                        <a:moveTo>
                          <a:pt x="297313" y="58674"/>
                        </a:moveTo>
                        <a:cubicBezTo>
                          <a:pt x="297313" y="58864"/>
                          <a:pt x="297313" y="59055"/>
                          <a:pt x="297313" y="59255"/>
                        </a:cubicBezTo>
                        <a:cubicBezTo>
                          <a:pt x="297447" y="59417"/>
                          <a:pt x="297590" y="59588"/>
                          <a:pt x="297723" y="59750"/>
                        </a:cubicBezTo>
                        <a:cubicBezTo>
                          <a:pt x="297942" y="59779"/>
                          <a:pt x="298161" y="59807"/>
                          <a:pt x="298380" y="59826"/>
                        </a:cubicBezTo>
                        <a:cubicBezTo>
                          <a:pt x="298542" y="59693"/>
                          <a:pt x="298704" y="59550"/>
                          <a:pt x="298876" y="59417"/>
                        </a:cubicBezTo>
                        <a:cubicBezTo>
                          <a:pt x="298894" y="59198"/>
                          <a:pt x="298923" y="58979"/>
                          <a:pt x="298952" y="58760"/>
                        </a:cubicBezTo>
                        <a:cubicBezTo>
                          <a:pt x="298761" y="58598"/>
                          <a:pt x="298571" y="58426"/>
                          <a:pt x="298380" y="58264"/>
                        </a:cubicBezTo>
                        <a:cubicBezTo>
                          <a:pt x="298180" y="58236"/>
                          <a:pt x="297999" y="58207"/>
                          <a:pt x="297809" y="58179"/>
                        </a:cubicBezTo>
                        <a:cubicBezTo>
                          <a:pt x="297637" y="58350"/>
                          <a:pt x="297475" y="58512"/>
                          <a:pt x="297313" y="58674"/>
                        </a:cubicBezTo>
                        <a:close/>
                        <a:moveTo>
                          <a:pt x="213417" y="62455"/>
                        </a:moveTo>
                        <a:cubicBezTo>
                          <a:pt x="212522" y="65932"/>
                          <a:pt x="215589" y="69209"/>
                          <a:pt x="219084" y="68532"/>
                        </a:cubicBezTo>
                        <a:cubicBezTo>
                          <a:pt x="224904" y="67408"/>
                          <a:pt x="224476" y="58398"/>
                          <a:pt x="217522" y="58588"/>
                        </a:cubicBezTo>
                        <a:cubicBezTo>
                          <a:pt x="215560" y="59569"/>
                          <a:pt x="214008" y="60150"/>
                          <a:pt x="213417" y="62455"/>
                        </a:cubicBezTo>
                        <a:close/>
                        <a:moveTo>
                          <a:pt x="98612" y="62617"/>
                        </a:moveTo>
                        <a:cubicBezTo>
                          <a:pt x="97917" y="65541"/>
                          <a:pt x="100946" y="68589"/>
                          <a:pt x="103622" y="68123"/>
                        </a:cubicBezTo>
                        <a:cubicBezTo>
                          <a:pt x="109347" y="67123"/>
                          <a:pt x="109004" y="58826"/>
                          <a:pt x="102556" y="58998"/>
                        </a:cubicBezTo>
                        <a:cubicBezTo>
                          <a:pt x="100603" y="59826"/>
                          <a:pt x="99136" y="60417"/>
                          <a:pt x="98612" y="62617"/>
                        </a:cubicBezTo>
                        <a:close/>
                        <a:moveTo>
                          <a:pt x="273234" y="62617"/>
                        </a:moveTo>
                        <a:cubicBezTo>
                          <a:pt x="272415" y="64703"/>
                          <a:pt x="274730" y="66770"/>
                          <a:pt x="276606" y="66237"/>
                        </a:cubicBezTo>
                        <a:cubicBezTo>
                          <a:pt x="279721" y="65342"/>
                          <a:pt x="279254" y="60550"/>
                          <a:pt x="275291" y="60731"/>
                        </a:cubicBezTo>
                        <a:cubicBezTo>
                          <a:pt x="274453" y="61227"/>
                          <a:pt x="273606" y="61674"/>
                          <a:pt x="273234" y="62617"/>
                        </a:cubicBezTo>
                        <a:close/>
                        <a:moveTo>
                          <a:pt x="43472" y="63274"/>
                        </a:moveTo>
                        <a:cubicBezTo>
                          <a:pt x="43529" y="64637"/>
                          <a:pt x="44510" y="65475"/>
                          <a:pt x="46025" y="65408"/>
                        </a:cubicBezTo>
                        <a:cubicBezTo>
                          <a:pt x="46577" y="64856"/>
                          <a:pt x="47044" y="64618"/>
                          <a:pt x="47425" y="63846"/>
                        </a:cubicBezTo>
                        <a:cubicBezTo>
                          <a:pt x="47473" y="62341"/>
                          <a:pt x="46596" y="61436"/>
                          <a:pt x="45120" y="61465"/>
                        </a:cubicBezTo>
                        <a:cubicBezTo>
                          <a:pt x="44282" y="61989"/>
                          <a:pt x="43834" y="62265"/>
                          <a:pt x="43472" y="63274"/>
                        </a:cubicBezTo>
                        <a:close/>
                        <a:moveTo>
                          <a:pt x="133293" y="66151"/>
                        </a:moveTo>
                        <a:cubicBezTo>
                          <a:pt x="131893" y="69656"/>
                          <a:pt x="134664" y="73019"/>
                          <a:pt x="137398" y="73542"/>
                        </a:cubicBezTo>
                        <a:cubicBezTo>
                          <a:pt x="145609" y="75114"/>
                          <a:pt x="146714" y="62284"/>
                          <a:pt x="138141" y="62446"/>
                        </a:cubicBezTo>
                        <a:cubicBezTo>
                          <a:pt x="135731" y="63370"/>
                          <a:pt x="134217" y="63837"/>
                          <a:pt x="133293" y="66151"/>
                        </a:cubicBezTo>
                        <a:close/>
                        <a:moveTo>
                          <a:pt x="190814" y="66151"/>
                        </a:moveTo>
                        <a:cubicBezTo>
                          <a:pt x="189376" y="69685"/>
                          <a:pt x="192253" y="73133"/>
                          <a:pt x="194843" y="73628"/>
                        </a:cubicBezTo>
                        <a:cubicBezTo>
                          <a:pt x="202901" y="75162"/>
                          <a:pt x="204559" y="62236"/>
                          <a:pt x="195424" y="62455"/>
                        </a:cubicBezTo>
                        <a:cubicBezTo>
                          <a:pt x="193196" y="63360"/>
                          <a:pt x="191710" y="63970"/>
                          <a:pt x="190814" y="66151"/>
                        </a:cubicBezTo>
                        <a:close/>
                        <a:moveTo>
                          <a:pt x="77248" y="66484"/>
                        </a:moveTo>
                        <a:cubicBezTo>
                          <a:pt x="76152" y="69180"/>
                          <a:pt x="78572" y="72495"/>
                          <a:pt x="81439" y="71990"/>
                        </a:cubicBezTo>
                        <a:cubicBezTo>
                          <a:pt x="86116" y="71171"/>
                          <a:pt x="85963" y="64017"/>
                          <a:pt x="80696" y="63941"/>
                        </a:cubicBezTo>
                        <a:cubicBezTo>
                          <a:pt x="79134" y="64570"/>
                          <a:pt x="77867" y="64951"/>
                          <a:pt x="77248" y="66484"/>
                        </a:cubicBezTo>
                        <a:close/>
                        <a:moveTo>
                          <a:pt x="249812" y="66894"/>
                        </a:moveTo>
                        <a:cubicBezTo>
                          <a:pt x="248936" y="69713"/>
                          <a:pt x="251546" y="72504"/>
                          <a:pt x="254251" y="71990"/>
                        </a:cubicBezTo>
                        <a:cubicBezTo>
                          <a:pt x="258852" y="71114"/>
                          <a:pt x="258861" y="63779"/>
                          <a:pt x="253346" y="63941"/>
                        </a:cubicBezTo>
                        <a:cubicBezTo>
                          <a:pt x="251603" y="64618"/>
                          <a:pt x="250384" y="65084"/>
                          <a:pt x="249812" y="66894"/>
                        </a:cubicBezTo>
                        <a:close/>
                        <a:moveTo>
                          <a:pt x="170269" y="67637"/>
                        </a:moveTo>
                        <a:cubicBezTo>
                          <a:pt x="167126" y="69952"/>
                          <a:pt x="168307" y="75086"/>
                          <a:pt x="169774" y="78648"/>
                        </a:cubicBezTo>
                        <a:cubicBezTo>
                          <a:pt x="170869" y="78857"/>
                          <a:pt x="176584" y="77676"/>
                          <a:pt x="177832" y="77248"/>
                        </a:cubicBezTo>
                        <a:cubicBezTo>
                          <a:pt x="178489" y="77019"/>
                          <a:pt x="179432" y="76219"/>
                          <a:pt x="179718" y="75609"/>
                        </a:cubicBezTo>
                        <a:cubicBezTo>
                          <a:pt x="180080" y="74819"/>
                          <a:pt x="179975" y="73438"/>
                          <a:pt x="179794" y="72571"/>
                        </a:cubicBezTo>
                        <a:cubicBezTo>
                          <a:pt x="179080" y="69009"/>
                          <a:pt x="178041" y="66427"/>
                          <a:pt x="173793" y="66494"/>
                        </a:cubicBezTo>
                        <a:cubicBezTo>
                          <a:pt x="172564" y="67018"/>
                          <a:pt x="171250" y="66913"/>
                          <a:pt x="170269" y="67637"/>
                        </a:cubicBezTo>
                        <a:close/>
                        <a:moveTo>
                          <a:pt x="111185" y="71247"/>
                        </a:moveTo>
                        <a:cubicBezTo>
                          <a:pt x="110204" y="74943"/>
                          <a:pt x="113690" y="78610"/>
                          <a:pt x="117519" y="77743"/>
                        </a:cubicBezTo>
                        <a:cubicBezTo>
                          <a:pt x="123749" y="76333"/>
                          <a:pt x="123215" y="66951"/>
                          <a:pt x="115462" y="67142"/>
                        </a:cubicBezTo>
                        <a:cubicBezTo>
                          <a:pt x="113405" y="68170"/>
                          <a:pt x="111824" y="68837"/>
                          <a:pt x="111185" y="71247"/>
                        </a:cubicBezTo>
                        <a:close/>
                        <a:moveTo>
                          <a:pt x="226647" y="71085"/>
                        </a:moveTo>
                        <a:cubicBezTo>
                          <a:pt x="225657" y="74285"/>
                          <a:pt x="228895" y="77972"/>
                          <a:pt x="231829" y="77495"/>
                        </a:cubicBezTo>
                        <a:cubicBezTo>
                          <a:pt x="238258" y="76448"/>
                          <a:pt x="237973" y="67227"/>
                          <a:pt x="231086" y="67389"/>
                        </a:cubicBezTo>
                        <a:cubicBezTo>
                          <a:pt x="228933" y="68285"/>
                          <a:pt x="227352" y="68818"/>
                          <a:pt x="226647" y="71085"/>
                        </a:cubicBezTo>
                        <a:close/>
                        <a:moveTo>
                          <a:pt x="55721" y="71495"/>
                        </a:moveTo>
                        <a:cubicBezTo>
                          <a:pt x="55064" y="73571"/>
                          <a:pt x="57112" y="75905"/>
                          <a:pt x="59169" y="75524"/>
                        </a:cubicBezTo>
                        <a:cubicBezTo>
                          <a:pt x="62960" y="74819"/>
                          <a:pt x="62760" y="69018"/>
                          <a:pt x="58179" y="69199"/>
                        </a:cubicBezTo>
                        <a:cubicBezTo>
                          <a:pt x="57102" y="69799"/>
                          <a:pt x="56121" y="70228"/>
                          <a:pt x="55721" y="71495"/>
                        </a:cubicBezTo>
                        <a:close/>
                        <a:moveTo>
                          <a:pt x="286874" y="71495"/>
                        </a:moveTo>
                        <a:cubicBezTo>
                          <a:pt x="286131" y="73238"/>
                          <a:pt x="287988" y="75219"/>
                          <a:pt x="289750" y="74781"/>
                        </a:cubicBezTo>
                        <a:cubicBezTo>
                          <a:pt x="292513" y="74104"/>
                          <a:pt x="292227" y="69771"/>
                          <a:pt x="288684" y="69933"/>
                        </a:cubicBezTo>
                        <a:cubicBezTo>
                          <a:pt x="288007" y="70332"/>
                          <a:pt x="287198" y="70752"/>
                          <a:pt x="286874" y="71495"/>
                        </a:cubicBezTo>
                        <a:close/>
                        <a:moveTo>
                          <a:pt x="146028" y="74457"/>
                        </a:moveTo>
                        <a:cubicBezTo>
                          <a:pt x="145037" y="77695"/>
                          <a:pt x="148952" y="82191"/>
                          <a:pt x="145456" y="83658"/>
                        </a:cubicBezTo>
                        <a:cubicBezTo>
                          <a:pt x="144085" y="84229"/>
                          <a:pt x="137179" y="85658"/>
                          <a:pt x="136417" y="84649"/>
                        </a:cubicBezTo>
                        <a:cubicBezTo>
                          <a:pt x="134388" y="81944"/>
                          <a:pt x="136141" y="78095"/>
                          <a:pt x="132883" y="76105"/>
                        </a:cubicBezTo>
                        <a:cubicBezTo>
                          <a:pt x="131807" y="75447"/>
                          <a:pt x="130131" y="75162"/>
                          <a:pt x="128445" y="75524"/>
                        </a:cubicBezTo>
                        <a:cubicBezTo>
                          <a:pt x="127759" y="75771"/>
                          <a:pt x="127073" y="76019"/>
                          <a:pt x="126397" y="76267"/>
                        </a:cubicBezTo>
                        <a:cubicBezTo>
                          <a:pt x="125473" y="76829"/>
                          <a:pt x="124387" y="78057"/>
                          <a:pt x="124006" y="79143"/>
                        </a:cubicBezTo>
                        <a:cubicBezTo>
                          <a:pt x="123149" y="81620"/>
                          <a:pt x="124920" y="86658"/>
                          <a:pt x="126635" y="87192"/>
                        </a:cubicBezTo>
                        <a:cubicBezTo>
                          <a:pt x="129197" y="87992"/>
                          <a:pt x="132607" y="85315"/>
                          <a:pt x="135426" y="86039"/>
                        </a:cubicBezTo>
                        <a:cubicBezTo>
                          <a:pt x="136827" y="86715"/>
                          <a:pt x="136836" y="88763"/>
                          <a:pt x="137236" y="90478"/>
                        </a:cubicBezTo>
                        <a:cubicBezTo>
                          <a:pt x="137465" y="91459"/>
                          <a:pt x="137941" y="92659"/>
                          <a:pt x="137646" y="93850"/>
                        </a:cubicBezTo>
                        <a:cubicBezTo>
                          <a:pt x="137074" y="96202"/>
                          <a:pt x="133912" y="98584"/>
                          <a:pt x="130578" y="98041"/>
                        </a:cubicBezTo>
                        <a:cubicBezTo>
                          <a:pt x="124635" y="97069"/>
                          <a:pt x="127692" y="92307"/>
                          <a:pt x="125158" y="89087"/>
                        </a:cubicBezTo>
                        <a:cubicBezTo>
                          <a:pt x="123901" y="87487"/>
                          <a:pt x="120586" y="88678"/>
                          <a:pt x="118824" y="89087"/>
                        </a:cubicBezTo>
                        <a:cubicBezTo>
                          <a:pt x="117605" y="89373"/>
                          <a:pt x="116776" y="89449"/>
                          <a:pt x="115948" y="90078"/>
                        </a:cubicBezTo>
                        <a:cubicBezTo>
                          <a:pt x="112757" y="92478"/>
                          <a:pt x="116872" y="96707"/>
                          <a:pt x="115624" y="99774"/>
                        </a:cubicBezTo>
                        <a:cubicBezTo>
                          <a:pt x="114291" y="103022"/>
                          <a:pt x="108833" y="101346"/>
                          <a:pt x="106499" y="103308"/>
                        </a:cubicBezTo>
                        <a:cubicBezTo>
                          <a:pt x="104184" y="105251"/>
                          <a:pt x="107299" y="108909"/>
                          <a:pt x="106747" y="111852"/>
                        </a:cubicBezTo>
                        <a:cubicBezTo>
                          <a:pt x="106147" y="115062"/>
                          <a:pt x="103270" y="115043"/>
                          <a:pt x="100174" y="115795"/>
                        </a:cubicBezTo>
                        <a:cubicBezTo>
                          <a:pt x="99336" y="115995"/>
                          <a:pt x="98069" y="116405"/>
                          <a:pt x="97050" y="116129"/>
                        </a:cubicBezTo>
                        <a:cubicBezTo>
                          <a:pt x="93897" y="114481"/>
                          <a:pt x="97298" y="105004"/>
                          <a:pt x="89487" y="106432"/>
                        </a:cubicBezTo>
                        <a:cubicBezTo>
                          <a:pt x="88887" y="106594"/>
                          <a:pt x="88287" y="106756"/>
                          <a:pt x="87687" y="106918"/>
                        </a:cubicBezTo>
                        <a:cubicBezTo>
                          <a:pt x="86792" y="107251"/>
                          <a:pt x="85925" y="107709"/>
                          <a:pt x="85392" y="108404"/>
                        </a:cubicBezTo>
                        <a:cubicBezTo>
                          <a:pt x="83067" y="111376"/>
                          <a:pt x="84039" y="117300"/>
                          <a:pt x="87858" y="118100"/>
                        </a:cubicBezTo>
                        <a:cubicBezTo>
                          <a:pt x="89544" y="118453"/>
                          <a:pt x="93517" y="117119"/>
                          <a:pt x="95336" y="116862"/>
                        </a:cubicBezTo>
                        <a:cubicBezTo>
                          <a:pt x="96583" y="117719"/>
                          <a:pt x="96641" y="118577"/>
                          <a:pt x="97060" y="120320"/>
                        </a:cubicBezTo>
                        <a:cubicBezTo>
                          <a:pt x="97879" y="123739"/>
                          <a:pt x="98393" y="127359"/>
                          <a:pt x="94917" y="128454"/>
                        </a:cubicBezTo>
                        <a:cubicBezTo>
                          <a:pt x="92783" y="129121"/>
                          <a:pt x="88601" y="128826"/>
                          <a:pt x="87849" y="130835"/>
                        </a:cubicBezTo>
                        <a:cubicBezTo>
                          <a:pt x="87630" y="131426"/>
                          <a:pt x="87982" y="132226"/>
                          <a:pt x="88097" y="132731"/>
                        </a:cubicBezTo>
                        <a:cubicBezTo>
                          <a:pt x="88716" y="135388"/>
                          <a:pt x="89916" y="139417"/>
                          <a:pt x="87773" y="141027"/>
                        </a:cubicBezTo>
                        <a:cubicBezTo>
                          <a:pt x="85525" y="142723"/>
                          <a:pt x="80677" y="141675"/>
                          <a:pt x="79391" y="144313"/>
                        </a:cubicBezTo>
                        <a:cubicBezTo>
                          <a:pt x="78048" y="147066"/>
                          <a:pt x="81343" y="151562"/>
                          <a:pt x="80620" y="154257"/>
                        </a:cubicBezTo>
                        <a:cubicBezTo>
                          <a:pt x="75066" y="155353"/>
                          <a:pt x="69028" y="155496"/>
                          <a:pt x="71009" y="163049"/>
                        </a:cubicBezTo>
                        <a:cubicBezTo>
                          <a:pt x="71237" y="163916"/>
                          <a:pt x="71590" y="164725"/>
                          <a:pt x="72076" y="165354"/>
                        </a:cubicBezTo>
                        <a:cubicBezTo>
                          <a:pt x="74981" y="169116"/>
                          <a:pt x="78638" y="164821"/>
                          <a:pt x="81858" y="166011"/>
                        </a:cubicBezTo>
                        <a:cubicBezTo>
                          <a:pt x="83906" y="166773"/>
                          <a:pt x="84230" y="170907"/>
                          <a:pt x="84649" y="173241"/>
                        </a:cubicBezTo>
                        <a:cubicBezTo>
                          <a:pt x="85525" y="178051"/>
                          <a:pt x="79867" y="176851"/>
                          <a:pt x="77095" y="178165"/>
                        </a:cubicBezTo>
                        <a:cubicBezTo>
                          <a:pt x="74428" y="179432"/>
                          <a:pt x="74571" y="183604"/>
                          <a:pt x="75781" y="186547"/>
                        </a:cubicBezTo>
                        <a:cubicBezTo>
                          <a:pt x="78286" y="192653"/>
                          <a:pt x="86220" y="184709"/>
                          <a:pt x="88106" y="190576"/>
                        </a:cubicBezTo>
                        <a:cubicBezTo>
                          <a:pt x="88849" y="192881"/>
                          <a:pt x="89925" y="197282"/>
                          <a:pt x="88020" y="198711"/>
                        </a:cubicBezTo>
                        <a:cubicBezTo>
                          <a:pt x="87192" y="199330"/>
                          <a:pt x="86106" y="199330"/>
                          <a:pt x="84896" y="199615"/>
                        </a:cubicBezTo>
                        <a:cubicBezTo>
                          <a:pt x="80724" y="200616"/>
                          <a:pt x="78467" y="201397"/>
                          <a:pt x="79715" y="206769"/>
                        </a:cubicBezTo>
                        <a:cubicBezTo>
                          <a:pt x="79991" y="207512"/>
                          <a:pt x="80267" y="208245"/>
                          <a:pt x="80534" y="208988"/>
                        </a:cubicBezTo>
                        <a:cubicBezTo>
                          <a:pt x="82029" y="211398"/>
                          <a:pt x="84706" y="211350"/>
                          <a:pt x="87925" y="210636"/>
                        </a:cubicBezTo>
                        <a:cubicBezTo>
                          <a:pt x="88725" y="210455"/>
                          <a:pt x="90440" y="209740"/>
                          <a:pt x="91211" y="210226"/>
                        </a:cubicBezTo>
                        <a:cubicBezTo>
                          <a:pt x="93983" y="211960"/>
                          <a:pt x="92078" y="218646"/>
                          <a:pt x="95164" y="220170"/>
                        </a:cubicBezTo>
                        <a:cubicBezTo>
                          <a:pt x="98384" y="221761"/>
                          <a:pt x="102708" y="216827"/>
                          <a:pt x="105518" y="221075"/>
                        </a:cubicBezTo>
                        <a:cubicBezTo>
                          <a:pt x="106070" y="221904"/>
                          <a:pt x="107271" y="227228"/>
                          <a:pt x="107080" y="228552"/>
                        </a:cubicBezTo>
                        <a:cubicBezTo>
                          <a:pt x="106994" y="229152"/>
                          <a:pt x="106299" y="229781"/>
                          <a:pt x="105851" y="230029"/>
                        </a:cubicBezTo>
                        <a:cubicBezTo>
                          <a:pt x="103918" y="231124"/>
                          <a:pt x="100746" y="230495"/>
                          <a:pt x="99031" y="231753"/>
                        </a:cubicBezTo>
                        <a:cubicBezTo>
                          <a:pt x="96374" y="233715"/>
                          <a:pt x="97069" y="238963"/>
                          <a:pt x="99355" y="240792"/>
                        </a:cubicBezTo>
                        <a:cubicBezTo>
                          <a:pt x="102032" y="242926"/>
                          <a:pt x="108128" y="242183"/>
                          <a:pt x="108966" y="238735"/>
                        </a:cubicBezTo>
                        <a:cubicBezTo>
                          <a:pt x="109633" y="236020"/>
                          <a:pt x="107118" y="233229"/>
                          <a:pt x="107899" y="230686"/>
                        </a:cubicBezTo>
                        <a:cubicBezTo>
                          <a:pt x="108290" y="229400"/>
                          <a:pt x="114509" y="227781"/>
                          <a:pt x="116443" y="228467"/>
                        </a:cubicBezTo>
                        <a:cubicBezTo>
                          <a:pt x="117348" y="228781"/>
                          <a:pt x="118424" y="229676"/>
                          <a:pt x="118910" y="230438"/>
                        </a:cubicBezTo>
                        <a:cubicBezTo>
                          <a:pt x="119596" y="231496"/>
                          <a:pt x="120720" y="236849"/>
                          <a:pt x="119815" y="238077"/>
                        </a:cubicBezTo>
                        <a:cubicBezTo>
                          <a:pt x="117491" y="241240"/>
                          <a:pt x="109290" y="238134"/>
                          <a:pt x="110452" y="244897"/>
                        </a:cubicBezTo>
                        <a:cubicBezTo>
                          <a:pt x="110614" y="245612"/>
                          <a:pt x="110776" y="246326"/>
                          <a:pt x="110938" y="247040"/>
                        </a:cubicBezTo>
                        <a:cubicBezTo>
                          <a:pt x="111242" y="248012"/>
                          <a:pt x="111595" y="248822"/>
                          <a:pt x="112252" y="249422"/>
                        </a:cubicBezTo>
                        <a:cubicBezTo>
                          <a:pt x="114852" y="251793"/>
                          <a:pt x="121367" y="251365"/>
                          <a:pt x="122272" y="247612"/>
                        </a:cubicBezTo>
                        <a:cubicBezTo>
                          <a:pt x="123063" y="244373"/>
                          <a:pt x="119520" y="240525"/>
                          <a:pt x="122358" y="238573"/>
                        </a:cubicBezTo>
                        <a:cubicBezTo>
                          <a:pt x="123168" y="238020"/>
                          <a:pt x="124282" y="238001"/>
                          <a:pt x="125397" y="237754"/>
                        </a:cubicBezTo>
                        <a:cubicBezTo>
                          <a:pt x="131292" y="236439"/>
                          <a:pt x="132045" y="238258"/>
                          <a:pt x="133207" y="243430"/>
                        </a:cubicBezTo>
                        <a:cubicBezTo>
                          <a:pt x="133407" y="244326"/>
                          <a:pt x="133902" y="245754"/>
                          <a:pt x="133617" y="246802"/>
                        </a:cubicBezTo>
                        <a:cubicBezTo>
                          <a:pt x="131778" y="250317"/>
                          <a:pt x="122310" y="246393"/>
                          <a:pt x="123834" y="254279"/>
                        </a:cubicBezTo>
                        <a:cubicBezTo>
                          <a:pt x="124054" y="255013"/>
                          <a:pt x="124273" y="255756"/>
                          <a:pt x="124492" y="256499"/>
                        </a:cubicBezTo>
                        <a:cubicBezTo>
                          <a:pt x="124930" y="257566"/>
                          <a:pt x="125587" y="258356"/>
                          <a:pt x="126463" y="258956"/>
                        </a:cubicBezTo>
                        <a:cubicBezTo>
                          <a:pt x="129635" y="261175"/>
                          <a:pt x="134883" y="259032"/>
                          <a:pt x="135503" y="255842"/>
                        </a:cubicBezTo>
                        <a:cubicBezTo>
                          <a:pt x="136055" y="253003"/>
                          <a:pt x="134122" y="250631"/>
                          <a:pt x="134522" y="248031"/>
                        </a:cubicBezTo>
                        <a:cubicBezTo>
                          <a:pt x="137103" y="246393"/>
                          <a:pt x="144104" y="244545"/>
                          <a:pt x="145694" y="248107"/>
                        </a:cubicBezTo>
                        <a:cubicBezTo>
                          <a:pt x="146818" y="250631"/>
                          <a:pt x="146056" y="254251"/>
                          <a:pt x="148323" y="255584"/>
                        </a:cubicBezTo>
                        <a:cubicBezTo>
                          <a:pt x="150533" y="256889"/>
                          <a:pt x="155677" y="253994"/>
                          <a:pt x="158182" y="254517"/>
                        </a:cubicBezTo>
                        <a:cubicBezTo>
                          <a:pt x="159334" y="256537"/>
                          <a:pt x="159001" y="260013"/>
                          <a:pt x="160230" y="262071"/>
                        </a:cubicBezTo>
                        <a:cubicBezTo>
                          <a:pt x="162201" y="265357"/>
                          <a:pt x="168316" y="264766"/>
                          <a:pt x="170421" y="261909"/>
                        </a:cubicBezTo>
                        <a:cubicBezTo>
                          <a:pt x="172193" y="259509"/>
                          <a:pt x="169640" y="256556"/>
                          <a:pt x="170012" y="253860"/>
                        </a:cubicBezTo>
                        <a:cubicBezTo>
                          <a:pt x="170402" y="251022"/>
                          <a:pt x="174803" y="250822"/>
                          <a:pt x="177489" y="250326"/>
                        </a:cubicBezTo>
                        <a:cubicBezTo>
                          <a:pt x="182080" y="249479"/>
                          <a:pt x="181127" y="254899"/>
                          <a:pt x="182251" y="257642"/>
                        </a:cubicBezTo>
                        <a:cubicBezTo>
                          <a:pt x="183423" y="260490"/>
                          <a:pt x="187595" y="260490"/>
                          <a:pt x="190633" y="259204"/>
                        </a:cubicBezTo>
                        <a:cubicBezTo>
                          <a:pt x="196253" y="256823"/>
                          <a:pt x="190881" y="252184"/>
                          <a:pt x="192519" y="248602"/>
                        </a:cubicBezTo>
                        <a:cubicBezTo>
                          <a:pt x="193348" y="246783"/>
                          <a:pt x="195863" y="246821"/>
                          <a:pt x="198025" y="246307"/>
                        </a:cubicBezTo>
                        <a:cubicBezTo>
                          <a:pt x="198930" y="246088"/>
                          <a:pt x="200368" y="245469"/>
                          <a:pt x="201644" y="245812"/>
                        </a:cubicBezTo>
                        <a:cubicBezTo>
                          <a:pt x="203997" y="246450"/>
                          <a:pt x="203473" y="250384"/>
                          <a:pt x="204273" y="252632"/>
                        </a:cubicBezTo>
                        <a:cubicBezTo>
                          <a:pt x="205178" y="255175"/>
                          <a:pt x="208169" y="256051"/>
                          <a:pt x="211341" y="255184"/>
                        </a:cubicBezTo>
                        <a:cubicBezTo>
                          <a:pt x="212160" y="254956"/>
                          <a:pt x="213065" y="254470"/>
                          <a:pt x="213636" y="253955"/>
                        </a:cubicBezTo>
                        <a:cubicBezTo>
                          <a:pt x="214303" y="253355"/>
                          <a:pt x="215046" y="252327"/>
                          <a:pt x="215275" y="251327"/>
                        </a:cubicBezTo>
                        <a:cubicBezTo>
                          <a:pt x="215751" y="249326"/>
                          <a:pt x="214236" y="244145"/>
                          <a:pt x="212979" y="243602"/>
                        </a:cubicBezTo>
                        <a:cubicBezTo>
                          <a:pt x="210931" y="242706"/>
                          <a:pt x="207083" y="245145"/>
                          <a:pt x="204845" y="244831"/>
                        </a:cubicBezTo>
                        <a:cubicBezTo>
                          <a:pt x="201539" y="244364"/>
                          <a:pt x="200663" y="237573"/>
                          <a:pt x="202549" y="235134"/>
                        </a:cubicBezTo>
                        <a:cubicBezTo>
                          <a:pt x="204387" y="232753"/>
                          <a:pt x="209864" y="231896"/>
                          <a:pt x="211912" y="234639"/>
                        </a:cubicBezTo>
                        <a:cubicBezTo>
                          <a:pt x="213160" y="236306"/>
                          <a:pt x="212636" y="239239"/>
                          <a:pt x="213550" y="241297"/>
                        </a:cubicBezTo>
                        <a:cubicBezTo>
                          <a:pt x="214579" y="243564"/>
                          <a:pt x="221304" y="242125"/>
                          <a:pt x="222999" y="240887"/>
                        </a:cubicBezTo>
                        <a:cubicBezTo>
                          <a:pt x="226524" y="238325"/>
                          <a:pt x="222104" y="234077"/>
                          <a:pt x="223580" y="230857"/>
                        </a:cubicBezTo>
                        <a:cubicBezTo>
                          <a:pt x="225009" y="227752"/>
                          <a:pt x="231496" y="229552"/>
                          <a:pt x="233277" y="226838"/>
                        </a:cubicBezTo>
                        <a:cubicBezTo>
                          <a:pt x="234591" y="224838"/>
                          <a:pt x="231238" y="220132"/>
                          <a:pt x="232877" y="217465"/>
                        </a:cubicBezTo>
                        <a:cubicBezTo>
                          <a:pt x="234572" y="214703"/>
                          <a:pt x="241230" y="215827"/>
                          <a:pt x="242325" y="213522"/>
                        </a:cubicBezTo>
                        <a:cubicBezTo>
                          <a:pt x="243354" y="211350"/>
                          <a:pt x="240030" y="206759"/>
                          <a:pt x="241744" y="204073"/>
                        </a:cubicBezTo>
                        <a:cubicBezTo>
                          <a:pt x="243507" y="201320"/>
                          <a:pt x="249879" y="202682"/>
                          <a:pt x="251031" y="199882"/>
                        </a:cubicBezTo>
                        <a:cubicBezTo>
                          <a:pt x="252127" y="197234"/>
                          <a:pt x="248698" y="192796"/>
                          <a:pt x="250288" y="190519"/>
                        </a:cubicBezTo>
                        <a:cubicBezTo>
                          <a:pt x="252203" y="187785"/>
                          <a:pt x="258080" y="189776"/>
                          <a:pt x="259575" y="186080"/>
                        </a:cubicBezTo>
                        <a:cubicBezTo>
                          <a:pt x="260004" y="185014"/>
                          <a:pt x="259728" y="183642"/>
                          <a:pt x="259490" y="182632"/>
                        </a:cubicBezTo>
                        <a:cubicBezTo>
                          <a:pt x="258975" y="180384"/>
                          <a:pt x="258956" y="177832"/>
                          <a:pt x="256937" y="177127"/>
                        </a:cubicBezTo>
                        <a:cubicBezTo>
                          <a:pt x="254089" y="176127"/>
                          <a:pt x="250955" y="179384"/>
                          <a:pt x="248145" y="177289"/>
                        </a:cubicBezTo>
                        <a:cubicBezTo>
                          <a:pt x="245364" y="175212"/>
                          <a:pt x="245088" y="169040"/>
                          <a:pt x="248145" y="167183"/>
                        </a:cubicBezTo>
                        <a:cubicBezTo>
                          <a:pt x="250260" y="165906"/>
                          <a:pt x="253708" y="166287"/>
                          <a:pt x="255622" y="164963"/>
                        </a:cubicBezTo>
                        <a:cubicBezTo>
                          <a:pt x="256185" y="162525"/>
                          <a:pt x="253536" y="157001"/>
                          <a:pt x="254308" y="155267"/>
                        </a:cubicBezTo>
                        <a:cubicBezTo>
                          <a:pt x="255232" y="153181"/>
                          <a:pt x="258975" y="153686"/>
                          <a:pt x="261214" y="152886"/>
                        </a:cubicBezTo>
                        <a:cubicBezTo>
                          <a:pt x="265414" y="151371"/>
                          <a:pt x="264328" y="144494"/>
                          <a:pt x="261375" y="142456"/>
                        </a:cubicBezTo>
                        <a:cubicBezTo>
                          <a:pt x="258861" y="140703"/>
                          <a:pt x="253584" y="144027"/>
                          <a:pt x="252012" y="142532"/>
                        </a:cubicBezTo>
                        <a:cubicBezTo>
                          <a:pt x="250012" y="140627"/>
                          <a:pt x="251089" y="134226"/>
                          <a:pt x="248888" y="132674"/>
                        </a:cubicBezTo>
                        <a:cubicBezTo>
                          <a:pt x="248079" y="132102"/>
                          <a:pt x="246412" y="132788"/>
                          <a:pt x="245516" y="132998"/>
                        </a:cubicBezTo>
                        <a:cubicBezTo>
                          <a:pt x="242135" y="133779"/>
                          <a:pt x="239087" y="133683"/>
                          <a:pt x="237792" y="130940"/>
                        </a:cubicBezTo>
                        <a:cubicBezTo>
                          <a:pt x="237573" y="130121"/>
                          <a:pt x="237353" y="129302"/>
                          <a:pt x="237135" y="128473"/>
                        </a:cubicBezTo>
                        <a:cubicBezTo>
                          <a:pt x="235220" y="120720"/>
                          <a:pt x="242078" y="123587"/>
                          <a:pt x="245431" y="121072"/>
                        </a:cubicBezTo>
                        <a:cubicBezTo>
                          <a:pt x="247278" y="119691"/>
                          <a:pt x="246459" y="115376"/>
                          <a:pt x="245592" y="113271"/>
                        </a:cubicBezTo>
                        <a:cubicBezTo>
                          <a:pt x="243202" y="107432"/>
                          <a:pt x="237268" y="113557"/>
                          <a:pt x="234334" y="111300"/>
                        </a:cubicBezTo>
                        <a:cubicBezTo>
                          <a:pt x="231991" y="109490"/>
                          <a:pt x="233410" y="103784"/>
                          <a:pt x="230962" y="102013"/>
                        </a:cubicBezTo>
                        <a:cubicBezTo>
                          <a:pt x="228619" y="100317"/>
                          <a:pt x="223914" y="104051"/>
                          <a:pt x="221351" y="102184"/>
                        </a:cubicBezTo>
                        <a:cubicBezTo>
                          <a:pt x="218932" y="100412"/>
                          <a:pt x="220199" y="95593"/>
                          <a:pt x="218227" y="93393"/>
                        </a:cubicBezTo>
                        <a:cubicBezTo>
                          <a:pt x="216170" y="91087"/>
                          <a:pt x="211017" y="95117"/>
                          <a:pt x="208283" y="93478"/>
                        </a:cubicBezTo>
                        <a:cubicBezTo>
                          <a:pt x="205492" y="91811"/>
                          <a:pt x="206892" y="86125"/>
                          <a:pt x="204340" y="84277"/>
                        </a:cubicBezTo>
                        <a:cubicBezTo>
                          <a:pt x="202044" y="82620"/>
                          <a:pt x="197644" y="86020"/>
                          <a:pt x="194967" y="85020"/>
                        </a:cubicBezTo>
                        <a:cubicBezTo>
                          <a:pt x="191376" y="83677"/>
                          <a:pt x="194710" y="74047"/>
                          <a:pt x="187814" y="75238"/>
                        </a:cubicBezTo>
                        <a:cubicBezTo>
                          <a:pt x="185537" y="75628"/>
                          <a:pt x="182137" y="75981"/>
                          <a:pt x="181318" y="77867"/>
                        </a:cubicBezTo>
                        <a:cubicBezTo>
                          <a:pt x="179870" y="81220"/>
                          <a:pt x="184452" y="84687"/>
                          <a:pt x="180499" y="87725"/>
                        </a:cubicBezTo>
                        <a:cubicBezTo>
                          <a:pt x="179784" y="88268"/>
                          <a:pt x="179060" y="88449"/>
                          <a:pt x="178032" y="88716"/>
                        </a:cubicBezTo>
                        <a:cubicBezTo>
                          <a:pt x="171926" y="90268"/>
                          <a:pt x="171450" y="87249"/>
                          <a:pt x="170307" y="82553"/>
                        </a:cubicBezTo>
                        <a:cubicBezTo>
                          <a:pt x="170040" y="81429"/>
                          <a:pt x="169764" y="80305"/>
                          <a:pt x="169488" y="79181"/>
                        </a:cubicBezTo>
                        <a:cubicBezTo>
                          <a:pt x="166630" y="78657"/>
                          <a:pt x="162982" y="80686"/>
                          <a:pt x="159458" y="80658"/>
                        </a:cubicBezTo>
                        <a:cubicBezTo>
                          <a:pt x="155962" y="77533"/>
                          <a:pt x="159048" y="70837"/>
                          <a:pt x="151981" y="70875"/>
                        </a:cubicBezTo>
                        <a:cubicBezTo>
                          <a:pt x="149361" y="71990"/>
                          <a:pt x="146952" y="71447"/>
                          <a:pt x="146028" y="74457"/>
                        </a:cubicBezTo>
                        <a:close/>
                        <a:moveTo>
                          <a:pt x="203968" y="74619"/>
                        </a:moveTo>
                        <a:cubicBezTo>
                          <a:pt x="202721" y="77572"/>
                          <a:pt x="204988" y="82220"/>
                          <a:pt x="207331" y="82667"/>
                        </a:cubicBezTo>
                        <a:cubicBezTo>
                          <a:pt x="208464" y="82887"/>
                          <a:pt x="209607" y="82363"/>
                          <a:pt x="210455" y="82172"/>
                        </a:cubicBezTo>
                        <a:cubicBezTo>
                          <a:pt x="217970" y="80477"/>
                          <a:pt x="215989" y="71037"/>
                          <a:pt x="208893" y="71075"/>
                        </a:cubicBezTo>
                        <a:cubicBezTo>
                          <a:pt x="206664" y="71980"/>
                          <a:pt x="204864" y="72485"/>
                          <a:pt x="203968" y="74619"/>
                        </a:cubicBezTo>
                        <a:close/>
                        <a:moveTo>
                          <a:pt x="89573" y="75524"/>
                        </a:moveTo>
                        <a:cubicBezTo>
                          <a:pt x="88449" y="79048"/>
                          <a:pt x="91783" y="82458"/>
                          <a:pt x="95250" y="81686"/>
                        </a:cubicBezTo>
                        <a:cubicBezTo>
                          <a:pt x="100870" y="80429"/>
                          <a:pt x="100489" y="71790"/>
                          <a:pt x="93355" y="71990"/>
                        </a:cubicBezTo>
                        <a:cubicBezTo>
                          <a:pt x="91649" y="72857"/>
                          <a:pt x="90183" y="73600"/>
                          <a:pt x="89573" y="75524"/>
                        </a:cubicBezTo>
                        <a:close/>
                        <a:moveTo>
                          <a:pt x="263376" y="75438"/>
                        </a:moveTo>
                        <a:cubicBezTo>
                          <a:pt x="262318" y="78057"/>
                          <a:pt x="264690" y="81201"/>
                          <a:pt x="267652" y="80620"/>
                        </a:cubicBezTo>
                        <a:cubicBezTo>
                          <a:pt x="271996" y="79762"/>
                          <a:pt x="271720" y="72971"/>
                          <a:pt x="266833" y="72895"/>
                        </a:cubicBezTo>
                        <a:cubicBezTo>
                          <a:pt x="265205" y="73504"/>
                          <a:pt x="264004" y="73895"/>
                          <a:pt x="263376" y="75438"/>
                        </a:cubicBezTo>
                        <a:close/>
                        <a:moveTo>
                          <a:pt x="36243" y="78810"/>
                        </a:moveTo>
                        <a:cubicBezTo>
                          <a:pt x="39300" y="78915"/>
                          <a:pt x="39214" y="74628"/>
                          <a:pt x="36243" y="74695"/>
                        </a:cubicBezTo>
                        <a:cubicBezTo>
                          <a:pt x="34300" y="75867"/>
                          <a:pt x="33842" y="77733"/>
                          <a:pt x="36243" y="78810"/>
                        </a:cubicBezTo>
                        <a:close/>
                        <a:moveTo>
                          <a:pt x="239878" y="80372"/>
                        </a:moveTo>
                        <a:cubicBezTo>
                          <a:pt x="239106" y="83582"/>
                          <a:pt x="242564" y="86887"/>
                          <a:pt x="245793" y="86211"/>
                        </a:cubicBezTo>
                        <a:cubicBezTo>
                          <a:pt x="251384" y="85030"/>
                          <a:pt x="251117" y="76152"/>
                          <a:pt x="244069" y="76352"/>
                        </a:cubicBezTo>
                        <a:cubicBezTo>
                          <a:pt x="242040" y="77248"/>
                          <a:pt x="240430" y="78057"/>
                          <a:pt x="239878" y="80372"/>
                        </a:cubicBezTo>
                        <a:close/>
                        <a:moveTo>
                          <a:pt x="68047" y="80210"/>
                        </a:moveTo>
                        <a:cubicBezTo>
                          <a:pt x="67170" y="83306"/>
                          <a:pt x="70104" y="86106"/>
                          <a:pt x="73057" y="85382"/>
                        </a:cubicBezTo>
                        <a:cubicBezTo>
                          <a:pt x="77762" y="84239"/>
                          <a:pt x="77343" y="76905"/>
                          <a:pt x="71495" y="77086"/>
                        </a:cubicBezTo>
                        <a:cubicBezTo>
                          <a:pt x="69894" y="77810"/>
                          <a:pt x="68551" y="78419"/>
                          <a:pt x="68047" y="80210"/>
                        </a:cubicBezTo>
                        <a:close/>
                        <a:moveTo>
                          <a:pt x="300600" y="80781"/>
                        </a:moveTo>
                        <a:cubicBezTo>
                          <a:pt x="300561" y="82191"/>
                          <a:pt x="301238" y="82744"/>
                          <a:pt x="302162" y="83163"/>
                        </a:cubicBezTo>
                        <a:cubicBezTo>
                          <a:pt x="305133" y="83286"/>
                          <a:pt x="305162" y="79143"/>
                          <a:pt x="302324" y="79143"/>
                        </a:cubicBezTo>
                        <a:cubicBezTo>
                          <a:pt x="301485" y="79610"/>
                          <a:pt x="301028" y="79896"/>
                          <a:pt x="300600" y="80781"/>
                        </a:cubicBezTo>
                        <a:close/>
                        <a:moveTo>
                          <a:pt x="217199" y="83248"/>
                        </a:moveTo>
                        <a:cubicBezTo>
                          <a:pt x="216760" y="84239"/>
                          <a:pt x="217075" y="85496"/>
                          <a:pt x="217275" y="86449"/>
                        </a:cubicBezTo>
                        <a:cubicBezTo>
                          <a:pt x="217827" y="89011"/>
                          <a:pt x="217999" y="91192"/>
                          <a:pt x="220647" y="91630"/>
                        </a:cubicBezTo>
                        <a:cubicBezTo>
                          <a:pt x="221685" y="91440"/>
                          <a:pt x="222723" y="91250"/>
                          <a:pt x="223771" y="91059"/>
                        </a:cubicBezTo>
                        <a:cubicBezTo>
                          <a:pt x="224818" y="90821"/>
                          <a:pt x="225657" y="90811"/>
                          <a:pt x="226400" y="90316"/>
                        </a:cubicBezTo>
                        <a:cubicBezTo>
                          <a:pt x="231076" y="87201"/>
                          <a:pt x="228066" y="79829"/>
                          <a:pt x="221799" y="79962"/>
                        </a:cubicBezTo>
                        <a:cubicBezTo>
                          <a:pt x="219809" y="80810"/>
                          <a:pt x="218046" y="81324"/>
                          <a:pt x="217199" y="83248"/>
                        </a:cubicBezTo>
                        <a:close/>
                        <a:moveTo>
                          <a:pt x="102146" y="84068"/>
                        </a:moveTo>
                        <a:cubicBezTo>
                          <a:pt x="101070" y="87497"/>
                          <a:pt x="103918" y="91983"/>
                          <a:pt x="107651" y="91297"/>
                        </a:cubicBezTo>
                        <a:cubicBezTo>
                          <a:pt x="109738" y="90916"/>
                          <a:pt x="111709" y="90440"/>
                          <a:pt x="112662" y="88916"/>
                        </a:cubicBezTo>
                        <a:cubicBezTo>
                          <a:pt x="115290" y="84706"/>
                          <a:pt x="111299" y="79943"/>
                          <a:pt x="106832" y="80039"/>
                        </a:cubicBezTo>
                        <a:cubicBezTo>
                          <a:pt x="104613" y="81039"/>
                          <a:pt x="102899" y="81658"/>
                          <a:pt x="102146" y="84068"/>
                        </a:cubicBezTo>
                        <a:close/>
                        <a:moveTo>
                          <a:pt x="159506" y="86449"/>
                        </a:moveTo>
                        <a:cubicBezTo>
                          <a:pt x="159667" y="87154"/>
                          <a:pt x="160049" y="88068"/>
                          <a:pt x="159839" y="89078"/>
                        </a:cubicBezTo>
                        <a:cubicBezTo>
                          <a:pt x="159267" y="91849"/>
                          <a:pt x="155476" y="94497"/>
                          <a:pt x="151866" y="93107"/>
                        </a:cubicBezTo>
                        <a:cubicBezTo>
                          <a:pt x="150905" y="92735"/>
                          <a:pt x="149885" y="92069"/>
                          <a:pt x="149323" y="91297"/>
                        </a:cubicBezTo>
                        <a:cubicBezTo>
                          <a:pt x="148123" y="89649"/>
                          <a:pt x="147237" y="84677"/>
                          <a:pt x="148990" y="83325"/>
                        </a:cubicBezTo>
                        <a:cubicBezTo>
                          <a:pt x="150743" y="81982"/>
                          <a:pt x="154029" y="82410"/>
                          <a:pt x="156219" y="81515"/>
                        </a:cubicBezTo>
                        <a:cubicBezTo>
                          <a:pt x="158915" y="81867"/>
                          <a:pt x="158944" y="83963"/>
                          <a:pt x="159506" y="86449"/>
                        </a:cubicBezTo>
                        <a:close/>
                        <a:moveTo>
                          <a:pt x="276854" y="84887"/>
                        </a:moveTo>
                        <a:cubicBezTo>
                          <a:pt x="276216" y="87144"/>
                          <a:pt x="278444" y="89592"/>
                          <a:pt x="280635" y="89240"/>
                        </a:cubicBezTo>
                        <a:cubicBezTo>
                          <a:pt x="284816" y="88582"/>
                          <a:pt x="284864" y="81934"/>
                          <a:pt x="279892" y="82086"/>
                        </a:cubicBezTo>
                        <a:cubicBezTo>
                          <a:pt x="278482" y="82725"/>
                          <a:pt x="277292" y="83334"/>
                          <a:pt x="276854" y="84887"/>
                        </a:cubicBezTo>
                        <a:close/>
                        <a:moveTo>
                          <a:pt x="46844" y="84563"/>
                        </a:moveTo>
                        <a:cubicBezTo>
                          <a:pt x="45968" y="86897"/>
                          <a:pt x="48330" y="89459"/>
                          <a:pt x="50701" y="88830"/>
                        </a:cubicBezTo>
                        <a:cubicBezTo>
                          <a:pt x="54273" y="87887"/>
                          <a:pt x="53959" y="82239"/>
                          <a:pt x="49301" y="82420"/>
                        </a:cubicBezTo>
                        <a:cubicBezTo>
                          <a:pt x="48282" y="82934"/>
                          <a:pt x="47253" y="83468"/>
                          <a:pt x="46844" y="84563"/>
                        </a:cubicBezTo>
                        <a:close/>
                        <a:moveTo>
                          <a:pt x="80448" y="88916"/>
                        </a:moveTo>
                        <a:cubicBezTo>
                          <a:pt x="79410" y="92631"/>
                          <a:pt x="83334" y="96060"/>
                          <a:pt x="86859" y="95079"/>
                        </a:cubicBezTo>
                        <a:cubicBezTo>
                          <a:pt x="92402" y="93535"/>
                          <a:pt x="91564" y="84868"/>
                          <a:pt x="84639" y="85058"/>
                        </a:cubicBezTo>
                        <a:cubicBezTo>
                          <a:pt x="82610" y="85973"/>
                          <a:pt x="81096" y="86649"/>
                          <a:pt x="80448" y="88916"/>
                        </a:cubicBezTo>
                        <a:close/>
                        <a:moveTo>
                          <a:pt x="253517" y="88754"/>
                        </a:moveTo>
                        <a:cubicBezTo>
                          <a:pt x="252403" y="91983"/>
                          <a:pt x="255470" y="95545"/>
                          <a:pt x="258775" y="94917"/>
                        </a:cubicBezTo>
                        <a:cubicBezTo>
                          <a:pt x="264328" y="93859"/>
                          <a:pt x="264242" y="85220"/>
                          <a:pt x="257708" y="85382"/>
                        </a:cubicBezTo>
                        <a:cubicBezTo>
                          <a:pt x="255670" y="86192"/>
                          <a:pt x="254222" y="86696"/>
                          <a:pt x="253517" y="88754"/>
                        </a:cubicBezTo>
                        <a:close/>
                        <a:moveTo>
                          <a:pt x="194843" y="90068"/>
                        </a:moveTo>
                        <a:cubicBezTo>
                          <a:pt x="195062" y="91049"/>
                          <a:pt x="195605" y="92278"/>
                          <a:pt x="195339" y="93602"/>
                        </a:cubicBezTo>
                        <a:cubicBezTo>
                          <a:pt x="194872" y="95907"/>
                          <a:pt x="192033" y="98327"/>
                          <a:pt x="188681" y="97707"/>
                        </a:cubicBezTo>
                        <a:cubicBezTo>
                          <a:pt x="185118" y="97060"/>
                          <a:pt x="181909" y="91954"/>
                          <a:pt x="184737" y="88259"/>
                        </a:cubicBezTo>
                        <a:cubicBezTo>
                          <a:pt x="186042" y="86544"/>
                          <a:pt x="188643" y="87106"/>
                          <a:pt x="190729" y="86125"/>
                        </a:cubicBezTo>
                        <a:cubicBezTo>
                          <a:pt x="193891" y="86039"/>
                          <a:pt x="194281" y="87554"/>
                          <a:pt x="194843" y="90068"/>
                        </a:cubicBezTo>
                        <a:close/>
                        <a:moveTo>
                          <a:pt x="25727" y="89735"/>
                        </a:moveTo>
                        <a:cubicBezTo>
                          <a:pt x="25441" y="90916"/>
                          <a:pt x="26937" y="92402"/>
                          <a:pt x="28194" y="92040"/>
                        </a:cubicBezTo>
                        <a:cubicBezTo>
                          <a:pt x="30375" y="91402"/>
                          <a:pt x="30089" y="87944"/>
                          <a:pt x="27289" y="88097"/>
                        </a:cubicBezTo>
                        <a:cubicBezTo>
                          <a:pt x="26641" y="88497"/>
                          <a:pt x="25927" y="88916"/>
                          <a:pt x="25727" y="89735"/>
                        </a:cubicBezTo>
                        <a:close/>
                        <a:moveTo>
                          <a:pt x="314573" y="90145"/>
                        </a:moveTo>
                        <a:cubicBezTo>
                          <a:pt x="314944" y="90678"/>
                          <a:pt x="315182" y="90916"/>
                          <a:pt x="315725" y="91297"/>
                        </a:cubicBezTo>
                        <a:cubicBezTo>
                          <a:pt x="316573" y="91202"/>
                          <a:pt x="316754" y="90783"/>
                          <a:pt x="317125" y="90230"/>
                        </a:cubicBezTo>
                        <a:cubicBezTo>
                          <a:pt x="317078" y="89373"/>
                          <a:pt x="316544" y="88840"/>
                          <a:pt x="315725" y="88754"/>
                        </a:cubicBezTo>
                        <a:cubicBezTo>
                          <a:pt x="315144" y="89125"/>
                          <a:pt x="314706" y="89325"/>
                          <a:pt x="314573" y="90145"/>
                        </a:cubicBezTo>
                        <a:close/>
                        <a:moveTo>
                          <a:pt x="230505" y="92288"/>
                        </a:moveTo>
                        <a:cubicBezTo>
                          <a:pt x="229334" y="95240"/>
                          <a:pt x="231648" y="99879"/>
                          <a:pt x="233791" y="100336"/>
                        </a:cubicBezTo>
                        <a:cubicBezTo>
                          <a:pt x="234991" y="100593"/>
                          <a:pt x="236220" y="100117"/>
                          <a:pt x="237077" y="99927"/>
                        </a:cubicBezTo>
                        <a:cubicBezTo>
                          <a:pt x="244059" y="98346"/>
                          <a:pt x="242687" y="88697"/>
                          <a:pt x="235515" y="88830"/>
                        </a:cubicBezTo>
                        <a:cubicBezTo>
                          <a:pt x="233239" y="89706"/>
                          <a:pt x="231381" y="90097"/>
                          <a:pt x="230505" y="92288"/>
                        </a:cubicBezTo>
                        <a:close/>
                        <a:moveTo>
                          <a:pt x="59169" y="93354"/>
                        </a:moveTo>
                        <a:cubicBezTo>
                          <a:pt x="58245" y="96402"/>
                          <a:pt x="61141" y="99641"/>
                          <a:pt x="64427" y="98698"/>
                        </a:cubicBezTo>
                        <a:cubicBezTo>
                          <a:pt x="69094" y="97355"/>
                          <a:pt x="68475" y="90125"/>
                          <a:pt x="62455" y="90316"/>
                        </a:cubicBezTo>
                        <a:cubicBezTo>
                          <a:pt x="60960" y="91059"/>
                          <a:pt x="59684" y="91659"/>
                          <a:pt x="59169" y="93354"/>
                        </a:cubicBezTo>
                        <a:close/>
                        <a:moveTo>
                          <a:pt x="168135" y="101822"/>
                        </a:moveTo>
                        <a:cubicBezTo>
                          <a:pt x="164135" y="102594"/>
                          <a:pt x="160668" y="98050"/>
                          <a:pt x="162211" y="94259"/>
                        </a:cubicBezTo>
                        <a:cubicBezTo>
                          <a:pt x="163144" y="91983"/>
                          <a:pt x="164744" y="91849"/>
                          <a:pt x="167059" y="90887"/>
                        </a:cubicBezTo>
                        <a:cubicBezTo>
                          <a:pt x="174374" y="90726"/>
                          <a:pt x="174517" y="100584"/>
                          <a:pt x="168135" y="101822"/>
                        </a:cubicBezTo>
                        <a:close/>
                        <a:moveTo>
                          <a:pt x="290579" y="93850"/>
                        </a:moveTo>
                        <a:cubicBezTo>
                          <a:pt x="290055" y="95974"/>
                          <a:pt x="292036" y="98012"/>
                          <a:pt x="294027" y="97631"/>
                        </a:cubicBezTo>
                        <a:cubicBezTo>
                          <a:pt x="297599" y="96945"/>
                          <a:pt x="297523" y="91440"/>
                          <a:pt x="293446" y="91383"/>
                        </a:cubicBezTo>
                        <a:cubicBezTo>
                          <a:pt x="292074" y="91907"/>
                          <a:pt x="290941" y="92364"/>
                          <a:pt x="290579" y="93850"/>
                        </a:cubicBezTo>
                        <a:close/>
                        <a:moveTo>
                          <a:pt x="93192" y="96974"/>
                        </a:moveTo>
                        <a:cubicBezTo>
                          <a:pt x="91793" y="100412"/>
                          <a:pt x="94412" y="104318"/>
                          <a:pt x="96974" y="104775"/>
                        </a:cubicBezTo>
                        <a:cubicBezTo>
                          <a:pt x="98146" y="104984"/>
                          <a:pt x="99479" y="104432"/>
                          <a:pt x="100422" y="104203"/>
                        </a:cubicBezTo>
                        <a:cubicBezTo>
                          <a:pt x="102222" y="103765"/>
                          <a:pt x="103975" y="103689"/>
                          <a:pt x="104613" y="102156"/>
                        </a:cubicBezTo>
                        <a:cubicBezTo>
                          <a:pt x="104994" y="101251"/>
                          <a:pt x="104527" y="99889"/>
                          <a:pt x="104365" y="99193"/>
                        </a:cubicBezTo>
                        <a:cubicBezTo>
                          <a:pt x="103537" y="95459"/>
                          <a:pt x="102908" y="93040"/>
                          <a:pt x="98365" y="93116"/>
                        </a:cubicBezTo>
                        <a:cubicBezTo>
                          <a:pt x="95850" y="94174"/>
                          <a:pt x="94202" y="94478"/>
                          <a:pt x="93192" y="96974"/>
                        </a:cubicBezTo>
                        <a:close/>
                        <a:moveTo>
                          <a:pt x="267071" y="97707"/>
                        </a:moveTo>
                        <a:cubicBezTo>
                          <a:pt x="266052" y="100975"/>
                          <a:pt x="269043" y="104013"/>
                          <a:pt x="272243" y="103384"/>
                        </a:cubicBezTo>
                        <a:cubicBezTo>
                          <a:pt x="277339" y="102384"/>
                          <a:pt x="276930" y="94421"/>
                          <a:pt x="271015" y="94507"/>
                        </a:cubicBezTo>
                        <a:cubicBezTo>
                          <a:pt x="269148" y="95278"/>
                          <a:pt x="267691" y="95736"/>
                          <a:pt x="267071" y="97707"/>
                        </a:cubicBezTo>
                        <a:close/>
                        <a:moveTo>
                          <a:pt x="202149" y="106499"/>
                        </a:moveTo>
                        <a:cubicBezTo>
                          <a:pt x="198787" y="105880"/>
                          <a:pt x="195701" y="101632"/>
                          <a:pt x="198044" y="97784"/>
                        </a:cubicBezTo>
                        <a:cubicBezTo>
                          <a:pt x="199244" y="95812"/>
                          <a:pt x="201006" y="96107"/>
                          <a:pt x="203302" y="95155"/>
                        </a:cubicBezTo>
                        <a:cubicBezTo>
                          <a:pt x="211026" y="94974"/>
                          <a:pt x="209779" y="107918"/>
                          <a:pt x="202149" y="106499"/>
                        </a:cubicBezTo>
                        <a:close/>
                        <a:moveTo>
                          <a:pt x="145456" y="106251"/>
                        </a:moveTo>
                        <a:cubicBezTo>
                          <a:pt x="142046" y="106813"/>
                          <a:pt x="138836" y="102794"/>
                          <a:pt x="139789" y="99346"/>
                        </a:cubicBezTo>
                        <a:cubicBezTo>
                          <a:pt x="140465" y="96898"/>
                          <a:pt x="142189" y="96383"/>
                          <a:pt x="144389" y="95402"/>
                        </a:cubicBezTo>
                        <a:cubicBezTo>
                          <a:pt x="152305" y="95231"/>
                          <a:pt x="152295" y="105127"/>
                          <a:pt x="145456" y="106251"/>
                        </a:cubicBezTo>
                        <a:close/>
                        <a:moveTo>
                          <a:pt x="37976" y="98041"/>
                        </a:moveTo>
                        <a:cubicBezTo>
                          <a:pt x="37300" y="100146"/>
                          <a:pt x="39348" y="102479"/>
                          <a:pt x="41348" y="102146"/>
                        </a:cubicBezTo>
                        <a:cubicBezTo>
                          <a:pt x="45215" y="101508"/>
                          <a:pt x="45149" y="95774"/>
                          <a:pt x="40767" y="95736"/>
                        </a:cubicBezTo>
                        <a:cubicBezTo>
                          <a:pt x="39452" y="96298"/>
                          <a:pt x="38414" y="96650"/>
                          <a:pt x="37976" y="98041"/>
                        </a:cubicBezTo>
                        <a:close/>
                        <a:moveTo>
                          <a:pt x="243811" y="101898"/>
                        </a:moveTo>
                        <a:cubicBezTo>
                          <a:pt x="242630" y="106080"/>
                          <a:pt x="246431" y="109823"/>
                          <a:pt x="250393" y="108880"/>
                        </a:cubicBezTo>
                        <a:cubicBezTo>
                          <a:pt x="256870" y="107347"/>
                          <a:pt x="256061" y="97679"/>
                          <a:pt x="248250" y="97869"/>
                        </a:cubicBezTo>
                        <a:cubicBezTo>
                          <a:pt x="246221" y="98898"/>
                          <a:pt x="244478" y="99546"/>
                          <a:pt x="243811" y="101898"/>
                        </a:cubicBezTo>
                        <a:close/>
                        <a:moveTo>
                          <a:pt x="71580" y="102146"/>
                        </a:moveTo>
                        <a:cubicBezTo>
                          <a:pt x="70599" y="105356"/>
                          <a:pt x="73857" y="109128"/>
                          <a:pt x="77162" y="108556"/>
                        </a:cubicBezTo>
                        <a:cubicBezTo>
                          <a:pt x="83572" y="107442"/>
                          <a:pt x="83144" y="98136"/>
                          <a:pt x="76257" y="98203"/>
                        </a:cubicBezTo>
                        <a:cubicBezTo>
                          <a:pt x="73876" y="99146"/>
                          <a:pt x="72342" y="99650"/>
                          <a:pt x="71580" y="102146"/>
                        </a:cubicBezTo>
                        <a:close/>
                        <a:moveTo>
                          <a:pt x="122282" y="111023"/>
                        </a:moveTo>
                        <a:cubicBezTo>
                          <a:pt x="119034" y="110480"/>
                          <a:pt x="118157" y="108985"/>
                          <a:pt x="117358" y="105927"/>
                        </a:cubicBezTo>
                        <a:cubicBezTo>
                          <a:pt x="116976" y="104470"/>
                          <a:pt x="116967" y="102822"/>
                          <a:pt x="117767" y="101737"/>
                        </a:cubicBezTo>
                        <a:cubicBezTo>
                          <a:pt x="118996" y="100051"/>
                          <a:pt x="121339" y="100470"/>
                          <a:pt x="123434" y="99593"/>
                        </a:cubicBezTo>
                        <a:cubicBezTo>
                          <a:pt x="130692" y="99479"/>
                          <a:pt x="129731" y="112252"/>
                          <a:pt x="122282" y="111023"/>
                        </a:cubicBezTo>
                        <a:close/>
                        <a:moveTo>
                          <a:pt x="181366" y="110280"/>
                        </a:moveTo>
                        <a:cubicBezTo>
                          <a:pt x="177708" y="110947"/>
                          <a:pt x="174803" y="107232"/>
                          <a:pt x="175784" y="103794"/>
                        </a:cubicBezTo>
                        <a:cubicBezTo>
                          <a:pt x="176393" y="101632"/>
                          <a:pt x="177984" y="101022"/>
                          <a:pt x="179975" y="100184"/>
                        </a:cubicBezTo>
                        <a:cubicBezTo>
                          <a:pt x="187309" y="100003"/>
                          <a:pt x="187547" y="109175"/>
                          <a:pt x="181366" y="110280"/>
                        </a:cubicBezTo>
                        <a:close/>
                        <a:moveTo>
                          <a:pt x="304543" y="102556"/>
                        </a:moveTo>
                        <a:cubicBezTo>
                          <a:pt x="303886" y="104165"/>
                          <a:pt x="305419" y="106318"/>
                          <a:pt x="307258" y="105927"/>
                        </a:cubicBezTo>
                        <a:cubicBezTo>
                          <a:pt x="310201" y="105299"/>
                          <a:pt x="310134" y="100670"/>
                          <a:pt x="306438" y="100832"/>
                        </a:cubicBezTo>
                        <a:cubicBezTo>
                          <a:pt x="305629" y="101289"/>
                          <a:pt x="304905" y="101670"/>
                          <a:pt x="304543" y="102556"/>
                        </a:cubicBezTo>
                        <a:close/>
                        <a:moveTo>
                          <a:pt x="17097" y="103051"/>
                        </a:moveTo>
                        <a:cubicBezTo>
                          <a:pt x="17078" y="104318"/>
                          <a:pt x="17764" y="104842"/>
                          <a:pt x="18659" y="105194"/>
                        </a:cubicBezTo>
                        <a:cubicBezTo>
                          <a:pt x="19907" y="105146"/>
                          <a:pt x="20593" y="104327"/>
                          <a:pt x="20717" y="103137"/>
                        </a:cubicBezTo>
                        <a:cubicBezTo>
                          <a:pt x="20231" y="102365"/>
                          <a:pt x="19907" y="101603"/>
                          <a:pt x="18659" y="101575"/>
                        </a:cubicBezTo>
                        <a:cubicBezTo>
                          <a:pt x="17945" y="102022"/>
                          <a:pt x="17488" y="102270"/>
                          <a:pt x="17097" y="103051"/>
                        </a:cubicBezTo>
                        <a:close/>
                        <a:moveTo>
                          <a:pt x="50301" y="106747"/>
                        </a:moveTo>
                        <a:cubicBezTo>
                          <a:pt x="49358" y="109890"/>
                          <a:pt x="52397" y="112728"/>
                          <a:pt x="55474" y="111919"/>
                        </a:cubicBezTo>
                        <a:cubicBezTo>
                          <a:pt x="60198" y="110690"/>
                          <a:pt x="59541" y="103451"/>
                          <a:pt x="53749" y="103622"/>
                        </a:cubicBezTo>
                        <a:cubicBezTo>
                          <a:pt x="52073" y="104365"/>
                          <a:pt x="50844" y="104927"/>
                          <a:pt x="50301" y="106747"/>
                        </a:cubicBezTo>
                        <a:close/>
                        <a:moveTo>
                          <a:pt x="280797" y="106832"/>
                        </a:moveTo>
                        <a:cubicBezTo>
                          <a:pt x="279997" y="109595"/>
                          <a:pt x="282588" y="112433"/>
                          <a:pt x="285398" y="111852"/>
                        </a:cubicBezTo>
                        <a:cubicBezTo>
                          <a:pt x="290103" y="110871"/>
                          <a:pt x="289884" y="103603"/>
                          <a:pt x="283997" y="103794"/>
                        </a:cubicBezTo>
                        <a:cubicBezTo>
                          <a:pt x="282531" y="104527"/>
                          <a:pt x="281292" y="105156"/>
                          <a:pt x="280797" y="106832"/>
                        </a:cubicBezTo>
                        <a:close/>
                        <a:moveTo>
                          <a:pt x="215960" y="115462"/>
                        </a:moveTo>
                        <a:cubicBezTo>
                          <a:pt x="212360" y="114891"/>
                          <a:pt x="208931" y="110890"/>
                          <a:pt x="211360" y="106832"/>
                        </a:cubicBezTo>
                        <a:cubicBezTo>
                          <a:pt x="212731" y="104537"/>
                          <a:pt x="214112" y="105080"/>
                          <a:pt x="216617" y="104041"/>
                        </a:cubicBezTo>
                        <a:cubicBezTo>
                          <a:pt x="224314" y="103861"/>
                          <a:pt x="223085" y="116596"/>
                          <a:pt x="215960" y="115462"/>
                        </a:cubicBezTo>
                        <a:close/>
                        <a:moveTo>
                          <a:pt x="158686" y="114471"/>
                        </a:moveTo>
                        <a:cubicBezTo>
                          <a:pt x="155686" y="114919"/>
                          <a:pt x="152829" y="111709"/>
                          <a:pt x="153762" y="108471"/>
                        </a:cubicBezTo>
                        <a:cubicBezTo>
                          <a:pt x="154429" y="106137"/>
                          <a:pt x="155839" y="105718"/>
                          <a:pt x="158039" y="104851"/>
                        </a:cubicBezTo>
                        <a:cubicBezTo>
                          <a:pt x="164554" y="104746"/>
                          <a:pt x="164906" y="113538"/>
                          <a:pt x="158686" y="114471"/>
                        </a:cubicBezTo>
                        <a:close/>
                        <a:moveTo>
                          <a:pt x="257461" y="110699"/>
                        </a:moveTo>
                        <a:cubicBezTo>
                          <a:pt x="256270" y="114129"/>
                          <a:pt x="259566" y="118262"/>
                          <a:pt x="263128" y="117596"/>
                        </a:cubicBezTo>
                        <a:cubicBezTo>
                          <a:pt x="269453" y="116415"/>
                          <a:pt x="269196" y="106890"/>
                          <a:pt x="262223" y="106994"/>
                        </a:cubicBezTo>
                        <a:cubicBezTo>
                          <a:pt x="259890" y="107899"/>
                          <a:pt x="258270" y="108337"/>
                          <a:pt x="257461" y="110699"/>
                        </a:cubicBezTo>
                        <a:close/>
                        <a:moveTo>
                          <a:pt x="29337" y="111185"/>
                        </a:moveTo>
                        <a:cubicBezTo>
                          <a:pt x="28556" y="113233"/>
                          <a:pt x="30451" y="115700"/>
                          <a:pt x="32623" y="115300"/>
                        </a:cubicBezTo>
                        <a:cubicBezTo>
                          <a:pt x="36185" y="114624"/>
                          <a:pt x="35842" y="109509"/>
                          <a:pt x="32128" y="109137"/>
                        </a:cubicBezTo>
                        <a:cubicBezTo>
                          <a:pt x="30880" y="109614"/>
                          <a:pt x="29804" y="109966"/>
                          <a:pt x="29337" y="111185"/>
                        </a:cubicBezTo>
                        <a:close/>
                        <a:moveTo>
                          <a:pt x="137074" y="119072"/>
                        </a:moveTo>
                        <a:cubicBezTo>
                          <a:pt x="133693" y="119805"/>
                          <a:pt x="130178" y="116567"/>
                          <a:pt x="131235" y="112909"/>
                        </a:cubicBezTo>
                        <a:cubicBezTo>
                          <a:pt x="131873" y="110709"/>
                          <a:pt x="133369" y="110033"/>
                          <a:pt x="135350" y="109128"/>
                        </a:cubicBezTo>
                        <a:cubicBezTo>
                          <a:pt x="142446" y="108966"/>
                          <a:pt x="142923" y="117815"/>
                          <a:pt x="137074" y="119072"/>
                        </a:cubicBezTo>
                        <a:close/>
                        <a:moveTo>
                          <a:pt x="195091" y="118910"/>
                        </a:moveTo>
                        <a:cubicBezTo>
                          <a:pt x="191652" y="119748"/>
                          <a:pt x="188366" y="116443"/>
                          <a:pt x="189338" y="112909"/>
                        </a:cubicBezTo>
                        <a:cubicBezTo>
                          <a:pt x="189938" y="110709"/>
                          <a:pt x="191510" y="110137"/>
                          <a:pt x="193529" y="109299"/>
                        </a:cubicBezTo>
                        <a:cubicBezTo>
                          <a:pt x="200158" y="109147"/>
                          <a:pt x="200577" y="117577"/>
                          <a:pt x="195091" y="118910"/>
                        </a:cubicBezTo>
                        <a:close/>
                        <a:moveTo>
                          <a:pt x="318516" y="111928"/>
                        </a:moveTo>
                        <a:cubicBezTo>
                          <a:pt x="318507" y="113100"/>
                          <a:pt x="319125" y="113614"/>
                          <a:pt x="319916" y="113986"/>
                        </a:cubicBezTo>
                        <a:cubicBezTo>
                          <a:pt x="321097" y="114033"/>
                          <a:pt x="322545" y="113033"/>
                          <a:pt x="321964" y="111766"/>
                        </a:cubicBezTo>
                        <a:cubicBezTo>
                          <a:pt x="321707" y="111014"/>
                          <a:pt x="321040" y="110442"/>
                          <a:pt x="319992" y="110452"/>
                        </a:cubicBezTo>
                        <a:cubicBezTo>
                          <a:pt x="319345" y="110890"/>
                          <a:pt x="318878" y="111195"/>
                          <a:pt x="318516" y="111928"/>
                        </a:cubicBezTo>
                        <a:close/>
                        <a:moveTo>
                          <a:pt x="62951" y="114805"/>
                        </a:moveTo>
                        <a:cubicBezTo>
                          <a:pt x="61608" y="118148"/>
                          <a:pt x="64684" y="122434"/>
                          <a:pt x="68123" y="121872"/>
                        </a:cubicBezTo>
                        <a:cubicBezTo>
                          <a:pt x="74476" y="120834"/>
                          <a:pt x="74295" y="111652"/>
                          <a:pt x="67637" y="111519"/>
                        </a:cubicBezTo>
                        <a:cubicBezTo>
                          <a:pt x="65408" y="112395"/>
                          <a:pt x="63817" y="112643"/>
                          <a:pt x="62951" y="114805"/>
                        </a:cubicBezTo>
                        <a:close/>
                        <a:moveTo>
                          <a:pt x="235029" y="118005"/>
                        </a:moveTo>
                        <a:cubicBezTo>
                          <a:pt x="235229" y="118824"/>
                          <a:pt x="235649" y="119901"/>
                          <a:pt x="235363" y="120967"/>
                        </a:cubicBezTo>
                        <a:cubicBezTo>
                          <a:pt x="234810" y="122977"/>
                          <a:pt x="231715" y="125063"/>
                          <a:pt x="228705" y="124501"/>
                        </a:cubicBezTo>
                        <a:cubicBezTo>
                          <a:pt x="224638" y="123739"/>
                          <a:pt x="222094" y="118167"/>
                          <a:pt x="225257" y="114643"/>
                        </a:cubicBezTo>
                        <a:cubicBezTo>
                          <a:pt x="226542" y="113214"/>
                          <a:pt x="228829" y="113595"/>
                          <a:pt x="230762" y="112757"/>
                        </a:cubicBezTo>
                        <a:cubicBezTo>
                          <a:pt x="234534" y="112652"/>
                          <a:pt x="234325" y="115033"/>
                          <a:pt x="235029" y="118005"/>
                        </a:cubicBezTo>
                        <a:close/>
                        <a:moveTo>
                          <a:pt x="114881" y="124168"/>
                        </a:moveTo>
                        <a:cubicBezTo>
                          <a:pt x="110738" y="125111"/>
                          <a:pt x="107061" y="120282"/>
                          <a:pt x="108632" y="116367"/>
                        </a:cubicBezTo>
                        <a:cubicBezTo>
                          <a:pt x="109709" y="113690"/>
                          <a:pt x="111223" y="114138"/>
                          <a:pt x="113814" y="113081"/>
                        </a:cubicBezTo>
                        <a:cubicBezTo>
                          <a:pt x="120967" y="112947"/>
                          <a:pt x="121053" y="122768"/>
                          <a:pt x="114881" y="124168"/>
                        </a:cubicBezTo>
                        <a:close/>
                        <a:moveTo>
                          <a:pt x="294608" y="115948"/>
                        </a:moveTo>
                        <a:cubicBezTo>
                          <a:pt x="294027" y="118300"/>
                          <a:pt x="296361" y="120558"/>
                          <a:pt x="298552" y="120139"/>
                        </a:cubicBezTo>
                        <a:cubicBezTo>
                          <a:pt x="302590" y="119367"/>
                          <a:pt x="302342" y="112986"/>
                          <a:pt x="297570" y="113157"/>
                        </a:cubicBezTo>
                        <a:cubicBezTo>
                          <a:pt x="296218" y="113757"/>
                          <a:pt x="294980" y="114433"/>
                          <a:pt x="294608" y="115948"/>
                        </a:cubicBezTo>
                        <a:close/>
                        <a:moveTo>
                          <a:pt x="172983" y="122691"/>
                        </a:moveTo>
                        <a:cubicBezTo>
                          <a:pt x="169774" y="123625"/>
                          <a:pt x="166678" y="120634"/>
                          <a:pt x="167640" y="117434"/>
                        </a:cubicBezTo>
                        <a:cubicBezTo>
                          <a:pt x="168154" y="115710"/>
                          <a:pt x="169440" y="115024"/>
                          <a:pt x="171012" y="114309"/>
                        </a:cubicBezTo>
                        <a:cubicBezTo>
                          <a:pt x="176936" y="114138"/>
                          <a:pt x="177660" y="121329"/>
                          <a:pt x="172983" y="122691"/>
                        </a:cubicBezTo>
                        <a:close/>
                        <a:moveTo>
                          <a:pt x="8553" y="116443"/>
                        </a:moveTo>
                        <a:cubicBezTo>
                          <a:pt x="8639" y="117386"/>
                          <a:pt x="9230" y="117957"/>
                          <a:pt x="10116" y="118091"/>
                        </a:cubicBezTo>
                        <a:cubicBezTo>
                          <a:pt x="10639" y="117834"/>
                          <a:pt x="11039" y="117586"/>
                          <a:pt x="11268" y="117024"/>
                        </a:cubicBezTo>
                        <a:cubicBezTo>
                          <a:pt x="11297" y="116776"/>
                          <a:pt x="11325" y="116529"/>
                          <a:pt x="11344" y="116281"/>
                        </a:cubicBezTo>
                        <a:cubicBezTo>
                          <a:pt x="10916" y="115767"/>
                          <a:pt x="10697" y="115281"/>
                          <a:pt x="9782" y="115214"/>
                        </a:cubicBezTo>
                        <a:cubicBezTo>
                          <a:pt x="9201" y="115605"/>
                          <a:pt x="8973" y="115910"/>
                          <a:pt x="8553" y="116443"/>
                        </a:cubicBezTo>
                        <a:close/>
                        <a:moveTo>
                          <a:pt x="271100" y="119815"/>
                        </a:moveTo>
                        <a:cubicBezTo>
                          <a:pt x="270110" y="123063"/>
                          <a:pt x="273425" y="126568"/>
                          <a:pt x="276520" y="125968"/>
                        </a:cubicBezTo>
                        <a:cubicBezTo>
                          <a:pt x="282254" y="124882"/>
                          <a:pt x="281959" y="116081"/>
                          <a:pt x="275130" y="116272"/>
                        </a:cubicBezTo>
                        <a:cubicBezTo>
                          <a:pt x="273253" y="117119"/>
                          <a:pt x="271729" y="117777"/>
                          <a:pt x="271100" y="119815"/>
                        </a:cubicBezTo>
                        <a:close/>
                        <a:moveTo>
                          <a:pt x="41662" y="119815"/>
                        </a:moveTo>
                        <a:cubicBezTo>
                          <a:pt x="40767" y="122606"/>
                          <a:pt x="43167" y="125778"/>
                          <a:pt x="46187" y="125158"/>
                        </a:cubicBezTo>
                        <a:cubicBezTo>
                          <a:pt x="50873" y="124177"/>
                          <a:pt x="50559" y="116843"/>
                          <a:pt x="44958" y="117024"/>
                        </a:cubicBezTo>
                        <a:cubicBezTo>
                          <a:pt x="43501" y="117738"/>
                          <a:pt x="42186" y="118196"/>
                          <a:pt x="41662" y="119815"/>
                        </a:cubicBezTo>
                        <a:close/>
                        <a:moveTo>
                          <a:pt x="207826" y="127949"/>
                        </a:moveTo>
                        <a:cubicBezTo>
                          <a:pt x="204778" y="128464"/>
                          <a:pt x="201835" y="124815"/>
                          <a:pt x="202730" y="121787"/>
                        </a:cubicBezTo>
                        <a:cubicBezTo>
                          <a:pt x="203426" y="119424"/>
                          <a:pt x="204854" y="119043"/>
                          <a:pt x="207083" y="118167"/>
                        </a:cubicBezTo>
                        <a:cubicBezTo>
                          <a:pt x="213750" y="118062"/>
                          <a:pt x="213950" y="126921"/>
                          <a:pt x="207826" y="127949"/>
                        </a:cubicBezTo>
                        <a:close/>
                        <a:moveTo>
                          <a:pt x="150142" y="127216"/>
                        </a:moveTo>
                        <a:cubicBezTo>
                          <a:pt x="147009" y="127835"/>
                          <a:pt x="144628" y="124663"/>
                          <a:pt x="145456" y="121796"/>
                        </a:cubicBezTo>
                        <a:cubicBezTo>
                          <a:pt x="145999" y="119920"/>
                          <a:pt x="147523" y="119443"/>
                          <a:pt x="149323" y="118758"/>
                        </a:cubicBezTo>
                        <a:cubicBezTo>
                          <a:pt x="154829" y="119120"/>
                          <a:pt x="155048" y="126235"/>
                          <a:pt x="150142" y="127216"/>
                        </a:cubicBezTo>
                        <a:close/>
                        <a:moveTo>
                          <a:pt x="75933" y="122606"/>
                        </a:moveTo>
                        <a:cubicBezTo>
                          <a:pt x="73952" y="125825"/>
                          <a:pt x="76076" y="130454"/>
                          <a:pt x="78886" y="131235"/>
                        </a:cubicBezTo>
                        <a:cubicBezTo>
                          <a:pt x="80810" y="131769"/>
                          <a:pt x="86659" y="130178"/>
                          <a:pt x="87020" y="129016"/>
                        </a:cubicBezTo>
                        <a:cubicBezTo>
                          <a:pt x="87363" y="127930"/>
                          <a:pt x="86782" y="126568"/>
                          <a:pt x="86611" y="125816"/>
                        </a:cubicBezTo>
                        <a:cubicBezTo>
                          <a:pt x="85811" y="122234"/>
                          <a:pt x="85649" y="119605"/>
                          <a:pt x="81277" y="119653"/>
                        </a:cubicBezTo>
                        <a:cubicBezTo>
                          <a:pt x="78515" y="120710"/>
                          <a:pt x="77476" y="120091"/>
                          <a:pt x="75933" y="122606"/>
                        </a:cubicBezTo>
                        <a:close/>
                        <a:moveTo>
                          <a:pt x="248831" y="121301"/>
                        </a:moveTo>
                        <a:cubicBezTo>
                          <a:pt x="246488" y="123177"/>
                          <a:pt x="249060" y="129340"/>
                          <a:pt x="249822" y="131321"/>
                        </a:cubicBezTo>
                        <a:cubicBezTo>
                          <a:pt x="250841" y="131931"/>
                          <a:pt x="252393" y="131512"/>
                          <a:pt x="253603" y="131245"/>
                        </a:cubicBezTo>
                        <a:cubicBezTo>
                          <a:pt x="256385" y="130616"/>
                          <a:pt x="258175" y="130378"/>
                          <a:pt x="259194" y="128035"/>
                        </a:cubicBezTo>
                        <a:cubicBezTo>
                          <a:pt x="261014" y="123815"/>
                          <a:pt x="257756" y="119643"/>
                          <a:pt x="253689" y="119739"/>
                        </a:cubicBezTo>
                        <a:cubicBezTo>
                          <a:pt x="251955" y="120482"/>
                          <a:pt x="250136" y="120253"/>
                          <a:pt x="248831" y="121301"/>
                        </a:cubicBezTo>
                        <a:close/>
                        <a:moveTo>
                          <a:pt x="308896" y="124168"/>
                        </a:moveTo>
                        <a:cubicBezTo>
                          <a:pt x="307638" y="126149"/>
                          <a:pt x="309658" y="128883"/>
                          <a:pt x="312096" y="128273"/>
                        </a:cubicBezTo>
                        <a:cubicBezTo>
                          <a:pt x="315182" y="127511"/>
                          <a:pt x="314658" y="122701"/>
                          <a:pt x="310944" y="122682"/>
                        </a:cubicBezTo>
                        <a:cubicBezTo>
                          <a:pt x="310105" y="123101"/>
                          <a:pt x="309382" y="123415"/>
                          <a:pt x="308896" y="124168"/>
                        </a:cubicBezTo>
                        <a:close/>
                        <a:moveTo>
                          <a:pt x="20717" y="124587"/>
                        </a:moveTo>
                        <a:cubicBezTo>
                          <a:pt x="19945" y="126511"/>
                          <a:pt x="21898" y="128673"/>
                          <a:pt x="23755" y="128283"/>
                        </a:cubicBezTo>
                        <a:cubicBezTo>
                          <a:pt x="26946" y="127616"/>
                          <a:pt x="26660" y="122615"/>
                          <a:pt x="22765" y="122777"/>
                        </a:cubicBezTo>
                        <a:cubicBezTo>
                          <a:pt x="21926" y="123196"/>
                          <a:pt x="21069" y="123701"/>
                          <a:pt x="20717" y="124587"/>
                        </a:cubicBezTo>
                        <a:close/>
                        <a:moveTo>
                          <a:pt x="128607" y="132064"/>
                        </a:moveTo>
                        <a:cubicBezTo>
                          <a:pt x="125301" y="133036"/>
                          <a:pt x="121729" y="130254"/>
                          <a:pt x="122530" y="126635"/>
                        </a:cubicBezTo>
                        <a:cubicBezTo>
                          <a:pt x="123025" y="124368"/>
                          <a:pt x="124530" y="123777"/>
                          <a:pt x="126311" y="122768"/>
                        </a:cubicBezTo>
                        <a:cubicBezTo>
                          <a:pt x="132902" y="122606"/>
                          <a:pt x="133683" y="130550"/>
                          <a:pt x="128607" y="132064"/>
                        </a:cubicBezTo>
                        <a:close/>
                        <a:moveTo>
                          <a:pt x="185395" y="131397"/>
                        </a:moveTo>
                        <a:cubicBezTo>
                          <a:pt x="182861" y="131778"/>
                          <a:pt x="180546" y="128816"/>
                          <a:pt x="181451" y="126225"/>
                        </a:cubicBezTo>
                        <a:cubicBezTo>
                          <a:pt x="182013" y="124616"/>
                          <a:pt x="183223" y="124139"/>
                          <a:pt x="184823" y="123520"/>
                        </a:cubicBezTo>
                        <a:cubicBezTo>
                          <a:pt x="190262" y="123539"/>
                          <a:pt x="190481" y="130635"/>
                          <a:pt x="185395" y="131397"/>
                        </a:cubicBezTo>
                        <a:close/>
                        <a:moveTo>
                          <a:pt x="53997" y="128940"/>
                        </a:moveTo>
                        <a:cubicBezTo>
                          <a:pt x="53045" y="132645"/>
                          <a:pt x="56702" y="135684"/>
                          <a:pt x="60246" y="134769"/>
                        </a:cubicBezTo>
                        <a:cubicBezTo>
                          <a:pt x="65665" y="133369"/>
                          <a:pt x="64942" y="124882"/>
                          <a:pt x="58026" y="125073"/>
                        </a:cubicBezTo>
                        <a:cubicBezTo>
                          <a:pt x="56074" y="126044"/>
                          <a:pt x="54578" y="126644"/>
                          <a:pt x="53997" y="128940"/>
                        </a:cubicBezTo>
                        <a:close/>
                        <a:moveTo>
                          <a:pt x="284988" y="128854"/>
                        </a:moveTo>
                        <a:cubicBezTo>
                          <a:pt x="284045" y="131931"/>
                          <a:pt x="286969" y="135093"/>
                          <a:pt x="290246" y="134198"/>
                        </a:cubicBezTo>
                        <a:cubicBezTo>
                          <a:pt x="294942" y="132912"/>
                          <a:pt x="294294" y="125482"/>
                          <a:pt x="288436" y="125654"/>
                        </a:cubicBezTo>
                        <a:cubicBezTo>
                          <a:pt x="286845" y="126435"/>
                          <a:pt x="285540" y="127044"/>
                          <a:pt x="284988" y="128854"/>
                        </a:cubicBezTo>
                        <a:close/>
                        <a:moveTo>
                          <a:pt x="105680" y="137560"/>
                        </a:moveTo>
                        <a:cubicBezTo>
                          <a:pt x="101956" y="138284"/>
                          <a:pt x="98517" y="134026"/>
                          <a:pt x="99603" y="130169"/>
                        </a:cubicBezTo>
                        <a:cubicBezTo>
                          <a:pt x="100308" y="127635"/>
                          <a:pt x="102117" y="127435"/>
                          <a:pt x="104451" y="126473"/>
                        </a:cubicBezTo>
                        <a:cubicBezTo>
                          <a:pt x="112195" y="126292"/>
                          <a:pt x="112224" y="136293"/>
                          <a:pt x="105680" y="137560"/>
                        </a:cubicBezTo>
                        <a:close/>
                        <a:moveTo>
                          <a:pt x="221551" y="137074"/>
                        </a:moveTo>
                        <a:cubicBezTo>
                          <a:pt x="218199" y="137731"/>
                          <a:pt x="214893" y="134131"/>
                          <a:pt x="215884" y="130664"/>
                        </a:cubicBezTo>
                        <a:cubicBezTo>
                          <a:pt x="216541" y="128368"/>
                          <a:pt x="217980" y="127778"/>
                          <a:pt x="220075" y="126883"/>
                        </a:cubicBezTo>
                        <a:cubicBezTo>
                          <a:pt x="227419" y="126702"/>
                          <a:pt x="227648" y="135884"/>
                          <a:pt x="221551" y="137074"/>
                        </a:cubicBezTo>
                        <a:close/>
                        <a:moveTo>
                          <a:pt x="163201" y="135350"/>
                        </a:moveTo>
                        <a:cubicBezTo>
                          <a:pt x="160953" y="135750"/>
                          <a:pt x="158906" y="133236"/>
                          <a:pt x="159506" y="130997"/>
                        </a:cubicBezTo>
                        <a:cubicBezTo>
                          <a:pt x="159877" y="129578"/>
                          <a:pt x="161144" y="129045"/>
                          <a:pt x="162382" y="128445"/>
                        </a:cubicBezTo>
                        <a:cubicBezTo>
                          <a:pt x="167278" y="128283"/>
                          <a:pt x="167345" y="134617"/>
                          <a:pt x="163201" y="135350"/>
                        </a:cubicBezTo>
                        <a:close/>
                        <a:moveTo>
                          <a:pt x="261652" y="132636"/>
                        </a:moveTo>
                        <a:cubicBezTo>
                          <a:pt x="260366" y="136350"/>
                          <a:pt x="263795" y="140579"/>
                          <a:pt x="267491" y="139941"/>
                        </a:cubicBezTo>
                        <a:cubicBezTo>
                          <a:pt x="274453" y="138741"/>
                          <a:pt x="273920" y="128664"/>
                          <a:pt x="266338" y="128854"/>
                        </a:cubicBezTo>
                        <a:cubicBezTo>
                          <a:pt x="264157" y="129769"/>
                          <a:pt x="262423" y="130388"/>
                          <a:pt x="261652" y="132636"/>
                        </a:cubicBezTo>
                        <a:close/>
                        <a:moveTo>
                          <a:pt x="32957" y="133617"/>
                        </a:moveTo>
                        <a:cubicBezTo>
                          <a:pt x="32328" y="136026"/>
                          <a:pt x="34643" y="138608"/>
                          <a:pt x="37148" y="138141"/>
                        </a:cubicBezTo>
                        <a:cubicBezTo>
                          <a:pt x="41729" y="137274"/>
                          <a:pt x="41329" y="130483"/>
                          <a:pt x="36328" y="130578"/>
                        </a:cubicBezTo>
                        <a:cubicBezTo>
                          <a:pt x="34709" y="131254"/>
                          <a:pt x="33423" y="131835"/>
                          <a:pt x="32957" y="133617"/>
                        </a:cubicBezTo>
                        <a:close/>
                        <a:moveTo>
                          <a:pt x="199358" y="140275"/>
                        </a:moveTo>
                        <a:cubicBezTo>
                          <a:pt x="196444" y="140970"/>
                          <a:pt x="193977" y="138113"/>
                          <a:pt x="194758" y="135341"/>
                        </a:cubicBezTo>
                        <a:cubicBezTo>
                          <a:pt x="195234" y="133645"/>
                          <a:pt x="196415" y="133140"/>
                          <a:pt x="197958" y="132464"/>
                        </a:cubicBezTo>
                        <a:cubicBezTo>
                          <a:pt x="203568" y="132340"/>
                          <a:pt x="203816" y="139217"/>
                          <a:pt x="199358" y="140275"/>
                        </a:cubicBezTo>
                        <a:close/>
                        <a:moveTo>
                          <a:pt x="324517" y="136331"/>
                        </a:moveTo>
                        <a:cubicBezTo>
                          <a:pt x="327251" y="136246"/>
                          <a:pt x="327260" y="132312"/>
                          <a:pt x="324193" y="132464"/>
                        </a:cubicBezTo>
                        <a:cubicBezTo>
                          <a:pt x="322269" y="133921"/>
                          <a:pt x="322355" y="135207"/>
                          <a:pt x="324517" y="136331"/>
                        </a:cubicBezTo>
                        <a:close/>
                        <a:moveTo>
                          <a:pt x="141351" y="140113"/>
                        </a:moveTo>
                        <a:cubicBezTo>
                          <a:pt x="138560" y="140722"/>
                          <a:pt x="136169" y="138074"/>
                          <a:pt x="136827" y="135512"/>
                        </a:cubicBezTo>
                        <a:cubicBezTo>
                          <a:pt x="137284" y="133750"/>
                          <a:pt x="138570" y="133198"/>
                          <a:pt x="140199" y="132550"/>
                        </a:cubicBezTo>
                        <a:cubicBezTo>
                          <a:pt x="145256" y="132569"/>
                          <a:pt x="145666" y="139170"/>
                          <a:pt x="141351" y="140113"/>
                        </a:cubicBezTo>
                        <a:close/>
                        <a:moveTo>
                          <a:pt x="66732" y="136912"/>
                        </a:moveTo>
                        <a:cubicBezTo>
                          <a:pt x="65322" y="140456"/>
                          <a:pt x="68142" y="143904"/>
                          <a:pt x="70837" y="144466"/>
                        </a:cubicBezTo>
                        <a:cubicBezTo>
                          <a:pt x="71895" y="144685"/>
                          <a:pt x="73047" y="144323"/>
                          <a:pt x="73790" y="144142"/>
                        </a:cubicBezTo>
                        <a:cubicBezTo>
                          <a:pt x="76876" y="143380"/>
                          <a:pt x="78391" y="141903"/>
                          <a:pt x="77572" y="138227"/>
                        </a:cubicBezTo>
                        <a:cubicBezTo>
                          <a:pt x="76838" y="134941"/>
                          <a:pt x="75743" y="132969"/>
                          <a:pt x="71733" y="133045"/>
                        </a:cubicBezTo>
                        <a:cubicBezTo>
                          <a:pt x="69361" y="134045"/>
                          <a:pt x="67675" y="134541"/>
                          <a:pt x="66732" y="136912"/>
                        </a:cubicBezTo>
                        <a:close/>
                        <a:moveTo>
                          <a:pt x="298961" y="137808"/>
                        </a:moveTo>
                        <a:cubicBezTo>
                          <a:pt x="298209" y="140351"/>
                          <a:pt x="300542" y="143046"/>
                          <a:pt x="303238" y="142408"/>
                        </a:cubicBezTo>
                        <a:cubicBezTo>
                          <a:pt x="307115" y="141484"/>
                          <a:pt x="306876" y="135245"/>
                          <a:pt x="302333" y="135169"/>
                        </a:cubicBezTo>
                        <a:cubicBezTo>
                          <a:pt x="300695" y="135807"/>
                          <a:pt x="299466" y="136112"/>
                          <a:pt x="298961" y="137808"/>
                        </a:cubicBezTo>
                        <a:close/>
                        <a:moveTo>
                          <a:pt x="234858" y="146437"/>
                        </a:moveTo>
                        <a:cubicBezTo>
                          <a:pt x="231362" y="147104"/>
                          <a:pt x="227724" y="143075"/>
                          <a:pt x="228781" y="139455"/>
                        </a:cubicBezTo>
                        <a:cubicBezTo>
                          <a:pt x="229534" y="136865"/>
                          <a:pt x="231219" y="136360"/>
                          <a:pt x="233629" y="135350"/>
                        </a:cubicBezTo>
                        <a:cubicBezTo>
                          <a:pt x="241201" y="135207"/>
                          <a:pt x="241487" y="145180"/>
                          <a:pt x="234858" y="146437"/>
                        </a:cubicBezTo>
                        <a:close/>
                        <a:moveTo>
                          <a:pt x="118748" y="145532"/>
                        </a:moveTo>
                        <a:cubicBezTo>
                          <a:pt x="115786" y="146028"/>
                          <a:pt x="112938" y="143123"/>
                          <a:pt x="113652" y="139941"/>
                        </a:cubicBezTo>
                        <a:cubicBezTo>
                          <a:pt x="114176" y="137627"/>
                          <a:pt x="115786" y="137017"/>
                          <a:pt x="117843" y="136160"/>
                        </a:cubicBezTo>
                        <a:cubicBezTo>
                          <a:pt x="124301" y="136055"/>
                          <a:pt x="124616" y="144542"/>
                          <a:pt x="118748" y="145532"/>
                        </a:cubicBezTo>
                        <a:close/>
                        <a:moveTo>
                          <a:pt x="14964" y="141094"/>
                        </a:moveTo>
                        <a:cubicBezTo>
                          <a:pt x="17516" y="140417"/>
                          <a:pt x="17097" y="136779"/>
                          <a:pt x="14392" y="136493"/>
                        </a:cubicBezTo>
                        <a:cubicBezTo>
                          <a:pt x="10849" y="137912"/>
                          <a:pt x="12316" y="141808"/>
                          <a:pt x="14964" y="141094"/>
                        </a:cubicBezTo>
                        <a:close/>
                        <a:moveTo>
                          <a:pt x="176927" y="143646"/>
                        </a:moveTo>
                        <a:cubicBezTo>
                          <a:pt x="174612" y="144180"/>
                          <a:pt x="172679" y="141580"/>
                          <a:pt x="173641" y="139617"/>
                        </a:cubicBezTo>
                        <a:cubicBezTo>
                          <a:pt x="174079" y="138732"/>
                          <a:pt x="174955" y="138332"/>
                          <a:pt x="175860" y="137893"/>
                        </a:cubicBezTo>
                        <a:cubicBezTo>
                          <a:pt x="179680" y="137779"/>
                          <a:pt x="180185" y="142894"/>
                          <a:pt x="176927" y="143646"/>
                        </a:cubicBezTo>
                        <a:close/>
                        <a:moveTo>
                          <a:pt x="275453" y="141761"/>
                        </a:moveTo>
                        <a:cubicBezTo>
                          <a:pt x="274225" y="145304"/>
                          <a:pt x="277492" y="148895"/>
                          <a:pt x="281121" y="148171"/>
                        </a:cubicBezTo>
                        <a:cubicBezTo>
                          <a:pt x="286979" y="146990"/>
                          <a:pt x="286493" y="138113"/>
                          <a:pt x="279397" y="138312"/>
                        </a:cubicBezTo>
                        <a:cubicBezTo>
                          <a:pt x="277616" y="139189"/>
                          <a:pt x="276130" y="139798"/>
                          <a:pt x="275453" y="141761"/>
                        </a:cubicBezTo>
                        <a:close/>
                        <a:moveTo>
                          <a:pt x="45453" y="142084"/>
                        </a:moveTo>
                        <a:cubicBezTo>
                          <a:pt x="44558" y="145123"/>
                          <a:pt x="47692" y="148485"/>
                          <a:pt x="50711" y="147914"/>
                        </a:cubicBezTo>
                        <a:cubicBezTo>
                          <a:pt x="56321" y="146866"/>
                          <a:pt x="55988" y="138446"/>
                          <a:pt x="49311" y="138627"/>
                        </a:cubicBezTo>
                        <a:cubicBezTo>
                          <a:pt x="47492" y="139398"/>
                          <a:pt x="46025" y="140141"/>
                          <a:pt x="45453" y="142084"/>
                        </a:cubicBezTo>
                        <a:close/>
                        <a:moveTo>
                          <a:pt x="96641" y="151124"/>
                        </a:moveTo>
                        <a:cubicBezTo>
                          <a:pt x="92964" y="151790"/>
                          <a:pt x="91440" y="148876"/>
                          <a:pt x="90811" y="146190"/>
                        </a:cubicBezTo>
                        <a:cubicBezTo>
                          <a:pt x="90602" y="145304"/>
                          <a:pt x="90183" y="144104"/>
                          <a:pt x="90564" y="143065"/>
                        </a:cubicBezTo>
                        <a:cubicBezTo>
                          <a:pt x="91516" y="140475"/>
                          <a:pt x="93517" y="140741"/>
                          <a:pt x="96069" y="139694"/>
                        </a:cubicBezTo>
                        <a:cubicBezTo>
                          <a:pt x="103518" y="139627"/>
                          <a:pt x="103403" y="149904"/>
                          <a:pt x="96641" y="151124"/>
                        </a:cubicBezTo>
                        <a:close/>
                        <a:moveTo>
                          <a:pt x="212512" y="149647"/>
                        </a:moveTo>
                        <a:cubicBezTo>
                          <a:pt x="209359" y="150257"/>
                          <a:pt x="206969" y="146933"/>
                          <a:pt x="207826" y="143980"/>
                        </a:cubicBezTo>
                        <a:cubicBezTo>
                          <a:pt x="208312" y="142284"/>
                          <a:pt x="209731" y="141722"/>
                          <a:pt x="211274" y="141018"/>
                        </a:cubicBezTo>
                        <a:cubicBezTo>
                          <a:pt x="217532" y="140846"/>
                          <a:pt x="217675" y="148638"/>
                          <a:pt x="212512" y="149647"/>
                        </a:cubicBezTo>
                        <a:close/>
                        <a:moveTo>
                          <a:pt x="154495" y="147999"/>
                        </a:moveTo>
                        <a:cubicBezTo>
                          <a:pt x="152448" y="148514"/>
                          <a:pt x="150571" y="146371"/>
                          <a:pt x="151295" y="144389"/>
                        </a:cubicBezTo>
                        <a:cubicBezTo>
                          <a:pt x="151619" y="143485"/>
                          <a:pt x="152600" y="142932"/>
                          <a:pt x="153429" y="142494"/>
                        </a:cubicBezTo>
                        <a:cubicBezTo>
                          <a:pt x="157239" y="142342"/>
                          <a:pt x="157582" y="147228"/>
                          <a:pt x="154495" y="147999"/>
                        </a:cubicBezTo>
                        <a:close/>
                        <a:moveTo>
                          <a:pt x="250965" y="143808"/>
                        </a:moveTo>
                        <a:cubicBezTo>
                          <a:pt x="252403" y="144637"/>
                          <a:pt x="253470" y="151000"/>
                          <a:pt x="253346" y="153343"/>
                        </a:cubicBezTo>
                        <a:cubicBezTo>
                          <a:pt x="252155" y="154619"/>
                          <a:pt x="251155" y="154734"/>
                          <a:pt x="249069" y="155238"/>
                        </a:cubicBezTo>
                        <a:cubicBezTo>
                          <a:pt x="245116" y="156201"/>
                          <a:pt x="242802" y="154800"/>
                          <a:pt x="241840" y="151371"/>
                        </a:cubicBezTo>
                        <a:cubicBezTo>
                          <a:pt x="241649" y="150666"/>
                          <a:pt x="241325" y="149619"/>
                          <a:pt x="241516" y="148580"/>
                        </a:cubicBezTo>
                        <a:cubicBezTo>
                          <a:pt x="242383" y="143865"/>
                          <a:pt x="245631" y="145199"/>
                          <a:pt x="249403" y="143646"/>
                        </a:cubicBezTo>
                        <a:cubicBezTo>
                          <a:pt x="249926" y="143704"/>
                          <a:pt x="250450" y="143761"/>
                          <a:pt x="250965" y="143808"/>
                        </a:cubicBezTo>
                        <a:close/>
                        <a:moveTo>
                          <a:pt x="24489" y="146933"/>
                        </a:moveTo>
                        <a:cubicBezTo>
                          <a:pt x="23898" y="149333"/>
                          <a:pt x="26099" y="151609"/>
                          <a:pt x="28518" y="151038"/>
                        </a:cubicBezTo>
                        <a:cubicBezTo>
                          <a:pt x="32280" y="150152"/>
                          <a:pt x="31918" y="144351"/>
                          <a:pt x="27451" y="144304"/>
                        </a:cubicBezTo>
                        <a:cubicBezTo>
                          <a:pt x="26060" y="144913"/>
                          <a:pt x="24879" y="145361"/>
                          <a:pt x="24489" y="146933"/>
                        </a:cubicBezTo>
                        <a:close/>
                        <a:moveTo>
                          <a:pt x="313258" y="146437"/>
                        </a:moveTo>
                        <a:cubicBezTo>
                          <a:pt x="312125" y="148428"/>
                          <a:pt x="314144" y="150952"/>
                          <a:pt x="316382" y="150466"/>
                        </a:cubicBezTo>
                        <a:cubicBezTo>
                          <a:pt x="319621" y="149762"/>
                          <a:pt x="319221" y="144770"/>
                          <a:pt x="315401" y="144875"/>
                        </a:cubicBezTo>
                        <a:cubicBezTo>
                          <a:pt x="314477" y="145323"/>
                          <a:pt x="313744" y="145590"/>
                          <a:pt x="313258" y="146437"/>
                        </a:cubicBezTo>
                        <a:close/>
                        <a:moveTo>
                          <a:pt x="132312" y="153505"/>
                        </a:moveTo>
                        <a:cubicBezTo>
                          <a:pt x="129664" y="154038"/>
                          <a:pt x="127311" y="151419"/>
                          <a:pt x="127959" y="148904"/>
                        </a:cubicBezTo>
                        <a:cubicBezTo>
                          <a:pt x="128416" y="147133"/>
                          <a:pt x="129769" y="146666"/>
                          <a:pt x="131407" y="146028"/>
                        </a:cubicBezTo>
                        <a:cubicBezTo>
                          <a:pt x="136284" y="145990"/>
                          <a:pt x="136398" y="152667"/>
                          <a:pt x="132312" y="153505"/>
                        </a:cubicBezTo>
                        <a:close/>
                        <a:moveTo>
                          <a:pt x="58026" y="150714"/>
                        </a:moveTo>
                        <a:cubicBezTo>
                          <a:pt x="56864" y="154505"/>
                          <a:pt x="60531" y="158315"/>
                          <a:pt x="64275" y="157534"/>
                        </a:cubicBezTo>
                        <a:cubicBezTo>
                          <a:pt x="70799" y="156181"/>
                          <a:pt x="70237" y="146494"/>
                          <a:pt x="62379" y="146685"/>
                        </a:cubicBezTo>
                        <a:cubicBezTo>
                          <a:pt x="60312" y="147723"/>
                          <a:pt x="58741" y="148361"/>
                          <a:pt x="58026" y="150714"/>
                        </a:cubicBezTo>
                        <a:close/>
                        <a:moveTo>
                          <a:pt x="190319" y="152609"/>
                        </a:moveTo>
                        <a:cubicBezTo>
                          <a:pt x="188024" y="153171"/>
                          <a:pt x="186100" y="150724"/>
                          <a:pt x="186957" y="148666"/>
                        </a:cubicBezTo>
                        <a:cubicBezTo>
                          <a:pt x="187347" y="147714"/>
                          <a:pt x="188214" y="147342"/>
                          <a:pt x="189090" y="146856"/>
                        </a:cubicBezTo>
                        <a:cubicBezTo>
                          <a:pt x="193196" y="146676"/>
                          <a:pt x="193605" y="151800"/>
                          <a:pt x="190319" y="152609"/>
                        </a:cubicBezTo>
                        <a:close/>
                        <a:moveTo>
                          <a:pt x="289341" y="151124"/>
                        </a:moveTo>
                        <a:cubicBezTo>
                          <a:pt x="288569" y="154067"/>
                          <a:pt x="291246" y="156953"/>
                          <a:pt x="294275" y="156381"/>
                        </a:cubicBezTo>
                        <a:cubicBezTo>
                          <a:pt x="299342" y="155419"/>
                          <a:pt x="298990" y="147647"/>
                          <a:pt x="292884" y="147837"/>
                        </a:cubicBezTo>
                        <a:cubicBezTo>
                          <a:pt x="291236" y="148580"/>
                          <a:pt x="289836" y="149266"/>
                          <a:pt x="289341" y="151124"/>
                        </a:cubicBezTo>
                        <a:close/>
                        <a:moveTo>
                          <a:pt x="110280" y="159096"/>
                        </a:moveTo>
                        <a:cubicBezTo>
                          <a:pt x="106490" y="159839"/>
                          <a:pt x="103460" y="156143"/>
                          <a:pt x="104689" y="152686"/>
                        </a:cubicBezTo>
                        <a:cubicBezTo>
                          <a:pt x="105404" y="150704"/>
                          <a:pt x="106832" y="150171"/>
                          <a:pt x="108718" y="149314"/>
                        </a:cubicBezTo>
                        <a:cubicBezTo>
                          <a:pt x="115500" y="149152"/>
                          <a:pt x="116053" y="157963"/>
                          <a:pt x="110280" y="159096"/>
                        </a:cubicBezTo>
                        <a:close/>
                        <a:moveTo>
                          <a:pt x="226724" y="158934"/>
                        </a:moveTo>
                        <a:cubicBezTo>
                          <a:pt x="223152" y="159972"/>
                          <a:pt x="219608" y="156820"/>
                          <a:pt x="220561" y="153095"/>
                        </a:cubicBezTo>
                        <a:cubicBezTo>
                          <a:pt x="221113" y="150943"/>
                          <a:pt x="222618" y="150257"/>
                          <a:pt x="224504" y="149400"/>
                        </a:cubicBezTo>
                        <a:cubicBezTo>
                          <a:pt x="231105" y="149238"/>
                          <a:pt x="231972" y="157401"/>
                          <a:pt x="226724" y="158934"/>
                        </a:cubicBezTo>
                        <a:close/>
                        <a:moveTo>
                          <a:pt x="3867" y="151867"/>
                        </a:moveTo>
                        <a:cubicBezTo>
                          <a:pt x="3877" y="152971"/>
                          <a:pt x="4505" y="153410"/>
                          <a:pt x="5258" y="153762"/>
                        </a:cubicBezTo>
                        <a:cubicBezTo>
                          <a:pt x="6448" y="153762"/>
                          <a:pt x="6867" y="153095"/>
                          <a:pt x="7230" y="152286"/>
                        </a:cubicBezTo>
                        <a:cubicBezTo>
                          <a:pt x="7201" y="151190"/>
                          <a:pt x="6382" y="150400"/>
                          <a:pt x="5258" y="150400"/>
                        </a:cubicBezTo>
                        <a:cubicBezTo>
                          <a:pt x="4601" y="150819"/>
                          <a:pt x="4200" y="151095"/>
                          <a:pt x="3867" y="151867"/>
                        </a:cubicBezTo>
                        <a:close/>
                        <a:moveTo>
                          <a:pt x="266166" y="154248"/>
                        </a:moveTo>
                        <a:cubicBezTo>
                          <a:pt x="264528" y="157963"/>
                          <a:pt x="267976" y="162754"/>
                          <a:pt x="272005" y="162058"/>
                        </a:cubicBezTo>
                        <a:cubicBezTo>
                          <a:pt x="278787" y="160877"/>
                          <a:pt x="278311" y="150885"/>
                          <a:pt x="271024" y="150962"/>
                        </a:cubicBezTo>
                        <a:cubicBezTo>
                          <a:pt x="268815" y="151838"/>
                          <a:pt x="267091" y="152171"/>
                          <a:pt x="266166" y="154248"/>
                        </a:cubicBezTo>
                        <a:close/>
                        <a:moveTo>
                          <a:pt x="36986" y="155400"/>
                        </a:moveTo>
                        <a:cubicBezTo>
                          <a:pt x="36128" y="158315"/>
                          <a:pt x="38729" y="161306"/>
                          <a:pt x="41510" y="160830"/>
                        </a:cubicBezTo>
                        <a:cubicBezTo>
                          <a:pt x="46920" y="159906"/>
                          <a:pt x="46587" y="152095"/>
                          <a:pt x="40443" y="152286"/>
                        </a:cubicBezTo>
                        <a:cubicBezTo>
                          <a:pt x="38891" y="153038"/>
                          <a:pt x="37500" y="153638"/>
                          <a:pt x="36986" y="155400"/>
                        </a:cubicBezTo>
                        <a:close/>
                        <a:moveTo>
                          <a:pt x="169040" y="154000"/>
                        </a:moveTo>
                        <a:cubicBezTo>
                          <a:pt x="168974" y="154867"/>
                          <a:pt x="168402" y="155467"/>
                          <a:pt x="167726" y="155724"/>
                        </a:cubicBezTo>
                        <a:cubicBezTo>
                          <a:pt x="167450" y="155753"/>
                          <a:pt x="167173" y="155781"/>
                          <a:pt x="166907" y="155810"/>
                        </a:cubicBezTo>
                        <a:cubicBezTo>
                          <a:pt x="166411" y="155381"/>
                          <a:pt x="165992" y="155115"/>
                          <a:pt x="165668" y="154496"/>
                        </a:cubicBezTo>
                        <a:cubicBezTo>
                          <a:pt x="165659" y="153191"/>
                          <a:pt x="166325" y="152895"/>
                          <a:pt x="167154" y="152438"/>
                        </a:cubicBezTo>
                        <a:cubicBezTo>
                          <a:pt x="168221" y="152505"/>
                          <a:pt x="168726" y="153181"/>
                          <a:pt x="169040" y="154000"/>
                        </a:cubicBezTo>
                        <a:close/>
                        <a:moveTo>
                          <a:pt x="89907" y="164030"/>
                        </a:moveTo>
                        <a:cubicBezTo>
                          <a:pt x="87268" y="165087"/>
                          <a:pt x="83487" y="165144"/>
                          <a:pt x="82506" y="162716"/>
                        </a:cubicBezTo>
                        <a:cubicBezTo>
                          <a:pt x="82315" y="161649"/>
                          <a:pt x="82124" y="160582"/>
                          <a:pt x="81934" y="159515"/>
                        </a:cubicBezTo>
                        <a:cubicBezTo>
                          <a:pt x="81572" y="157991"/>
                          <a:pt x="80896" y="156115"/>
                          <a:pt x="81029" y="154496"/>
                        </a:cubicBezTo>
                        <a:cubicBezTo>
                          <a:pt x="83029" y="153543"/>
                          <a:pt x="85792" y="153772"/>
                          <a:pt x="87935" y="152857"/>
                        </a:cubicBezTo>
                        <a:cubicBezTo>
                          <a:pt x="94097" y="152733"/>
                          <a:pt x="94564" y="162144"/>
                          <a:pt x="89907" y="164030"/>
                        </a:cubicBezTo>
                        <a:close/>
                        <a:moveTo>
                          <a:pt x="327308" y="156381"/>
                        </a:moveTo>
                        <a:cubicBezTo>
                          <a:pt x="327384" y="159210"/>
                          <a:pt x="331622" y="158477"/>
                          <a:pt x="330917" y="156134"/>
                        </a:cubicBezTo>
                        <a:cubicBezTo>
                          <a:pt x="330622" y="155362"/>
                          <a:pt x="330003" y="154753"/>
                          <a:pt x="329022" y="154657"/>
                        </a:cubicBezTo>
                        <a:cubicBezTo>
                          <a:pt x="328165" y="155134"/>
                          <a:pt x="327698" y="155419"/>
                          <a:pt x="327308" y="156381"/>
                        </a:cubicBezTo>
                        <a:close/>
                        <a:moveTo>
                          <a:pt x="203797" y="162134"/>
                        </a:moveTo>
                        <a:cubicBezTo>
                          <a:pt x="201330" y="162735"/>
                          <a:pt x="199063" y="160410"/>
                          <a:pt x="199606" y="158029"/>
                        </a:cubicBezTo>
                        <a:cubicBezTo>
                          <a:pt x="199968" y="156439"/>
                          <a:pt x="201139" y="155934"/>
                          <a:pt x="202406" y="155238"/>
                        </a:cubicBezTo>
                        <a:cubicBezTo>
                          <a:pt x="207531" y="155057"/>
                          <a:pt x="207721" y="161172"/>
                          <a:pt x="203797" y="162134"/>
                        </a:cubicBezTo>
                        <a:close/>
                        <a:moveTo>
                          <a:pt x="145294" y="161392"/>
                        </a:moveTo>
                        <a:cubicBezTo>
                          <a:pt x="143580" y="161734"/>
                          <a:pt x="141827" y="159687"/>
                          <a:pt x="142418" y="157934"/>
                        </a:cubicBezTo>
                        <a:cubicBezTo>
                          <a:pt x="142780" y="156886"/>
                          <a:pt x="143723" y="156420"/>
                          <a:pt x="144723" y="155962"/>
                        </a:cubicBezTo>
                        <a:cubicBezTo>
                          <a:pt x="148304" y="156019"/>
                          <a:pt x="148380" y="160782"/>
                          <a:pt x="145294" y="161392"/>
                        </a:cubicBezTo>
                        <a:close/>
                        <a:moveTo>
                          <a:pt x="303476" y="160001"/>
                        </a:moveTo>
                        <a:cubicBezTo>
                          <a:pt x="302714" y="162430"/>
                          <a:pt x="305076" y="165021"/>
                          <a:pt x="307581" y="164440"/>
                        </a:cubicBezTo>
                        <a:cubicBezTo>
                          <a:pt x="311620" y="163506"/>
                          <a:pt x="311115" y="157286"/>
                          <a:pt x="306267" y="157458"/>
                        </a:cubicBezTo>
                        <a:cubicBezTo>
                          <a:pt x="305038" y="158058"/>
                          <a:pt x="303914" y="158620"/>
                          <a:pt x="303476" y="160001"/>
                        </a:cubicBezTo>
                        <a:close/>
                        <a:moveTo>
                          <a:pt x="239049" y="168707"/>
                        </a:moveTo>
                        <a:cubicBezTo>
                          <a:pt x="235372" y="169288"/>
                          <a:pt x="232019" y="164830"/>
                          <a:pt x="233458" y="161230"/>
                        </a:cubicBezTo>
                        <a:cubicBezTo>
                          <a:pt x="234410" y="158839"/>
                          <a:pt x="235906" y="158544"/>
                          <a:pt x="238392" y="157610"/>
                        </a:cubicBezTo>
                        <a:cubicBezTo>
                          <a:pt x="245554" y="157629"/>
                          <a:pt x="245974" y="167630"/>
                          <a:pt x="239049" y="168707"/>
                        </a:cubicBezTo>
                        <a:close/>
                        <a:moveTo>
                          <a:pt x="16107" y="160249"/>
                        </a:moveTo>
                        <a:cubicBezTo>
                          <a:pt x="15497" y="162087"/>
                          <a:pt x="17440" y="164135"/>
                          <a:pt x="19307" y="163782"/>
                        </a:cubicBezTo>
                        <a:cubicBezTo>
                          <a:pt x="22631" y="163135"/>
                          <a:pt x="22260" y="158125"/>
                          <a:pt x="18574" y="158105"/>
                        </a:cubicBezTo>
                        <a:cubicBezTo>
                          <a:pt x="17497" y="158620"/>
                          <a:pt x="16497" y="159077"/>
                          <a:pt x="16107" y="160249"/>
                        </a:cubicBezTo>
                        <a:close/>
                        <a:moveTo>
                          <a:pt x="123349" y="167230"/>
                        </a:moveTo>
                        <a:cubicBezTo>
                          <a:pt x="120539" y="167783"/>
                          <a:pt x="118043" y="164944"/>
                          <a:pt x="118748" y="162211"/>
                        </a:cubicBezTo>
                        <a:cubicBezTo>
                          <a:pt x="119186" y="160496"/>
                          <a:pt x="120444" y="159858"/>
                          <a:pt x="121949" y="159172"/>
                        </a:cubicBezTo>
                        <a:cubicBezTo>
                          <a:pt x="128016" y="158991"/>
                          <a:pt x="128121" y="166297"/>
                          <a:pt x="123349" y="167230"/>
                        </a:cubicBezTo>
                        <a:close/>
                        <a:moveTo>
                          <a:pt x="49549" y="164030"/>
                        </a:moveTo>
                        <a:cubicBezTo>
                          <a:pt x="48606" y="167345"/>
                          <a:pt x="51435" y="170993"/>
                          <a:pt x="54816" y="170431"/>
                        </a:cubicBezTo>
                        <a:cubicBezTo>
                          <a:pt x="61255" y="169383"/>
                          <a:pt x="60912" y="160249"/>
                          <a:pt x="54073" y="160325"/>
                        </a:cubicBezTo>
                        <a:cubicBezTo>
                          <a:pt x="51845" y="161201"/>
                          <a:pt x="50225" y="161658"/>
                          <a:pt x="49549" y="164030"/>
                        </a:cubicBezTo>
                        <a:close/>
                        <a:moveTo>
                          <a:pt x="279892" y="164182"/>
                        </a:moveTo>
                        <a:cubicBezTo>
                          <a:pt x="278921" y="167373"/>
                          <a:pt x="282283" y="170821"/>
                          <a:pt x="285312" y="170269"/>
                        </a:cubicBezTo>
                        <a:cubicBezTo>
                          <a:pt x="291084" y="169221"/>
                          <a:pt x="290932" y="160391"/>
                          <a:pt x="284083" y="160572"/>
                        </a:cubicBezTo>
                        <a:cubicBezTo>
                          <a:pt x="282026" y="161430"/>
                          <a:pt x="280559" y="162001"/>
                          <a:pt x="279892" y="164182"/>
                        </a:cubicBezTo>
                        <a:close/>
                        <a:moveTo>
                          <a:pt x="182594" y="162877"/>
                        </a:moveTo>
                        <a:cubicBezTo>
                          <a:pt x="182575" y="164030"/>
                          <a:pt x="181880" y="164525"/>
                          <a:pt x="181032" y="164849"/>
                        </a:cubicBezTo>
                        <a:cubicBezTo>
                          <a:pt x="179908" y="164830"/>
                          <a:pt x="179422" y="164144"/>
                          <a:pt x="179060" y="163373"/>
                        </a:cubicBezTo>
                        <a:cubicBezTo>
                          <a:pt x="179070" y="162354"/>
                          <a:pt x="179632" y="161763"/>
                          <a:pt x="180384" y="161487"/>
                        </a:cubicBezTo>
                        <a:cubicBezTo>
                          <a:pt x="180518" y="161430"/>
                          <a:pt x="180651" y="161373"/>
                          <a:pt x="180794" y="161315"/>
                        </a:cubicBezTo>
                        <a:cubicBezTo>
                          <a:pt x="181737" y="161620"/>
                          <a:pt x="182194" y="162039"/>
                          <a:pt x="182594" y="162877"/>
                        </a:cubicBezTo>
                        <a:close/>
                        <a:moveTo>
                          <a:pt x="100993" y="172907"/>
                        </a:moveTo>
                        <a:cubicBezTo>
                          <a:pt x="97660" y="173460"/>
                          <a:pt x="94393" y="169802"/>
                          <a:pt x="95326" y="166335"/>
                        </a:cubicBezTo>
                        <a:cubicBezTo>
                          <a:pt x="95974" y="163906"/>
                          <a:pt x="97631" y="163230"/>
                          <a:pt x="99841" y="162306"/>
                        </a:cubicBezTo>
                        <a:cubicBezTo>
                          <a:pt x="107366" y="162154"/>
                          <a:pt x="107709" y="171774"/>
                          <a:pt x="100993" y="172907"/>
                        </a:cubicBezTo>
                        <a:close/>
                        <a:moveTo>
                          <a:pt x="216617" y="171907"/>
                        </a:moveTo>
                        <a:cubicBezTo>
                          <a:pt x="213998" y="172326"/>
                          <a:pt x="211455" y="169345"/>
                          <a:pt x="212265" y="166564"/>
                        </a:cubicBezTo>
                        <a:cubicBezTo>
                          <a:pt x="212789" y="164763"/>
                          <a:pt x="214084" y="164097"/>
                          <a:pt x="215713" y="163363"/>
                        </a:cubicBezTo>
                        <a:cubicBezTo>
                          <a:pt x="222009" y="163192"/>
                          <a:pt x="222142" y="171040"/>
                          <a:pt x="216617" y="171907"/>
                        </a:cubicBezTo>
                        <a:close/>
                        <a:moveTo>
                          <a:pt x="258689" y="164849"/>
                        </a:moveTo>
                        <a:cubicBezTo>
                          <a:pt x="258032" y="165125"/>
                          <a:pt x="257375" y="165402"/>
                          <a:pt x="256718" y="165668"/>
                        </a:cubicBezTo>
                        <a:cubicBezTo>
                          <a:pt x="256051" y="166830"/>
                          <a:pt x="256765" y="168669"/>
                          <a:pt x="257042" y="169945"/>
                        </a:cubicBezTo>
                        <a:cubicBezTo>
                          <a:pt x="257289" y="171231"/>
                          <a:pt x="257537" y="172517"/>
                          <a:pt x="257785" y="173803"/>
                        </a:cubicBezTo>
                        <a:cubicBezTo>
                          <a:pt x="258813" y="176403"/>
                          <a:pt x="262947" y="176089"/>
                          <a:pt x="265509" y="174955"/>
                        </a:cubicBezTo>
                        <a:cubicBezTo>
                          <a:pt x="270272" y="172860"/>
                          <a:pt x="269091" y="163897"/>
                          <a:pt x="262795" y="164030"/>
                        </a:cubicBezTo>
                        <a:cubicBezTo>
                          <a:pt x="261433" y="164306"/>
                          <a:pt x="260061" y="164573"/>
                          <a:pt x="258689" y="164849"/>
                        </a:cubicBezTo>
                        <a:close/>
                        <a:moveTo>
                          <a:pt x="28604" y="168878"/>
                        </a:moveTo>
                        <a:cubicBezTo>
                          <a:pt x="27803" y="171478"/>
                          <a:pt x="30270" y="174184"/>
                          <a:pt x="32957" y="173565"/>
                        </a:cubicBezTo>
                        <a:cubicBezTo>
                          <a:pt x="37090" y="172612"/>
                          <a:pt x="36814" y="165925"/>
                          <a:pt x="31804" y="166087"/>
                        </a:cubicBezTo>
                        <a:cubicBezTo>
                          <a:pt x="30299" y="166735"/>
                          <a:pt x="29099" y="167249"/>
                          <a:pt x="28604" y="168878"/>
                        </a:cubicBezTo>
                        <a:close/>
                        <a:moveTo>
                          <a:pt x="158601" y="166325"/>
                        </a:moveTo>
                        <a:cubicBezTo>
                          <a:pt x="159144" y="166516"/>
                          <a:pt x="159429" y="166907"/>
                          <a:pt x="159667" y="167392"/>
                        </a:cubicBezTo>
                        <a:cubicBezTo>
                          <a:pt x="159610" y="168250"/>
                          <a:pt x="159144" y="168659"/>
                          <a:pt x="158515" y="168954"/>
                        </a:cubicBezTo>
                        <a:cubicBezTo>
                          <a:pt x="157620" y="168907"/>
                          <a:pt x="157000" y="168288"/>
                          <a:pt x="156953" y="167392"/>
                        </a:cubicBezTo>
                        <a:cubicBezTo>
                          <a:pt x="157343" y="166954"/>
                          <a:pt x="157658" y="166611"/>
                          <a:pt x="158105" y="166240"/>
                        </a:cubicBezTo>
                        <a:cubicBezTo>
                          <a:pt x="158277" y="166268"/>
                          <a:pt x="158439" y="166306"/>
                          <a:pt x="158601" y="166325"/>
                        </a:cubicBezTo>
                        <a:close/>
                        <a:moveTo>
                          <a:pt x="317773" y="168954"/>
                        </a:moveTo>
                        <a:cubicBezTo>
                          <a:pt x="317049" y="170774"/>
                          <a:pt x="318935" y="172869"/>
                          <a:pt x="320811" y="172402"/>
                        </a:cubicBezTo>
                        <a:cubicBezTo>
                          <a:pt x="323783" y="171679"/>
                          <a:pt x="323326" y="167135"/>
                          <a:pt x="319583" y="167307"/>
                        </a:cubicBezTo>
                        <a:cubicBezTo>
                          <a:pt x="318868" y="167735"/>
                          <a:pt x="318097" y="168154"/>
                          <a:pt x="317773" y="168954"/>
                        </a:cubicBezTo>
                        <a:close/>
                        <a:moveTo>
                          <a:pt x="62379" y="172326"/>
                        </a:moveTo>
                        <a:cubicBezTo>
                          <a:pt x="60855" y="176232"/>
                          <a:pt x="64217" y="180623"/>
                          <a:pt x="68456" y="179889"/>
                        </a:cubicBezTo>
                        <a:cubicBezTo>
                          <a:pt x="71980" y="179279"/>
                          <a:pt x="73924" y="177365"/>
                          <a:pt x="73057" y="173317"/>
                        </a:cubicBezTo>
                        <a:cubicBezTo>
                          <a:pt x="72361" y="170040"/>
                          <a:pt x="71323" y="168469"/>
                          <a:pt x="67304" y="168554"/>
                        </a:cubicBezTo>
                        <a:cubicBezTo>
                          <a:pt x="64865" y="169564"/>
                          <a:pt x="63332" y="169878"/>
                          <a:pt x="62379" y="172326"/>
                        </a:cubicBezTo>
                        <a:close/>
                        <a:moveTo>
                          <a:pt x="136741" y="175289"/>
                        </a:moveTo>
                        <a:cubicBezTo>
                          <a:pt x="134398" y="175850"/>
                          <a:pt x="132178" y="173355"/>
                          <a:pt x="132959" y="171098"/>
                        </a:cubicBezTo>
                        <a:cubicBezTo>
                          <a:pt x="133341" y="170002"/>
                          <a:pt x="134426" y="169393"/>
                          <a:pt x="135426" y="168878"/>
                        </a:cubicBezTo>
                        <a:cubicBezTo>
                          <a:pt x="140122" y="168707"/>
                          <a:pt x="140437" y="174393"/>
                          <a:pt x="136741" y="175289"/>
                        </a:cubicBezTo>
                        <a:close/>
                        <a:moveTo>
                          <a:pt x="194434" y="174955"/>
                        </a:moveTo>
                        <a:cubicBezTo>
                          <a:pt x="192538" y="175279"/>
                          <a:pt x="190557" y="172945"/>
                          <a:pt x="191472" y="171012"/>
                        </a:cubicBezTo>
                        <a:cubicBezTo>
                          <a:pt x="191881" y="170155"/>
                          <a:pt x="192757" y="169726"/>
                          <a:pt x="193615" y="169288"/>
                        </a:cubicBezTo>
                        <a:cubicBezTo>
                          <a:pt x="197767" y="169116"/>
                          <a:pt x="197863" y="174355"/>
                          <a:pt x="194434" y="174955"/>
                        </a:cubicBezTo>
                        <a:close/>
                        <a:moveTo>
                          <a:pt x="294113" y="173060"/>
                        </a:moveTo>
                        <a:cubicBezTo>
                          <a:pt x="293246" y="175784"/>
                          <a:pt x="295656" y="178813"/>
                          <a:pt x="298466" y="178327"/>
                        </a:cubicBezTo>
                        <a:cubicBezTo>
                          <a:pt x="303219" y="177498"/>
                          <a:pt x="303114" y="170097"/>
                          <a:pt x="297647" y="170183"/>
                        </a:cubicBezTo>
                        <a:cubicBezTo>
                          <a:pt x="295951" y="170878"/>
                          <a:pt x="294675" y="171298"/>
                          <a:pt x="294113" y="173060"/>
                        </a:cubicBezTo>
                        <a:close/>
                        <a:moveTo>
                          <a:pt x="230010" y="181613"/>
                        </a:moveTo>
                        <a:cubicBezTo>
                          <a:pt x="226466" y="182127"/>
                          <a:pt x="223618" y="178032"/>
                          <a:pt x="225000" y="174631"/>
                        </a:cubicBezTo>
                        <a:cubicBezTo>
                          <a:pt x="225847" y="172536"/>
                          <a:pt x="227352" y="172279"/>
                          <a:pt x="229524" y="171421"/>
                        </a:cubicBezTo>
                        <a:cubicBezTo>
                          <a:pt x="236258" y="171421"/>
                          <a:pt x="236496" y="180670"/>
                          <a:pt x="230010" y="181613"/>
                        </a:cubicBezTo>
                        <a:close/>
                        <a:moveTo>
                          <a:pt x="114395" y="181204"/>
                        </a:moveTo>
                        <a:cubicBezTo>
                          <a:pt x="111214" y="181775"/>
                          <a:pt x="108261" y="178317"/>
                          <a:pt x="109385" y="175127"/>
                        </a:cubicBezTo>
                        <a:cubicBezTo>
                          <a:pt x="110061" y="173174"/>
                          <a:pt x="111509" y="172707"/>
                          <a:pt x="113405" y="171917"/>
                        </a:cubicBezTo>
                        <a:cubicBezTo>
                          <a:pt x="119739" y="171802"/>
                          <a:pt x="119948" y="180213"/>
                          <a:pt x="114395" y="181204"/>
                        </a:cubicBezTo>
                        <a:close/>
                        <a:moveTo>
                          <a:pt x="7810" y="173965"/>
                        </a:moveTo>
                        <a:cubicBezTo>
                          <a:pt x="7515" y="175193"/>
                          <a:pt x="9001" y="176660"/>
                          <a:pt x="10192" y="176432"/>
                        </a:cubicBezTo>
                        <a:cubicBezTo>
                          <a:pt x="12763" y="175936"/>
                          <a:pt x="12725" y="171983"/>
                          <a:pt x="9458" y="172155"/>
                        </a:cubicBezTo>
                        <a:cubicBezTo>
                          <a:pt x="8801" y="172631"/>
                          <a:pt x="8030" y="173079"/>
                          <a:pt x="7810" y="173965"/>
                        </a:cubicBezTo>
                        <a:close/>
                        <a:moveTo>
                          <a:pt x="270605" y="177498"/>
                        </a:moveTo>
                        <a:cubicBezTo>
                          <a:pt x="269729" y="180813"/>
                          <a:pt x="273072" y="184490"/>
                          <a:pt x="276196" y="183994"/>
                        </a:cubicBezTo>
                        <a:cubicBezTo>
                          <a:pt x="282959" y="182908"/>
                          <a:pt x="282588" y="173231"/>
                          <a:pt x="275206" y="173393"/>
                        </a:cubicBezTo>
                        <a:cubicBezTo>
                          <a:pt x="272863" y="174327"/>
                          <a:pt x="271282" y="174955"/>
                          <a:pt x="270605" y="177498"/>
                        </a:cubicBezTo>
                        <a:close/>
                        <a:moveTo>
                          <a:pt x="41339" y="177013"/>
                        </a:moveTo>
                        <a:cubicBezTo>
                          <a:pt x="40053" y="180099"/>
                          <a:pt x="42720" y="183861"/>
                          <a:pt x="46272" y="183175"/>
                        </a:cubicBezTo>
                        <a:cubicBezTo>
                          <a:pt x="51540" y="182156"/>
                          <a:pt x="51244" y="174241"/>
                          <a:pt x="45453" y="174136"/>
                        </a:cubicBezTo>
                        <a:cubicBezTo>
                          <a:pt x="43482" y="174898"/>
                          <a:pt x="42119" y="175127"/>
                          <a:pt x="41339" y="177013"/>
                        </a:cubicBezTo>
                        <a:close/>
                        <a:moveTo>
                          <a:pt x="173393" y="176927"/>
                        </a:moveTo>
                        <a:cubicBezTo>
                          <a:pt x="173022" y="177355"/>
                          <a:pt x="172812" y="177765"/>
                          <a:pt x="172241" y="177994"/>
                        </a:cubicBezTo>
                        <a:cubicBezTo>
                          <a:pt x="171993" y="178022"/>
                          <a:pt x="171745" y="178051"/>
                          <a:pt x="171498" y="178070"/>
                        </a:cubicBezTo>
                        <a:cubicBezTo>
                          <a:pt x="171107" y="177660"/>
                          <a:pt x="170745" y="177422"/>
                          <a:pt x="170431" y="176917"/>
                        </a:cubicBezTo>
                        <a:cubicBezTo>
                          <a:pt x="170355" y="175898"/>
                          <a:pt x="171012" y="175555"/>
                          <a:pt x="171745" y="175107"/>
                        </a:cubicBezTo>
                        <a:cubicBezTo>
                          <a:pt x="172688" y="175251"/>
                          <a:pt x="173374" y="175889"/>
                          <a:pt x="173393" y="176927"/>
                        </a:cubicBezTo>
                        <a:close/>
                        <a:moveTo>
                          <a:pt x="92535" y="186538"/>
                        </a:moveTo>
                        <a:cubicBezTo>
                          <a:pt x="91754" y="186738"/>
                          <a:pt x="90745" y="187023"/>
                          <a:pt x="89744" y="186785"/>
                        </a:cubicBezTo>
                        <a:cubicBezTo>
                          <a:pt x="88592" y="186500"/>
                          <a:pt x="87440" y="185595"/>
                          <a:pt x="86944" y="184642"/>
                        </a:cubicBezTo>
                        <a:cubicBezTo>
                          <a:pt x="86239" y="183271"/>
                          <a:pt x="85601" y="178899"/>
                          <a:pt x="86459" y="177574"/>
                        </a:cubicBezTo>
                        <a:cubicBezTo>
                          <a:pt x="87620" y="175765"/>
                          <a:pt x="89468" y="176079"/>
                          <a:pt x="91640" y="175193"/>
                        </a:cubicBezTo>
                        <a:cubicBezTo>
                          <a:pt x="98593" y="175069"/>
                          <a:pt x="99746" y="184747"/>
                          <a:pt x="92535" y="186538"/>
                        </a:cubicBezTo>
                        <a:close/>
                        <a:moveTo>
                          <a:pt x="208235" y="184899"/>
                        </a:moveTo>
                        <a:cubicBezTo>
                          <a:pt x="205473" y="185556"/>
                          <a:pt x="203073" y="182604"/>
                          <a:pt x="203711" y="180051"/>
                        </a:cubicBezTo>
                        <a:cubicBezTo>
                          <a:pt x="204159" y="178289"/>
                          <a:pt x="205502" y="177784"/>
                          <a:pt x="207083" y="177089"/>
                        </a:cubicBezTo>
                        <a:cubicBezTo>
                          <a:pt x="212341" y="177060"/>
                          <a:pt x="212655" y="183852"/>
                          <a:pt x="208235" y="184899"/>
                        </a:cubicBezTo>
                        <a:close/>
                        <a:moveTo>
                          <a:pt x="332318" y="178575"/>
                        </a:moveTo>
                        <a:cubicBezTo>
                          <a:pt x="332108" y="179260"/>
                          <a:pt x="333051" y="179851"/>
                          <a:pt x="333632" y="180051"/>
                        </a:cubicBezTo>
                        <a:cubicBezTo>
                          <a:pt x="334318" y="179775"/>
                          <a:pt x="334642" y="179460"/>
                          <a:pt x="334947" y="178822"/>
                        </a:cubicBezTo>
                        <a:cubicBezTo>
                          <a:pt x="334870" y="178022"/>
                          <a:pt x="334489" y="177832"/>
                          <a:pt x="334042" y="177422"/>
                        </a:cubicBezTo>
                        <a:cubicBezTo>
                          <a:pt x="333794" y="177394"/>
                          <a:pt x="333546" y="177375"/>
                          <a:pt x="333299" y="177336"/>
                        </a:cubicBezTo>
                        <a:cubicBezTo>
                          <a:pt x="332851" y="177698"/>
                          <a:pt x="332470" y="177879"/>
                          <a:pt x="332318" y="178575"/>
                        </a:cubicBezTo>
                        <a:close/>
                        <a:moveTo>
                          <a:pt x="150142" y="183585"/>
                        </a:moveTo>
                        <a:cubicBezTo>
                          <a:pt x="148200" y="184166"/>
                          <a:pt x="146256" y="181994"/>
                          <a:pt x="147018" y="180137"/>
                        </a:cubicBezTo>
                        <a:cubicBezTo>
                          <a:pt x="147342" y="179356"/>
                          <a:pt x="148123" y="178918"/>
                          <a:pt x="148819" y="178489"/>
                        </a:cubicBezTo>
                        <a:cubicBezTo>
                          <a:pt x="152419" y="178337"/>
                          <a:pt x="152991" y="182737"/>
                          <a:pt x="150142" y="183585"/>
                        </a:cubicBezTo>
                        <a:close/>
                        <a:moveTo>
                          <a:pt x="248422" y="184899"/>
                        </a:moveTo>
                        <a:cubicBezTo>
                          <a:pt x="248660" y="185814"/>
                          <a:pt x="249088" y="187204"/>
                          <a:pt x="248669" y="188271"/>
                        </a:cubicBezTo>
                        <a:cubicBezTo>
                          <a:pt x="248002" y="189967"/>
                          <a:pt x="246602" y="190252"/>
                          <a:pt x="244640" y="190729"/>
                        </a:cubicBezTo>
                        <a:cubicBezTo>
                          <a:pt x="243811" y="190929"/>
                          <a:pt x="242745" y="191357"/>
                          <a:pt x="241602" y="191148"/>
                        </a:cubicBezTo>
                        <a:cubicBezTo>
                          <a:pt x="238134" y="190500"/>
                          <a:pt x="235887" y="185537"/>
                          <a:pt x="238230" y="182108"/>
                        </a:cubicBezTo>
                        <a:cubicBezTo>
                          <a:pt x="239487" y="180270"/>
                          <a:pt x="240983" y="180423"/>
                          <a:pt x="243326" y="179556"/>
                        </a:cubicBezTo>
                        <a:cubicBezTo>
                          <a:pt x="247202" y="179565"/>
                          <a:pt x="247593" y="181746"/>
                          <a:pt x="248422" y="184899"/>
                        </a:cubicBezTo>
                        <a:close/>
                        <a:moveTo>
                          <a:pt x="20383" y="182185"/>
                        </a:moveTo>
                        <a:cubicBezTo>
                          <a:pt x="19593" y="184347"/>
                          <a:pt x="21660" y="186614"/>
                          <a:pt x="23755" y="186214"/>
                        </a:cubicBezTo>
                        <a:cubicBezTo>
                          <a:pt x="27375" y="185518"/>
                          <a:pt x="27242" y="179822"/>
                          <a:pt x="22936" y="179965"/>
                        </a:cubicBezTo>
                        <a:cubicBezTo>
                          <a:pt x="21812" y="180470"/>
                          <a:pt x="20812" y="181023"/>
                          <a:pt x="20383" y="182185"/>
                        </a:cubicBezTo>
                        <a:close/>
                        <a:moveTo>
                          <a:pt x="308324" y="182108"/>
                        </a:moveTo>
                        <a:cubicBezTo>
                          <a:pt x="307448" y="184252"/>
                          <a:pt x="309658" y="186776"/>
                          <a:pt x="311944" y="186299"/>
                        </a:cubicBezTo>
                        <a:cubicBezTo>
                          <a:pt x="315659" y="185518"/>
                          <a:pt x="315182" y="179794"/>
                          <a:pt x="310715" y="179965"/>
                        </a:cubicBezTo>
                        <a:cubicBezTo>
                          <a:pt x="309696" y="180480"/>
                          <a:pt x="308762" y="181042"/>
                          <a:pt x="308324" y="182108"/>
                        </a:cubicBezTo>
                        <a:close/>
                        <a:moveTo>
                          <a:pt x="127702" y="189500"/>
                        </a:moveTo>
                        <a:cubicBezTo>
                          <a:pt x="125025" y="189995"/>
                          <a:pt x="122482" y="187157"/>
                          <a:pt x="123263" y="184404"/>
                        </a:cubicBezTo>
                        <a:cubicBezTo>
                          <a:pt x="123816" y="182461"/>
                          <a:pt x="125254" y="182051"/>
                          <a:pt x="127121" y="181366"/>
                        </a:cubicBezTo>
                        <a:cubicBezTo>
                          <a:pt x="132188" y="181718"/>
                          <a:pt x="132340" y="188652"/>
                          <a:pt x="127702" y="189500"/>
                        </a:cubicBezTo>
                        <a:close/>
                        <a:moveTo>
                          <a:pt x="53826" y="186299"/>
                        </a:moveTo>
                        <a:cubicBezTo>
                          <a:pt x="52835" y="189624"/>
                          <a:pt x="56302" y="193281"/>
                          <a:pt x="59503" y="192710"/>
                        </a:cubicBezTo>
                        <a:cubicBezTo>
                          <a:pt x="65837" y="191576"/>
                          <a:pt x="65580" y="182166"/>
                          <a:pt x="58274" y="182356"/>
                        </a:cubicBezTo>
                        <a:cubicBezTo>
                          <a:pt x="56055" y="183337"/>
                          <a:pt x="54550" y="183861"/>
                          <a:pt x="53826" y="186299"/>
                        </a:cubicBezTo>
                        <a:close/>
                        <a:moveTo>
                          <a:pt x="185557" y="188271"/>
                        </a:moveTo>
                        <a:cubicBezTo>
                          <a:pt x="183680" y="188624"/>
                          <a:pt x="181756" y="186290"/>
                          <a:pt x="182680" y="184404"/>
                        </a:cubicBezTo>
                        <a:cubicBezTo>
                          <a:pt x="183080" y="183585"/>
                          <a:pt x="183909" y="183175"/>
                          <a:pt x="184737" y="182756"/>
                        </a:cubicBezTo>
                        <a:cubicBezTo>
                          <a:pt x="188690" y="182604"/>
                          <a:pt x="188843" y="187652"/>
                          <a:pt x="185557" y="188271"/>
                        </a:cubicBezTo>
                        <a:close/>
                        <a:moveTo>
                          <a:pt x="284740" y="186376"/>
                        </a:moveTo>
                        <a:cubicBezTo>
                          <a:pt x="283826" y="189357"/>
                          <a:pt x="286569" y="192653"/>
                          <a:pt x="289750" y="192043"/>
                        </a:cubicBezTo>
                        <a:cubicBezTo>
                          <a:pt x="295132" y="191014"/>
                          <a:pt x="294808" y="183118"/>
                          <a:pt x="288760" y="183004"/>
                        </a:cubicBezTo>
                        <a:cubicBezTo>
                          <a:pt x="286750" y="183804"/>
                          <a:pt x="285378" y="184261"/>
                          <a:pt x="284740" y="186376"/>
                        </a:cubicBezTo>
                        <a:close/>
                        <a:moveTo>
                          <a:pt x="106013" y="195167"/>
                        </a:moveTo>
                        <a:cubicBezTo>
                          <a:pt x="102070" y="196072"/>
                          <a:pt x="98822" y="192005"/>
                          <a:pt x="99850" y="188347"/>
                        </a:cubicBezTo>
                        <a:cubicBezTo>
                          <a:pt x="100517" y="185995"/>
                          <a:pt x="102251" y="185452"/>
                          <a:pt x="104451" y="184566"/>
                        </a:cubicBezTo>
                        <a:cubicBezTo>
                          <a:pt x="111557" y="184433"/>
                          <a:pt x="111995" y="193796"/>
                          <a:pt x="106013" y="195167"/>
                        </a:cubicBezTo>
                        <a:close/>
                        <a:moveTo>
                          <a:pt x="221713" y="194681"/>
                        </a:moveTo>
                        <a:cubicBezTo>
                          <a:pt x="218227" y="195501"/>
                          <a:pt x="215303" y="191805"/>
                          <a:pt x="216208" y="188604"/>
                        </a:cubicBezTo>
                        <a:cubicBezTo>
                          <a:pt x="216789" y="186547"/>
                          <a:pt x="218303" y="185909"/>
                          <a:pt x="220151" y="185071"/>
                        </a:cubicBezTo>
                        <a:cubicBezTo>
                          <a:pt x="226838" y="184899"/>
                          <a:pt x="227305" y="193367"/>
                          <a:pt x="221713" y="194681"/>
                        </a:cubicBezTo>
                        <a:close/>
                        <a:moveTo>
                          <a:pt x="261490" y="189824"/>
                        </a:moveTo>
                        <a:cubicBezTo>
                          <a:pt x="260128" y="193586"/>
                          <a:pt x="263728" y="198234"/>
                          <a:pt x="267576" y="197548"/>
                        </a:cubicBezTo>
                        <a:cubicBezTo>
                          <a:pt x="274453" y="196329"/>
                          <a:pt x="274101" y="186185"/>
                          <a:pt x="266509" y="186376"/>
                        </a:cubicBezTo>
                        <a:cubicBezTo>
                          <a:pt x="264185" y="187347"/>
                          <a:pt x="262338" y="187471"/>
                          <a:pt x="261490" y="189824"/>
                        </a:cubicBezTo>
                        <a:close/>
                        <a:moveTo>
                          <a:pt x="86" y="187280"/>
                        </a:moveTo>
                        <a:cubicBezTo>
                          <a:pt x="57" y="187395"/>
                          <a:pt x="38" y="187500"/>
                          <a:pt x="0" y="187604"/>
                        </a:cubicBezTo>
                        <a:cubicBezTo>
                          <a:pt x="238" y="188071"/>
                          <a:pt x="476" y="188328"/>
                          <a:pt x="905" y="188595"/>
                        </a:cubicBezTo>
                        <a:cubicBezTo>
                          <a:pt x="1581" y="188576"/>
                          <a:pt x="1857" y="188328"/>
                          <a:pt x="2057" y="187852"/>
                        </a:cubicBezTo>
                        <a:cubicBezTo>
                          <a:pt x="2086" y="187662"/>
                          <a:pt x="2115" y="187471"/>
                          <a:pt x="2143" y="187280"/>
                        </a:cubicBezTo>
                        <a:cubicBezTo>
                          <a:pt x="1810" y="186919"/>
                          <a:pt x="1610" y="186633"/>
                          <a:pt x="1067" y="186461"/>
                        </a:cubicBezTo>
                        <a:cubicBezTo>
                          <a:pt x="743" y="186728"/>
                          <a:pt x="419" y="187004"/>
                          <a:pt x="86" y="187280"/>
                        </a:cubicBezTo>
                        <a:close/>
                        <a:moveTo>
                          <a:pt x="163373" y="192624"/>
                        </a:moveTo>
                        <a:cubicBezTo>
                          <a:pt x="161477" y="193053"/>
                          <a:pt x="159715" y="191005"/>
                          <a:pt x="160334" y="189176"/>
                        </a:cubicBezTo>
                        <a:cubicBezTo>
                          <a:pt x="160639" y="188290"/>
                          <a:pt x="161525" y="187804"/>
                          <a:pt x="162306" y="187366"/>
                        </a:cubicBezTo>
                        <a:cubicBezTo>
                          <a:pt x="165964" y="187214"/>
                          <a:pt x="166392" y="191929"/>
                          <a:pt x="163373" y="192624"/>
                        </a:cubicBezTo>
                        <a:close/>
                        <a:moveTo>
                          <a:pt x="32871" y="190976"/>
                        </a:moveTo>
                        <a:cubicBezTo>
                          <a:pt x="31985" y="193805"/>
                          <a:pt x="34881" y="196386"/>
                          <a:pt x="37557" y="195748"/>
                        </a:cubicBezTo>
                        <a:cubicBezTo>
                          <a:pt x="41891" y="194710"/>
                          <a:pt x="41472" y="187919"/>
                          <a:pt x="35995" y="188100"/>
                        </a:cubicBezTo>
                        <a:cubicBezTo>
                          <a:pt x="34633" y="188862"/>
                          <a:pt x="33375" y="189376"/>
                          <a:pt x="32871" y="190976"/>
                        </a:cubicBezTo>
                        <a:close/>
                        <a:moveTo>
                          <a:pt x="322631" y="191633"/>
                        </a:moveTo>
                        <a:cubicBezTo>
                          <a:pt x="322535" y="193719"/>
                          <a:pt x="325012" y="194843"/>
                          <a:pt x="326241" y="193272"/>
                        </a:cubicBezTo>
                        <a:cubicBezTo>
                          <a:pt x="327393" y="191805"/>
                          <a:pt x="326241" y="189805"/>
                          <a:pt x="324269" y="189900"/>
                        </a:cubicBezTo>
                        <a:cubicBezTo>
                          <a:pt x="323488" y="190414"/>
                          <a:pt x="323031" y="190767"/>
                          <a:pt x="322631" y="191633"/>
                        </a:cubicBezTo>
                        <a:close/>
                        <a:moveTo>
                          <a:pt x="199196" y="198206"/>
                        </a:moveTo>
                        <a:cubicBezTo>
                          <a:pt x="196453" y="198749"/>
                          <a:pt x="194091" y="196034"/>
                          <a:pt x="194920" y="193272"/>
                        </a:cubicBezTo>
                        <a:cubicBezTo>
                          <a:pt x="195377" y="191767"/>
                          <a:pt x="196558" y="191233"/>
                          <a:pt x="197882" y="190567"/>
                        </a:cubicBezTo>
                        <a:cubicBezTo>
                          <a:pt x="203473" y="190395"/>
                          <a:pt x="203749" y="197310"/>
                          <a:pt x="199196" y="198206"/>
                        </a:cubicBezTo>
                        <a:close/>
                        <a:moveTo>
                          <a:pt x="67304" y="193357"/>
                        </a:moveTo>
                        <a:cubicBezTo>
                          <a:pt x="64970" y="197129"/>
                          <a:pt x="67885" y="201435"/>
                          <a:pt x="71333" y="202073"/>
                        </a:cubicBezTo>
                        <a:cubicBezTo>
                          <a:pt x="79400" y="203559"/>
                          <a:pt x="80124" y="190481"/>
                          <a:pt x="72152" y="190652"/>
                        </a:cubicBezTo>
                        <a:cubicBezTo>
                          <a:pt x="69952" y="191538"/>
                          <a:pt x="68456" y="191510"/>
                          <a:pt x="67304" y="193357"/>
                        </a:cubicBezTo>
                        <a:close/>
                        <a:moveTo>
                          <a:pt x="141427" y="197958"/>
                        </a:moveTo>
                        <a:cubicBezTo>
                          <a:pt x="138798" y="198663"/>
                          <a:pt x="136322" y="196139"/>
                          <a:pt x="136989" y="193519"/>
                        </a:cubicBezTo>
                        <a:cubicBezTo>
                          <a:pt x="137389" y="191967"/>
                          <a:pt x="138541" y="191376"/>
                          <a:pt x="139865" y="190729"/>
                        </a:cubicBezTo>
                        <a:cubicBezTo>
                          <a:pt x="144951" y="190576"/>
                          <a:pt x="145637" y="196844"/>
                          <a:pt x="141427" y="197958"/>
                        </a:cubicBezTo>
                        <a:close/>
                        <a:moveTo>
                          <a:pt x="299285" y="194681"/>
                        </a:moveTo>
                        <a:cubicBezTo>
                          <a:pt x="297723" y="197263"/>
                          <a:pt x="300352" y="200568"/>
                          <a:pt x="303143" y="199939"/>
                        </a:cubicBezTo>
                        <a:cubicBezTo>
                          <a:pt x="307381" y="198987"/>
                          <a:pt x="307038" y="192681"/>
                          <a:pt x="301752" y="192872"/>
                        </a:cubicBezTo>
                        <a:cubicBezTo>
                          <a:pt x="300714" y="193348"/>
                          <a:pt x="299847" y="193748"/>
                          <a:pt x="299285" y="194681"/>
                        </a:cubicBezTo>
                        <a:close/>
                        <a:moveTo>
                          <a:pt x="233134" y="204368"/>
                        </a:moveTo>
                        <a:cubicBezTo>
                          <a:pt x="229800" y="203749"/>
                          <a:pt x="227028" y="199349"/>
                          <a:pt x="229352" y="195739"/>
                        </a:cubicBezTo>
                        <a:cubicBezTo>
                          <a:pt x="230457" y="194024"/>
                          <a:pt x="231839" y="193900"/>
                          <a:pt x="233953" y="193110"/>
                        </a:cubicBezTo>
                        <a:cubicBezTo>
                          <a:pt x="241964" y="193138"/>
                          <a:pt x="241468" y="205921"/>
                          <a:pt x="233134" y="204368"/>
                        </a:cubicBezTo>
                        <a:close/>
                        <a:moveTo>
                          <a:pt x="119567" y="203549"/>
                        </a:moveTo>
                        <a:cubicBezTo>
                          <a:pt x="115767" y="204568"/>
                          <a:pt x="112576" y="201015"/>
                          <a:pt x="113652" y="197387"/>
                        </a:cubicBezTo>
                        <a:cubicBezTo>
                          <a:pt x="114262" y="195339"/>
                          <a:pt x="115748" y="194777"/>
                          <a:pt x="117596" y="193938"/>
                        </a:cubicBezTo>
                        <a:cubicBezTo>
                          <a:pt x="124254" y="193777"/>
                          <a:pt x="124901" y="202121"/>
                          <a:pt x="119567" y="203549"/>
                        </a:cubicBezTo>
                        <a:close/>
                        <a:moveTo>
                          <a:pt x="12163" y="195996"/>
                        </a:moveTo>
                        <a:cubicBezTo>
                          <a:pt x="11744" y="197615"/>
                          <a:pt x="13659" y="199025"/>
                          <a:pt x="15040" y="198625"/>
                        </a:cubicBezTo>
                        <a:cubicBezTo>
                          <a:pt x="17602" y="197891"/>
                          <a:pt x="17002" y="194034"/>
                          <a:pt x="13887" y="194186"/>
                        </a:cubicBezTo>
                        <a:cubicBezTo>
                          <a:pt x="13211" y="194672"/>
                          <a:pt x="12402" y="195072"/>
                          <a:pt x="12163" y="195996"/>
                        </a:cubicBezTo>
                        <a:close/>
                        <a:moveTo>
                          <a:pt x="177013" y="202149"/>
                        </a:moveTo>
                        <a:cubicBezTo>
                          <a:pt x="174508" y="202768"/>
                          <a:pt x="172422" y="200292"/>
                          <a:pt x="173069" y="197958"/>
                        </a:cubicBezTo>
                        <a:cubicBezTo>
                          <a:pt x="173469" y="196501"/>
                          <a:pt x="174660" y="196139"/>
                          <a:pt x="176032" y="195577"/>
                        </a:cubicBezTo>
                        <a:cubicBezTo>
                          <a:pt x="180223" y="195539"/>
                          <a:pt x="180499" y="201292"/>
                          <a:pt x="177013" y="202149"/>
                        </a:cubicBezTo>
                        <a:close/>
                        <a:moveTo>
                          <a:pt x="275615" y="199444"/>
                        </a:moveTo>
                        <a:cubicBezTo>
                          <a:pt x="274701" y="202463"/>
                          <a:pt x="277549" y="206083"/>
                          <a:pt x="280387" y="205692"/>
                        </a:cubicBezTo>
                        <a:cubicBezTo>
                          <a:pt x="286760" y="204797"/>
                          <a:pt x="286617" y="195786"/>
                          <a:pt x="279397" y="195996"/>
                        </a:cubicBezTo>
                        <a:cubicBezTo>
                          <a:pt x="277644" y="196872"/>
                          <a:pt x="276225" y="197444"/>
                          <a:pt x="275615" y="199444"/>
                        </a:cubicBezTo>
                        <a:close/>
                        <a:moveTo>
                          <a:pt x="45615" y="199520"/>
                        </a:moveTo>
                        <a:cubicBezTo>
                          <a:pt x="44682" y="202663"/>
                          <a:pt x="47425" y="206092"/>
                          <a:pt x="50959" y="205273"/>
                        </a:cubicBezTo>
                        <a:cubicBezTo>
                          <a:pt x="56198" y="204064"/>
                          <a:pt x="55655" y="196129"/>
                          <a:pt x="49149" y="196320"/>
                        </a:cubicBezTo>
                        <a:cubicBezTo>
                          <a:pt x="47577" y="197110"/>
                          <a:pt x="46139" y="197749"/>
                          <a:pt x="45615" y="199520"/>
                        </a:cubicBezTo>
                        <a:close/>
                        <a:moveTo>
                          <a:pt x="101736" y="205607"/>
                        </a:moveTo>
                        <a:cubicBezTo>
                          <a:pt x="100870" y="207750"/>
                          <a:pt x="99460" y="208121"/>
                          <a:pt x="96974" y="208731"/>
                        </a:cubicBezTo>
                        <a:cubicBezTo>
                          <a:pt x="95831" y="209007"/>
                          <a:pt x="94136" y="209636"/>
                          <a:pt x="92707" y="209226"/>
                        </a:cubicBezTo>
                        <a:cubicBezTo>
                          <a:pt x="91192" y="208493"/>
                          <a:pt x="89678" y="200958"/>
                          <a:pt x="90897" y="199368"/>
                        </a:cubicBezTo>
                        <a:cubicBezTo>
                          <a:pt x="92059" y="197853"/>
                          <a:pt x="94126" y="198187"/>
                          <a:pt x="96069" y="197396"/>
                        </a:cubicBezTo>
                        <a:cubicBezTo>
                          <a:pt x="100050" y="197301"/>
                          <a:pt x="103442" y="201425"/>
                          <a:pt x="101736" y="205607"/>
                        </a:cubicBezTo>
                        <a:close/>
                        <a:moveTo>
                          <a:pt x="212265" y="208074"/>
                        </a:moveTo>
                        <a:cubicBezTo>
                          <a:pt x="209036" y="208616"/>
                          <a:pt x="206426" y="205064"/>
                          <a:pt x="207331" y="201911"/>
                        </a:cubicBezTo>
                        <a:cubicBezTo>
                          <a:pt x="207940" y="199806"/>
                          <a:pt x="209521" y="199330"/>
                          <a:pt x="211522" y="198539"/>
                        </a:cubicBezTo>
                        <a:cubicBezTo>
                          <a:pt x="218103" y="198425"/>
                          <a:pt x="218323" y="207045"/>
                          <a:pt x="212265" y="208074"/>
                        </a:cubicBezTo>
                        <a:close/>
                        <a:moveTo>
                          <a:pt x="252527" y="201997"/>
                        </a:moveTo>
                        <a:cubicBezTo>
                          <a:pt x="252079" y="202778"/>
                          <a:pt x="252346" y="204159"/>
                          <a:pt x="252527" y="204949"/>
                        </a:cubicBezTo>
                        <a:cubicBezTo>
                          <a:pt x="253336" y="208540"/>
                          <a:pt x="253670" y="210550"/>
                          <a:pt x="257461" y="211122"/>
                        </a:cubicBezTo>
                        <a:cubicBezTo>
                          <a:pt x="265071" y="212245"/>
                          <a:pt x="266109" y="199368"/>
                          <a:pt x="258527" y="199530"/>
                        </a:cubicBezTo>
                        <a:cubicBezTo>
                          <a:pt x="256203" y="200463"/>
                          <a:pt x="253708" y="199949"/>
                          <a:pt x="252527" y="201997"/>
                        </a:cubicBezTo>
                        <a:close/>
                        <a:moveTo>
                          <a:pt x="154657" y="207007"/>
                        </a:moveTo>
                        <a:cubicBezTo>
                          <a:pt x="151990" y="207607"/>
                          <a:pt x="149695" y="204921"/>
                          <a:pt x="150381" y="202406"/>
                        </a:cubicBezTo>
                        <a:cubicBezTo>
                          <a:pt x="150857" y="200663"/>
                          <a:pt x="152095" y="200244"/>
                          <a:pt x="153752" y="199615"/>
                        </a:cubicBezTo>
                        <a:cubicBezTo>
                          <a:pt x="158477" y="199920"/>
                          <a:pt x="158820" y="206073"/>
                          <a:pt x="154657" y="207007"/>
                        </a:cubicBezTo>
                        <a:close/>
                        <a:moveTo>
                          <a:pt x="24898" y="204130"/>
                        </a:moveTo>
                        <a:cubicBezTo>
                          <a:pt x="23879" y="206416"/>
                          <a:pt x="26041" y="208826"/>
                          <a:pt x="28432" y="208321"/>
                        </a:cubicBezTo>
                        <a:cubicBezTo>
                          <a:pt x="31918" y="207578"/>
                          <a:pt x="31471" y="202016"/>
                          <a:pt x="27365" y="202159"/>
                        </a:cubicBezTo>
                        <a:cubicBezTo>
                          <a:pt x="26317" y="202635"/>
                          <a:pt x="25365" y="203092"/>
                          <a:pt x="24898" y="204130"/>
                        </a:cubicBezTo>
                        <a:close/>
                        <a:moveTo>
                          <a:pt x="313420" y="204368"/>
                        </a:moveTo>
                        <a:cubicBezTo>
                          <a:pt x="312610" y="206007"/>
                          <a:pt x="314449" y="208264"/>
                          <a:pt x="316297" y="207816"/>
                        </a:cubicBezTo>
                        <a:cubicBezTo>
                          <a:pt x="319230" y="207121"/>
                          <a:pt x="318897" y="202635"/>
                          <a:pt x="315230" y="202806"/>
                        </a:cubicBezTo>
                        <a:cubicBezTo>
                          <a:pt x="314534" y="203225"/>
                          <a:pt x="313782" y="203644"/>
                          <a:pt x="313420" y="204368"/>
                        </a:cubicBezTo>
                        <a:close/>
                        <a:moveTo>
                          <a:pt x="132312" y="212341"/>
                        </a:moveTo>
                        <a:cubicBezTo>
                          <a:pt x="128921" y="212960"/>
                          <a:pt x="126387" y="209664"/>
                          <a:pt x="127216" y="206512"/>
                        </a:cubicBezTo>
                        <a:cubicBezTo>
                          <a:pt x="127749" y="204483"/>
                          <a:pt x="129226" y="203911"/>
                          <a:pt x="131074" y="203140"/>
                        </a:cubicBezTo>
                        <a:cubicBezTo>
                          <a:pt x="137579" y="202997"/>
                          <a:pt x="137893" y="211322"/>
                          <a:pt x="132312" y="212341"/>
                        </a:cubicBezTo>
                        <a:close/>
                        <a:moveTo>
                          <a:pt x="190405" y="211846"/>
                        </a:moveTo>
                        <a:cubicBezTo>
                          <a:pt x="187347" y="212455"/>
                          <a:pt x="184766" y="209636"/>
                          <a:pt x="185633" y="206588"/>
                        </a:cubicBezTo>
                        <a:cubicBezTo>
                          <a:pt x="186166" y="204711"/>
                          <a:pt x="187700" y="204235"/>
                          <a:pt x="189490" y="203549"/>
                        </a:cubicBezTo>
                        <a:cubicBezTo>
                          <a:pt x="194739" y="203921"/>
                          <a:pt x="195205" y="210893"/>
                          <a:pt x="190405" y="211846"/>
                        </a:cubicBezTo>
                        <a:close/>
                        <a:moveTo>
                          <a:pt x="58426" y="208321"/>
                        </a:moveTo>
                        <a:cubicBezTo>
                          <a:pt x="57369" y="211798"/>
                          <a:pt x="60408" y="215408"/>
                          <a:pt x="64017" y="214732"/>
                        </a:cubicBezTo>
                        <a:cubicBezTo>
                          <a:pt x="70161" y="213589"/>
                          <a:pt x="69894" y="204425"/>
                          <a:pt x="62293" y="204626"/>
                        </a:cubicBezTo>
                        <a:cubicBezTo>
                          <a:pt x="60522" y="205511"/>
                          <a:pt x="59045" y="206302"/>
                          <a:pt x="58426" y="208321"/>
                        </a:cubicBezTo>
                        <a:close/>
                        <a:moveTo>
                          <a:pt x="289750" y="208731"/>
                        </a:moveTo>
                        <a:cubicBezTo>
                          <a:pt x="288950" y="211560"/>
                          <a:pt x="291722" y="214236"/>
                          <a:pt x="294513" y="213503"/>
                        </a:cubicBezTo>
                        <a:cubicBezTo>
                          <a:pt x="298894" y="212350"/>
                          <a:pt x="298294" y="205616"/>
                          <a:pt x="292951" y="205778"/>
                        </a:cubicBezTo>
                        <a:cubicBezTo>
                          <a:pt x="291484" y="206492"/>
                          <a:pt x="290236" y="207045"/>
                          <a:pt x="289750" y="208731"/>
                        </a:cubicBezTo>
                        <a:close/>
                        <a:moveTo>
                          <a:pt x="109461" y="217846"/>
                        </a:moveTo>
                        <a:cubicBezTo>
                          <a:pt x="105861" y="218494"/>
                          <a:pt x="102984" y="213903"/>
                          <a:pt x="103956" y="210369"/>
                        </a:cubicBezTo>
                        <a:cubicBezTo>
                          <a:pt x="104565" y="208150"/>
                          <a:pt x="106480" y="207416"/>
                          <a:pt x="108480" y="206512"/>
                        </a:cubicBezTo>
                        <a:cubicBezTo>
                          <a:pt x="116805" y="206330"/>
                          <a:pt x="117491" y="216408"/>
                          <a:pt x="109461" y="217846"/>
                        </a:cubicBezTo>
                        <a:close/>
                        <a:moveTo>
                          <a:pt x="225571" y="217684"/>
                        </a:moveTo>
                        <a:cubicBezTo>
                          <a:pt x="222028" y="218313"/>
                          <a:pt x="218865" y="214379"/>
                          <a:pt x="219732" y="210864"/>
                        </a:cubicBezTo>
                        <a:cubicBezTo>
                          <a:pt x="220389" y="208207"/>
                          <a:pt x="222247" y="207550"/>
                          <a:pt x="224580" y="206512"/>
                        </a:cubicBezTo>
                        <a:cubicBezTo>
                          <a:pt x="231915" y="206350"/>
                          <a:pt x="233658" y="216246"/>
                          <a:pt x="225571" y="217684"/>
                        </a:cubicBezTo>
                        <a:close/>
                        <a:moveTo>
                          <a:pt x="167802" y="216294"/>
                        </a:moveTo>
                        <a:cubicBezTo>
                          <a:pt x="165087" y="216779"/>
                          <a:pt x="162677" y="213970"/>
                          <a:pt x="163363" y="211274"/>
                        </a:cubicBezTo>
                        <a:cubicBezTo>
                          <a:pt x="163849" y="209388"/>
                          <a:pt x="165183" y="208864"/>
                          <a:pt x="166897" y="208150"/>
                        </a:cubicBezTo>
                        <a:cubicBezTo>
                          <a:pt x="172488" y="208035"/>
                          <a:pt x="172841" y="215379"/>
                          <a:pt x="167802" y="216294"/>
                        </a:cubicBezTo>
                        <a:close/>
                        <a:moveTo>
                          <a:pt x="4439" y="209636"/>
                        </a:moveTo>
                        <a:cubicBezTo>
                          <a:pt x="4524" y="210445"/>
                          <a:pt x="4972" y="210607"/>
                          <a:pt x="5515" y="210950"/>
                        </a:cubicBezTo>
                        <a:cubicBezTo>
                          <a:pt x="6172" y="210693"/>
                          <a:pt x="6601" y="210426"/>
                          <a:pt x="6667" y="209550"/>
                        </a:cubicBezTo>
                        <a:cubicBezTo>
                          <a:pt x="6296" y="209112"/>
                          <a:pt x="6172" y="208740"/>
                          <a:pt x="5429" y="208645"/>
                        </a:cubicBezTo>
                        <a:cubicBezTo>
                          <a:pt x="4972" y="208969"/>
                          <a:pt x="4705" y="209112"/>
                          <a:pt x="4439" y="209636"/>
                        </a:cubicBezTo>
                        <a:close/>
                        <a:moveTo>
                          <a:pt x="266500" y="212760"/>
                        </a:moveTo>
                        <a:cubicBezTo>
                          <a:pt x="265509" y="216027"/>
                          <a:pt x="268795" y="219827"/>
                          <a:pt x="272329" y="219094"/>
                        </a:cubicBezTo>
                        <a:cubicBezTo>
                          <a:pt x="278063" y="217894"/>
                          <a:pt x="277663" y="208883"/>
                          <a:pt x="270767" y="209064"/>
                        </a:cubicBezTo>
                        <a:cubicBezTo>
                          <a:pt x="268719" y="209931"/>
                          <a:pt x="267167" y="210550"/>
                          <a:pt x="266500" y="212760"/>
                        </a:cubicBezTo>
                        <a:close/>
                        <a:moveTo>
                          <a:pt x="37481" y="212998"/>
                        </a:moveTo>
                        <a:cubicBezTo>
                          <a:pt x="36690" y="215484"/>
                          <a:pt x="38891" y="218389"/>
                          <a:pt x="41510" y="217932"/>
                        </a:cubicBezTo>
                        <a:cubicBezTo>
                          <a:pt x="45892" y="217160"/>
                          <a:pt x="45968" y="210207"/>
                          <a:pt x="40691" y="210369"/>
                        </a:cubicBezTo>
                        <a:cubicBezTo>
                          <a:pt x="39186" y="210988"/>
                          <a:pt x="37976" y="211445"/>
                          <a:pt x="37481" y="212998"/>
                        </a:cubicBezTo>
                        <a:close/>
                        <a:moveTo>
                          <a:pt x="203635" y="221628"/>
                        </a:moveTo>
                        <a:cubicBezTo>
                          <a:pt x="200044" y="222285"/>
                          <a:pt x="197244" y="218656"/>
                          <a:pt x="198215" y="215217"/>
                        </a:cubicBezTo>
                        <a:cubicBezTo>
                          <a:pt x="198825" y="213046"/>
                          <a:pt x="200454" y="212569"/>
                          <a:pt x="202406" y="211684"/>
                        </a:cubicBezTo>
                        <a:cubicBezTo>
                          <a:pt x="209398" y="211512"/>
                          <a:pt x="209645" y="220532"/>
                          <a:pt x="203635" y="221628"/>
                        </a:cubicBezTo>
                        <a:close/>
                        <a:moveTo>
                          <a:pt x="146190" y="221218"/>
                        </a:moveTo>
                        <a:cubicBezTo>
                          <a:pt x="142827" y="222066"/>
                          <a:pt x="139570" y="219037"/>
                          <a:pt x="140522" y="215551"/>
                        </a:cubicBezTo>
                        <a:cubicBezTo>
                          <a:pt x="141075" y="213541"/>
                          <a:pt x="142513" y="212922"/>
                          <a:pt x="144304" y="212103"/>
                        </a:cubicBezTo>
                        <a:cubicBezTo>
                          <a:pt x="150828" y="211931"/>
                          <a:pt x="151286" y="219942"/>
                          <a:pt x="146190" y="221218"/>
                        </a:cubicBezTo>
                        <a:close/>
                        <a:moveTo>
                          <a:pt x="243411" y="214808"/>
                        </a:moveTo>
                        <a:cubicBezTo>
                          <a:pt x="242821" y="215665"/>
                          <a:pt x="243488" y="217503"/>
                          <a:pt x="243659" y="218256"/>
                        </a:cubicBezTo>
                        <a:cubicBezTo>
                          <a:pt x="244354" y="221342"/>
                          <a:pt x="244469" y="223495"/>
                          <a:pt x="247440" y="224257"/>
                        </a:cubicBezTo>
                        <a:cubicBezTo>
                          <a:pt x="256213" y="226495"/>
                          <a:pt x="257680" y="212627"/>
                          <a:pt x="249984" y="212750"/>
                        </a:cubicBezTo>
                        <a:cubicBezTo>
                          <a:pt x="247974" y="213608"/>
                          <a:pt x="244554" y="213131"/>
                          <a:pt x="243411" y="214808"/>
                        </a:cubicBezTo>
                        <a:close/>
                        <a:moveTo>
                          <a:pt x="71495" y="216370"/>
                        </a:moveTo>
                        <a:cubicBezTo>
                          <a:pt x="69875" y="220170"/>
                          <a:pt x="73085" y="224704"/>
                          <a:pt x="77410" y="223933"/>
                        </a:cubicBezTo>
                        <a:cubicBezTo>
                          <a:pt x="84010" y="222752"/>
                          <a:pt x="83534" y="212817"/>
                          <a:pt x="76009" y="212998"/>
                        </a:cubicBezTo>
                        <a:cubicBezTo>
                          <a:pt x="73942" y="213846"/>
                          <a:pt x="72352" y="214379"/>
                          <a:pt x="71495" y="216370"/>
                        </a:cubicBezTo>
                        <a:close/>
                        <a:moveTo>
                          <a:pt x="328212" y="213903"/>
                        </a:moveTo>
                        <a:cubicBezTo>
                          <a:pt x="328184" y="214093"/>
                          <a:pt x="328155" y="214284"/>
                          <a:pt x="328127" y="214484"/>
                        </a:cubicBezTo>
                        <a:cubicBezTo>
                          <a:pt x="328432" y="214760"/>
                          <a:pt x="328736" y="215036"/>
                          <a:pt x="329032" y="215303"/>
                        </a:cubicBezTo>
                        <a:cubicBezTo>
                          <a:pt x="329117" y="215303"/>
                          <a:pt x="329203" y="215303"/>
                          <a:pt x="329279" y="215303"/>
                        </a:cubicBezTo>
                        <a:cubicBezTo>
                          <a:pt x="329775" y="215055"/>
                          <a:pt x="330022" y="214817"/>
                          <a:pt x="330260" y="214313"/>
                        </a:cubicBezTo>
                        <a:cubicBezTo>
                          <a:pt x="330184" y="213560"/>
                          <a:pt x="329756" y="213179"/>
                          <a:pt x="329022" y="213074"/>
                        </a:cubicBezTo>
                        <a:cubicBezTo>
                          <a:pt x="328660" y="213370"/>
                          <a:pt x="328403" y="213427"/>
                          <a:pt x="328212" y="213903"/>
                        </a:cubicBezTo>
                        <a:close/>
                        <a:moveTo>
                          <a:pt x="123511" y="226562"/>
                        </a:moveTo>
                        <a:cubicBezTo>
                          <a:pt x="119739" y="227247"/>
                          <a:pt x="116395" y="223152"/>
                          <a:pt x="117510" y="219494"/>
                        </a:cubicBezTo>
                        <a:cubicBezTo>
                          <a:pt x="118291" y="216903"/>
                          <a:pt x="120005" y="216503"/>
                          <a:pt x="122520" y="215551"/>
                        </a:cubicBezTo>
                        <a:cubicBezTo>
                          <a:pt x="129692" y="215570"/>
                          <a:pt x="130035" y="225371"/>
                          <a:pt x="123511" y="226562"/>
                        </a:cubicBezTo>
                        <a:close/>
                        <a:moveTo>
                          <a:pt x="304381" y="217189"/>
                        </a:moveTo>
                        <a:cubicBezTo>
                          <a:pt x="303171" y="219094"/>
                          <a:pt x="305162" y="221856"/>
                          <a:pt x="307334" y="221466"/>
                        </a:cubicBezTo>
                        <a:cubicBezTo>
                          <a:pt x="310696" y="220856"/>
                          <a:pt x="310391" y="215684"/>
                          <a:pt x="306753" y="215627"/>
                        </a:cubicBezTo>
                        <a:cubicBezTo>
                          <a:pt x="305667" y="216046"/>
                          <a:pt x="304952" y="216294"/>
                          <a:pt x="304381" y="217189"/>
                        </a:cubicBezTo>
                        <a:close/>
                        <a:moveTo>
                          <a:pt x="17916" y="220561"/>
                        </a:moveTo>
                        <a:cubicBezTo>
                          <a:pt x="19498" y="221475"/>
                          <a:pt x="20965" y="219799"/>
                          <a:pt x="21031" y="218341"/>
                        </a:cubicBezTo>
                        <a:cubicBezTo>
                          <a:pt x="20450" y="217227"/>
                          <a:pt x="20164" y="216408"/>
                          <a:pt x="18402" y="216456"/>
                        </a:cubicBezTo>
                        <a:cubicBezTo>
                          <a:pt x="16897" y="217360"/>
                          <a:pt x="15907" y="219389"/>
                          <a:pt x="17916" y="220561"/>
                        </a:cubicBezTo>
                        <a:close/>
                        <a:moveTo>
                          <a:pt x="181366" y="225819"/>
                        </a:moveTo>
                        <a:cubicBezTo>
                          <a:pt x="178079" y="226457"/>
                          <a:pt x="175260" y="223152"/>
                          <a:pt x="176193" y="219818"/>
                        </a:cubicBezTo>
                        <a:cubicBezTo>
                          <a:pt x="176727" y="217903"/>
                          <a:pt x="178222" y="217341"/>
                          <a:pt x="179803" y="216446"/>
                        </a:cubicBezTo>
                        <a:cubicBezTo>
                          <a:pt x="186814" y="216275"/>
                          <a:pt x="187033" y="224714"/>
                          <a:pt x="181366" y="225819"/>
                        </a:cubicBezTo>
                        <a:close/>
                        <a:moveTo>
                          <a:pt x="50301" y="221790"/>
                        </a:moveTo>
                        <a:cubicBezTo>
                          <a:pt x="49416" y="224704"/>
                          <a:pt x="51968" y="227943"/>
                          <a:pt x="55064" y="227295"/>
                        </a:cubicBezTo>
                        <a:cubicBezTo>
                          <a:pt x="60188" y="226247"/>
                          <a:pt x="59998" y="218475"/>
                          <a:pt x="53578" y="218665"/>
                        </a:cubicBezTo>
                        <a:cubicBezTo>
                          <a:pt x="52083" y="219437"/>
                          <a:pt x="50816" y="220085"/>
                          <a:pt x="50301" y="221790"/>
                        </a:cubicBezTo>
                        <a:close/>
                        <a:moveTo>
                          <a:pt x="280721" y="221875"/>
                        </a:moveTo>
                        <a:cubicBezTo>
                          <a:pt x="279892" y="224800"/>
                          <a:pt x="282473" y="227609"/>
                          <a:pt x="285407" y="227047"/>
                        </a:cubicBezTo>
                        <a:cubicBezTo>
                          <a:pt x="290312" y="226104"/>
                          <a:pt x="289903" y="218646"/>
                          <a:pt x="284007" y="218837"/>
                        </a:cubicBezTo>
                        <a:cubicBezTo>
                          <a:pt x="282502" y="219570"/>
                          <a:pt x="281197" y="220170"/>
                          <a:pt x="280721" y="221875"/>
                        </a:cubicBezTo>
                        <a:close/>
                        <a:moveTo>
                          <a:pt x="220723" y="221713"/>
                        </a:moveTo>
                        <a:cubicBezTo>
                          <a:pt x="222199" y="223609"/>
                          <a:pt x="222723" y="228124"/>
                          <a:pt x="220723" y="229686"/>
                        </a:cubicBezTo>
                        <a:cubicBezTo>
                          <a:pt x="219942" y="230295"/>
                          <a:pt x="219189" y="230381"/>
                          <a:pt x="218008" y="230667"/>
                        </a:cubicBezTo>
                        <a:cubicBezTo>
                          <a:pt x="217103" y="230886"/>
                          <a:pt x="215941" y="231391"/>
                          <a:pt x="214722" y="231162"/>
                        </a:cubicBezTo>
                        <a:cubicBezTo>
                          <a:pt x="211884" y="230629"/>
                          <a:pt x="209531" y="226676"/>
                          <a:pt x="211017" y="223190"/>
                        </a:cubicBezTo>
                        <a:cubicBezTo>
                          <a:pt x="211969" y="220970"/>
                          <a:pt x="213617" y="220656"/>
                          <a:pt x="215951" y="219742"/>
                        </a:cubicBezTo>
                        <a:cubicBezTo>
                          <a:pt x="218094" y="219713"/>
                          <a:pt x="219799" y="220513"/>
                          <a:pt x="220723" y="221713"/>
                        </a:cubicBezTo>
                        <a:close/>
                        <a:moveTo>
                          <a:pt x="158772" y="230505"/>
                        </a:moveTo>
                        <a:cubicBezTo>
                          <a:pt x="155915" y="230943"/>
                          <a:pt x="152819" y="227524"/>
                          <a:pt x="153590" y="224504"/>
                        </a:cubicBezTo>
                        <a:cubicBezTo>
                          <a:pt x="154238" y="221999"/>
                          <a:pt x="155858" y="221542"/>
                          <a:pt x="158191" y="220637"/>
                        </a:cubicBezTo>
                        <a:cubicBezTo>
                          <a:pt x="164763" y="220704"/>
                          <a:pt x="164935" y="229543"/>
                          <a:pt x="158772" y="230505"/>
                        </a:cubicBezTo>
                        <a:close/>
                        <a:moveTo>
                          <a:pt x="85134" y="224018"/>
                        </a:moveTo>
                        <a:cubicBezTo>
                          <a:pt x="82363" y="227866"/>
                          <a:pt x="85373" y="232458"/>
                          <a:pt x="89087" y="233143"/>
                        </a:cubicBezTo>
                        <a:cubicBezTo>
                          <a:pt x="92078" y="233696"/>
                          <a:pt x="94917" y="231477"/>
                          <a:pt x="95488" y="229524"/>
                        </a:cubicBezTo>
                        <a:cubicBezTo>
                          <a:pt x="95783" y="228524"/>
                          <a:pt x="95412" y="227362"/>
                          <a:pt x="95250" y="226571"/>
                        </a:cubicBezTo>
                        <a:cubicBezTo>
                          <a:pt x="94631" y="223685"/>
                          <a:pt x="94278" y="221494"/>
                          <a:pt x="90726" y="221551"/>
                        </a:cubicBezTo>
                        <a:cubicBezTo>
                          <a:pt x="88363" y="222533"/>
                          <a:pt x="86506" y="222123"/>
                          <a:pt x="85134" y="224018"/>
                        </a:cubicBezTo>
                        <a:close/>
                        <a:moveTo>
                          <a:pt x="257546" y="226152"/>
                        </a:moveTo>
                        <a:cubicBezTo>
                          <a:pt x="256689" y="229476"/>
                          <a:pt x="259956" y="233096"/>
                          <a:pt x="263214" y="232477"/>
                        </a:cubicBezTo>
                        <a:cubicBezTo>
                          <a:pt x="269310" y="231324"/>
                          <a:pt x="268910" y="222123"/>
                          <a:pt x="262147" y="222209"/>
                        </a:cubicBezTo>
                        <a:cubicBezTo>
                          <a:pt x="259851" y="223114"/>
                          <a:pt x="258185" y="223666"/>
                          <a:pt x="257546" y="226152"/>
                        </a:cubicBezTo>
                        <a:close/>
                        <a:moveTo>
                          <a:pt x="29337" y="226724"/>
                        </a:moveTo>
                        <a:cubicBezTo>
                          <a:pt x="28794" y="228543"/>
                          <a:pt x="30728" y="230743"/>
                          <a:pt x="32785" y="230257"/>
                        </a:cubicBezTo>
                        <a:cubicBezTo>
                          <a:pt x="35985" y="229505"/>
                          <a:pt x="35547" y="224838"/>
                          <a:pt x="32128" y="224504"/>
                        </a:cubicBezTo>
                        <a:cubicBezTo>
                          <a:pt x="30842" y="225000"/>
                          <a:pt x="29737" y="225400"/>
                          <a:pt x="29337" y="226724"/>
                        </a:cubicBezTo>
                        <a:close/>
                        <a:moveTo>
                          <a:pt x="136827" y="235439"/>
                        </a:moveTo>
                        <a:cubicBezTo>
                          <a:pt x="132864" y="236163"/>
                          <a:pt x="129740" y="232257"/>
                          <a:pt x="130826" y="228533"/>
                        </a:cubicBezTo>
                        <a:cubicBezTo>
                          <a:pt x="131540" y="226095"/>
                          <a:pt x="133159" y="225495"/>
                          <a:pt x="135350" y="224504"/>
                        </a:cubicBezTo>
                        <a:cubicBezTo>
                          <a:pt x="143142" y="224333"/>
                          <a:pt x="143647" y="234191"/>
                          <a:pt x="136827" y="235439"/>
                        </a:cubicBezTo>
                        <a:close/>
                        <a:moveTo>
                          <a:pt x="195005" y="235353"/>
                        </a:moveTo>
                        <a:cubicBezTo>
                          <a:pt x="191243" y="236144"/>
                          <a:pt x="187881" y="232134"/>
                          <a:pt x="188843" y="228609"/>
                        </a:cubicBezTo>
                        <a:cubicBezTo>
                          <a:pt x="189481" y="226276"/>
                          <a:pt x="191081" y="225657"/>
                          <a:pt x="193119" y="224666"/>
                        </a:cubicBezTo>
                        <a:cubicBezTo>
                          <a:pt x="200977" y="224495"/>
                          <a:pt x="201311" y="234020"/>
                          <a:pt x="195005" y="235353"/>
                        </a:cubicBezTo>
                        <a:close/>
                        <a:moveTo>
                          <a:pt x="318678" y="227543"/>
                        </a:moveTo>
                        <a:cubicBezTo>
                          <a:pt x="319021" y="228257"/>
                          <a:pt x="319373" y="228676"/>
                          <a:pt x="320078" y="229019"/>
                        </a:cubicBezTo>
                        <a:cubicBezTo>
                          <a:pt x="321031" y="229019"/>
                          <a:pt x="321554" y="228552"/>
                          <a:pt x="321802" y="227866"/>
                        </a:cubicBezTo>
                        <a:cubicBezTo>
                          <a:pt x="322212" y="226971"/>
                          <a:pt x="321250" y="226181"/>
                          <a:pt x="320649" y="225981"/>
                        </a:cubicBezTo>
                        <a:cubicBezTo>
                          <a:pt x="320431" y="225952"/>
                          <a:pt x="320211" y="225923"/>
                          <a:pt x="319992" y="225895"/>
                        </a:cubicBezTo>
                        <a:cubicBezTo>
                          <a:pt x="319354" y="226333"/>
                          <a:pt x="318830" y="226619"/>
                          <a:pt x="318678" y="227543"/>
                        </a:cubicBezTo>
                        <a:close/>
                        <a:moveTo>
                          <a:pt x="234696" y="228457"/>
                        </a:moveTo>
                        <a:cubicBezTo>
                          <a:pt x="234163" y="229314"/>
                          <a:pt x="234591" y="230762"/>
                          <a:pt x="234782" y="231581"/>
                        </a:cubicBezTo>
                        <a:cubicBezTo>
                          <a:pt x="235553" y="235010"/>
                          <a:pt x="236010" y="236992"/>
                          <a:pt x="239468" y="237668"/>
                        </a:cubicBezTo>
                        <a:cubicBezTo>
                          <a:pt x="247298" y="239182"/>
                          <a:pt x="248622" y="225952"/>
                          <a:pt x="241106" y="226076"/>
                        </a:cubicBezTo>
                        <a:cubicBezTo>
                          <a:pt x="238820" y="227028"/>
                          <a:pt x="235915" y="226466"/>
                          <a:pt x="234696" y="228457"/>
                        </a:cubicBezTo>
                        <a:close/>
                        <a:moveTo>
                          <a:pt x="63113" y="230667"/>
                        </a:moveTo>
                        <a:cubicBezTo>
                          <a:pt x="62217" y="233886"/>
                          <a:pt x="65142" y="237058"/>
                          <a:pt x="68285" y="236506"/>
                        </a:cubicBezTo>
                        <a:cubicBezTo>
                          <a:pt x="74019" y="235487"/>
                          <a:pt x="73847" y="226943"/>
                          <a:pt x="67056" y="227133"/>
                        </a:cubicBezTo>
                        <a:cubicBezTo>
                          <a:pt x="65113" y="227962"/>
                          <a:pt x="63703" y="228533"/>
                          <a:pt x="63113" y="230667"/>
                        </a:cubicBezTo>
                        <a:close/>
                        <a:moveTo>
                          <a:pt x="295180" y="230753"/>
                        </a:moveTo>
                        <a:cubicBezTo>
                          <a:pt x="294341" y="232772"/>
                          <a:pt x="296247" y="235458"/>
                          <a:pt x="298628" y="234944"/>
                        </a:cubicBezTo>
                        <a:cubicBezTo>
                          <a:pt x="302257" y="234163"/>
                          <a:pt x="301781" y="228600"/>
                          <a:pt x="297399" y="228781"/>
                        </a:cubicBezTo>
                        <a:cubicBezTo>
                          <a:pt x="296485" y="229314"/>
                          <a:pt x="295608" y="229733"/>
                          <a:pt x="295180" y="230753"/>
                        </a:cubicBezTo>
                        <a:close/>
                        <a:moveTo>
                          <a:pt x="172326" y="239792"/>
                        </a:moveTo>
                        <a:cubicBezTo>
                          <a:pt x="168802" y="240392"/>
                          <a:pt x="165706" y="236420"/>
                          <a:pt x="166649" y="232972"/>
                        </a:cubicBezTo>
                        <a:cubicBezTo>
                          <a:pt x="167335" y="230505"/>
                          <a:pt x="169021" y="230029"/>
                          <a:pt x="171336" y="229114"/>
                        </a:cubicBezTo>
                        <a:cubicBezTo>
                          <a:pt x="178584" y="229010"/>
                          <a:pt x="178937" y="238658"/>
                          <a:pt x="172326" y="239792"/>
                        </a:cubicBezTo>
                        <a:close/>
                        <a:moveTo>
                          <a:pt x="271843" y="235020"/>
                        </a:moveTo>
                        <a:cubicBezTo>
                          <a:pt x="270958" y="237725"/>
                          <a:pt x="273406" y="240925"/>
                          <a:pt x="276196" y="240440"/>
                        </a:cubicBezTo>
                        <a:cubicBezTo>
                          <a:pt x="281483" y="239535"/>
                          <a:pt x="281188" y="231972"/>
                          <a:pt x="275453" y="232058"/>
                        </a:cubicBezTo>
                        <a:cubicBezTo>
                          <a:pt x="273739" y="232772"/>
                          <a:pt x="272415" y="233239"/>
                          <a:pt x="271843" y="235020"/>
                        </a:cubicBezTo>
                        <a:close/>
                        <a:moveTo>
                          <a:pt x="42158" y="235515"/>
                        </a:moveTo>
                        <a:cubicBezTo>
                          <a:pt x="41519" y="237782"/>
                          <a:pt x="43805" y="240211"/>
                          <a:pt x="46272" y="239630"/>
                        </a:cubicBezTo>
                        <a:cubicBezTo>
                          <a:pt x="50083" y="238725"/>
                          <a:pt x="49758" y="232705"/>
                          <a:pt x="44958" y="232896"/>
                        </a:cubicBezTo>
                        <a:cubicBezTo>
                          <a:pt x="43701" y="233505"/>
                          <a:pt x="42567" y="234086"/>
                          <a:pt x="42158" y="235515"/>
                        </a:cubicBezTo>
                        <a:close/>
                        <a:moveTo>
                          <a:pt x="150628" y="244145"/>
                        </a:moveTo>
                        <a:cubicBezTo>
                          <a:pt x="149866" y="244278"/>
                          <a:pt x="149095" y="244421"/>
                          <a:pt x="148333" y="244554"/>
                        </a:cubicBezTo>
                        <a:cubicBezTo>
                          <a:pt x="145618" y="244154"/>
                          <a:pt x="142780" y="240316"/>
                          <a:pt x="144142" y="236906"/>
                        </a:cubicBezTo>
                        <a:cubicBezTo>
                          <a:pt x="145066" y="234601"/>
                          <a:pt x="146694" y="234134"/>
                          <a:pt x="149076" y="233210"/>
                        </a:cubicBezTo>
                        <a:cubicBezTo>
                          <a:pt x="156162" y="233143"/>
                          <a:pt x="157705" y="242564"/>
                          <a:pt x="150628" y="244145"/>
                        </a:cubicBezTo>
                        <a:close/>
                        <a:moveTo>
                          <a:pt x="76429" y="238563"/>
                        </a:moveTo>
                        <a:cubicBezTo>
                          <a:pt x="74838" y="242087"/>
                          <a:pt x="77772" y="246364"/>
                          <a:pt x="81772" y="245631"/>
                        </a:cubicBezTo>
                        <a:cubicBezTo>
                          <a:pt x="87811" y="244526"/>
                          <a:pt x="87287" y="235420"/>
                          <a:pt x="80458" y="235601"/>
                        </a:cubicBezTo>
                        <a:cubicBezTo>
                          <a:pt x="78705" y="236382"/>
                          <a:pt x="77200" y="236849"/>
                          <a:pt x="76429" y="238563"/>
                        </a:cubicBezTo>
                        <a:close/>
                        <a:moveTo>
                          <a:pt x="248755" y="239297"/>
                        </a:moveTo>
                        <a:cubicBezTo>
                          <a:pt x="247802" y="242630"/>
                          <a:pt x="251012" y="246450"/>
                          <a:pt x="254584" y="245707"/>
                        </a:cubicBezTo>
                        <a:cubicBezTo>
                          <a:pt x="260461" y="244488"/>
                          <a:pt x="260061" y="235401"/>
                          <a:pt x="252775" y="235601"/>
                        </a:cubicBezTo>
                        <a:cubicBezTo>
                          <a:pt x="250936" y="236515"/>
                          <a:pt x="249355" y="237182"/>
                          <a:pt x="248755" y="239297"/>
                        </a:cubicBezTo>
                        <a:close/>
                        <a:moveTo>
                          <a:pt x="190814" y="242916"/>
                        </a:moveTo>
                        <a:cubicBezTo>
                          <a:pt x="191110" y="244107"/>
                          <a:pt x="191157" y="245669"/>
                          <a:pt x="190567" y="246612"/>
                        </a:cubicBezTo>
                        <a:cubicBezTo>
                          <a:pt x="189662" y="248050"/>
                          <a:pt x="188090" y="248155"/>
                          <a:pt x="186128" y="248583"/>
                        </a:cubicBezTo>
                        <a:cubicBezTo>
                          <a:pt x="185204" y="248793"/>
                          <a:pt x="184013" y="249345"/>
                          <a:pt x="182756" y="249079"/>
                        </a:cubicBezTo>
                        <a:cubicBezTo>
                          <a:pt x="180661" y="248631"/>
                          <a:pt x="178499" y="244230"/>
                          <a:pt x="179556" y="241354"/>
                        </a:cubicBezTo>
                        <a:cubicBezTo>
                          <a:pt x="180423" y="238973"/>
                          <a:pt x="182013" y="238430"/>
                          <a:pt x="184404" y="237487"/>
                        </a:cubicBezTo>
                        <a:cubicBezTo>
                          <a:pt x="188833" y="237391"/>
                          <a:pt x="189948" y="239382"/>
                          <a:pt x="190814" y="242916"/>
                        </a:cubicBezTo>
                        <a:close/>
                        <a:moveTo>
                          <a:pt x="309553" y="240535"/>
                        </a:moveTo>
                        <a:cubicBezTo>
                          <a:pt x="309600" y="241725"/>
                          <a:pt x="310429" y="242592"/>
                          <a:pt x="311696" y="242592"/>
                        </a:cubicBezTo>
                        <a:cubicBezTo>
                          <a:pt x="312515" y="242268"/>
                          <a:pt x="313525" y="241487"/>
                          <a:pt x="313172" y="240287"/>
                        </a:cubicBezTo>
                        <a:cubicBezTo>
                          <a:pt x="312877" y="239516"/>
                          <a:pt x="312201" y="238877"/>
                          <a:pt x="311115" y="238887"/>
                        </a:cubicBezTo>
                        <a:cubicBezTo>
                          <a:pt x="310372" y="239373"/>
                          <a:pt x="309953" y="239687"/>
                          <a:pt x="309553" y="240535"/>
                        </a:cubicBezTo>
                        <a:close/>
                        <a:moveTo>
                          <a:pt x="21536" y="240611"/>
                        </a:moveTo>
                        <a:cubicBezTo>
                          <a:pt x="21593" y="241678"/>
                          <a:pt x="22231" y="242183"/>
                          <a:pt x="23012" y="242506"/>
                        </a:cubicBezTo>
                        <a:cubicBezTo>
                          <a:pt x="24213" y="242506"/>
                          <a:pt x="24727" y="241782"/>
                          <a:pt x="25070" y="240944"/>
                        </a:cubicBezTo>
                        <a:cubicBezTo>
                          <a:pt x="25041" y="239820"/>
                          <a:pt x="24270" y="239058"/>
                          <a:pt x="23184" y="238973"/>
                        </a:cubicBezTo>
                        <a:cubicBezTo>
                          <a:pt x="22250" y="239478"/>
                          <a:pt x="22041" y="239687"/>
                          <a:pt x="21536" y="240611"/>
                        </a:cubicBezTo>
                        <a:close/>
                        <a:moveTo>
                          <a:pt x="226314" y="242087"/>
                        </a:moveTo>
                        <a:cubicBezTo>
                          <a:pt x="225819" y="242916"/>
                          <a:pt x="225742" y="244278"/>
                          <a:pt x="225981" y="245383"/>
                        </a:cubicBezTo>
                        <a:cubicBezTo>
                          <a:pt x="226685" y="248631"/>
                          <a:pt x="227895" y="250326"/>
                          <a:pt x="231324" y="250803"/>
                        </a:cubicBezTo>
                        <a:cubicBezTo>
                          <a:pt x="238211" y="251755"/>
                          <a:pt x="239449" y="239325"/>
                          <a:pt x="231905" y="239459"/>
                        </a:cubicBezTo>
                        <a:cubicBezTo>
                          <a:pt x="229486" y="240440"/>
                          <a:pt x="227562" y="240001"/>
                          <a:pt x="226314" y="242087"/>
                        </a:cubicBezTo>
                        <a:close/>
                        <a:moveTo>
                          <a:pt x="55150" y="243897"/>
                        </a:moveTo>
                        <a:cubicBezTo>
                          <a:pt x="54264" y="246469"/>
                          <a:pt x="56616" y="249450"/>
                          <a:pt x="59255" y="248993"/>
                        </a:cubicBezTo>
                        <a:cubicBezTo>
                          <a:pt x="63837" y="248193"/>
                          <a:pt x="63684" y="241087"/>
                          <a:pt x="58274" y="241268"/>
                        </a:cubicBezTo>
                        <a:cubicBezTo>
                          <a:pt x="56902" y="241935"/>
                          <a:pt x="55655" y="242421"/>
                          <a:pt x="55150" y="243897"/>
                        </a:cubicBezTo>
                        <a:close/>
                        <a:moveTo>
                          <a:pt x="168545" y="247021"/>
                        </a:moveTo>
                        <a:cubicBezTo>
                          <a:pt x="168831" y="248098"/>
                          <a:pt x="169174" y="249650"/>
                          <a:pt x="168707" y="250803"/>
                        </a:cubicBezTo>
                        <a:cubicBezTo>
                          <a:pt x="168421" y="251498"/>
                          <a:pt x="167535" y="252279"/>
                          <a:pt x="166821" y="252527"/>
                        </a:cubicBezTo>
                        <a:cubicBezTo>
                          <a:pt x="165383" y="253022"/>
                          <a:pt x="159972" y="254203"/>
                          <a:pt x="158686" y="253755"/>
                        </a:cubicBezTo>
                        <a:cubicBezTo>
                          <a:pt x="157782" y="250041"/>
                          <a:pt x="155619" y="245707"/>
                          <a:pt x="159020" y="243078"/>
                        </a:cubicBezTo>
                        <a:cubicBezTo>
                          <a:pt x="160039" y="242287"/>
                          <a:pt x="161287" y="242325"/>
                          <a:pt x="162639" y="241763"/>
                        </a:cubicBezTo>
                        <a:cubicBezTo>
                          <a:pt x="166630" y="241678"/>
                          <a:pt x="167707" y="243830"/>
                          <a:pt x="168545" y="247021"/>
                        </a:cubicBezTo>
                        <a:close/>
                        <a:moveTo>
                          <a:pt x="286141" y="244307"/>
                        </a:moveTo>
                        <a:cubicBezTo>
                          <a:pt x="285426" y="246393"/>
                          <a:pt x="287569" y="248650"/>
                          <a:pt x="289512" y="248326"/>
                        </a:cubicBezTo>
                        <a:cubicBezTo>
                          <a:pt x="293437" y="247688"/>
                          <a:pt x="293227" y="242335"/>
                          <a:pt x="289017" y="241926"/>
                        </a:cubicBezTo>
                        <a:cubicBezTo>
                          <a:pt x="287665" y="242516"/>
                          <a:pt x="286626" y="242897"/>
                          <a:pt x="286141" y="244307"/>
                        </a:cubicBezTo>
                        <a:close/>
                        <a:moveTo>
                          <a:pt x="89240" y="248088"/>
                        </a:moveTo>
                        <a:cubicBezTo>
                          <a:pt x="88325" y="251327"/>
                          <a:pt x="91364" y="255184"/>
                          <a:pt x="94507" y="254746"/>
                        </a:cubicBezTo>
                        <a:cubicBezTo>
                          <a:pt x="101346" y="253784"/>
                          <a:pt x="101165" y="244107"/>
                          <a:pt x="93440" y="244307"/>
                        </a:cubicBezTo>
                        <a:cubicBezTo>
                          <a:pt x="91526" y="245269"/>
                          <a:pt x="89868" y="245878"/>
                          <a:pt x="89240" y="248088"/>
                        </a:cubicBezTo>
                        <a:close/>
                        <a:moveTo>
                          <a:pt x="262966" y="248421"/>
                        </a:moveTo>
                        <a:cubicBezTo>
                          <a:pt x="262109" y="251346"/>
                          <a:pt x="264757" y="254232"/>
                          <a:pt x="267652" y="253679"/>
                        </a:cubicBezTo>
                        <a:cubicBezTo>
                          <a:pt x="272577" y="252736"/>
                          <a:pt x="272348" y="245269"/>
                          <a:pt x="266252" y="245459"/>
                        </a:cubicBezTo>
                        <a:cubicBezTo>
                          <a:pt x="264738" y="246145"/>
                          <a:pt x="263461" y="246755"/>
                          <a:pt x="262966" y="248421"/>
                        </a:cubicBezTo>
                        <a:close/>
                        <a:moveTo>
                          <a:pt x="34357" y="248745"/>
                        </a:moveTo>
                        <a:cubicBezTo>
                          <a:pt x="33642" y="250222"/>
                          <a:pt x="35290" y="252212"/>
                          <a:pt x="36823" y="251946"/>
                        </a:cubicBezTo>
                        <a:cubicBezTo>
                          <a:pt x="39700" y="251460"/>
                          <a:pt x="39538" y="247488"/>
                          <a:pt x="36576" y="247174"/>
                        </a:cubicBezTo>
                        <a:cubicBezTo>
                          <a:pt x="35576" y="247564"/>
                          <a:pt x="34785" y="247850"/>
                          <a:pt x="34357" y="248745"/>
                        </a:cubicBezTo>
                        <a:close/>
                        <a:moveTo>
                          <a:pt x="240116" y="252527"/>
                        </a:moveTo>
                        <a:cubicBezTo>
                          <a:pt x="239173" y="255718"/>
                          <a:pt x="242125" y="259461"/>
                          <a:pt x="245374" y="258851"/>
                        </a:cubicBezTo>
                        <a:cubicBezTo>
                          <a:pt x="251336" y="257737"/>
                          <a:pt x="251212" y="248879"/>
                          <a:pt x="244059" y="249079"/>
                        </a:cubicBezTo>
                        <a:cubicBezTo>
                          <a:pt x="242268" y="249888"/>
                          <a:pt x="240706" y="250546"/>
                          <a:pt x="240116" y="252527"/>
                        </a:cubicBezTo>
                        <a:close/>
                        <a:moveTo>
                          <a:pt x="68047" y="253022"/>
                        </a:moveTo>
                        <a:cubicBezTo>
                          <a:pt x="67275" y="255775"/>
                          <a:pt x="69990" y="258699"/>
                          <a:pt x="72819" y="258118"/>
                        </a:cubicBezTo>
                        <a:cubicBezTo>
                          <a:pt x="77610" y="257127"/>
                          <a:pt x="77400" y="249717"/>
                          <a:pt x="71504" y="249907"/>
                        </a:cubicBezTo>
                        <a:cubicBezTo>
                          <a:pt x="69856" y="250631"/>
                          <a:pt x="68561" y="251203"/>
                          <a:pt x="68047" y="253022"/>
                        </a:cubicBezTo>
                        <a:close/>
                        <a:moveTo>
                          <a:pt x="303067" y="255899"/>
                        </a:moveTo>
                        <a:cubicBezTo>
                          <a:pt x="303866" y="255632"/>
                          <a:pt x="304733" y="254651"/>
                          <a:pt x="304390" y="253508"/>
                        </a:cubicBezTo>
                        <a:cubicBezTo>
                          <a:pt x="304076" y="252708"/>
                          <a:pt x="303400" y="252089"/>
                          <a:pt x="302247" y="252117"/>
                        </a:cubicBezTo>
                        <a:cubicBezTo>
                          <a:pt x="299428" y="253736"/>
                          <a:pt x="301200" y="256746"/>
                          <a:pt x="303067" y="255899"/>
                        </a:cubicBezTo>
                        <a:close/>
                        <a:moveTo>
                          <a:pt x="217446" y="256880"/>
                        </a:moveTo>
                        <a:cubicBezTo>
                          <a:pt x="216408" y="260366"/>
                          <a:pt x="219751" y="264414"/>
                          <a:pt x="223275" y="263785"/>
                        </a:cubicBezTo>
                        <a:cubicBezTo>
                          <a:pt x="229810" y="262614"/>
                          <a:pt x="229590" y="252755"/>
                          <a:pt x="222209" y="252936"/>
                        </a:cubicBezTo>
                        <a:cubicBezTo>
                          <a:pt x="219827" y="253889"/>
                          <a:pt x="218189" y="254375"/>
                          <a:pt x="217446" y="256880"/>
                        </a:cubicBezTo>
                        <a:close/>
                        <a:moveTo>
                          <a:pt x="102479" y="257127"/>
                        </a:moveTo>
                        <a:cubicBezTo>
                          <a:pt x="101394" y="260794"/>
                          <a:pt x="105204" y="264271"/>
                          <a:pt x="108642" y="263538"/>
                        </a:cubicBezTo>
                        <a:cubicBezTo>
                          <a:pt x="114643" y="262271"/>
                          <a:pt x="114195" y="252908"/>
                          <a:pt x="106842" y="253108"/>
                        </a:cubicBezTo>
                        <a:cubicBezTo>
                          <a:pt x="104680" y="254060"/>
                          <a:pt x="103175" y="254765"/>
                          <a:pt x="102479" y="257127"/>
                        </a:cubicBezTo>
                        <a:close/>
                        <a:moveTo>
                          <a:pt x="277263" y="257785"/>
                        </a:moveTo>
                        <a:cubicBezTo>
                          <a:pt x="276711" y="260042"/>
                          <a:pt x="279083" y="262157"/>
                          <a:pt x="281207" y="261480"/>
                        </a:cubicBezTo>
                        <a:cubicBezTo>
                          <a:pt x="284531" y="260423"/>
                          <a:pt x="283883" y="255156"/>
                          <a:pt x="279730" y="255327"/>
                        </a:cubicBezTo>
                        <a:cubicBezTo>
                          <a:pt x="278616" y="255946"/>
                          <a:pt x="277597" y="256413"/>
                          <a:pt x="277263" y="257785"/>
                        </a:cubicBezTo>
                        <a:close/>
                        <a:moveTo>
                          <a:pt x="50711" y="261242"/>
                        </a:moveTo>
                        <a:cubicBezTo>
                          <a:pt x="53673" y="260318"/>
                          <a:pt x="53188" y="255489"/>
                          <a:pt x="49397" y="255651"/>
                        </a:cubicBezTo>
                        <a:cubicBezTo>
                          <a:pt x="45644" y="257556"/>
                          <a:pt x="47339" y="262290"/>
                          <a:pt x="50711" y="261242"/>
                        </a:cubicBezTo>
                        <a:close/>
                        <a:moveTo>
                          <a:pt x="138141" y="259347"/>
                        </a:moveTo>
                        <a:cubicBezTo>
                          <a:pt x="135293" y="263480"/>
                          <a:pt x="138732" y="267881"/>
                          <a:pt x="142580" y="268548"/>
                        </a:cubicBezTo>
                        <a:cubicBezTo>
                          <a:pt x="149676" y="269767"/>
                          <a:pt x="151057" y="256880"/>
                          <a:pt x="143809" y="257042"/>
                        </a:cubicBezTo>
                        <a:cubicBezTo>
                          <a:pt x="141665" y="258070"/>
                          <a:pt x="139408" y="257508"/>
                          <a:pt x="138141" y="259347"/>
                        </a:cubicBezTo>
                        <a:close/>
                        <a:moveTo>
                          <a:pt x="195825" y="259271"/>
                        </a:moveTo>
                        <a:cubicBezTo>
                          <a:pt x="193158" y="262880"/>
                          <a:pt x="196091" y="267662"/>
                          <a:pt x="199520" y="268395"/>
                        </a:cubicBezTo>
                        <a:cubicBezTo>
                          <a:pt x="207188" y="270034"/>
                          <a:pt x="208855" y="257023"/>
                          <a:pt x="200673" y="257213"/>
                        </a:cubicBezTo>
                        <a:cubicBezTo>
                          <a:pt x="198768" y="258061"/>
                          <a:pt x="196977" y="257727"/>
                          <a:pt x="195825" y="259271"/>
                        </a:cubicBezTo>
                        <a:close/>
                        <a:moveTo>
                          <a:pt x="81191" y="261899"/>
                        </a:moveTo>
                        <a:cubicBezTo>
                          <a:pt x="80372" y="264957"/>
                          <a:pt x="83363" y="267805"/>
                          <a:pt x="86363" y="267081"/>
                        </a:cubicBezTo>
                        <a:cubicBezTo>
                          <a:pt x="91173" y="265909"/>
                          <a:pt x="90811" y="258347"/>
                          <a:pt x="84811" y="258537"/>
                        </a:cubicBezTo>
                        <a:cubicBezTo>
                          <a:pt x="83058" y="259318"/>
                          <a:pt x="81725" y="259918"/>
                          <a:pt x="81191" y="261899"/>
                        </a:cubicBezTo>
                        <a:close/>
                        <a:moveTo>
                          <a:pt x="254251" y="261899"/>
                        </a:moveTo>
                        <a:cubicBezTo>
                          <a:pt x="253517" y="264490"/>
                          <a:pt x="255918" y="267262"/>
                          <a:pt x="258442" y="266833"/>
                        </a:cubicBezTo>
                        <a:cubicBezTo>
                          <a:pt x="263481" y="265976"/>
                          <a:pt x="263299" y="258680"/>
                          <a:pt x="257461" y="258861"/>
                        </a:cubicBezTo>
                        <a:cubicBezTo>
                          <a:pt x="256003" y="259575"/>
                          <a:pt x="254727" y="260233"/>
                          <a:pt x="254251" y="261899"/>
                        </a:cubicBezTo>
                        <a:close/>
                        <a:moveTo>
                          <a:pt x="173803" y="263538"/>
                        </a:moveTo>
                        <a:cubicBezTo>
                          <a:pt x="170907" y="267271"/>
                          <a:pt x="173926" y="272205"/>
                          <a:pt x="177746" y="272901"/>
                        </a:cubicBezTo>
                        <a:cubicBezTo>
                          <a:pt x="184994" y="274234"/>
                          <a:pt x="186480" y="261404"/>
                          <a:pt x="178975" y="261566"/>
                        </a:cubicBezTo>
                        <a:cubicBezTo>
                          <a:pt x="177041" y="262385"/>
                          <a:pt x="174984" y="262014"/>
                          <a:pt x="173803" y="263538"/>
                        </a:cubicBezTo>
                        <a:close/>
                        <a:moveTo>
                          <a:pt x="115957" y="265509"/>
                        </a:moveTo>
                        <a:cubicBezTo>
                          <a:pt x="114786" y="268891"/>
                          <a:pt x="117891" y="273034"/>
                          <a:pt x="121377" y="272415"/>
                        </a:cubicBezTo>
                        <a:cubicBezTo>
                          <a:pt x="127806" y="271272"/>
                          <a:pt x="127416" y="261823"/>
                          <a:pt x="120386" y="261985"/>
                        </a:cubicBezTo>
                        <a:cubicBezTo>
                          <a:pt x="118310" y="262852"/>
                          <a:pt x="116700" y="263357"/>
                          <a:pt x="115957" y="265509"/>
                        </a:cubicBezTo>
                        <a:close/>
                        <a:moveTo>
                          <a:pt x="27042" y="262719"/>
                        </a:moveTo>
                        <a:cubicBezTo>
                          <a:pt x="26842" y="263138"/>
                          <a:pt x="27032" y="263423"/>
                          <a:pt x="27289" y="263623"/>
                        </a:cubicBezTo>
                        <a:cubicBezTo>
                          <a:pt x="27508" y="263652"/>
                          <a:pt x="27727" y="263681"/>
                          <a:pt x="27946" y="263700"/>
                        </a:cubicBezTo>
                        <a:cubicBezTo>
                          <a:pt x="28184" y="263376"/>
                          <a:pt x="28318" y="263376"/>
                          <a:pt x="28356" y="262795"/>
                        </a:cubicBezTo>
                        <a:cubicBezTo>
                          <a:pt x="28051" y="262461"/>
                          <a:pt x="28032" y="262318"/>
                          <a:pt x="27375" y="262299"/>
                        </a:cubicBezTo>
                        <a:cubicBezTo>
                          <a:pt x="27260" y="262442"/>
                          <a:pt x="27156" y="262576"/>
                          <a:pt x="27042" y="262719"/>
                        </a:cubicBezTo>
                        <a:close/>
                        <a:moveTo>
                          <a:pt x="231572" y="265757"/>
                        </a:moveTo>
                        <a:cubicBezTo>
                          <a:pt x="230429" y="269043"/>
                          <a:pt x="233372" y="272491"/>
                          <a:pt x="236744" y="271843"/>
                        </a:cubicBezTo>
                        <a:cubicBezTo>
                          <a:pt x="242154" y="270796"/>
                          <a:pt x="241744" y="262480"/>
                          <a:pt x="235515" y="262633"/>
                        </a:cubicBezTo>
                        <a:cubicBezTo>
                          <a:pt x="233648" y="263404"/>
                          <a:pt x="232239" y="263833"/>
                          <a:pt x="231572" y="265757"/>
                        </a:cubicBezTo>
                        <a:close/>
                        <a:moveTo>
                          <a:pt x="60236" y="266252"/>
                        </a:moveTo>
                        <a:cubicBezTo>
                          <a:pt x="59398" y="268329"/>
                          <a:pt x="61446" y="270920"/>
                          <a:pt x="63684" y="270443"/>
                        </a:cubicBezTo>
                        <a:cubicBezTo>
                          <a:pt x="67246" y="269691"/>
                          <a:pt x="67104" y="264023"/>
                          <a:pt x="62693" y="264195"/>
                        </a:cubicBezTo>
                        <a:cubicBezTo>
                          <a:pt x="61655" y="264709"/>
                          <a:pt x="60674" y="265166"/>
                          <a:pt x="60236" y="266252"/>
                        </a:cubicBezTo>
                        <a:close/>
                        <a:moveTo>
                          <a:pt x="291808" y="267157"/>
                        </a:moveTo>
                        <a:cubicBezTo>
                          <a:pt x="291846" y="268262"/>
                          <a:pt x="292513" y="268843"/>
                          <a:pt x="293284" y="269215"/>
                        </a:cubicBezTo>
                        <a:cubicBezTo>
                          <a:pt x="294684" y="269243"/>
                          <a:pt x="295218" y="268481"/>
                          <a:pt x="295589" y="267491"/>
                        </a:cubicBezTo>
                        <a:cubicBezTo>
                          <a:pt x="295532" y="266319"/>
                          <a:pt x="294637" y="265500"/>
                          <a:pt x="293370" y="265519"/>
                        </a:cubicBezTo>
                        <a:cubicBezTo>
                          <a:pt x="292627" y="265995"/>
                          <a:pt x="292208" y="266319"/>
                          <a:pt x="291808" y="267157"/>
                        </a:cubicBezTo>
                        <a:close/>
                        <a:moveTo>
                          <a:pt x="151123" y="269786"/>
                        </a:moveTo>
                        <a:cubicBezTo>
                          <a:pt x="149647" y="273367"/>
                          <a:pt x="153172" y="277787"/>
                          <a:pt x="156962" y="277101"/>
                        </a:cubicBezTo>
                        <a:cubicBezTo>
                          <a:pt x="163478" y="275920"/>
                          <a:pt x="163297" y="266005"/>
                          <a:pt x="156057" y="266176"/>
                        </a:cubicBezTo>
                        <a:cubicBezTo>
                          <a:pt x="153476" y="267233"/>
                          <a:pt x="152200" y="267167"/>
                          <a:pt x="151123" y="269786"/>
                        </a:cubicBezTo>
                        <a:close/>
                        <a:moveTo>
                          <a:pt x="209064" y="270196"/>
                        </a:moveTo>
                        <a:cubicBezTo>
                          <a:pt x="208055" y="273510"/>
                          <a:pt x="210845" y="277139"/>
                          <a:pt x="214074" y="276682"/>
                        </a:cubicBezTo>
                        <a:cubicBezTo>
                          <a:pt x="220542" y="275768"/>
                          <a:pt x="220361" y="266462"/>
                          <a:pt x="213084" y="266662"/>
                        </a:cubicBezTo>
                        <a:cubicBezTo>
                          <a:pt x="211141" y="267529"/>
                          <a:pt x="209702" y="268081"/>
                          <a:pt x="209064" y="270196"/>
                        </a:cubicBezTo>
                        <a:close/>
                        <a:moveTo>
                          <a:pt x="94421" y="270605"/>
                        </a:moveTo>
                        <a:cubicBezTo>
                          <a:pt x="93469" y="273787"/>
                          <a:pt x="96650" y="276768"/>
                          <a:pt x="99765" y="275949"/>
                        </a:cubicBezTo>
                        <a:cubicBezTo>
                          <a:pt x="104556" y="274691"/>
                          <a:pt x="104023" y="267167"/>
                          <a:pt x="98203" y="267319"/>
                        </a:cubicBezTo>
                        <a:cubicBezTo>
                          <a:pt x="96364" y="268081"/>
                          <a:pt x="95012" y="268653"/>
                          <a:pt x="94421" y="270605"/>
                        </a:cubicBezTo>
                        <a:close/>
                        <a:moveTo>
                          <a:pt x="268633" y="270853"/>
                        </a:moveTo>
                        <a:cubicBezTo>
                          <a:pt x="267843" y="272872"/>
                          <a:pt x="269967" y="275053"/>
                          <a:pt x="271843" y="274710"/>
                        </a:cubicBezTo>
                        <a:cubicBezTo>
                          <a:pt x="275311" y="274072"/>
                          <a:pt x="275130" y="268633"/>
                          <a:pt x="271024" y="268796"/>
                        </a:cubicBezTo>
                        <a:cubicBezTo>
                          <a:pt x="270005" y="269310"/>
                          <a:pt x="269053" y="269777"/>
                          <a:pt x="268633" y="270853"/>
                        </a:cubicBezTo>
                        <a:close/>
                        <a:moveTo>
                          <a:pt x="39452" y="271920"/>
                        </a:moveTo>
                        <a:cubicBezTo>
                          <a:pt x="39815" y="272644"/>
                          <a:pt x="40186" y="272891"/>
                          <a:pt x="40853" y="273310"/>
                        </a:cubicBezTo>
                        <a:cubicBezTo>
                          <a:pt x="41805" y="273253"/>
                          <a:pt x="42482" y="272577"/>
                          <a:pt x="42577" y="271663"/>
                        </a:cubicBezTo>
                        <a:cubicBezTo>
                          <a:pt x="42243" y="270872"/>
                          <a:pt x="41824" y="270262"/>
                          <a:pt x="40681" y="270262"/>
                        </a:cubicBezTo>
                        <a:cubicBezTo>
                          <a:pt x="40100" y="270767"/>
                          <a:pt x="39605" y="270986"/>
                          <a:pt x="39452" y="271920"/>
                        </a:cubicBezTo>
                        <a:close/>
                        <a:moveTo>
                          <a:pt x="186709" y="274710"/>
                        </a:moveTo>
                        <a:cubicBezTo>
                          <a:pt x="185566" y="278340"/>
                          <a:pt x="189128" y="282092"/>
                          <a:pt x="192872" y="281121"/>
                        </a:cubicBezTo>
                        <a:cubicBezTo>
                          <a:pt x="198625" y="279616"/>
                          <a:pt x="198044" y="270739"/>
                          <a:pt x="190814" y="270929"/>
                        </a:cubicBezTo>
                        <a:cubicBezTo>
                          <a:pt x="188862" y="271920"/>
                          <a:pt x="187404" y="272510"/>
                          <a:pt x="186709" y="274710"/>
                        </a:cubicBezTo>
                        <a:close/>
                        <a:moveTo>
                          <a:pt x="129264" y="274872"/>
                        </a:moveTo>
                        <a:cubicBezTo>
                          <a:pt x="128311" y="278063"/>
                          <a:pt x="131617" y="281521"/>
                          <a:pt x="134445" y="281121"/>
                        </a:cubicBezTo>
                        <a:cubicBezTo>
                          <a:pt x="140856" y="280216"/>
                          <a:pt x="140732" y="270900"/>
                          <a:pt x="133379" y="271100"/>
                        </a:cubicBezTo>
                        <a:cubicBezTo>
                          <a:pt x="131378" y="271996"/>
                          <a:pt x="129921" y="272682"/>
                          <a:pt x="129264" y="274872"/>
                        </a:cubicBezTo>
                        <a:close/>
                        <a:moveTo>
                          <a:pt x="245707" y="275130"/>
                        </a:moveTo>
                        <a:cubicBezTo>
                          <a:pt x="244897" y="277673"/>
                          <a:pt x="247307" y="280359"/>
                          <a:pt x="249898" y="279816"/>
                        </a:cubicBezTo>
                        <a:cubicBezTo>
                          <a:pt x="254108" y="278940"/>
                          <a:pt x="253774" y="272263"/>
                          <a:pt x="248831" y="272415"/>
                        </a:cubicBezTo>
                        <a:cubicBezTo>
                          <a:pt x="247440" y="273034"/>
                          <a:pt x="246183" y="273634"/>
                          <a:pt x="245707" y="275130"/>
                        </a:cubicBezTo>
                        <a:close/>
                        <a:moveTo>
                          <a:pt x="73304" y="275206"/>
                        </a:moveTo>
                        <a:cubicBezTo>
                          <a:pt x="72476" y="277644"/>
                          <a:pt x="75019" y="280035"/>
                          <a:pt x="77334" y="279397"/>
                        </a:cubicBezTo>
                        <a:cubicBezTo>
                          <a:pt x="81029" y="278387"/>
                          <a:pt x="80648" y="272720"/>
                          <a:pt x="75771" y="272901"/>
                        </a:cubicBezTo>
                        <a:cubicBezTo>
                          <a:pt x="74752" y="273510"/>
                          <a:pt x="73704" y="274025"/>
                          <a:pt x="73304" y="275206"/>
                        </a:cubicBezTo>
                        <a:close/>
                        <a:moveTo>
                          <a:pt x="164678" y="279149"/>
                        </a:moveTo>
                        <a:cubicBezTo>
                          <a:pt x="163744" y="282435"/>
                          <a:pt x="166564" y="286112"/>
                          <a:pt x="169935" y="285559"/>
                        </a:cubicBezTo>
                        <a:cubicBezTo>
                          <a:pt x="176241" y="284521"/>
                          <a:pt x="176032" y="275368"/>
                          <a:pt x="169192" y="275453"/>
                        </a:cubicBezTo>
                        <a:cubicBezTo>
                          <a:pt x="166973" y="276339"/>
                          <a:pt x="165354" y="276787"/>
                          <a:pt x="164678" y="279149"/>
                        </a:cubicBezTo>
                        <a:close/>
                        <a:moveTo>
                          <a:pt x="107823" y="279397"/>
                        </a:moveTo>
                        <a:cubicBezTo>
                          <a:pt x="106861" y="282645"/>
                          <a:pt x="109890" y="285531"/>
                          <a:pt x="112995" y="284740"/>
                        </a:cubicBezTo>
                        <a:cubicBezTo>
                          <a:pt x="117757" y="283531"/>
                          <a:pt x="117348" y="276082"/>
                          <a:pt x="111271" y="276273"/>
                        </a:cubicBezTo>
                        <a:cubicBezTo>
                          <a:pt x="109690" y="277054"/>
                          <a:pt x="108347" y="277606"/>
                          <a:pt x="107823" y="279397"/>
                        </a:cubicBezTo>
                        <a:close/>
                        <a:moveTo>
                          <a:pt x="223114" y="279397"/>
                        </a:moveTo>
                        <a:cubicBezTo>
                          <a:pt x="222275" y="282235"/>
                          <a:pt x="224647" y="285331"/>
                          <a:pt x="227714" y="284740"/>
                        </a:cubicBezTo>
                        <a:cubicBezTo>
                          <a:pt x="232810" y="283759"/>
                          <a:pt x="232496" y="276168"/>
                          <a:pt x="226314" y="276358"/>
                        </a:cubicBezTo>
                        <a:cubicBezTo>
                          <a:pt x="224914" y="277158"/>
                          <a:pt x="223609" y="277730"/>
                          <a:pt x="223114" y="279397"/>
                        </a:cubicBezTo>
                        <a:close/>
                        <a:moveTo>
                          <a:pt x="53997" y="282521"/>
                        </a:moveTo>
                        <a:cubicBezTo>
                          <a:pt x="55216" y="282559"/>
                          <a:pt x="56064" y="281883"/>
                          <a:pt x="56216" y="280873"/>
                        </a:cubicBezTo>
                        <a:cubicBezTo>
                          <a:pt x="56578" y="279768"/>
                          <a:pt x="55112" y="278692"/>
                          <a:pt x="53911" y="278740"/>
                        </a:cubicBezTo>
                        <a:cubicBezTo>
                          <a:pt x="52387" y="279863"/>
                          <a:pt x="51873" y="281578"/>
                          <a:pt x="53997" y="282521"/>
                        </a:cubicBezTo>
                        <a:close/>
                        <a:moveTo>
                          <a:pt x="283178" y="280464"/>
                        </a:moveTo>
                        <a:cubicBezTo>
                          <a:pt x="283226" y="281549"/>
                          <a:pt x="283997" y="282207"/>
                          <a:pt x="284988" y="282359"/>
                        </a:cubicBezTo>
                        <a:cubicBezTo>
                          <a:pt x="285693" y="282026"/>
                          <a:pt x="286121" y="281654"/>
                          <a:pt x="286464" y="280959"/>
                        </a:cubicBezTo>
                        <a:cubicBezTo>
                          <a:pt x="286484" y="279778"/>
                          <a:pt x="285702" y="279006"/>
                          <a:pt x="284578" y="278987"/>
                        </a:cubicBezTo>
                        <a:cubicBezTo>
                          <a:pt x="283978" y="279463"/>
                          <a:pt x="283540" y="279730"/>
                          <a:pt x="283178" y="280464"/>
                        </a:cubicBezTo>
                        <a:close/>
                        <a:moveTo>
                          <a:pt x="142827" y="283921"/>
                        </a:moveTo>
                        <a:cubicBezTo>
                          <a:pt x="141923" y="286988"/>
                          <a:pt x="145218" y="290331"/>
                          <a:pt x="148418" y="289598"/>
                        </a:cubicBezTo>
                        <a:cubicBezTo>
                          <a:pt x="153743" y="288360"/>
                          <a:pt x="153219" y="280045"/>
                          <a:pt x="146780" y="280225"/>
                        </a:cubicBezTo>
                        <a:cubicBezTo>
                          <a:pt x="144799" y="281111"/>
                          <a:pt x="143466" y="281730"/>
                          <a:pt x="142827" y="283921"/>
                        </a:cubicBezTo>
                        <a:close/>
                        <a:moveTo>
                          <a:pt x="200682" y="283750"/>
                        </a:moveTo>
                        <a:cubicBezTo>
                          <a:pt x="199768" y="286760"/>
                          <a:pt x="202511" y="290065"/>
                          <a:pt x="205768" y="289427"/>
                        </a:cubicBezTo>
                        <a:cubicBezTo>
                          <a:pt x="210931" y="288417"/>
                          <a:pt x="210560" y="280311"/>
                          <a:pt x="204454" y="280464"/>
                        </a:cubicBezTo>
                        <a:cubicBezTo>
                          <a:pt x="202654" y="281273"/>
                          <a:pt x="201282" y="281778"/>
                          <a:pt x="200682" y="283750"/>
                        </a:cubicBezTo>
                        <a:close/>
                        <a:moveTo>
                          <a:pt x="86449" y="284493"/>
                        </a:moveTo>
                        <a:cubicBezTo>
                          <a:pt x="85896" y="286807"/>
                          <a:pt x="88516" y="289027"/>
                          <a:pt x="90802" y="288265"/>
                        </a:cubicBezTo>
                        <a:cubicBezTo>
                          <a:pt x="94345" y="287093"/>
                          <a:pt x="93907" y="281511"/>
                          <a:pt x="89154" y="281692"/>
                        </a:cubicBezTo>
                        <a:cubicBezTo>
                          <a:pt x="87897" y="282349"/>
                          <a:pt x="86811" y="282969"/>
                          <a:pt x="86449" y="284493"/>
                        </a:cubicBezTo>
                        <a:close/>
                        <a:moveTo>
                          <a:pt x="260004" y="284493"/>
                        </a:moveTo>
                        <a:cubicBezTo>
                          <a:pt x="259547" y="286264"/>
                          <a:pt x="261452" y="288122"/>
                          <a:pt x="263204" y="287693"/>
                        </a:cubicBezTo>
                        <a:cubicBezTo>
                          <a:pt x="266214" y="286960"/>
                          <a:pt x="265738" y="282264"/>
                          <a:pt x="261975" y="282435"/>
                        </a:cubicBezTo>
                        <a:cubicBezTo>
                          <a:pt x="261166" y="282921"/>
                          <a:pt x="260271" y="283483"/>
                          <a:pt x="260004" y="284493"/>
                        </a:cubicBezTo>
                        <a:close/>
                        <a:moveTo>
                          <a:pt x="178489" y="288198"/>
                        </a:moveTo>
                        <a:cubicBezTo>
                          <a:pt x="177565" y="291217"/>
                          <a:pt x="180318" y="294494"/>
                          <a:pt x="183585" y="293865"/>
                        </a:cubicBezTo>
                        <a:cubicBezTo>
                          <a:pt x="188843" y="292856"/>
                          <a:pt x="188547" y="284712"/>
                          <a:pt x="182194" y="284902"/>
                        </a:cubicBezTo>
                        <a:cubicBezTo>
                          <a:pt x="180432" y="285702"/>
                          <a:pt x="179080" y="286264"/>
                          <a:pt x="178489" y="288198"/>
                        </a:cubicBezTo>
                        <a:close/>
                        <a:moveTo>
                          <a:pt x="121291" y="288274"/>
                        </a:moveTo>
                        <a:cubicBezTo>
                          <a:pt x="120501" y="290960"/>
                          <a:pt x="122901" y="294132"/>
                          <a:pt x="125816" y="293532"/>
                        </a:cubicBezTo>
                        <a:cubicBezTo>
                          <a:pt x="130692" y="292532"/>
                          <a:pt x="130540" y="285140"/>
                          <a:pt x="124749" y="285321"/>
                        </a:cubicBezTo>
                        <a:cubicBezTo>
                          <a:pt x="123111" y="285998"/>
                          <a:pt x="121815" y="286531"/>
                          <a:pt x="121291" y="288274"/>
                        </a:cubicBezTo>
                        <a:close/>
                        <a:moveTo>
                          <a:pt x="237249" y="288598"/>
                        </a:moveTo>
                        <a:cubicBezTo>
                          <a:pt x="236515" y="290932"/>
                          <a:pt x="238792" y="293227"/>
                          <a:pt x="241192" y="292713"/>
                        </a:cubicBezTo>
                        <a:cubicBezTo>
                          <a:pt x="244974" y="291884"/>
                          <a:pt x="244411" y="285979"/>
                          <a:pt x="239878" y="286141"/>
                        </a:cubicBezTo>
                        <a:cubicBezTo>
                          <a:pt x="238725" y="286779"/>
                          <a:pt x="237668" y="287255"/>
                          <a:pt x="237249" y="288598"/>
                        </a:cubicBezTo>
                        <a:close/>
                        <a:moveTo>
                          <a:pt x="65494" y="289179"/>
                        </a:moveTo>
                        <a:cubicBezTo>
                          <a:pt x="65189" y="290417"/>
                          <a:pt x="66713" y="291865"/>
                          <a:pt x="67875" y="291646"/>
                        </a:cubicBezTo>
                        <a:cubicBezTo>
                          <a:pt x="70332" y="291170"/>
                          <a:pt x="70237" y="287369"/>
                          <a:pt x="67380" y="287369"/>
                        </a:cubicBezTo>
                        <a:cubicBezTo>
                          <a:pt x="66570" y="287769"/>
                          <a:pt x="65732" y="288226"/>
                          <a:pt x="65494" y="289179"/>
                        </a:cubicBezTo>
                        <a:close/>
                        <a:moveTo>
                          <a:pt x="156543" y="292713"/>
                        </a:moveTo>
                        <a:cubicBezTo>
                          <a:pt x="155648" y="295751"/>
                          <a:pt x="158439" y="298713"/>
                          <a:pt x="161563" y="298056"/>
                        </a:cubicBezTo>
                        <a:cubicBezTo>
                          <a:pt x="166259" y="297066"/>
                          <a:pt x="165802" y="289608"/>
                          <a:pt x="160572" y="289512"/>
                        </a:cubicBezTo>
                        <a:cubicBezTo>
                          <a:pt x="158639" y="290255"/>
                          <a:pt x="157143" y="290684"/>
                          <a:pt x="156543" y="292713"/>
                        </a:cubicBezTo>
                        <a:close/>
                        <a:moveTo>
                          <a:pt x="214732" y="292875"/>
                        </a:moveTo>
                        <a:cubicBezTo>
                          <a:pt x="213874" y="295599"/>
                          <a:pt x="216608" y="298209"/>
                          <a:pt x="219246" y="297475"/>
                        </a:cubicBezTo>
                        <a:cubicBezTo>
                          <a:pt x="223314" y="296361"/>
                          <a:pt x="222752" y="289979"/>
                          <a:pt x="217522" y="290160"/>
                        </a:cubicBezTo>
                        <a:cubicBezTo>
                          <a:pt x="216332" y="290874"/>
                          <a:pt x="215179" y="291446"/>
                          <a:pt x="214732" y="292875"/>
                        </a:cubicBezTo>
                        <a:close/>
                        <a:moveTo>
                          <a:pt x="99850" y="293122"/>
                        </a:moveTo>
                        <a:cubicBezTo>
                          <a:pt x="99241" y="295323"/>
                          <a:pt x="101403" y="297666"/>
                          <a:pt x="103794" y="297142"/>
                        </a:cubicBezTo>
                        <a:cubicBezTo>
                          <a:pt x="107528" y="296332"/>
                          <a:pt x="107032" y="290417"/>
                          <a:pt x="102641" y="290570"/>
                        </a:cubicBezTo>
                        <a:cubicBezTo>
                          <a:pt x="101432" y="291160"/>
                          <a:pt x="100222" y="291751"/>
                          <a:pt x="99850" y="293122"/>
                        </a:cubicBezTo>
                        <a:close/>
                        <a:moveTo>
                          <a:pt x="274720" y="294027"/>
                        </a:moveTo>
                        <a:cubicBezTo>
                          <a:pt x="274958" y="294541"/>
                          <a:pt x="275158" y="294884"/>
                          <a:pt x="275711" y="295094"/>
                        </a:cubicBezTo>
                        <a:cubicBezTo>
                          <a:pt x="275901" y="295123"/>
                          <a:pt x="276092" y="295151"/>
                          <a:pt x="276282" y="295170"/>
                        </a:cubicBezTo>
                        <a:cubicBezTo>
                          <a:pt x="276634" y="294875"/>
                          <a:pt x="276911" y="294742"/>
                          <a:pt x="277101" y="294265"/>
                        </a:cubicBezTo>
                        <a:cubicBezTo>
                          <a:pt x="277406" y="293560"/>
                          <a:pt x="276730" y="293103"/>
                          <a:pt x="276358" y="292789"/>
                        </a:cubicBezTo>
                        <a:cubicBezTo>
                          <a:pt x="276168" y="292760"/>
                          <a:pt x="275977" y="292741"/>
                          <a:pt x="275787" y="292713"/>
                        </a:cubicBezTo>
                        <a:cubicBezTo>
                          <a:pt x="275244" y="293075"/>
                          <a:pt x="274853" y="293246"/>
                          <a:pt x="274720" y="294027"/>
                        </a:cubicBezTo>
                        <a:close/>
                        <a:moveTo>
                          <a:pt x="192453" y="297228"/>
                        </a:moveTo>
                        <a:cubicBezTo>
                          <a:pt x="191595" y="299961"/>
                          <a:pt x="194139" y="302666"/>
                          <a:pt x="196891" y="302076"/>
                        </a:cubicBezTo>
                        <a:cubicBezTo>
                          <a:pt x="201177" y="301161"/>
                          <a:pt x="200873" y="294503"/>
                          <a:pt x="195825" y="294437"/>
                        </a:cubicBezTo>
                        <a:cubicBezTo>
                          <a:pt x="194243" y="295132"/>
                          <a:pt x="192996" y="295542"/>
                          <a:pt x="192453" y="297228"/>
                        </a:cubicBezTo>
                        <a:close/>
                        <a:moveTo>
                          <a:pt x="134855" y="297313"/>
                        </a:moveTo>
                        <a:cubicBezTo>
                          <a:pt x="134074" y="299809"/>
                          <a:pt x="136436" y="302495"/>
                          <a:pt x="138884" y="302085"/>
                        </a:cubicBezTo>
                        <a:cubicBezTo>
                          <a:pt x="143551" y="301295"/>
                          <a:pt x="143437" y="294341"/>
                          <a:pt x="137893" y="294522"/>
                        </a:cubicBezTo>
                        <a:cubicBezTo>
                          <a:pt x="136550" y="295189"/>
                          <a:pt x="135331" y="295808"/>
                          <a:pt x="134855" y="297313"/>
                        </a:cubicBezTo>
                        <a:close/>
                        <a:moveTo>
                          <a:pt x="78886" y="297561"/>
                        </a:moveTo>
                        <a:cubicBezTo>
                          <a:pt x="78219" y="298961"/>
                          <a:pt x="79772" y="301000"/>
                          <a:pt x="81439" y="300514"/>
                        </a:cubicBezTo>
                        <a:cubicBezTo>
                          <a:pt x="83725" y="299856"/>
                          <a:pt x="83477" y="296075"/>
                          <a:pt x="80610" y="296161"/>
                        </a:cubicBezTo>
                        <a:cubicBezTo>
                          <a:pt x="79991" y="296513"/>
                          <a:pt x="79200" y="296904"/>
                          <a:pt x="78886" y="297561"/>
                        </a:cubicBezTo>
                        <a:close/>
                        <a:moveTo>
                          <a:pt x="251622" y="297809"/>
                        </a:moveTo>
                        <a:cubicBezTo>
                          <a:pt x="251108" y="299218"/>
                          <a:pt x="252651" y="301009"/>
                          <a:pt x="254251" y="300599"/>
                        </a:cubicBezTo>
                        <a:cubicBezTo>
                          <a:pt x="256708" y="299980"/>
                          <a:pt x="256356" y="296037"/>
                          <a:pt x="253346" y="296170"/>
                        </a:cubicBezTo>
                        <a:cubicBezTo>
                          <a:pt x="252679" y="296551"/>
                          <a:pt x="251908" y="297037"/>
                          <a:pt x="251622" y="297809"/>
                        </a:cubicBezTo>
                        <a:close/>
                        <a:moveTo>
                          <a:pt x="170355" y="301838"/>
                        </a:moveTo>
                        <a:cubicBezTo>
                          <a:pt x="169659" y="304314"/>
                          <a:pt x="172060" y="307057"/>
                          <a:pt x="174717" y="306438"/>
                        </a:cubicBezTo>
                        <a:cubicBezTo>
                          <a:pt x="178803" y="305486"/>
                          <a:pt x="178537" y="298952"/>
                          <a:pt x="173736" y="298961"/>
                        </a:cubicBezTo>
                        <a:cubicBezTo>
                          <a:pt x="172117" y="299590"/>
                          <a:pt x="170840" y="300133"/>
                          <a:pt x="170355" y="301838"/>
                        </a:cubicBezTo>
                        <a:close/>
                        <a:moveTo>
                          <a:pt x="113328" y="302162"/>
                        </a:moveTo>
                        <a:cubicBezTo>
                          <a:pt x="112795" y="304305"/>
                          <a:pt x="114900" y="306238"/>
                          <a:pt x="117024" y="305771"/>
                        </a:cubicBezTo>
                        <a:cubicBezTo>
                          <a:pt x="120482" y="305000"/>
                          <a:pt x="120148" y="299647"/>
                          <a:pt x="116205" y="299609"/>
                        </a:cubicBezTo>
                        <a:cubicBezTo>
                          <a:pt x="114833" y="300209"/>
                          <a:pt x="113700" y="300618"/>
                          <a:pt x="113328" y="302162"/>
                        </a:cubicBezTo>
                        <a:close/>
                        <a:moveTo>
                          <a:pt x="228943" y="301914"/>
                        </a:moveTo>
                        <a:cubicBezTo>
                          <a:pt x="228171" y="303876"/>
                          <a:pt x="230200" y="305981"/>
                          <a:pt x="232143" y="305533"/>
                        </a:cubicBezTo>
                        <a:cubicBezTo>
                          <a:pt x="235344" y="304790"/>
                          <a:pt x="234820" y="299866"/>
                          <a:pt x="230991" y="300028"/>
                        </a:cubicBezTo>
                        <a:cubicBezTo>
                          <a:pt x="230162" y="300514"/>
                          <a:pt x="229314" y="300971"/>
                          <a:pt x="228943" y="301914"/>
                        </a:cubicBezTo>
                        <a:close/>
                        <a:moveTo>
                          <a:pt x="148580" y="306267"/>
                        </a:moveTo>
                        <a:cubicBezTo>
                          <a:pt x="147904" y="308534"/>
                          <a:pt x="150038" y="311020"/>
                          <a:pt x="152352" y="310544"/>
                        </a:cubicBezTo>
                        <a:cubicBezTo>
                          <a:pt x="156324" y="309734"/>
                          <a:pt x="156029" y="303628"/>
                          <a:pt x="151200" y="303809"/>
                        </a:cubicBezTo>
                        <a:cubicBezTo>
                          <a:pt x="150009" y="304409"/>
                          <a:pt x="148981" y="304905"/>
                          <a:pt x="148580" y="306267"/>
                        </a:cubicBezTo>
                        <a:close/>
                        <a:moveTo>
                          <a:pt x="206511" y="306438"/>
                        </a:moveTo>
                        <a:cubicBezTo>
                          <a:pt x="205959" y="308581"/>
                          <a:pt x="207921" y="310582"/>
                          <a:pt x="209883" y="310220"/>
                        </a:cubicBezTo>
                        <a:cubicBezTo>
                          <a:pt x="213455" y="309543"/>
                          <a:pt x="213141" y="304171"/>
                          <a:pt x="209140" y="304143"/>
                        </a:cubicBezTo>
                        <a:cubicBezTo>
                          <a:pt x="207959" y="304657"/>
                          <a:pt x="206854" y="305114"/>
                          <a:pt x="206511" y="306438"/>
                        </a:cubicBezTo>
                        <a:close/>
                        <a:moveTo>
                          <a:pt x="92126" y="306838"/>
                        </a:moveTo>
                        <a:cubicBezTo>
                          <a:pt x="91802" y="308124"/>
                          <a:pt x="93316" y="309620"/>
                          <a:pt x="94516" y="309391"/>
                        </a:cubicBezTo>
                        <a:cubicBezTo>
                          <a:pt x="96974" y="308915"/>
                          <a:pt x="96803" y="305019"/>
                          <a:pt x="93859" y="305114"/>
                        </a:cubicBezTo>
                        <a:cubicBezTo>
                          <a:pt x="93145" y="305524"/>
                          <a:pt x="92345" y="305991"/>
                          <a:pt x="92126" y="306838"/>
                        </a:cubicBezTo>
                        <a:close/>
                        <a:moveTo>
                          <a:pt x="184404" y="310629"/>
                        </a:moveTo>
                        <a:cubicBezTo>
                          <a:pt x="183604" y="312791"/>
                          <a:pt x="185652" y="315039"/>
                          <a:pt x="187690" y="314658"/>
                        </a:cubicBezTo>
                        <a:cubicBezTo>
                          <a:pt x="191252" y="313982"/>
                          <a:pt x="191024" y="308477"/>
                          <a:pt x="186947" y="308572"/>
                        </a:cubicBezTo>
                        <a:cubicBezTo>
                          <a:pt x="185842" y="309058"/>
                          <a:pt x="184832" y="309496"/>
                          <a:pt x="184404" y="310629"/>
                        </a:cubicBezTo>
                        <a:close/>
                        <a:moveTo>
                          <a:pt x="127044" y="310629"/>
                        </a:moveTo>
                        <a:cubicBezTo>
                          <a:pt x="126168" y="312506"/>
                          <a:pt x="128187" y="314868"/>
                          <a:pt x="130245" y="314411"/>
                        </a:cubicBezTo>
                        <a:cubicBezTo>
                          <a:pt x="133379" y="313715"/>
                          <a:pt x="132959" y="308724"/>
                          <a:pt x="129254" y="308820"/>
                        </a:cubicBezTo>
                        <a:cubicBezTo>
                          <a:pt x="128330" y="309277"/>
                          <a:pt x="127482" y="309696"/>
                          <a:pt x="127044" y="310629"/>
                        </a:cubicBezTo>
                        <a:close/>
                        <a:moveTo>
                          <a:pt x="243326" y="311534"/>
                        </a:moveTo>
                        <a:cubicBezTo>
                          <a:pt x="243392" y="312449"/>
                          <a:pt x="243973" y="312934"/>
                          <a:pt x="244640" y="313258"/>
                        </a:cubicBezTo>
                        <a:cubicBezTo>
                          <a:pt x="245755" y="313258"/>
                          <a:pt x="246183" y="312687"/>
                          <a:pt x="246526" y="311944"/>
                        </a:cubicBezTo>
                        <a:cubicBezTo>
                          <a:pt x="246536" y="310782"/>
                          <a:pt x="245774" y="310096"/>
                          <a:pt x="244554" y="310143"/>
                        </a:cubicBezTo>
                        <a:cubicBezTo>
                          <a:pt x="244031" y="310563"/>
                          <a:pt x="243630" y="310848"/>
                          <a:pt x="243326" y="311534"/>
                        </a:cubicBezTo>
                        <a:close/>
                        <a:moveTo>
                          <a:pt x="162544" y="314982"/>
                        </a:moveTo>
                        <a:cubicBezTo>
                          <a:pt x="161668" y="316935"/>
                          <a:pt x="163525" y="319288"/>
                          <a:pt x="165497" y="318926"/>
                        </a:cubicBezTo>
                        <a:cubicBezTo>
                          <a:pt x="168831" y="318325"/>
                          <a:pt x="168631" y="313087"/>
                          <a:pt x="164592" y="313258"/>
                        </a:cubicBezTo>
                        <a:cubicBezTo>
                          <a:pt x="163773" y="313725"/>
                          <a:pt x="162944" y="314096"/>
                          <a:pt x="162544" y="314982"/>
                        </a:cubicBezTo>
                        <a:close/>
                        <a:moveTo>
                          <a:pt x="220723" y="315563"/>
                        </a:moveTo>
                        <a:cubicBezTo>
                          <a:pt x="220275" y="316973"/>
                          <a:pt x="221828" y="318487"/>
                          <a:pt x="223104" y="318192"/>
                        </a:cubicBezTo>
                        <a:cubicBezTo>
                          <a:pt x="225695" y="317592"/>
                          <a:pt x="225038" y="314592"/>
                          <a:pt x="222609" y="314001"/>
                        </a:cubicBezTo>
                        <a:cubicBezTo>
                          <a:pt x="221856" y="314354"/>
                          <a:pt x="220990" y="314735"/>
                          <a:pt x="220723" y="315563"/>
                        </a:cubicBezTo>
                        <a:close/>
                        <a:moveTo>
                          <a:pt x="105604" y="315963"/>
                        </a:moveTo>
                        <a:cubicBezTo>
                          <a:pt x="105642" y="317906"/>
                          <a:pt x="107890" y="318602"/>
                          <a:pt x="108975" y="317202"/>
                        </a:cubicBezTo>
                        <a:cubicBezTo>
                          <a:pt x="109976" y="315906"/>
                          <a:pt x="108861" y="314211"/>
                          <a:pt x="107251" y="314239"/>
                        </a:cubicBezTo>
                        <a:cubicBezTo>
                          <a:pt x="106423" y="314773"/>
                          <a:pt x="106089" y="315096"/>
                          <a:pt x="105604" y="315963"/>
                        </a:cubicBezTo>
                        <a:close/>
                        <a:moveTo>
                          <a:pt x="140770" y="319830"/>
                        </a:moveTo>
                        <a:cubicBezTo>
                          <a:pt x="140141" y="321402"/>
                          <a:pt x="141742" y="323202"/>
                          <a:pt x="143313" y="322869"/>
                        </a:cubicBezTo>
                        <a:cubicBezTo>
                          <a:pt x="145999" y="322297"/>
                          <a:pt x="145799" y="318059"/>
                          <a:pt x="142570" y="318183"/>
                        </a:cubicBezTo>
                        <a:cubicBezTo>
                          <a:pt x="141856" y="318611"/>
                          <a:pt x="141094" y="319011"/>
                          <a:pt x="140770" y="319830"/>
                        </a:cubicBezTo>
                        <a:close/>
                        <a:moveTo>
                          <a:pt x="200016" y="322707"/>
                        </a:moveTo>
                        <a:cubicBezTo>
                          <a:pt x="201587" y="323336"/>
                          <a:pt x="203216" y="321459"/>
                          <a:pt x="202730" y="319916"/>
                        </a:cubicBezTo>
                        <a:cubicBezTo>
                          <a:pt x="202340" y="318916"/>
                          <a:pt x="201578" y="318306"/>
                          <a:pt x="200101" y="318354"/>
                        </a:cubicBezTo>
                        <a:cubicBezTo>
                          <a:pt x="198377" y="319354"/>
                          <a:pt x="197701" y="321774"/>
                          <a:pt x="200016" y="322707"/>
                        </a:cubicBezTo>
                        <a:close/>
                        <a:moveTo>
                          <a:pt x="177994" y="327060"/>
                        </a:moveTo>
                        <a:cubicBezTo>
                          <a:pt x="181223" y="327203"/>
                          <a:pt x="181194" y="322793"/>
                          <a:pt x="178070" y="322869"/>
                        </a:cubicBezTo>
                        <a:cubicBezTo>
                          <a:pt x="176165" y="324050"/>
                          <a:pt x="175469" y="325917"/>
                          <a:pt x="177994" y="327060"/>
                        </a:cubicBezTo>
                        <a:close/>
                        <a:moveTo>
                          <a:pt x="119329" y="324841"/>
                        </a:moveTo>
                        <a:cubicBezTo>
                          <a:pt x="119396" y="325764"/>
                          <a:pt x="119958" y="326174"/>
                          <a:pt x="120644" y="326479"/>
                        </a:cubicBezTo>
                        <a:cubicBezTo>
                          <a:pt x="121501" y="326460"/>
                          <a:pt x="121977" y="325955"/>
                          <a:pt x="122206" y="325326"/>
                        </a:cubicBezTo>
                        <a:cubicBezTo>
                          <a:pt x="122234" y="325107"/>
                          <a:pt x="122263" y="324888"/>
                          <a:pt x="122282" y="324669"/>
                        </a:cubicBezTo>
                        <a:cubicBezTo>
                          <a:pt x="121806" y="324107"/>
                          <a:pt x="121587" y="323564"/>
                          <a:pt x="120558" y="323526"/>
                        </a:cubicBezTo>
                        <a:cubicBezTo>
                          <a:pt x="119986" y="323926"/>
                          <a:pt x="119615" y="324155"/>
                          <a:pt x="119329" y="324841"/>
                        </a:cubicBezTo>
                        <a:close/>
                        <a:moveTo>
                          <a:pt x="154581" y="329279"/>
                        </a:moveTo>
                        <a:cubicBezTo>
                          <a:pt x="154648" y="330356"/>
                          <a:pt x="155458" y="331108"/>
                          <a:pt x="156639" y="331089"/>
                        </a:cubicBezTo>
                        <a:cubicBezTo>
                          <a:pt x="157172" y="330622"/>
                          <a:pt x="157620" y="330365"/>
                          <a:pt x="157953" y="329698"/>
                        </a:cubicBezTo>
                        <a:cubicBezTo>
                          <a:pt x="157953" y="328508"/>
                          <a:pt x="157143" y="327689"/>
                          <a:pt x="155905" y="327727"/>
                        </a:cubicBezTo>
                        <a:cubicBezTo>
                          <a:pt x="155258" y="328212"/>
                          <a:pt x="154886" y="328431"/>
                          <a:pt x="154581" y="329279"/>
                        </a:cubicBezTo>
                        <a:close/>
                        <a:moveTo>
                          <a:pt x="213084" y="329193"/>
                        </a:moveTo>
                        <a:cubicBezTo>
                          <a:pt x="213055" y="329355"/>
                          <a:pt x="213027" y="329517"/>
                          <a:pt x="213008" y="329689"/>
                        </a:cubicBezTo>
                        <a:cubicBezTo>
                          <a:pt x="213169" y="329879"/>
                          <a:pt x="213331" y="330070"/>
                          <a:pt x="213503" y="330260"/>
                        </a:cubicBezTo>
                        <a:cubicBezTo>
                          <a:pt x="213722" y="330289"/>
                          <a:pt x="213941" y="330317"/>
                          <a:pt x="214160" y="330337"/>
                        </a:cubicBezTo>
                        <a:cubicBezTo>
                          <a:pt x="214217" y="330308"/>
                          <a:pt x="214274" y="330279"/>
                          <a:pt x="214322" y="330260"/>
                        </a:cubicBezTo>
                        <a:cubicBezTo>
                          <a:pt x="214627" y="329879"/>
                          <a:pt x="214808" y="329841"/>
                          <a:pt x="214817" y="329108"/>
                        </a:cubicBezTo>
                        <a:cubicBezTo>
                          <a:pt x="214503" y="328765"/>
                          <a:pt x="214341" y="328527"/>
                          <a:pt x="213750" y="328451"/>
                        </a:cubicBezTo>
                        <a:cubicBezTo>
                          <a:pt x="213455" y="328708"/>
                          <a:pt x="213255" y="328803"/>
                          <a:pt x="213084" y="329193"/>
                        </a:cubicBezTo>
                        <a:close/>
                        <a:moveTo>
                          <a:pt x="190814" y="333632"/>
                        </a:moveTo>
                        <a:cubicBezTo>
                          <a:pt x="190814" y="333823"/>
                          <a:pt x="190814" y="334013"/>
                          <a:pt x="190814" y="334204"/>
                        </a:cubicBezTo>
                        <a:cubicBezTo>
                          <a:pt x="191110" y="334480"/>
                          <a:pt x="191148" y="334661"/>
                          <a:pt x="191634" y="334785"/>
                        </a:cubicBezTo>
                        <a:cubicBezTo>
                          <a:pt x="192643" y="335185"/>
                          <a:pt x="193176" y="333070"/>
                          <a:pt x="191634" y="332889"/>
                        </a:cubicBezTo>
                        <a:cubicBezTo>
                          <a:pt x="191281" y="333146"/>
                          <a:pt x="191052" y="333261"/>
                          <a:pt x="190814" y="333632"/>
                        </a:cubicBezTo>
                        <a:close/>
                        <a:moveTo>
                          <a:pt x="133702" y="334204"/>
                        </a:moveTo>
                        <a:cubicBezTo>
                          <a:pt x="133702" y="334261"/>
                          <a:pt x="133702" y="334318"/>
                          <a:pt x="133702" y="334366"/>
                        </a:cubicBezTo>
                        <a:cubicBezTo>
                          <a:pt x="133950" y="334366"/>
                          <a:pt x="134198" y="334366"/>
                          <a:pt x="134445" y="334366"/>
                        </a:cubicBezTo>
                        <a:cubicBezTo>
                          <a:pt x="134474" y="334070"/>
                          <a:pt x="134502" y="333766"/>
                          <a:pt x="134522" y="333461"/>
                        </a:cubicBezTo>
                        <a:cubicBezTo>
                          <a:pt x="134245" y="333432"/>
                          <a:pt x="133969" y="333413"/>
                          <a:pt x="133702" y="333375"/>
                        </a:cubicBezTo>
                        <a:cubicBezTo>
                          <a:pt x="133702" y="333661"/>
                          <a:pt x="133702" y="333937"/>
                          <a:pt x="133702" y="334204"/>
                        </a:cubicBezTo>
                        <a:close/>
                      </a:path>
                    </a:pathLst>
                  </a:custGeom>
                  <a:solidFill>
                    <a:srgbClr val="62A844"/>
                  </a:solidFill>
                  <a:ln w="9525" cap="flat">
                    <a:noFill/>
                    <a:prstDash val="solid"/>
                    <a:miter/>
                  </a:ln>
                </p:spPr>
                <p:txBody>
                  <a:bodyPr rtlCol="0" anchor="ctr"/>
                  <a:lstStyle/>
                  <a:p>
                    <a:endParaRPr lang="en-US"/>
                  </a:p>
                </p:txBody>
              </p:sp>
            </p:grpSp>
            <p:sp>
              <p:nvSpPr>
                <p:cNvPr id="1130" name="Freeform: Shape 750">
                  <a:extLst>
                    <a:ext uri="{FF2B5EF4-FFF2-40B4-BE49-F238E27FC236}">
                      <a16:creationId xmlns:a16="http://schemas.microsoft.com/office/drawing/2014/main" id="{87ACDFBF-39A7-2041-72A9-DDE8AA584444}"/>
                    </a:ext>
                  </a:extLst>
                </p:cNvPr>
                <p:cNvSpPr/>
                <p:nvPr/>
              </p:nvSpPr>
              <p:spPr>
                <a:xfrm>
                  <a:off x="-6978013" y="-1308442"/>
                  <a:ext cx="325605" cy="239868"/>
                </a:xfrm>
                <a:custGeom>
                  <a:avLst/>
                  <a:gdLst>
                    <a:gd name="connsiteX0" fmla="*/ 107750 w 325605"/>
                    <a:gd name="connsiteY0" fmla="*/ 14164 h 239868"/>
                    <a:gd name="connsiteX1" fmla="*/ 311299 w 325605"/>
                    <a:gd name="connsiteY1" fmla="*/ 0 h 239868"/>
                    <a:gd name="connsiteX2" fmla="*/ 325605 w 325605"/>
                    <a:gd name="connsiteY2" fmla="*/ 205645 h 239868"/>
                    <a:gd name="connsiteX3" fmla="*/ 90909 w 325605"/>
                    <a:gd name="connsiteY3" fmla="*/ 239868 h 239868"/>
                    <a:gd name="connsiteX4" fmla="*/ 2241 w 325605"/>
                    <a:gd name="connsiteY4" fmla="*/ 158172 h 239868"/>
                    <a:gd name="connsiteX5" fmla="*/ 107750 w 325605"/>
                    <a:gd name="connsiteY5" fmla="*/ 14164 h 23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605" h="239868">
                      <a:moveTo>
                        <a:pt x="107750" y="14164"/>
                      </a:moveTo>
                      <a:lnTo>
                        <a:pt x="311299" y="0"/>
                      </a:lnTo>
                      <a:lnTo>
                        <a:pt x="325605" y="205645"/>
                      </a:lnTo>
                      <a:lnTo>
                        <a:pt x="90909" y="239868"/>
                      </a:lnTo>
                      <a:cubicBezTo>
                        <a:pt x="90909" y="239868"/>
                        <a:pt x="16576" y="223885"/>
                        <a:pt x="2241" y="158172"/>
                      </a:cubicBezTo>
                      <a:cubicBezTo>
                        <a:pt x="-12094" y="92469"/>
                        <a:pt x="44599" y="18555"/>
                        <a:pt x="107750" y="14164"/>
                      </a:cubicBezTo>
                      <a:close/>
                    </a:path>
                  </a:pathLst>
                </a:custGeom>
                <a:solidFill>
                  <a:srgbClr val="3D8241"/>
                </a:solidFill>
                <a:ln w="9525" cap="flat">
                  <a:noFill/>
                  <a:prstDash val="solid"/>
                  <a:miter/>
                </a:ln>
              </p:spPr>
              <p:txBody>
                <a:bodyPr rtlCol="0" anchor="ctr"/>
                <a:lstStyle/>
                <a:p>
                  <a:endParaRPr lang="en-US"/>
                </a:p>
              </p:txBody>
            </p:sp>
            <p:sp>
              <p:nvSpPr>
                <p:cNvPr id="1131" name="Freeform: Shape 751">
                  <a:extLst>
                    <a:ext uri="{FF2B5EF4-FFF2-40B4-BE49-F238E27FC236}">
                      <a16:creationId xmlns:a16="http://schemas.microsoft.com/office/drawing/2014/main" id="{EFDE491E-2973-E45F-489C-CF91A5C2C61D}"/>
                    </a:ext>
                  </a:extLst>
                </p:cNvPr>
                <p:cNvSpPr/>
                <p:nvPr/>
              </p:nvSpPr>
              <p:spPr>
                <a:xfrm>
                  <a:off x="-6942025" y="-1376146"/>
                  <a:ext cx="211257" cy="55416"/>
                </a:xfrm>
                <a:custGeom>
                  <a:avLst/>
                  <a:gdLst>
                    <a:gd name="connsiteX0" fmla="*/ 211207 w 211257"/>
                    <a:gd name="connsiteY0" fmla="*/ 51425 h 55416"/>
                    <a:gd name="connsiteX1" fmla="*/ 205330 w 211257"/>
                    <a:gd name="connsiteY1" fmla="*/ 39319 h 55416"/>
                    <a:gd name="connsiteX2" fmla="*/ 191290 w 211257"/>
                    <a:gd name="connsiteY2" fmla="*/ 5753 h 55416"/>
                    <a:gd name="connsiteX3" fmla="*/ 194786 w 211257"/>
                    <a:gd name="connsiteY3" fmla="*/ 5791 h 55416"/>
                    <a:gd name="connsiteX4" fmla="*/ 184633 w 211257"/>
                    <a:gd name="connsiteY4" fmla="*/ 53102 h 55416"/>
                    <a:gd name="connsiteX5" fmla="*/ 184537 w 211257"/>
                    <a:gd name="connsiteY5" fmla="*/ 55416 h 55416"/>
                    <a:gd name="connsiteX6" fmla="*/ 182223 w 211257"/>
                    <a:gd name="connsiteY6" fmla="*/ 55359 h 55416"/>
                    <a:gd name="connsiteX7" fmla="*/ 140656 w 211257"/>
                    <a:gd name="connsiteY7" fmla="*/ 54283 h 55416"/>
                    <a:gd name="connsiteX8" fmla="*/ 41177 w 211257"/>
                    <a:gd name="connsiteY8" fmla="*/ 50711 h 55416"/>
                    <a:gd name="connsiteX9" fmla="*/ 11039 w 211257"/>
                    <a:gd name="connsiteY9" fmla="*/ 49063 h 55416"/>
                    <a:gd name="connsiteX10" fmla="*/ 0 w 211257"/>
                    <a:gd name="connsiteY10" fmla="*/ 47787 h 55416"/>
                    <a:gd name="connsiteX11" fmla="*/ 11078 w 211257"/>
                    <a:gd name="connsiteY11" fmla="*/ 47139 h 55416"/>
                    <a:gd name="connsiteX12" fmla="*/ 41243 w 211257"/>
                    <a:gd name="connsiteY12" fmla="*/ 47215 h 55416"/>
                    <a:gd name="connsiteX13" fmla="*/ 140751 w 211257"/>
                    <a:gd name="connsiteY13" fmla="*/ 49330 h 55416"/>
                    <a:gd name="connsiteX14" fmla="*/ 182318 w 211257"/>
                    <a:gd name="connsiteY14" fmla="*/ 50625 h 55416"/>
                    <a:gd name="connsiteX15" fmla="*/ 179908 w 211257"/>
                    <a:gd name="connsiteY15" fmla="*/ 52883 h 55416"/>
                    <a:gd name="connsiteX16" fmla="*/ 191310 w 211257"/>
                    <a:gd name="connsiteY16" fmla="*/ 4353 h 55416"/>
                    <a:gd name="connsiteX17" fmla="*/ 193205 w 211257"/>
                    <a:gd name="connsiteY17" fmla="*/ 0 h 55416"/>
                    <a:gd name="connsiteX18" fmla="*/ 194815 w 211257"/>
                    <a:gd name="connsiteY18" fmla="*/ 4391 h 55416"/>
                    <a:gd name="connsiteX19" fmla="*/ 207311 w 211257"/>
                    <a:gd name="connsiteY19" fmla="*/ 38567 h 55416"/>
                    <a:gd name="connsiteX20" fmla="*/ 211207 w 211257"/>
                    <a:gd name="connsiteY20" fmla="*/ 51425 h 55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1257" h="55416">
                      <a:moveTo>
                        <a:pt x="211207" y="51425"/>
                      </a:moveTo>
                      <a:cubicBezTo>
                        <a:pt x="210855" y="51559"/>
                        <a:pt x="208769" y="47225"/>
                        <a:pt x="205330" y="39319"/>
                      </a:cubicBezTo>
                      <a:cubicBezTo>
                        <a:pt x="201578" y="30347"/>
                        <a:pt x="196872" y="19088"/>
                        <a:pt x="191290" y="5753"/>
                      </a:cubicBezTo>
                      <a:lnTo>
                        <a:pt x="194786" y="5791"/>
                      </a:lnTo>
                      <a:cubicBezTo>
                        <a:pt x="189662" y="18659"/>
                        <a:pt x="185404" y="34919"/>
                        <a:pt x="184633" y="53102"/>
                      </a:cubicBezTo>
                      <a:lnTo>
                        <a:pt x="184537" y="55416"/>
                      </a:lnTo>
                      <a:lnTo>
                        <a:pt x="182223" y="55359"/>
                      </a:lnTo>
                      <a:cubicBezTo>
                        <a:pt x="169221" y="55026"/>
                        <a:pt x="155210" y="54664"/>
                        <a:pt x="140656" y="54283"/>
                      </a:cubicBezTo>
                      <a:cubicBezTo>
                        <a:pt x="101793" y="53169"/>
                        <a:pt x="66627" y="51892"/>
                        <a:pt x="41177" y="50711"/>
                      </a:cubicBezTo>
                      <a:cubicBezTo>
                        <a:pt x="29280" y="50063"/>
                        <a:pt x="19212" y="49511"/>
                        <a:pt x="11039" y="49063"/>
                      </a:cubicBezTo>
                      <a:cubicBezTo>
                        <a:pt x="3924" y="48568"/>
                        <a:pt x="0" y="48130"/>
                        <a:pt x="0" y="47787"/>
                      </a:cubicBezTo>
                      <a:cubicBezTo>
                        <a:pt x="9" y="47444"/>
                        <a:pt x="3953" y="47234"/>
                        <a:pt x="11078" y="47139"/>
                      </a:cubicBezTo>
                      <a:cubicBezTo>
                        <a:pt x="19250" y="47158"/>
                        <a:pt x="29337" y="47187"/>
                        <a:pt x="41243" y="47215"/>
                      </a:cubicBezTo>
                      <a:cubicBezTo>
                        <a:pt x="66713" y="47492"/>
                        <a:pt x="101889" y="48225"/>
                        <a:pt x="140751" y="49330"/>
                      </a:cubicBezTo>
                      <a:cubicBezTo>
                        <a:pt x="155295" y="49787"/>
                        <a:pt x="169316" y="50225"/>
                        <a:pt x="182318" y="50625"/>
                      </a:cubicBezTo>
                      <a:lnTo>
                        <a:pt x="179908" y="52883"/>
                      </a:lnTo>
                      <a:cubicBezTo>
                        <a:pt x="180918" y="34090"/>
                        <a:pt x="185642" y="17393"/>
                        <a:pt x="191310" y="4353"/>
                      </a:cubicBezTo>
                      <a:lnTo>
                        <a:pt x="193205" y="0"/>
                      </a:lnTo>
                      <a:lnTo>
                        <a:pt x="194815" y="4391"/>
                      </a:lnTo>
                      <a:cubicBezTo>
                        <a:pt x="199777" y="17974"/>
                        <a:pt x="203968" y="29423"/>
                        <a:pt x="207311" y="38567"/>
                      </a:cubicBezTo>
                      <a:cubicBezTo>
                        <a:pt x="210140" y="46691"/>
                        <a:pt x="211550" y="51283"/>
                        <a:pt x="211207" y="51425"/>
                      </a:cubicBezTo>
                      <a:close/>
                    </a:path>
                  </a:pathLst>
                </a:custGeom>
                <a:solidFill>
                  <a:srgbClr val="00113E"/>
                </a:solidFill>
                <a:ln w="9525" cap="flat">
                  <a:noFill/>
                  <a:prstDash val="solid"/>
                  <a:miter/>
                </a:ln>
              </p:spPr>
              <p:txBody>
                <a:bodyPr rtlCol="0" anchor="ctr"/>
                <a:lstStyle/>
                <a:p>
                  <a:endParaRPr lang="en-US"/>
                </a:p>
              </p:txBody>
            </p:sp>
            <p:sp>
              <p:nvSpPr>
                <p:cNvPr id="1132" name="Freeform: Shape 752">
                  <a:extLst>
                    <a:ext uri="{FF2B5EF4-FFF2-40B4-BE49-F238E27FC236}">
                      <a16:creationId xmlns:a16="http://schemas.microsoft.com/office/drawing/2014/main" id="{47F2B05F-5D8D-A06C-E2F6-9B4D7E8FCEFE}"/>
                    </a:ext>
                  </a:extLst>
                </p:cNvPr>
                <p:cNvSpPr/>
                <p:nvPr/>
              </p:nvSpPr>
              <p:spPr>
                <a:xfrm>
                  <a:off x="-6957546" y="-1301760"/>
                  <a:ext cx="270334" cy="44554"/>
                </a:xfrm>
                <a:custGeom>
                  <a:avLst/>
                  <a:gdLst>
                    <a:gd name="connsiteX0" fmla="*/ 270334 w 270334"/>
                    <a:gd name="connsiteY0" fmla="*/ 633 h 44554"/>
                    <a:gd name="connsiteX1" fmla="*/ 259304 w 270334"/>
                    <a:gd name="connsiteY1" fmla="*/ 1947 h 44554"/>
                    <a:gd name="connsiteX2" fmla="*/ 229186 w 270334"/>
                    <a:gd name="connsiteY2" fmla="*/ 4042 h 44554"/>
                    <a:gd name="connsiteX3" fmla="*/ 129755 w 270334"/>
                    <a:gd name="connsiteY3" fmla="*/ 10377 h 44554"/>
                    <a:gd name="connsiteX4" fmla="*/ 31762 w 270334"/>
                    <a:gd name="connsiteY4" fmla="*/ 20121 h 44554"/>
                    <a:gd name="connsiteX5" fmla="*/ 7197 w 270334"/>
                    <a:gd name="connsiteY5" fmla="*/ 36208 h 44554"/>
                    <a:gd name="connsiteX6" fmla="*/ 34 w 270334"/>
                    <a:gd name="connsiteY6" fmla="*/ 44543 h 44554"/>
                    <a:gd name="connsiteX7" fmla="*/ 1091 w 270334"/>
                    <a:gd name="connsiteY7" fmla="*/ 41819 h 44554"/>
                    <a:gd name="connsiteX8" fmla="*/ 5758 w 270334"/>
                    <a:gd name="connsiteY8" fmla="*/ 34923 h 44554"/>
                    <a:gd name="connsiteX9" fmla="*/ 30400 w 270334"/>
                    <a:gd name="connsiteY9" fmla="*/ 16882 h 44554"/>
                    <a:gd name="connsiteX10" fmla="*/ 74700 w 270334"/>
                    <a:gd name="connsiteY10" fmla="*/ 7729 h 44554"/>
                    <a:gd name="connsiteX11" fmla="*/ 129507 w 270334"/>
                    <a:gd name="connsiteY11" fmla="*/ 5414 h 44554"/>
                    <a:gd name="connsiteX12" fmla="*/ 229005 w 270334"/>
                    <a:gd name="connsiteY12" fmla="*/ 528 h 44554"/>
                    <a:gd name="connsiteX13" fmla="*/ 259228 w 270334"/>
                    <a:gd name="connsiteY13" fmla="*/ 4 h 44554"/>
                    <a:gd name="connsiteX14" fmla="*/ 270334 w 270334"/>
                    <a:gd name="connsiteY14" fmla="*/ 633 h 44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0334" h="44554">
                      <a:moveTo>
                        <a:pt x="270334" y="633"/>
                      </a:moveTo>
                      <a:cubicBezTo>
                        <a:pt x="270344" y="976"/>
                        <a:pt x="266410" y="1423"/>
                        <a:pt x="259304" y="1947"/>
                      </a:cubicBezTo>
                      <a:cubicBezTo>
                        <a:pt x="251142" y="2518"/>
                        <a:pt x="241083" y="3214"/>
                        <a:pt x="229186" y="4042"/>
                      </a:cubicBezTo>
                      <a:cubicBezTo>
                        <a:pt x="203755" y="5700"/>
                        <a:pt x="168655" y="8424"/>
                        <a:pt x="129755" y="10377"/>
                      </a:cubicBezTo>
                      <a:cubicBezTo>
                        <a:pt x="90950" y="12815"/>
                        <a:pt x="55050" y="9958"/>
                        <a:pt x="31762" y="20121"/>
                      </a:cubicBezTo>
                      <a:cubicBezTo>
                        <a:pt x="20122" y="24759"/>
                        <a:pt x="12016" y="31170"/>
                        <a:pt x="7197" y="36208"/>
                      </a:cubicBezTo>
                      <a:cubicBezTo>
                        <a:pt x="2301" y="41247"/>
                        <a:pt x="424" y="44781"/>
                        <a:pt x="34" y="44543"/>
                      </a:cubicBezTo>
                      <a:cubicBezTo>
                        <a:pt x="-118" y="44457"/>
                        <a:pt x="244" y="43533"/>
                        <a:pt x="1091" y="41819"/>
                      </a:cubicBezTo>
                      <a:cubicBezTo>
                        <a:pt x="1986" y="40152"/>
                        <a:pt x="3434" y="37723"/>
                        <a:pt x="5758" y="34923"/>
                      </a:cubicBezTo>
                      <a:cubicBezTo>
                        <a:pt x="10292" y="29303"/>
                        <a:pt x="18446" y="22140"/>
                        <a:pt x="30400" y="16882"/>
                      </a:cubicBezTo>
                      <a:cubicBezTo>
                        <a:pt x="42325" y="11501"/>
                        <a:pt x="57775" y="8681"/>
                        <a:pt x="74700" y="7729"/>
                      </a:cubicBezTo>
                      <a:cubicBezTo>
                        <a:pt x="91674" y="7014"/>
                        <a:pt x="110133" y="6233"/>
                        <a:pt x="129507" y="5414"/>
                      </a:cubicBezTo>
                      <a:cubicBezTo>
                        <a:pt x="168312" y="3461"/>
                        <a:pt x="203497" y="1290"/>
                        <a:pt x="229005" y="528"/>
                      </a:cubicBezTo>
                      <a:cubicBezTo>
                        <a:pt x="241759" y="99"/>
                        <a:pt x="252085" y="-25"/>
                        <a:pt x="259228" y="4"/>
                      </a:cubicBezTo>
                      <a:cubicBezTo>
                        <a:pt x="266372" y="90"/>
                        <a:pt x="270325" y="290"/>
                        <a:pt x="270334" y="633"/>
                      </a:cubicBezTo>
                      <a:close/>
                    </a:path>
                  </a:pathLst>
                </a:custGeom>
                <a:solidFill>
                  <a:srgbClr val="00113E"/>
                </a:solidFill>
                <a:ln w="9525" cap="flat">
                  <a:noFill/>
                  <a:prstDash val="solid"/>
                  <a:miter/>
                </a:ln>
              </p:spPr>
              <p:txBody>
                <a:bodyPr rtlCol="0" anchor="ctr"/>
                <a:lstStyle/>
                <a:p>
                  <a:endParaRPr lang="en-US"/>
                </a:p>
              </p:txBody>
            </p:sp>
            <p:sp>
              <p:nvSpPr>
                <p:cNvPr id="1133" name="Freeform: Shape 753">
                  <a:extLst>
                    <a:ext uri="{FF2B5EF4-FFF2-40B4-BE49-F238E27FC236}">
                      <a16:creationId xmlns:a16="http://schemas.microsoft.com/office/drawing/2014/main" id="{E84B01B0-CAD3-1103-0530-760BCD5BB814}"/>
                    </a:ext>
                  </a:extLst>
                </p:cNvPr>
                <p:cNvSpPr/>
                <p:nvPr/>
              </p:nvSpPr>
              <p:spPr>
                <a:xfrm>
                  <a:off x="-6857510" y="-1094044"/>
                  <a:ext cx="173157" cy="23335"/>
                </a:xfrm>
                <a:custGeom>
                  <a:avLst/>
                  <a:gdLst>
                    <a:gd name="connsiteX0" fmla="*/ 173156 w 173157"/>
                    <a:gd name="connsiteY0" fmla="*/ 219 h 23335"/>
                    <a:gd name="connsiteX1" fmla="*/ 148096 w 173157"/>
                    <a:gd name="connsiteY1" fmla="*/ 5724 h 23335"/>
                    <a:gd name="connsiteX2" fmla="*/ 86879 w 173157"/>
                    <a:gd name="connsiteY2" fmla="*/ 14135 h 23335"/>
                    <a:gd name="connsiteX3" fmla="*/ 25538 w 173157"/>
                    <a:gd name="connsiteY3" fmla="*/ 21088 h 23335"/>
                    <a:gd name="connsiteX4" fmla="*/ 1 w 173157"/>
                    <a:gd name="connsiteY4" fmla="*/ 23117 h 23335"/>
                    <a:gd name="connsiteX5" fmla="*/ 25061 w 173157"/>
                    <a:gd name="connsiteY5" fmla="*/ 17612 h 23335"/>
                    <a:gd name="connsiteX6" fmla="*/ 86288 w 173157"/>
                    <a:gd name="connsiteY6" fmla="*/ 9201 h 23335"/>
                    <a:gd name="connsiteX7" fmla="*/ 147620 w 173157"/>
                    <a:gd name="connsiteY7" fmla="*/ 2248 h 23335"/>
                    <a:gd name="connsiteX8" fmla="*/ 173156 w 173157"/>
                    <a:gd name="connsiteY8" fmla="*/ 219 h 2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157" h="23335">
                      <a:moveTo>
                        <a:pt x="173156" y="219"/>
                      </a:moveTo>
                      <a:cubicBezTo>
                        <a:pt x="173270" y="876"/>
                        <a:pt x="163717" y="3143"/>
                        <a:pt x="148096" y="5724"/>
                      </a:cubicBezTo>
                      <a:cubicBezTo>
                        <a:pt x="132484" y="8344"/>
                        <a:pt x="110824" y="11268"/>
                        <a:pt x="86879" y="14135"/>
                      </a:cubicBezTo>
                      <a:cubicBezTo>
                        <a:pt x="63799" y="16754"/>
                        <a:pt x="42930" y="19116"/>
                        <a:pt x="25538" y="21088"/>
                      </a:cubicBezTo>
                      <a:cubicBezTo>
                        <a:pt x="9840" y="22774"/>
                        <a:pt x="115" y="23812"/>
                        <a:pt x="1" y="23117"/>
                      </a:cubicBezTo>
                      <a:cubicBezTo>
                        <a:pt x="-113" y="22460"/>
                        <a:pt x="9440" y="20193"/>
                        <a:pt x="25061" y="17612"/>
                      </a:cubicBezTo>
                      <a:cubicBezTo>
                        <a:pt x="40673" y="14992"/>
                        <a:pt x="62333" y="12068"/>
                        <a:pt x="86288" y="9201"/>
                      </a:cubicBezTo>
                      <a:cubicBezTo>
                        <a:pt x="109358" y="6582"/>
                        <a:pt x="130227" y="4219"/>
                        <a:pt x="147620" y="2248"/>
                      </a:cubicBezTo>
                      <a:cubicBezTo>
                        <a:pt x="163317" y="562"/>
                        <a:pt x="173032" y="-476"/>
                        <a:pt x="173156" y="219"/>
                      </a:cubicBezTo>
                      <a:close/>
                    </a:path>
                  </a:pathLst>
                </a:custGeom>
                <a:solidFill>
                  <a:srgbClr val="00113E"/>
                </a:solidFill>
                <a:ln w="9525" cap="flat">
                  <a:noFill/>
                  <a:prstDash val="solid"/>
                  <a:miter/>
                </a:ln>
              </p:spPr>
              <p:txBody>
                <a:bodyPr rtlCol="0" anchor="ctr"/>
                <a:lstStyle/>
                <a:p>
                  <a:endParaRPr lang="en-US"/>
                </a:p>
              </p:txBody>
            </p:sp>
            <p:sp>
              <p:nvSpPr>
                <p:cNvPr id="1134" name="Freeform: Shape 754">
                  <a:extLst>
                    <a:ext uri="{FF2B5EF4-FFF2-40B4-BE49-F238E27FC236}">
                      <a16:creationId xmlns:a16="http://schemas.microsoft.com/office/drawing/2014/main" id="{E1237D97-A2D0-DCCD-70BE-19261D70BB43}"/>
                    </a:ext>
                  </a:extLst>
                </p:cNvPr>
                <p:cNvSpPr/>
                <p:nvPr/>
              </p:nvSpPr>
              <p:spPr>
                <a:xfrm>
                  <a:off x="-6687993" y="-1340722"/>
                  <a:ext cx="73945" cy="278623"/>
                </a:xfrm>
                <a:custGeom>
                  <a:avLst/>
                  <a:gdLst>
                    <a:gd name="connsiteX0" fmla="*/ 33261 w 73945"/>
                    <a:gd name="connsiteY0" fmla="*/ 85 h 278623"/>
                    <a:gd name="connsiteX1" fmla="*/ 0 w 73945"/>
                    <a:gd name="connsiteY1" fmla="*/ 36565 h 278623"/>
                    <a:gd name="connsiteX2" fmla="*/ 5953 w 73945"/>
                    <a:gd name="connsiteY2" fmla="*/ 252383 h 278623"/>
                    <a:gd name="connsiteX3" fmla="*/ 42310 w 73945"/>
                    <a:gd name="connsiteY3" fmla="*/ 278491 h 278623"/>
                    <a:gd name="connsiteX4" fmla="*/ 73943 w 73945"/>
                    <a:gd name="connsiteY4" fmla="*/ 241772 h 278623"/>
                    <a:gd name="connsiteX5" fmla="*/ 73943 w 73945"/>
                    <a:gd name="connsiteY5" fmla="*/ 40766 h 278623"/>
                    <a:gd name="connsiteX6" fmla="*/ 41062 w 73945"/>
                    <a:gd name="connsiteY6" fmla="*/ 399 h 278623"/>
                    <a:gd name="connsiteX7" fmla="*/ 33261 w 73945"/>
                    <a:gd name="connsiteY7" fmla="*/ 85 h 27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45" h="278623">
                      <a:moveTo>
                        <a:pt x="33261" y="85"/>
                      </a:moveTo>
                      <a:cubicBezTo>
                        <a:pt x="12211" y="1551"/>
                        <a:pt x="0" y="36565"/>
                        <a:pt x="0" y="36565"/>
                      </a:cubicBezTo>
                      <a:cubicBezTo>
                        <a:pt x="0" y="36565"/>
                        <a:pt x="3924" y="223236"/>
                        <a:pt x="5953" y="252383"/>
                      </a:cubicBezTo>
                      <a:cubicBezTo>
                        <a:pt x="5953" y="252383"/>
                        <a:pt x="20526" y="280796"/>
                        <a:pt x="42310" y="278491"/>
                      </a:cubicBezTo>
                      <a:cubicBezTo>
                        <a:pt x="64094" y="276186"/>
                        <a:pt x="73943" y="241772"/>
                        <a:pt x="73943" y="241772"/>
                      </a:cubicBezTo>
                      <a:lnTo>
                        <a:pt x="73943" y="40766"/>
                      </a:lnTo>
                      <a:cubicBezTo>
                        <a:pt x="74162" y="21135"/>
                        <a:pt x="60484" y="3266"/>
                        <a:pt x="41062" y="399"/>
                      </a:cubicBezTo>
                      <a:cubicBezTo>
                        <a:pt x="38500" y="37"/>
                        <a:pt x="35890" y="-106"/>
                        <a:pt x="33261" y="85"/>
                      </a:cubicBezTo>
                      <a:close/>
                    </a:path>
                  </a:pathLst>
                </a:custGeom>
                <a:solidFill>
                  <a:srgbClr val="3D8241"/>
                </a:solidFill>
                <a:ln w="9525" cap="flat">
                  <a:noFill/>
                  <a:prstDash val="solid"/>
                  <a:miter/>
                </a:ln>
              </p:spPr>
              <p:txBody>
                <a:bodyPr rtlCol="0" anchor="ctr"/>
                <a:lstStyle/>
                <a:p>
                  <a:endParaRPr lang="en-US"/>
                </a:p>
              </p:txBody>
            </p:sp>
            <p:sp>
              <p:nvSpPr>
                <p:cNvPr id="1135" name="Freeform: Shape 755">
                  <a:extLst>
                    <a:ext uri="{FF2B5EF4-FFF2-40B4-BE49-F238E27FC236}">
                      <a16:creationId xmlns:a16="http://schemas.microsoft.com/office/drawing/2014/main" id="{4F17B462-8712-FADC-9236-4A453C156FCF}"/>
                    </a:ext>
                  </a:extLst>
                </p:cNvPr>
                <p:cNvSpPr/>
                <p:nvPr/>
              </p:nvSpPr>
              <p:spPr>
                <a:xfrm>
                  <a:off x="-6689727" y="-1341788"/>
                  <a:ext cx="78842" cy="281374"/>
                </a:xfrm>
                <a:custGeom>
                  <a:avLst/>
                  <a:gdLst>
                    <a:gd name="connsiteX0" fmla="*/ 75933 w 78842"/>
                    <a:gd name="connsiteY0" fmla="*/ 211968 h 281374"/>
                    <a:gd name="connsiteX1" fmla="*/ 76419 w 78842"/>
                    <a:gd name="connsiteY1" fmla="*/ 219922 h 281374"/>
                    <a:gd name="connsiteX2" fmla="*/ 76733 w 78842"/>
                    <a:gd name="connsiteY2" fmla="*/ 242848 h 281374"/>
                    <a:gd name="connsiteX3" fmla="*/ 76733 w 78842"/>
                    <a:gd name="connsiteY3" fmla="*/ 243001 h 281374"/>
                    <a:gd name="connsiteX4" fmla="*/ 76686 w 78842"/>
                    <a:gd name="connsiteY4" fmla="*/ 243153 h 281374"/>
                    <a:gd name="connsiteX5" fmla="*/ 68847 w 78842"/>
                    <a:gd name="connsiteY5" fmla="*/ 261117 h 281374"/>
                    <a:gd name="connsiteX6" fmla="*/ 52197 w 78842"/>
                    <a:gd name="connsiteY6" fmla="*/ 278672 h 281374"/>
                    <a:gd name="connsiteX7" fmla="*/ 38329 w 78842"/>
                    <a:gd name="connsiteY7" fmla="*/ 281272 h 281374"/>
                    <a:gd name="connsiteX8" fmla="*/ 24222 w 78842"/>
                    <a:gd name="connsiteY8" fmla="*/ 276491 h 281374"/>
                    <a:gd name="connsiteX9" fmla="*/ 5629 w 78842"/>
                    <a:gd name="connsiteY9" fmla="*/ 250611 h 281374"/>
                    <a:gd name="connsiteX10" fmla="*/ 5582 w 78842"/>
                    <a:gd name="connsiteY10" fmla="*/ 250459 h 281374"/>
                    <a:gd name="connsiteX11" fmla="*/ 5572 w 78842"/>
                    <a:gd name="connsiteY11" fmla="*/ 250211 h 281374"/>
                    <a:gd name="connsiteX12" fmla="*/ 696 w 78842"/>
                    <a:gd name="connsiteY12" fmla="*/ 68436 h 281374"/>
                    <a:gd name="connsiteX13" fmla="*/ 10 w 78842"/>
                    <a:gd name="connsiteY13" fmla="*/ 39623 h 281374"/>
                    <a:gd name="connsiteX14" fmla="*/ 0 w 78842"/>
                    <a:gd name="connsiteY14" fmla="*/ 39185 h 281374"/>
                    <a:gd name="connsiteX15" fmla="*/ 115 w 78842"/>
                    <a:gd name="connsiteY15" fmla="*/ 38851 h 281374"/>
                    <a:gd name="connsiteX16" fmla="*/ 15116 w 78842"/>
                    <a:gd name="connsiteY16" fmla="*/ 12267 h 281374"/>
                    <a:gd name="connsiteX17" fmla="*/ 27280 w 78842"/>
                    <a:gd name="connsiteY17" fmla="*/ 2980 h 281374"/>
                    <a:gd name="connsiteX18" fmla="*/ 42234 w 78842"/>
                    <a:gd name="connsiteY18" fmla="*/ 47 h 281374"/>
                    <a:gd name="connsiteX19" fmla="*/ 67837 w 78842"/>
                    <a:gd name="connsiteY19" fmla="*/ 12886 h 281374"/>
                    <a:gd name="connsiteX20" fmla="*/ 76924 w 78842"/>
                    <a:gd name="connsiteY20" fmla="*/ 38547 h 281374"/>
                    <a:gd name="connsiteX21" fmla="*/ 78724 w 78842"/>
                    <a:gd name="connsiteY21" fmla="*/ 129339 h 281374"/>
                    <a:gd name="connsiteX22" fmla="*/ 77200 w 78842"/>
                    <a:gd name="connsiteY22" fmla="*/ 189927 h 281374"/>
                    <a:gd name="connsiteX23" fmla="*/ 76486 w 78842"/>
                    <a:gd name="connsiteY23" fmla="*/ 206291 h 281374"/>
                    <a:gd name="connsiteX24" fmla="*/ 75933 w 78842"/>
                    <a:gd name="connsiteY24" fmla="*/ 211968 h 281374"/>
                    <a:gd name="connsiteX25" fmla="*/ 75552 w 78842"/>
                    <a:gd name="connsiteY25" fmla="*/ 206272 h 281374"/>
                    <a:gd name="connsiteX26" fmla="*/ 75381 w 78842"/>
                    <a:gd name="connsiteY26" fmla="*/ 189889 h 281374"/>
                    <a:gd name="connsiteX27" fmla="*/ 75381 w 78842"/>
                    <a:gd name="connsiteY27" fmla="*/ 129320 h 281374"/>
                    <a:gd name="connsiteX28" fmla="*/ 72514 w 78842"/>
                    <a:gd name="connsiteY28" fmla="*/ 38871 h 281374"/>
                    <a:gd name="connsiteX29" fmla="*/ 64256 w 78842"/>
                    <a:gd name="connsiteY29" fmla="*/ 15772 h 281374"/>
                    <a:gd name="connsiteX30" fmla="*/ 42015 w 78842"/>
                    <a:gd name="connsiteY30" fmla="*/ 4800 h 281374"/>
                    <a:gd name="connsiteX31" fmla="*/ 29375 w 78842"/>
                    <a:gd name="connsiteY31" fmla="*/ 7324 h 281374"/>
                    <a:gd name="connsiteX32" fmla="*/ 18726 w 78842"/>
                    <a:gd name="connsiteY32" fmla="*/ 15553 h 281374"/>
                    <a:gd name="connsiteX33" fmla="*/ 4858 w 78842"/>
                    <a:gd name="connsiteY33" fmla="*/ 40261 h 281374"/>
                    <a:gd name="connsiteX34" fmla="*/ 4963 w 78842"/>
                    <a:gd name="connsiteY34" fmla="*/ 39490 h 281374"/>
                    <a:gd name="connsiteX35" fmla="*/ 5677 w 78842"/>
                    <a:gd name="connsiteY35" fmla="*/ 68303 h 281374"/>
                    <a:gd name="connsiteX36" fmla="*/ 9640 w 78842"/>
                    <a:gd name="connsiteY36" fmla="*/ 250097 h 281374"/>
                    <a:gd name="connsiteX37" fmla="*/ 9592 w 78842"/>
                    <a:gd name="connsiteY37" fmla="*/ 249697 h 281374"/>
                    <a:gd name="connsiteX38" fmla="*/ 26146 w 78842"/>
                    <a:gd name="connsiteY38" fmla="*/ 273376 h 281374"/>
                    <a:gd name="connsiteX39" fmla="*/ 38767 w 78842"/>
                    <a:gd name="connsiteY39" fmla="*/ 277872 h 281374"/>
                    <a:gd name="connsiteX40" fmla="*/ 50768 w 78842"/>
                    <a:gd name="connsiteY40" fmla="*/ 275833 h 281374"/>
                    <a:gd name="connsiteX41" fmla="*/ 66561 w 78842"/>
                    <a:gd name="connsiteY41" fmla="*/ 259746 h 281374"/>
                    <a:gd name="connsiteX42" fmla="*/ 74667 w 78842"/>
                    <a:gd name="connsiteY42" fmla="*/ 242544 h 281374"/>
                    <a:gd name="connsiteX43" fmla="*/ 74619 w 78842"/>
                    <a:gd name="connsiteY43" fmla="*/ 242839 h 281374"/>
                    <a:gd name="connsiteX44" fmla="*/ 75324 w 78842"/>
                    <a:gd name="connsiteY44" fmla="*/ 219912 h 281374"/>
                    <a:gd name="connsiteX45" fmla="*/ 75933 w 78842"/>
                    <a:gd name="connsiteY45" fmla="*/ 211968 h 28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8842" h="281374">
                      <a:moveTo>
                        <a:pt x="75933" y="211968"/>
                      </a:moveTo>
                      <a:cubicBezTo>
                        <a:pt x="76124" y="211968"/>
                        <a:pt x="76286" y="214702"/>
                        <a:pt x="76419" y="219922"/>
                      </a:cubicBezTo>
                      <a:cubicBezTo>
                        <a:pt x="76495" y="225684"/>
                        <a:pt x="76600" y="233295"/>
                        <a:pt x="76733" y="242848"/>
                      </a:cubicBezTo>
                      <a:lnTo>
                        <a:pt x="76733" y="243001"/>
                      </a:lnTo>
                      <a:lnTo>
                        <a:pt x="76686" y="243153"/>
                      </a:lnTo>
                      <a:cubicBezTo>
                        <a:pt x="74962" y="248697"/>
                        <a:pt x="72523" y="254774"/>
                        <a:pt x="68847" y="261117"/>
                      </a:cubicBezTo>
                      <a:cubicBezTo>
                        <a:pt x="65189" y="267385"/>
                        <a:pt x="60208" y="274205"/>
                        <a:pt x="52197" y="278672"/>
                      </a:cubicBezTo>
                      <a:cubicBezTo>
                        <a:pt x="48111" y="280720"/>
                        <a:pt x="43282" y="281710"/>
                        <a:pt x="38329" y="281272"/>
                      </a:cubicBezTo>
                      <a:cubicBezTo>
                        <a:pt x="33557" y="280672"/>
                        <a:pt x="28661" y="279167"/>
                        <a:pt x="24222" y="276491"/>
                      </a:cubicBezTo>
                      <a:cubicBezTo>
                        <a:pt x="15278" y="271081"/>
                        <a:pt x="8782" y="261660"/>
                        <a:pt x="5629" y="250611"/>
                      </a:cubicBezTo>
                      <a:lnTo>
                        <a:pt x="5582" y="250459"/>
                      </a:lnTo>
                      <a:lnTo>
                        <a:pt x="5572" y="250211"/>
                      </a:lnTo>
                      <a:cubicBezTo>
                        <a:pt x="4201" y="198995"/>
                        <a:pt x="2515" y="136226"/>
                        <a:pt x="696" y="68436"/>
                      </a:cubicBezTo>
                      <a:cubicBezTo>
                        <a:pt x="457" y="58568"/>
                        <a:pt x="229" y="48796"/>
                        <a:pt x="10" y="39623"/>
                      </a:cubicBezTo>
                      <a:lnTo>
                        <a:pt x="0" y="39185"/>
                      </a:lnTo>
                      <a:lnTo>
                        <a:pt x="115" y="38851"/>
                      </a:lnTo>
                      <a:cubicBezTo>
                        <a:pt x="3486" y="28945"/>
                        <a:pt x="8239" y="19878"/>
                        <a:pt x="15116" y="12267"/>
                      </a:cubicBezTo>
                      <a:cubicBezTo>
                        <a:pt x="18602" y="8543"/>
                        <a:pt x="22622" y="5247"/>
                        <a:pt x="27280" y="2980"/>
                      </a:cubicBezTo>
                      <a:cubicBezTo>
                        <a:pt x="31995" y="875"/>
                        <a:pt x="37157" y="-249"/>
                        <a:pt x="42234" y="47"/>
                      </a:cubicBezTo>
                      <a:cubicBezTo>
                        <a:pt x="52197" y="408"/>
                        <a:pt x="61960" y="5219"/>
                        <a:pt x="67837" y="12886"/>
                      </a:cubicBezTo>
                      <a:cubicBezTo>
                        <a:pt x="73628" y="20401"/>
                        <a:pt x="77124" y="29650"/>
                        <a:pt x="76924" y="38547"/>
                      </a:cubicBezTo>
                      <a:cubicBezTo>
                        <a:pt x="78753" y="72932"/>
                        <a:pt x="79058" y="103631"/>
                        <a:pt x="78724" y="129339"/>
                      </a:cubicBezTo>
                      <a:cubicBezTo>
                        <a:pt x="78400" y="155037"/>
                        <a:pt x="77705" y="175697"/>
                        <a:pt x="77200" y="189927"/>
                      </a:cubicBezTo>
                      <a:cubicBezTo>
                        <a:pt x="76905" y="196643"/>
                        <a:pt x="76667" y="202062"/>
                        <a:pt x="76486" y="206291"/>
                      </a:cubicBezTo>
                      <a:cubicBezTo>
                        <a:pt x="76286" y="210016"/>
                        <a:pt x="76095" y="211968"/>
                        <a:pt x="75933" y="211968"/>
                      </a:cubicBezTo>
                      <a:cubicBezTo>
                        <a:pt x="75772" y="211968"/>
                        <a:pt x="75648" y="210006"/>
                        <a:pt x="75552" y="206272"/>
                      </a:cubicBezTo>
                      <a:cubicBezTo>
                        <a:pt x="75505" y="202034"/>
                        <a:pt x="75448" y="196614"/>
                        <a:pt x="75381" y="189889"/>
                      </a:cubicBezTo>
                      <a:cubicBezTo>
                        <a:pt x="75381" y="175049"/>
                        <a:pt x="75381" y="154542"/>
                        <a:pt x="75381" y="129320"/>
                      </a:cubicBezTo>
                      <a:cubicBezTo>
                        <a:pt x="75276" y="103679"/>
                        <a:pt x="74591" y="72980"/>
                        <a:pt x="72514" y="38871"/>
                      </a:cubicBezTo>
                      <a:cubicBezTo>
                        <a:pt x="72685" y="30565"/>
                        <a:pt x="69380" y="22411"/>
                        <a:pt x="64256" y="15772"/>
                      </a:cubicBezTo>
                      <a:cubicBezTo>
                        <a:pt x="59055" y="9124"/>
                        <a:pt x="50835" y="5123"/>
                        <a:pt x="42015" y="4800"/>
                      </a:cubicBezTo>
                      <a:cubicBezTo>
                        <a:pt x="37681" y="4571"/>
                        <a:pt x="33385" y="5552"/>
                        <a:pt x="29375" y="7324"/>
                      </a:cubicBezTo>
                      <a:cubicBezTo>
                        <a:pt x="25413" y="9286"/>
                        <a:pt x="21870" y="12181"/>
                        <a:pt x="18726" y="15553"/>
                      </a:cubicBezTo>
                      <a:cubicBezTo>
                        <a:pt x="12535" y="22392"/>
                        <a:pt x="7906" y="31231"/>
                        <a:pt x="4858" y="40261"/>
                      </a:cubicBezTo>
                      <a:lnTo>
                        <a:pt x="4963" y="39490"/>
                      </a:lnTo>
                      <a:cubicBezTo>
                        <a:pt x="5191" y="48672"/>
                        <a:pt x="5429" y="58435"/>
                        <a:pt x="5677" y="68303"/>
                      </a:cubicBezTo>
                      <a:cubicBezTo>
                        <a:pt x="7153" y="136102"/>
                        <a:pt x="8525" y="198881"/>
                        <a:pt x="9640" y="250097"/>
                      </a:cubicBezTo>
                      <a:lnTo>
                        <a:pt x="9592" y="249697"/>
                      </a:lnTo>
                      <a:cubicBezTo>
                        <a:pt x="12287" y="259584"/>
                        <a:pt x="18279" y="268547"/>
                        <a:pt x="26146" y="273376"/>
                      </a:cubicBezTo>
                      <a:cubicBezTo>
                        <a:pt x="30080" y="275824"/>
                        <a:pt x="34423" y="277243"/>
                        <a:pt x="38767" y="277872"/>
                      </a:cubicBezTo>
                      <a:cubicBezTo>
                        <a:pt x="43025" y="278291"/>
                        <a:pt x="47130" y="277548"/>
                        <a:pt x="50768" y="275833"/>
                      </a:cubicBezTo>
                      <a:cubicBezTo>
                        <a:pt x="57931" y="272023"/>
                        <a:pt x="62913" y="265718"/>
                        <a:pt x="66561" y="259746"/>
                      </a:cubicBezTo>
                      <a:cubicBezTo>
                        <a:pt x="70256" y="253735"/>
                        <a:pt x="72847" y="247792"/>
                        <a:pt x="74667" y="242544"/>
                      </a:cubicBezTo>
                      <a:lnTo>
                        <a:pt x="74619" y="242839"/>
                      </a:lnTo>
                      <a:cubicBezTo>
                        <a:pt x="74914" y="233285"/>
                        <a:pt x="75143" y="225675"/>
                        <a:pt x="75324" y="219912"/>
                      </a:cubicBezTo>
                      <a:cubicBezTo>
                        <a:pt x="75533" y="214693"/>
                        <a:pt x="75743" y="211968"/>
                        <a:pt x="75933" y="211968"/>
                      </a:cubicBezTo>
                      <a:close/>
                    </a:path>
                  </a:pathLst>
                </a:custGeom>
                <a:solidFill>
                  <a:srgbClr val="00113E"/>
                </a:solidFill>
                <a:ln w="9525" cap="flat">
                  <a:noFill/>
                  <a:prstDash val="solid"/>
                  <a:miter/>
                </a:ln>
              </p:spPr>
              <p:txBody>
                <a:bodyPr rtlCol="0" anchor="ctr"/>
                <a:lstStyle/>
                <a:p>
                  <a:endParaRPr lang="en-US"/>
                </a:p>
              </p:txBody>
            </p:sp>
            <p:sp>
              <p:nvSpPr>
                <p:cNvPr id="1136" name="Freeform: Shape 756">
                  <a:extLst>
                    <a:ext uri="{FF2B5EF4-FFF2-40B4-BE49-F238E27FC236}">
                      <a16:creationId xmlns:a16="http://schemas.microsoft.com/office/drawing/2014/main" id="{57FCCB19-C439-822D-C81A-926EFAA74079}"/>
                    </a:ext>
                  </a:extLst>
                </p:cNvPr>
                <p:cNvSpPr/>
                <p:nvPr/>
              </p:nvSpPr>
              <p:spPr>
                <a:xfrm>
                  <a:off x="-6979951" y="-1170218"/>
                  <a:ext cx="92976" cy="103200"/>
                </a:xfrm>
                <a:custGeom>
                  <a:avLst/>
                  <a:gdLst>
                    <a:gd name="connsiteX0" fmla="*/ 92971 w 92976"/>
                    <a:gd name="connsiteY0" fmla="*/ 103101 h 103200"/>
                    <a:gd name="connsiteX1" fmla="*/ 72321 w 92976"/>
                    <a:gd name="connsiteY1" fmla="*/ 96938 h 103200"/>
                    <a:gd name="connsiteX2" fmla="*/ 30363 w 92976"/>
                    <a:gd name="connsiteY2" fmla="*/ 66144 h 103200"/>
                    <a:gd name="connsiteX3" fmla="*/ 4132 w 92976"/>
                    <a:gd name="connsiteY3" fmla="*/ 21177 h 103200"/>
                    <a:gd name="connsiteX4" fmla="*/ 179 w 92976"/>
                    <a:gd name="connsiteY4" fmla="*/ 2 h 103200"/>
                    <a:gd name="connsiteX5" fmla="*/ 7437 w 92976"/>
                    <a:gd name="connsiteY5" fmla="*/ 19986 h 103200"/>
                    <a:gd name="connsiteX6" fmla="*/ 34059 w 92976"/>
                    <a:gd name="connsiteY6" fmla="*/ 62839 h 103200"/>
                    <a:gd name="connsiteX7" fmla="*/ 73874 w 92976"/>
                    <a:gd name="connsiteY7" fmla="*/ 93805 h 103200"/>
                    <a:gd name="connsiteX8" fmla="*/ 92971 w 92976"/>
                    <a:gd name="connsiteY8" fmla="*/ 103101 h 1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76" h="103200">
                      <a:moveTo>
                        <a:pt x="92971" y="103101"/>
                      </a:moveTo>
                      <a:cubicBezTo>
                        <a:pt x="92857" y="103596"/>
                        <a:pt x="84599" y="102339"/>
                        <a:pt x="72321" y="96938"/>
                      </a:cubicBezTo>
                      <a:cubicBezTo>
                        <a:pt x="60072" y="91604"/>
                        <a:pt x="44146" y="81394"/>
                        <a:pt x="30363" y="66144"/>
                      </a:cubicBezTo>
                      <a:cubicBezTo>
                        <a:pt x="16628" y="50828"/>
                        <a:pt x="8151" y="33911"/>
                        <a:pt x="4132" y="21177"/>
                      </a:cubicBezTo>
                      <a:cubicBezTo>
                        <a:pt x="55" y="8403"/>
                        <a:pt x="-336" y="60"/>
                        <a:pt x="179" y="2"/>
                      </a:cubicBezTo>
                      <a:cubicBezTo>
                        <a:pt x="1017" y="-160"/>
                        <a:pt x="2636" y="7880"/>
                        <a:pt x="7437" y="19986"/>
                      </a:cubicBezTo>
                      <a:cubicBezTo>
                        <a:pt x="12180" y="32083"/>
                        <a:pt x="20819" y="48066"/>
                        <a:pt x="34059" y="62839"/>
                      </a:cubicBezTo>
                      <a:cubicBezTo>
                        <a:pt x="47356" y="77545"/>
                        <a:pt x="62339" y="87813"/>
                        <a:pt x="73874" y="93805"/>
                      </a:cubicBezTo>
                      <a:cubicBezTo>
                        <a:pt x="85399" y="99834"/>
                        <a:pt x="93219" y="102282"/>
                        <a:pt x="92971" y="103101"/>
                      </a:cubicBezTo>
                      <a:close/>
                    </a:path>
                  </a:pathLst>
                </a:custGeom>
                <a:solidFill>
                  <a:srgbClr val="00113E"/>
                </a:solidFill>
                <a:ln w="9525" cap="flat">
                  <a:noFill/>
                  <a:prstDash val="solid"/>
                  <a:miter/>
                </a:ln>
              </p:spPr>
              <p:txBody>
                <a:bodyPr rtlCol="0" anchor="ctr"/>
                <a:lstStyle/>
                <a:p>
                  <a:endParaRPr lang="en-US"/>
                </a:p>
              </p:txBody>
            </p:sp>
            <p:sp>
              <p:nvSpPr>
                <p:cNvPr id="1137" name="Freeform: Shape 757">
                  <a:extLst>
                    <a:ext uri="{FF2B5EF4-FFF2-40B4-BE49-F238E27FC236}">
                      <a16:creationId xmlns:a16="http://schemas.microsoft.com/office/drawing/2014/main" id="{C3DB966C-22A3-0977-7ED8-8815F5622B2C}"/>
                    </a:ext>
                  </a:extLst>
                </p:cNvPr>
                <p:cNvSpPr/>
                <p:nvPr/>
              </p:nvSpPr>
              <p:spPr>
                <a:xfrm>
                  <a:off x="-6981812" y="-822082"/>
                  <a:ext cx="172137" cy="92972"/>
                </a:xfrm>
                <a:custGeom>
                  <a:avLst/>
                  <a:gdLst>
                    <a:gd name="connsiteX0" fmla="*/ 172137 w 172137"/>
                    <a:gd name="connsiteY0" fmla="*/ 271 h 92972"/>
                    <a:gd name="connsiteX1" fmla="*/ 143438 w 172137"/>
                    <a:gd name="connsiteY1" fmla="*/ 6405 h 92972"/>
                    <a:gd name="connsiteX2" fmla="*/ 77820 w 172137"/>
                    <a:gd name="connsiteY2" fmla="*/ 31256 h 92972"/>
                    <a:gd name="connsiteX3" fmla="*/ 20947 w 172137"/>
                    <a:gd name="connsiteY3" fmla="*/ 72366 h 92972"/>
                    <a:gd name="connsiteX4" fmla="*/ 30 w 172137"/>
                    <a:gd name="connsiteY4" fmla="*/ 92950 h 92972"/>
                    <a:gd name="connsiteX5" fmla="*/ 4354 w 172137"/>
                    <a:gd name="connsiteY5" fmla="*/ 86273 h 92972"/>
                    <a:gd name="connsiteX6" fmla="*/ 18480 w 172137"/>
                    <a:gd name="connsiteY6" fmla="*/ 69870 h 92972"/>
                    <a:gd name="connsiteX7" fmla="*/ 75468 w 172137"/>
                    <a:gd name="connsiteY7" fmla="*/ 26884 h 92972"/>
                    <a:gd name="connsiteX8" fmla="*/ 142714 w 172137"/>
                    <a:gd name="connsiteY8" fmla="*/ 2967 h 92972"/>
                    <a:gd name="connsiteX9" fmla="*/ 164184 w 172137"/>
                    <a:gd name="connsiteY9" fmla="*/ 195 h 92972"/>
                    <a:gd name="connsiteX10" fmla="*/ 172137 w 172137"/>
                    <a:gd name="connsiteY10" fmla="*/ 271 h 9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137" h="92972">
                      <a:moveTo>
                        <a:pt x="172137" y="271"/>
                      </a:moveTo>
                      <a:cubicBezTo>
                        <a:pt x="172213" y="1119"/>
                        <a:pt x="161012" y="2272"/>
                        <a:pt x="143438" y="6405"/>
                      </a:cubicBezTo>
                      <a:cubicBezTo>
                        <a:pt x="125874" y="10492"/>
                        <a:pt x="102052" y="18264"/>
                        <a:pt x="77820" y="31256"/>
                      </a:cubicBezTo>
                      <a:cubicBezTo>
                        <a:pt x="53617" y="44344"/>
                        <a:pt x="34015" y="59955"/>
                        <a:pt x="20947" y="72366"/>
                      </a:cubicBezTo>
                      <a:cubicBezTo>
                        <a:pt x="7831" y="84768"/>
                        <a:pt x="696" y="93483"/>
                        <a:pt x="30" y="92950"/>
                      </a:cubicBezTo>
                      <a:cubicBezTo>
                        <a:pt x="-237" y="92740"/>
                        <a:pt x="1306" y="90378"/>
                        <a:pt x="4354" y="86273"/>
                      </a:cubicBezTo>
                      <a:cubicBezTo>
                        <a:pt x="7345" y="82120"/>
                        <a:pt x="12145" y="76481"/>
                        <a:pt x="18480" y="69870"/>
                      </a:cubicBezTo>
                      <a:cubicBezTo>
                        <a:pt x="31100" y="56640"/>
                        <a:pt x="50779" y="40229"/>
                        <a:pt x="75468" y="26884"/>
                      </a:cubicBezTo>
                      <a:cubicBezTo>
                        <a:pt x="100185" y="13625"/>
                        <a:pt x="124721" y="6225"/>
                        <a:pt x="142714" y="2967"/>
                      </a:cubicBezTo>
                      <a:cubicBezTo>
                        <a:pt x="151715" y="1310"/>
                        <a:pt x="159068" y="405"/>
                        <a:pt x="164184" y="195"/>
                      </a:cubicBezTo>
                      <a:cubicBezTo>
                        <a:pt x="169289" y="-81"/>
                        <a:pt x="172108" y="-71"/>
                        <a:pt x="172137" y="271"/>
                      </a:cubicBezTo>
                      <a:close/>
                    </a:path>
                  </a:pathLst>
                </a:custGeom>
                <a:solidFill>
                  <a:srgbClr val="00113E"/>
                </a:solidFill>
                <a:ln w="9525" cap="flat">
                  <a:noFill/>
                  <a:prstDash val="solid"/>
                  <a:miter/>
                </a:ln>
              </p:spPr>
              <p:txBody>
                <a:bodyPr rtlCol="0" anchor="ctr"/>
                <a:lstStyle/>
                <a:p>
                  <a:endParaRPr lang="en-US"/>
                </a:p>
              </p:txBody>
            </p:sp>
            <p:sp>
              <p:nvSpPr>
                <p:cNvPr id="1138" name="Freeform: Shape 758">
                  <a:extLst>
                    <a:ext uri="{FF2B5EF4-FFF2-40B4-BE49-F238E27FC236}">
                      <a16:creationId xmlns:a16="http://schemas.microsoft.com/office/drawing/2014/main" id="{AA80FB26-6347-AFE0-3A8A-EF87906326C2}"/>
                    </a:ext>
                  </a:extLst>
                </p:cNvPr>
                <p:cNvSpPr/>
                <p:nvPr/>
              </p:nvSpPr>
              <p:spPr>
                <a:xfrm>
                  <a:off x="-6984395" y="-824247"/>
                  <a:ext cx="160965" cy="28261"/>
                </a:xfrm>
                <a:custGeom>
                  <a:avLst/>
                  <a:gdLst>
                    <a:gd name="connsiteX0" fmla="*/ 160966 w 160965"/>
                    <a:gd name="connsiteY0" fmla="*/ 560 h 28261"/>
                    <a:gd name="connsiteX1" fmla="*/ 137220 w 160965"/>
                    <a:gd name="connsiteY1" fmla="*/ 4075 h 28261"/>
                    <a:gd name="connsiteX2" fmla="*/ 80127 w 160965"/>
                    <a:gd name="connsiteY2" fmla="*/ 12238 h 28261"/>
                    <a:gd name="connsiteX3" fmla="*/ 23558 w 160965"/>
                    <a:gd name="connsiteY3" fmla="*/ 23544 h 28261"/>
                    <a:gd name="connsiteX4" fmla="*/ 3 w 160965"/>
                    <a:gd name="connsiteY4" fmla="*/ 28126 h 28261"/>
                    <a:gd name="connsiteX5" fmla="*/ 22691 w 160965"/>
                    <a:gd name="connsiteY5" fmla="*/ 20144 h 28261"/>
                    <a:gd name="connsiteX6" fmla="*/ 79289 w 160965"/>
                    <a:gd name="connsiteY6" fmla="*/ 7352 h 28261"/>
                    <a:gd name="connsiteX7" fmla="*/ 136906 w 160965"/>
                    <a:gd name="connsiteY7" fmla="*/ 579 h 28261"/>
                    <a:gd name="connsiteX8" fmla="*/ 160966 w 160965"/>
                    <a:gd name="connsiteY8" fmla="*/ 560 h 2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965" h="28261">
                      <a:moveTo>
                        <a:pt x="160966" y="560"/>
                      </a:moveTo>
                      <a:cubicBezTo>
                        <a:pt x="161004" y="1284"/>
                        <a:pt x="151898" y="2322"/>
                        <a:pt x="137220" y="4075"/>
                      </a:cubicBezTo>
                      <a:cubicBezTo>
                        <a:pt x="122542" y="5828"/>
                        <a:pt x="102320" y="8447"/>
                        <a:pt x="80127" y="12238"/>
                      </a:cubicBezTo>
                      <a:cubicBezTo>
                        <a:pt x="57924" y="16048"/>
                        <a:pt x="37979" y="20306"/>
                        <a:pt x="23558" y="23544"/>
                      </a:cubicBezTo>
                      <a:cubicBezTo>
                        <a:pt x="9137" y="26773"/>
                        <a:pt x="203" y="28821"/>
                        <a:pt x="3" y="28126"/>
                      </a:cubicBezTo>
                      <a:cubicBezTo>
                        <a:pt x="-178" y="27507"/>
                        <a:pt x="8423" y="24259"/>
                        <a:pt x="22691" y="20144"/>
                      </a:cubicBezTo>
                      <a:cubicBezTo>
                        <a:pt x="36960" y="16019"/>
                        <a:pt x="56934" y="11190"/>
                        <a:pt x="79289" y="7352"/>
                      </a:cubicBezTo>
                      <a:cubicBezTo>
                        <a:pt x="101634" y="3532"/>
                        <a:pt x="122085" y="1446"/>
                        <a:pt x="136906" y="579"/>
                      </a:cubicBezTo>
                      <a:cubicBezTo>
                        <a:pt x="151736" y="-287"/>
                        <a:pt x="160928" y="-87"/>
                        <a:pt x="160966" y="560"/>
                      </a:cubicBezTo>
                      <a:close/>
                    </a:path>
                  </a:pathLst>
                </a:custGeom>
                <a:solidFill>
                  <a:srgbClr val="00113E"/>
                </a:solidFill>
                <a:ln w="9525" cap="flat">
                  <a:noFill/>
                  <a:prstDash val="solid"/>
                  <a:miter/>
                </a:ln>
              </p:spPr>
              <p:txBody>
                <a:bodyPr rtlCol="0" anchor="ctr"/>
                <a:lstStyle/>
                <a:p>
                  <a:endParaRPr lang="en-US"/>
                </a:p>
              </p:txBody>
            </p:sp>
            <p:sp>
              <p:nvSpPr>
                <p:cNvPr id="1139" name="Freeform: Shape 759">
                  <a:extLst>
                    <a:ext uri="{FF2B5EF4-FFF2-40B4-BE49-F238E27FC236}">
                      <a16:creationId xmlns:a16="http://schemas.microsoft.com/office/drawing/2014/main" id="{886981A3-3369-31AF-57D7-F5951CE071C4}"/>
                    </a:ext>
                  </a:extLst>
                </p:cNvPr>
                <p:cNvSpPr/>
                <p:nvPr/>
              </p:nvSpPr>
              <p:spPr>
                <a:xfrm>
                  <a:off x="-7001061" y="-1320473"/>
                  <a:ext cx="254736" cy="184442"/>
                </a:xfrm>
                <a:custGeom>
                  <a:avLst/>
                  <a:gdLst>
                    <a:gd name="connsiteX0" fmla="*/ 0 w 254736"/>
                    <a:gd name="connsiteY0" fmla="*/ 184442 h 184442"/>
                    <a:gd name="connsiteX1" fmla="*/ 84039 w 254736"/>
                    <a:gd name="connsiteY1" fmla="*/ 137693 h 184442"/>
                    <a:gd name="connsiteX2" fmla="*/ 130816 w 254736"/>
                    <a:gd name="connsiteY2" fmla="*/ 47311 h 184442"/>
                    <a:gd name="connsiteX3" fmla="*/ 254736 w 254736"/>
                    <a:gd name="connsiteY3" fmla="*/ 4896 h 184442"/>
                    <a:gd name="connsiteX4" fmla="*/ 151581 w 254736"/>
                    <a:gd name="connsiteY4" fmla="*/ 0 h 184442"/>
                    <a:gd name="connsiteX5" fmla="*/ 78476 w 254736"/>
                    <a:gd name="connsiteY5" fmla="*/ 30785 h 184442"/>
                    <a:gd name="connsiteX6" fmla="*/ 5867 w 254736"/>
                    <a:gd name="connsiteY6" fmla="*/ 110995 h 184442"/>
                    <a:gd name="connsiteX7" fmla="*/ 0 w 254736"/>
                    <a:gd name="connsiteY7" fmla="*/ 184442 h 18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736" h="184442">
                      <a:moveTo>
                        <a:pt x="0" y="184442"/>
                      </a:moveTo>
                      <a:cubicBezTo>
                        <a:pt x="0" y="184442"/>
                        <a:pt x="65103" y="169983"/>
                        <a:pt x="84039" y="137693"/>
                      </a:cubicBezTo>
                      <a:cubicBezTo>
                        <a:pt x="102975" y="105394"/>
                        <a:pt x="111957" y="66989"/>
                        <a:pt x="130816" y="47311"/>
                      </a:cubicBezTo>
                      <a:cubicBezTo>
                        <a:pt x="149676" y="27632"/>
                        <a:pt x="243192" y="30042"/>
                        <a:pt x="254736" y="4896"/>
                      </a:cubicBezTo>
                      <a:lnTo>
                        <a:pt x="151581" y="0"/>
                      </a:lnTo>
                      <a:lnTo>
                        <a:pt x="78476" y="30785"/>
                      </a:lnTo>
                      <a:lnTo>
                        <a:pt x="5867" y="110995"/>
                      </a:lnTo>
                      <a:lnTo>
                        <a:pt x="0" y="184442"/>
                      </a:lnTo>
                      <a:close/>
                    </a:path>
                  </a:pathLst>
                </a:custGeom>
                <a:solidFill>
                  <a:srgbClr val="00113E">
                    <a:alpha val="30000"/>
                  </a:srgbClr>
                </a:solidFill>
                <a:ln w="476" cap="flat">
                  <a:solidFill>
                    <a:srgbClr val="FFFFFF">
                      <a:alpha val="30000"/>
                    </a:srgbClr>
                  </a:solidFill>
                  <a:prstDash val="solid"/>
                  <a:miter/>
                </a:ln>
              </p:spPr>
              <p:txBody>
                <a:bodyPr rtlCol="0" anchor="ctr"/>
                <a:lstStyle/>
                <a:p>
                  <a:endParaRPr lang="en-US"/>
                </a:p>
              </p:txBody>
            </p:sp>
            <p:grpSp>
              <p:nvGrpSpPr>
                <p:cNvPr id="1140" name="Graphic 293">
                  <a:extLst>
                    <a:ext uri="{FF2B5EF4-FFF2-40B4-BE49-F238E27FC236}">
                      <a16:creationId xmlns:a16="http://schemas.microsoft.com/office/drawing/2014/main" id="{20E86897-CC82-BAAF-C397-21789DB9DEC8}"/>
                    </a:ext>
                  </a:extLst>
                </p:cNvPr>
                <p:cNvGrpSpPr/>
                <p:nvPr/>
              </p:nvGrpSpPr>
              <p:grpSpPr>
                <a:xfrm>
                  <a:off x="-9471008" y="-2890155"/>
                  <a:ext cx="2739885" cy="1981753"/>
                  <a:chOff x="-9471008" y="-2890155"/>
                  <a:chExt cx="2739885" cy="1981753"/>
                </a:xfrm>
              </p:grpSpPr>
              <p:grpSp>
                <p:nvGrpSpPr>
                  <p:cNvPr id="1141" name="Graphic 293">
                    <a:extLst>
                      <a:ext uri="{FF2B5EF4-FFF2-40B4-BE49-F238E27FC236}">
                        <a16:creationId xmlns:a16="http://schemas.microsoft.com/office/drawing/2014/main" id="{A9FC9A38-31DE-7A6D-2F67-AF060AA8BA38}"/>
                      </a:ext>
                    </a:extLst>
                  </p:cNvPr>
                  <p:cNvGrpSpPr/>
                  <p:nvPr/>
                </p:nvGrpSpPr>
                <p:grpSpPr>
                  <a:xfrm>
                    <a:off x="-7341713" y="-1364830"/>
                    <a:ext cx="610590" cy="431444"/>
                    <a:chOff x="-7341713" y="-1364830"/>
                    <a:chExt cx="610590" cy="431444"/>
                  </a:xfrm>
                </p:grpSpPr>
                <p:sp>
                  <p:nvSpPr>
                    <p:cNvPr id="1148" name="Freeform: Shape 768">
                      <a:extLst>
                        <a:ext uri="{FF2B5EF4-FFF2-40B4-BE49-F238E27FC236}">
                          <a16:creationId xmlns:a16="http://schemas.microsoft.com/office/drawing/2014/main" id="{2CF578E7-882F-BBBD-1AB2-CF097FB1AE17}"/>
                        </a:ext>
                      </a:extLst>
                    </p:cNvPr>
                    <p:cNvSpPr/>
                    <p:nvPr/>
                  </p:nvSpPr>
                  <p:spPr>
                    <a:xfrm>
                      <a:off x="-6757659" y="-1364830"/>
                      <a:ext cx="26536" cy="49253"/>
                    </a:xfrm>
                    <a:custGeom>
                      <a:avLst/>
                      <a:gdLst>
                        <a:gd name="connsiteX0" fmla="*/ 0 w 26536"/>
                        <a:gd name="connsiteY0" fmla="*/ 33052 h 49253"/>
                        <a:gd name="connsiteX1" fmla="*/ 18031 w 26536"/>
                        <a:gd name="connsiteY1" fmla="*/ 49254 h 49253"/>
                        <a:gd name="connsiteX2" fmla="*/ 26537 w 26536"/>
                        <a:gd name="connsiteY2" fmla="*/ 41129 h 49253"/>
                        <a:gd name="connsiteX3" fmla="*/ 21050 w 26536"/>
                        <a:gd name="connsiteY3" fmla="*/ 25346 h 49253"/>
                        <a:gd name="connsiteX4" fmla="*/ 13268 w 26536"/>
                        <a:gd name="connsiteY4" fmla="*/ 10030 h 49253"/>
                        <a:gd name="connsiteX5" fmla="*/ 8668 w 26536"/>
                        <a:gd name="connsiteY5" fmla="*/ 0 h 4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36" h="49253">
                          <a:moveTo>
                            <a:pt x="0" y="33052"/>
                          </a:moveTo>
                          <a:lnTo>
                            <a:pt x="18031" y="49254"/>
                          </a:lnTo>
                          <a:lnTo>
                            <a:pt x="26537" y="41129"/>
                          </a:lnTo>
                          <a:lnTo>
                            <a:pt x="21050" y="25346"/>
                          </a:lnTo>
                          <a:lnTo>
                            <a:pt x="13268" y="10030"/>
                          </a:lnTo>
                          <a:lnTo>
                            <a:pt x="8668" y="0"/>
                          </a:lnTo>
                          <a:close/>
                        </a:path>
                      </a:pathLst>
                    </a:custGeom>
                    <a:solidFill>
                      <a:srgbClr val="FF662E"/>
                    </a:solidFill>
                    <a:ln w="9525" cap="flat">
                      <a:noFill/>
                      <a:prstDash val="solid"/>
                      <a:miter/>
                    </a:ln>
                  </p:spPr>
                  <p:txBody>
                    <a:bodyPr rtlCol="0" anchor="ctr"/>
                    <a:lstStyle/>
                    <a:p>
                      <a:endParaRPr lang="en-US"/>
                    </a:p>
                  </p:txBody>
                </p:sp>
                <p:sp>
                  <p:nvSpPr>
                    <p:cNvPr id="1149" name="Freeform: Shape 769">
                      <a:extLst>
                        <a:ext uri="{FF2B5EF4-FFF2-40B4-BE49-F238E27FC236}">
                          <a16:creationId xmlns:a16="http://schemas.microsoft.com/office/drawing/2014/main" id="{35A217F4-F9FB-B59C-8E5B-CE1A728CA2C8}"/>
                        </a:ext>
                      </a:extLst>
                    </p:cNvPr>
                    <p:cNvSpPr/>
                    <p:nvPr/>
                  </p:nvSpPr>
                  <p:spPr>
                    <a:xfrm>
                      <a:off x="-7341713" y="-1351679"/>
                      <a:ext cx="603037" cy="418293"/>
                    </a:xfrm>
                    <a:custGeom>
                      <a:avLst/>
                      <a:gdLst>
                        <a:gd name="connsiteX0" fmla="*/ 592722 w 603037"/>
                        <a:gd name="connsiteY0" fmla="*/ 8575 h 418293"/>
                        <a:gd name="connsiteX1" fmla="*/ 524018 w 603037"/>
                        <a:gd name="connsiteY1" fmla="*/ 10957 h 418293"/>
                        <a:gd name="connsiteX2" fmla="*/ 443817 w 603037"/>
                        <a:gd name="connsiteY2" fmla="*/ 41 h 418293"/>
                        <a:gd name="connsiteX3" fmla="*/ 305657 w 603037"/>
                        <a:gd name="connsiteY3" fmla="*/ 95682 h 418293"/>
                        <a:gd name="connsiteX4" fmla="*/ 183185 w 603037"/>
                        <a:gd name="connsiteY4" fmla="*/ 121628 h 418293"/>
                        <a:gd name="connsiteX5" fmla="*/ 83629 w 603037"/>
                        <a:gd name="connsiteY5" fmla="*/ 193513 h 418293"/>
                        <a:gd name="connsiteX6" fmla="*/ 0 w 603037"/>
                        <a:gd name="connsiteY6" fmla="*/ 317928 h 418293"/>
                        <a:gd name="connsiteX7" fmla="*/ 7934 w 603037"/>
                        <a:gd name="connsiteY7" fmla="*/ 418293 h 418293"/>
                        <a:gd name="connsiteX8" fmla="*/ 123996 w 603037"/>
                        <a:gd name="connsiteY8" fmla="*/ 387994 h 418293"/>
                        <a:gd name="connsiteX9" fmla="*/ 237125 w 603037"/>
                        <a:gd name="connsiteY9" fmla="*/ 209077 h 418293"/>
                        <a:gd name="connsiteX10" fmla="*/ 395869 w 603037"/>
                        <a:gd name="connsiteY10" fmla="*/ 148679 h 418293"/>
                        <a:gd name="connsiteX11" fmla="*/ 475116 w 603037"/>
                        <a:gd name="connsiteY11" fmla="*/ 59363 h 418293"/>
                        <a:gd name="connsiteX12" fmla="*/ 603037 w 603037"/>
                        <a:gd name="connsiteY12" fmla="*/ 31216 h 418293"/>
                        <a:gd name="connsiteX13" fmla="*/ 592722 w 603037"/>
                        <a:gd name="connsiteY13" fmla="*/ 8575 h 41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3037" h="418293">
                          <a:moveTo>
                            <a:pt x="592722" y="8575"/>
                          </a:moveTo>
                          <a:cubicBezTo>
                            <a:pt x="575024" y="28511"/>
                            <a:pt x="550097" y="15957"/>
                            <a:pt x="524018" y="10957"/>
                          </a:cubicBezTo>
                          <a:cubicBezTo>
                            <a:pt x="499015" y="6156"/>
                            <a:pt x="469278" y="-588"/>
                            <a:pt x="443817" y="41"/>
                          </a:cubicBezTo>
                          <a:cubicBezTo>
                            <a:pt x="386639" y="1441"/>
                            <a:pt x="357397" y="71298"/>
                            <a:pt x="305657" y="95682"/>
                          </a:cubicBezTo>
                          <a:cubicBezTo>
                            <a:pt x="267729" y="113550"/>
                            <a:pt x="221628" y="104902"/>
                            <a:pt x="183185" y="121628"/>
                          </a:cubicBezTo>
                          <a:cubicBezTo>
                            <a:pt x="138941" y="140868"/>
                            <a:pt x="116948" y="158623"/>
                            <a:pt x="83629" y="193513"/>
                          </a:cubicBezTo>
                          <a:cubicBezTo>
                            <a:pt x="47568" y="231279"/>
                            <a:pt x="31585" y="257864"/>
                            <a:pt x="0" y="317928"/>
                          </a:cubicBezTo>
                          <a:lnTo>
                            <a:pt x="7934" y="418293"/>
                          </a:lnTo>
                          <a:lnTo>
                            <a:pt x="123996" y="387994"/>
                          </a:lnTo>
                          <a:cubicBezTo>
                            <a:pt x="123996" y="387994"/>
                            <a:pt x="184861" y="249082"/>
                            <a:pt x="237125" y="209077"/>
                          </a:cubicBezTo>
                          <a:cubicBezTo>
                            <a:pt x="289379" y="169072"/>
                            <a:pt x="355520" y="197970"/>
                            <a:pt x="395869" y="148679"/>
                          </a:cubicBezTo>
                          <a:cubicBezTo>
                            <a:pt x="436207" y="99387"/>
                            <a:pt x="436883" y="81546"/>
                            <a:pt x="475116" y="59363"/>
                          </a:cubicBezTo>
                          <a:cubicBezTo>
                            <a:pt x="513350" y="37179"/>
                            <a:pt x="585140" y="64097"/>
                            <a:pt x="603037" y="31216"/>
                          </a:cubicBezTo>
                          <a:lnTo>
                            <a:pt x="592722" y="8575"/>
                          </a:lnTo>
                          <a:close/>
                        </a:path>
                      </a:pathLst>
                    </a:custGeom>
                    <a:solidFill>
                      <a:srgbClr val="06677F"/>
                    </a:solidFill>
                    <a:ln w="9525" cap="flat">
                      <a:noFill/>
                      <a:prstDash val="solid"/>
                      <a:miter/>
                    </a:ln>
                  </p:spPr>
                  <p:txBody>
                    <a:bodyPr rtlCol="0" anchor="ctr"/>
                    <a:lstStyle/>
                    <a:p>
                      <a:endParaRPr lang="en-US"/>
                    </a:p>
                  </p:txBody>
                </p:sp>
                <p:sp>
                  <p:nvSpPr>
                    <p:cNvPr id="1150" name="Freeform: Shape 770">
                      <a:extLst>
                        <a:ext uri="{FF2B5EF4-FFF2-40B4-BE49-F238E27FC236}">
                          <a16:creationId xmlns:a16="http://schemas.microsoft.com/office/drawing/2014/main" id="{BEF8BE60-D481-6FE7-DAE3-A91A3968114B}"/>
                        </a:ext>
                      </a:extLst>
                    </p:cNvPr>
                    <p:cNvSpPr/>
                    <p:nvPr/>
                  </p:nvSpPr>
                  <p:spPr>
                    <a:xfrm>
                      <a:off x="-6757167" y="-1339241"/>
                      <a:ext cx="18235" cy="23664"/>
                    </a:xfrm>
                    <a:custGeom>
                      <a:avLst/>
                      <a:gdLst>
                        <a:gd name="connsiteX0" fmla="*/ 17539 w 18235"/>
                        <a:gd name="connsiteY0" fmla="*/ 23664 h 23664"/>
                        <a:gd name="connsiteX1" fmla="*/ 8080 w 18235"/>
                        <a:gd name="connsiteY1" fmla="*/ 12749 h 23664"/>
                        <a:gd name="connsiteX2" fmla="*/ 1499 w 18235"/>
                        <a:gd name="connsiteY2" fmla="*/ 4624 h 23664"/>
                        <a:gd name="connsiteX3" fmla="*/ 508 w 18235"/>
                        <a:gd name="connsiteY3" fmla="*/ 2928 h 23664"/>
                        <a:gd name="connsiteX4" fmla="*/ 127 w 18235"/>
                        <a:gd name="connsiteY4" fmla="*/ 2004 h 23664"/>
                        <a:gd name="connsiteX5" fmla="*/ 22 w 18235"/>
                        <a:gd name="connsiteY5" fmla="*/ 966 h 23664"/>
                        <a:gd name="connsiteX6" fmla="*/ 1251 w 18235"/>
                        <a:gd name="connsiteY6" fmla="*/ 61 h 23664"/>
                        <a:gd name="connsiteX7" fmla="*/ 2394 w 18235"/>
                        <a:gd name="connsiteY7" fmla="*/ 1366 h 23664"/>
                        <a:gd name="connsiteX8" fmla="*/ 1317 w 18235"/>
                        <a:gd name="connsiteY8" fmla="*/ 1785 h 23664"/>
                        <a:gd name="connsiteX9" fmla="*/ 1346 w 18235"/>
                        <a:gd name="connsiteY9" fmla="*/ 1204 h 23664"/>
                        <a:gd name="connsiteX10" fmla="*/ 2213 w 18235"/>
                        <a:gd name="connsiteY10" fmla="*/ 919 h 23664"/>
                        <a:gd name="connsiteX11" fmla="*/ 2670 w 18235"/>
                        <a:gd name="connsiteY11" fmla="*/ 1214 h 23664"/>
                        <a:gd name="connsiteX12" fmla="*/ 4061 w 18235"/>
                        <a:gd name="connsiteY12" fmla="*/ 2243 h 23664"/>
                        <a:gd name="connsiteX13" fmla="*/ 11795 w 18235"/>
                        <a:gd name="connsiteY13" fmla="*/ 9482 h 23664"/>
                        <a:gd name="connsiteX14" fmla="*/ 17643 w 18235"/>
                        <a:gd name="connsiteY14" fmla="*/ 18778 h 23664"/>
                        <a:gd name="connsiteX15" fmla="*/ 17539 w 18235"/>
                        <a:gd name="connsiteY15" fmla="*/ 23664 h 2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35" h="23664">
                          <a:moveTo>
                            <a:pt x="17539" y="23664"/>
                          </a:moveTo>
                          <a:cubicBezTo>
                            <a:pt x="16472" y="23607"/>
                            <a:pt x="13671" y="18664"/>
                            <a:pt x="8080" y="12749"/>
                          </a:cubicBezTo>
                          <a:cubicBezTo>
                            <a:pt x="5451" y="9739"/>
                            <a:pt x="3041" y="6957"/>
                            <a:pt x="1499" y="4624"/>
                          </a:cubicBezTo>
                          <a:cubicBezTo>
                            <a:pt x="1108" y="4033"/>
                            <a:pt x="784" y="3490"/>
                            <a:pt x="508" y="2928"/>
                          </a:cubicBezTo>
                          <a:cubicBezTo>
                            <a:pt x="374" y="2652"/>
                            <a:pt x="251" y="2376"/>
                            <a:pt x="127" y="2004"/>
                          </a:cubicBezTo>
                          <a:cubicBezTo>
                            <a:pt x="89" y="1757"/>
                            <a:pt x="-54" y="1719"/>
                            <a:pt x="22" y="966"/>
                          </a:cubicBezTo>
                          <a:cubicBezTo>
                            <a:pt x="-35" y="357"/>
                            <a:pt x="1337" y="-186"/>
                            <a:pt x="1251" y="61"/>
                          </a:cubicBezTo>
                          <a:cubicBezTo>
                            <a:pt x="2565" y="547"/>
                            <a:pt x="2413" y="1080"/>
                            <a:pt x="2394" y="1366"/>
                          </a:cubicBezTo>
                          <a:cubicBezTo>
                            <a:pt x="2365" y="1633"/>
                            <a:pt x="1499" y="1928"/>
                            <a:pt x="1317" y="1785"/>
                          </a:cubicBezTo>
                          <a:cubicBezTo>
                            <a:pt x="1337" y="1214"/>
                            <a:pt x="1089" y="1109"/>
                            <a:pt x="1346" y="1204"/>
                          </a:cubicBezTo>
                          <a:cubicBezTo>
                            <a:pt x="1460" y="1214"/>
                            <a:pt x="2451" y="823"/>
                            <a:pt x="2213" y="919"/>
                          </a:cubicBezTo>
                          <a:cubicBezTo>
                            <a:pt x="2308" y="938"/>
                            <a:pt x="2480" y="1080"/>
                            <a:pt x="2670" y="1214"/>
                          </a:cubicBezTo>
                          <a:cubicBezTo>
                            <a:pt x="3165" y="1585"/>
                            <a:pt x="3632" y="1928"/>
                            <a:pt x="4061" y="2243"/>
                          </a:cubicBezTo>
                          <a:cubicBezTo>
                            <a:pt x="6166" y="3862"/>
                            <a:pt x="9023" y="6310"/>
                            <a:pt x="11795" y="9482"/>
                          </a:cubicBezTo>
                          <a:cubicBezTo>
                            <a:pt x="14567" y="12634"/>
                            <a:pt x="16710" y="15968"/>
                            <a:pt x="17643" y="18778"/>
                          </a:cubicBezTo>
                          <a:cubicBezTo>
                            <a:pt x="18653" y="21588"/>
                            <a:pt x="18205" y="23655"/>
                            <a:pt x="17539" y="23664"/>
                          </a:cubicBezTo>
                          <a:close/>
                        </a:path>
                      </a:pathLst>
                    </a:custGeom>
                    <a:solidFill>
                      <a:srgbClr val="00113E"/>
                    </a:solidFill>
                    <a:ln w="9525" cap="flat">
                      <a:noFill/>
                      <a:prstDash val="solid"/>
                      <a:miter/>
                    </a:ln>
                  </p:spPr>
                  <p:txBody>
                    <a:bodyPr rtlCol="0" anchor="ctr"/>
                    <a:lstStyle/>
                    <a:p>
                      <a:endParaRPr lang="en-US"/>
                    </a:p>
                  </p:txBody>
                </p:sp>
              </p:grpSp>
              <p:grpSp>
                <p:nvGrpSpPr>
                  <p:cNvPr id="1142" name="Graphic 293">
                    <a:extLst>
                      <a:ext uri="{FF2B5EF4-FFF2-40B4-BE49-F238E27FC236}">
                        <a16:creationId xmlns:a16="http://schemas.microsoft.com/office/drawing/2014/main" id="{D9524468-5A32-092E-6EEB-9EAF0DF5045A}"/>
                      </a:ext>
                    </a:extLst>
                  </p:cNvPr>
                  <p:cNvGrpSpPr/>
                  <p:nvPr/>
                </p:nvGrpSpPr>
                <p:grpSpPr>
                  <a:xfrm>
                    <a:off x="-9471008" y="-2890155"/>
                    <a:ext cx="2357551" cy="1981753"/>
                    <a:chOff x="-9471008" y="-2890155"/>
                    <a:chExt cx="2357551" cy="1981753"/>
                  </a:xfrm>
                </p:grpSpPr>
                <p:sp>
                  <p:nvSpPr>
                    <p:cNvPr id="1143" name="Freeform: Shape 763">
                      <a:extLst>
                        <a:ext uri="{FF2B5EF4-FFF2-40B4-BE49-F238E27FC236}">
                          <a16:creationId xmlns:a16="http://schemas.microsoft.com/office/drawing/2014/main" id="{BFC41CC5-9009-A500-5E9C-4E8E2F9ADD4A}"/>
                        </a:ext>
                      </a:extLst>
                    </p:cNvPr>
                    <p:cNvSpPr/>
                    <p:nvPr/>
                  </p:nvSpPr>
                  <p:spPr>
                    <a:xfrm>
                      <a:off x="-7324312" y="-1109145"/>
                      <a:ext cx="123160" cy="178064"/>
                    </a:xfrm>
                    <a:custGeom>
                      <a:avLst/>
                      <a:gdLst>
                        <a:gd name="connsiteX0" fmla="*/ 123121 w 123160"/>
                        <a:gd name="connsiteY0" fmla="*/ 178055 h 178064"/>
                        <a:gd name="connsiteX1" fmla="*/ 105357 w 123160"/>
                        <a:gd name="connsiteY1" fmla="*/ 151728 h 178064"/>
                        <a:gd name="connsiteX2" fmla="*/ 63037 w 123160"/>
                        <a:gd name="connsiteY2" fmla="*/ 88034 h 178064"/>
                        <a:gd name="connsiteX3" fmla="*/ 18384 w 123160"/>
                        <a:gd name="connsiteY3" fmla="*/ 25931 h 178064"/>
                        <a:gd name="connsiteX4" fmla="*/ 30 w 123160"/>
                        <a:gd name="connsiteY4" fmla="*/ 13 h 178064"/>
                        <a:gd name="connsiteX5" fmla="*/ 21156 w 123160"/>
                        <a:gd name="connsiteY5" fmla="*/ 23778 h 178064"/>
                        <a:gd name="connsiteX6" fmla="*/ 67114 w 123160"/>
                        <a:gd name="connsiteY6" fmla="*/ 85205 h 178064"/>
                        <a:gd name="connsiteX7" fmla="*/ 108348 w 123160"/>
                        <a:gd name="connsiteY7" fmla="*/ 149889 h 178064"/>
                        <a:gd name="connsiteX8" fmla="*/ 123121 w 123160"/>
                        <a:gd name="connsiteY8" fmla="*/ 178055 h 17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160" h="178064">
                          <a:moveTo>
                            <a:pt x="123121" y="178055"/>
                          </a:moveTo>
                          <a:cubicBezTo>
                            <a:pt x="122502" y="178417"/>
                            <a:pt x="115949" y="168197"/>
                            <a:pt x="105357" y="151728"/>
                          </a:cubicBezTo>
                          <a:cubicBezTo>
                            <a:pt x="94765" y="135259"/>
                            <a:pt x="80011" y="112599"/>
                            <a:pt x="63037" y="88034"/>
                          </a:cubicBezTo>
                          <a:cubicBezTo>
                            <a:pt x="46045" y="63469"/>
                            <a:pt x="30062" y="41657"/>
                            <a:pt x="18384" y="25931"/>
                          </a:cubicBezTo>
                          <a:cubicBezTo>
                            <a:pt x="6716" y="10205"/>
                            <a:pt x="-523" y="471"/>
                            <a:pt x="30" y="13"/>
                          </a:cubicBezTo>
                          <a:cubicBezTo>
                            <a:pt x="534" y="-396"/>
                            <a:pt x="8745" y="8557"/>
                            <a:pt x="21156" y="23778"/>
                          </a:cubicBezTo>
                          <a:cubicBezTo>
                            <a:pt x="33567" y="38990"/>
                            <a:pt x="50055" y="60554"/>
                            <a:pt x="67114" y="85205"/>
                          </a:cubicBezTo>
                          <a:cubicBezTo>
                            <a:pt x="84145" y="109856"/>
                            <a:pt x="98499" y="132906"/>
                            <a:pt x="108348" y="149889"/>
                          </a:cubicBezTo>
                          <a:cubicBezTo>
                            <a:pt x="118206" y="166882"/>
                            <a:pt x="123683" y="177731"/>
                            <a:pt x="123121" y="178055"/>
                          </a:cubicBezTo>
                          <a:close/>
                        </a:path>
                      </a:pathLst>
                    </a:custGeom>
                    <a:solidFill>
                      <a:srgbClr val="FFFFFF"/>
                    </a:solidFill>
                    <a:ln w="9525" cap="flat">
                      <a:noFill/>
                      <a:prstDash val="solid"/>
                      <a:miter/>
                    </a:ln>
                  </p:spPr>
                  <p:txBody>
                    <a:bodyPr rtlCol="0" anchor="ctr"/>
                    <a:lstStyle/>
                    <a:p>
                      <a:endParaRPr lang="en-US"/>
                    </a:p>
                  </p:txBody>
                </p:sp>
                <p:sp>
                  <p:nvSpPr>
                    <p:cNvPr id="1144" name="Freeform: Shape 764">
                      <a:extLst>
                        <a:ext uri="{FF2B5EF4-FFF2-40B4-BE49-F238E27FC236}">
                          <a16:creationId xmlns:a16="http://schemas.microsoft.com/office/drawing/2014/main" id="{24C4810E-99C9-FEB0-2023-2F8CCB026AC4}"/>
                        </a:ext>
                      </a:extLst>
                    </p:cNvPr>
                    <p:cNvSpPr/>
                    <p:nvPr/>
                  </p:nvSpPr>
                  <p:spPr>
                    <a:xfrm>
                      <a:off x="-7351114" y="-1065612"/>
                      <a:ext cx="150540" cy="157211"/>
                    </a:xfrm>
                    <a:custGeom>
                      <a:avLst/>
                      <a:gdLst>
                        <a:gd name="connsiteX0" fmla="*/ 69437 w 150540"/>
                        <a:gd name="connsiteY0" fmla="*/ 118139 h 157211"/>
                        <a:gd name="connsiteX1" fmla="*/ 64179 w 150540"/>
                        <a:gd name="connsiteY1" fmla="*/ 110500 h 157211"/>
                        <a:gd name="connsiteX2" fmla="*/ 51025 w 150540"/>
                        <a:gd name="connsiteY2" fmla="*/ 88602 h 157211"/>
                        <a:gd name="connsiteX3" fmla="*/ 7315 w 150540"/>
                        <a:gd name="connsiteY3" fmla="*/ 12859 h 157211"/>
                        <a:gd name="connsiteX4" fmla="*/ 0 w 150540"/>
                        <a:gd name="connsiteY4" fmla="*/ 0 h 157211"/>
                        <a:gd name="connsiteX5" fmla="*/ 11011 w 150540"/>
                        <a:gd name="connsiteY5" fmla="*/ 9887 h 157211"/>
                        <a:gd name="connsiteX6" fmla="*/ 40672 w 150540"/>
                        <a:gd name="connsiteY6" fmla="*/ 37281 h 157211"/>
                        <a:gd name="connsiteX7" fmla="*/ 120463 w 150540"/>
                        <a:gd name="connsiteY7" fmla="*/ 120215 h 157211"/>
                        <a:gd name="connsiteX8" fmla="*/ 142951 w 150540"/>
                        <a:gd name="connsiteY8" fmla="*/ 146866 h 157211"/>
                        <a:gd name="connsiteX9" fmla="*/ 150524 w 150540"/>
                        <a:gd name="connsiteY9" fmla="*/ 157201 h 157211"/>
                        <a:gd name="connsiteX10" fmla="*/ 141484 w 150540"/>
                        <a:gd name="connsiteY10" fmla="*/ 148123 h 157211"/>
                        <a:gd name="connsiteX11" fmla="*/ 117853 w 150540"/>
                        <a:gd name="connsiteY11" fmla="*/ 122568 h 157211"/>
                        <a:gd name="connsiteX12" fmla="*/ 37243 w 150540"/>
                        <a:gd name="connsiteY12" fmla="*/ 40881 h 157211"/>
                        <a:gd name="connsiteX13" fmla="*/ 7782 w 150540"/>
                        <a:gd name="connsiteY13" fmla="*/ 13459 h 157211"/>
                        <a:gd name="connsiteX14" fmla="*/ 11487 w 150540"/>
                        <a:gd name="connsiteY14" fmla="*/ 10497 h 157211"/>
                        <a:gd name="connsiteX15" fmla="*/ 53740 w 150540"/>
                        <a:gd name="connsiteY15" fmla="*/ 87192 h 157211"/>
                        <a:gd name="connsiteX16" fmla="*/ 65656 w 150540"/>
                        <a:gd name="connsiteY16" fmla="*/ 109757 h 157211"/>
                        <a:gd name="connsiteX17" fmla="*/ 69437 w 150540"/>
                        <a:gd name="connsiteY17" fmla="*/ 118139 h 15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0540" h="157211">
                          <a:moveTo>
                            <a:pt x="69437" y="118139"/>
                          </a:moveTo>
                          <a:cubicBezTo>
                            <a:pt x="69180" y="118262"/>
                            <a:pt x="67342" y="115567"/>
                            <a:pt x="64179" y="110500"/>
                          </a:cubicBezTo>
                          <a:cubicBezTo>
                            <a:pt x="60636" y="104613"/>
                            <a:pt x="56255" y="97317"/>
                            <a:pt x="51025" y="88602"/>
                          </a:cubicBezTo>
                          <a:cubicBezTo>
                            <a:pt x="39967" y="69856"/>
                            <a:pt x="24698" y="43415"/>
                            <a:pt x="7315" y="12859"/>
                          </a:cubicBezTo>
                          <a:lnTo>
                            <a:pt x="0" y="0"/>
                          </a:lnTo>
                          <a:lnTo>
                            <a:pt x="11011" y="9887"/>
                          </a:lnTo>
                          <a:cubicBezTo>
                            <a:pt x="20498" y="18402"/>
                            <a:pt x="30509" y="27623"/>
                            <a:pt x="40672" y="37281"/>
                          </a:cubicBezTo>
                          <a:cubicBezTo>
                            <a:pt x="73276" y="68266"/>
                            <a:pt x="101070" y="98050"/>
                            <a:pt x="120463" y="120215"/>
                          </a:cubicBezTo>
                          <a:cubicBezTo>
                            <a:pt x="130188" y="131274"/>
                            <a:pt x="137779" y="140465"/>
                            <a:pt x="142951" y="146866"/>
                          </a:cubicBezTo>
                          <a:cubicBezTo>
                            <a:pt x="148076" y="153314"/>
                            <a:pt x="150781" y="156982"/>
                            <a:pt x="150524" y="157201"/>
                          </a:cubicBezTo>
                          <a:cubicBezTo>
                            <a:pt x="150266" y="157420"/>
                            <a:pt x="147056" y="154181"/>
                            <a:pt x="141484" y="148123"/>
                          </a:cubicBezTo>
                          <a:cubicBezTo>
                            <a:pt x="135245" y="141370"/>
                            <a:pt x="127321" y="132798"/>
                            <a:pt x="117853" y="122568"/>
                          </a:cubicBezTo>
                          <a:cubicBezTo>
                            <a:pt x="97841" y="101060"/>
                            <a:pt x="69733" y="71761"/>
                            <a:pt x="37243" y="40881"/>
                          </a:cubicBezTo>
                          <a:cubicBezTo>
                            <a:pt x="27118" y="31252"/>
                            <a:pt x="17174" y="22022"/>
                            <a:pt x="7782" y="13459"/>
                          </a:cubicBezTo>
                          <a:lnTo>
                            <a:pt x="11487" y="10497"/>
                          </a:lnTo>
                          <a:cubicBezTo>
                            <a:pt x="28670" y="41243"/>
                            <a:pt x="43415" y="68037"/>
                            <a:pt x="53740" y="87192"/>
                          </a:cubicBezTo>
                          <a:cubicBezTo>
                            <a:pt x="58483" y="96174"/>
                            <a:pt x="62446" y="103689"/>
                            <a:pt x="65656" y="109757"/>
                          </a:cubicBezTo>
                          <a:cubicBezTo>
                            <a:pt x="68351" y="115062"/>
                            <a:pt x="69694" y="118015"/>
                            <a:pt x="69437" y="118139"/>
                          </a:cubicBezTo>
                          <a:close/>
                        </a:path>
                      </a:pathLst>
                    </a:custGeom>
                    <a:solidFill>
                      <a:srgbClr val="FFFFFF"/>
                    </a:solidFill>
                    <a:ln w="9525" cap="flat">
                      <a:noFill/>
                      <a:prstDash val="solid"/>
                      <a:miter/>
                    </a:ln>
                  </p:spPr>
                  <p:txBody>
                    <a:bodyPr rtlCol="0" anchor="ctr"/>
                    <a:lstStyle/>
                    <a:p>
                      <a:endParaRPr lang="en-US"/>
                    </a:p>
                  </p:txBody>
                </p:sp>
                <p:sp>
                  <p:nvSpPr>
                    <p:cNvPr id="1145" name="Freeform: Shape 765">
                      <a:extLst>
                        <a:ext uri="{FF2B5EF4-FFF2-40B4-BE49-F238E27FC236}">
                          <a16:creationId xmlns:a16="http://schemas.microsoft.com/office/drawing/2014/main" id="{A01FB77C-77DF-3885-6A40-3218C385E647}"/>
                        </a:ext>
                      </a:extLst>
                    </p:cNvPr>
                    <p:cNvSpPr/>
                    <p:nvPr/>
                  </p:nvSpPr>
                  <p:spPr>
                    <a:xfrm>
                      <a:off x="-7326972" y="-1082391"/>
                      <a:ext cx="120385" cy="155783"/>
                    </a:xfrm>
                    <a:custGeom>
                      <a:avLst/>
                      <a:gdLst>
                        <a:gd name="connsiteX0" fmla="*/ 120353 w 120385"/>
                        <a:gd name="connsiteY0" fmla="*/ 155768 h 155783"/>
                        <a:gd name="connsiteX1" fmla="*/ 58231 w 120385"/>
                        <a:gd name="connsiteY1" fmla="*/ 79415 h 155783"/>
                        <a:gd name="connsiteX2" fmla="*/ 33 w 120385"/>
                        <a:gd name="connsiteY2" fmla="*/ 15 h 155783"/>
                        <a:gd name="connsiteX3" fmla="*/ 62155 w 120385"/>
                        <a:gd name="connsiteY3" fmla="*/ 76377 h 155783"/>
                        <a:gd name="connsiteX4" fmla="*/ 120353 w 120385"/>
                        <a:gd name="connsiteY4" fmla="*/ 155768 h 1557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385" h="155783">
                          <a:moveTo>
                            <a:pt x="120353" y="155768"/>
                          </a:moveTo>
                          <a:cubicBezTo>
                            <a:pt x="119267" y="156606"/>
                            <a:pt x="91454" y="122411"/>
                            <a:pt x="58231" y="79415"/>
                          </a:cubicBezTo>
                          <a:cubicBezTo>
                            <a:pt x="24998" y="36401"/>
                            <a:pt x="-1053" y="853"/>
                            <a:pt x="33" y="15"/>
                          </a:cubicBezTo>
                          <a:cubicBezTo>
                            <a:pt x="1119" y="-823"/>
                            <a:pt x="28922" y="33362"/>
                            <a:pt x="62155" y="76377"/>
                          </a:cubicBezTo>
                          <a:cubicBezTo>
                            <a:pt x="95378" y="119382"/>
                            <a:pt x="121438" y="154930"/>
                            <a:pt x="120353" y="155768"/>
                          </a:cubicBezTo>
                          <a:close/>
                        </a:path>
                      </a:pathLst>
                    </a:custGeom>
                    <a:solidFill>
                      <a:srgbClr val="FFFFFF"/>
                    </a:solidFill>
                    <a:ln w="9525" cap="flat">
                      <a:noFill/>
                      <a:prstDash val="solid"/>
                      <a:miter/>
                    </a:ln>
                  </p:spPr>
                  <p:txBody>
                    <a:bodyPr rtlCol="0" anchor="ctr"/>
                    <a:lstStyle/>
                    <a:p>
                      <a:endParaRPr lang="en-US"/>
                    </a:p>
                  </p:txBody>
                </p:sp>
                <p:sp>
                  <p:nvSpPr>
                    <p:cNvPr id="1146" name="Freeform: Shape 766">
                      <a:extLst>
                        <a:ext uri="{FF2B5EF4-FFF2-40B4-BE49-F238E27FC236}">
                          <a16:creationId xmlns:a16="http://schemas.microsoft.com/office/drawing/2014/main" id="{3502AB3C-8407-6E1E-F4B1-1FF43E872FF7}"/>
                        </a:ext>
                      </a:extLst>
                    </p:cNvPr>
                    <p:cNvSpPr/>
                    <p:nvPr/>
                  </p:nvSpPr>
                  <p:spPr>
                    <a:xfrm>
                      <a:off x="-9471008" y="-2890155"/>
                      <a:ext cx="9525" cy="9525"/>
                    </a:xfrm>
                    <a:custGeom>
                      <a:avLst/>
                      <a:gdLst/>
                      <a:ahLst/>
                      <a:cxnLst/>
                      <a:rect l="l" t="t" r="r" b="b"/>
                      <a:pathLst>
                        <a:path w="9525" h="9525"/>
                      </a:pathLst>
                    </a:custGeom>
                    <a:noFill/>
                    <a:ln w="476" cap="flat">
                      <a:solidFill>
                        <a:srgbClr val="FFFFFF"/>
                      </a:solidFill>
                      <a:prstDash val="solid"/>
                      <a:miter/>
                    </a:ln>
                  </p:spPr>
                  <p:txBody>
                    <a:bodyPr rtlCol="0" anchor="ctr"/>
                    <a:lstStyle/>
                    <a:p>
                      <a:endParaRPr lang="en-US"/>
                    </a:p>
                  </p:txBody>
                </p:sp>
                <p:sp>
                  <p:nvSpPr>
                    <p:cNvPr id="1147" name="Freeform: Shape 767">
                      <a:extLst>
                        <a:ext uri="{FF2B5EF4-FFF2-40B4-BE49-F238E27FC236}">
                          <a16:creationId xmlns:a16="http://schemas.microsoft.com/office/drawing/2014/main" id="{07C62D02-B16D-BDC7-1ADB-191C26041D0D}"/>
                        </a:ext>
                      </a:extLst>
                    </p:cNvPr>
                    <p:cNvSpPr/>
                    <p:nvPr/>
                  </p:nvSpPr>
                  <p:spPr>
                    <a:xfrm>
                      <a:off x="-7296726" y="-1297832"/>
                      <a:ext cx="183270" cy="330946"/>
                    </a:xfrm>
                    <a:custGeom>
                      <a:avLst/>
                      <a:gdLst>
                        <a:gd name="connsiteX0" fmla="*/ 115395 w 183270"/>
                        <a:gd name="connsiteY0" fmla="*/ 0 h 330946"/>
                        <a:gd name="connsiteX1" fmla="*/ 116729 w 183270"/>
                        <a:gd name="connsiteY1" fmla="*/ 4000 h 330946"/>
                        <a:gd name="connsiteX2" fmla="*/ 120196 w 183270"/>
                        <a:gd name="connsiteY2" fmla="*/ 15897 h 330946"/>
                        <a:gd name="connsiteX3" fmla="*/ 133150 w 183270"/>
                        <a:gd name="connsiteY3" fmla="*/ 61979 h 330946"/>
                        <a:gd name="connsiteX4" fmla="*/ 180413 w 183270"/>
                        <a:gd name="connsiteY4" fmla="*/ 233429 h 330946"/>
                        <a:gd name="connsiteX5" fmla="*/ 183271 w 183270"/>
                        <a:gd name="connsiteY5" fmla="*/ 243802 h 330946"/>
                        <a:gd name="connsiteX6" fmla="*/ 177375 w 183270"/>
                        <a:gd name="connsiteY6" fmla="*/ 234782 h 330946"/>
                        <a:gd name="connsiteX7" fmla="*/ 63589 w 183270"/>
                        <a:gd name="connsiteY7" fmla="*/ 60665 h 330946"/>
                        <a:gd name="connsiteX8" fmla="*/ 67370 w 183270"/>
                        <a:gd name="connsiteY8" fmla="*/ 58693 h 330946"/>
                        <a:gd name="connsiteX9" fmla="*/ 148295 w 183270"/>
                        <a:gd name="connsiteY9" fmla="*/ 257642 h 330946"/>
                        <a:gd name="connsiteX10" fmla="*/ 156277 w 183270"/>
                        <a:gd name="connsiteY10" fmla="*/ 277273 h 330946"/>
                        <a:gd name="connsiteX11" fmla="*/ 144113 w 183270"/>
                        <a:gd name="connsiteY11" fmla="*/ 259909 h 330946"/>
                        <a:gd name="connsiteX12" fmla="*/ 42405 w 183270"/>
                        <a:gd name="connsiteY12" fmla="*/ 97917 h 330946"/>
                        <a:gd name="connsiteX13" fmla="*/ 46901 w 183270"/>
                        <a:gd name="connsiteY13" fmla="*/ 95879 h 330946"/>
                        <a:gd name="connsiteX14" fmla="*/ 65551 w 183270"/>
                        <a:gd name="connsiteY14" fmla="*/ 142161 h 330946"/>
                        <a:gd name="connsiteX15" fmla="*/ 152991 w 183270"/>
                        <a:gd name="connsiteY15" fmla="*/ 299485 h 330946"/>
                        <a:gd name="connsiteX16" fmla="*/ 149019 w 183270"/>
                        <a:gd name="connsiteY16" fmla="*/ 302276 h 330946"/>
                        <a:gd name="connsiteX17" fmla="*/ 11306 w 183270"/>
                        <a:gd name="connsiteY17" fmla="*/ 104089 h 330946"/>
                        <a:gd name="connsiteX18" fmla="*/ 15173 w 183270"/>
                        <a:gd name="connsiteY18" fmla="*/ 102022 h 330946"/>
                        <a:gd name="connsiteX19" fmla="*/ 138246 w 183270"/>
                        <a:gd name="connsiteY19" fmla="*/ 329089 h 330946"/>
                        <a:gd name="connsiteX20" fmla="*/ 135569 w 183270"/>
                        <a:gd name="connsiteY20" fmla="*/ 330946 h 330946"/>
                        <a:gd name="connsiteX21" fmla="*/ 35519 w 183270"/>
                        <a:gd name="connsiteY21" fmla="*/ 198158 h 330946"/>
                        <a:gd name="connsiteX22" fmla="*/ 8944 w 183270"/>
                        <a:gd name="connsiteY22" fmla="*/ 162506 h 330946"/>
                        <a:gd name="connsiteX23" fmla="*/ 2172 w 183270"/>
                        <a:gd name="connsiteY23" fmla="*/ 153229 h 330946"/>
                        <a:gd name="connsiteX24" fmla="*/ 0 w 183270"/>
                        <a:gd name="connsiteY24" fmla="*/ 149990 h 330946"/>
                        <a:gd name="connsiteX25" fmla="*/ 2543 w 183270"/>
                        <a:gd name="connsiteY25" fmla="*/ 152952 h 330946"/>
                        <a:gd name="connsiteX26" fmla="*/ 9668 w 183270"/>
                        <a:gd name="connsiteY26" fmla="*/ 161953 h 330946"/>
                        <a:gd name="connsiteX27" fmla="*/ 36928 w 183270"/>
                        <a:gd name="connsiteY27" fmla="*/ 197082 h 330946"/>
                        <a:gd name="connsiteX28" fmla="*/ 138160 w 183270"/>
                        <a:gd name="connsiteY28" fmla="*/ 328965 h 330946"/>
                        <a:gd name="connsiteX29" fmla="*/ 135484 w 183270"/>
                        <a:gd name="connsiteY29" fmla="*/ 330822 h 330946"/>
                        <a:gd name="connsiteX30" fmla="*/ 11192 w 183270"/>
                        <a:gd name="connsiteY30" fmla="*/ 103880 h 330946"/>
                        <a:gd name="connsiteX31" fmla="*/ 15059 w 183270"/>
                        <a:gd name="connsiteY31" fmla="*/ 101813 h 330946"/>
                        <a:gd name="connsiteX32" fmla="*/ 152829 w 183270"/>
                        <a:gd name="connsiteY32" fmla="*/ 299237 h 330946"/>
                        <a:gd name="connsiteX33" fmla="*/ 148857 w 183270"/>
                        <a:gd name="connsiteY33" fmla="*/ 302019 h 330946"/>
                        <a:gd name="connsiteX34" fmla="*/ 61027 w 183270"/>
                        <a:gd name="connsiteY34" fmla="*/ 144180 h 330946"/>
                        <a:gd name="connsiteX35" fmla="*/ 42234 w 183270"/>
                        <a:gd name="connsiteY35" fmla="*/ 97517 h 330946"/>
                        <a:gd name="connsiteX36" fmla="*/ 46730 w 183270"/>
                        <a:gd name="connsiteY36" fmla="*/ 95479 h 330946"/>
                        <a:gd name="connsiteX37" fmla="*/ 148038 w 183270"/>
                        <a:gd name="connsiteY37" fmla="*/ 257156 h 330946"/>
                        <a:gd name="connsiteX38" fmla="*/ 143866 w 183270"/>
                        <a:gd name="connsiteY38" fmla="*/ 259423 h 330946"/>
                        <a:gd name="connsiteX39" fmla="*/ 63408 w 183270"/>
                        <a:gd name="connsiteY39" fmla="*/ 60284 h 330946"/>
                        <a:gd name="connsiteX40" fmla="*/ 67189 w 183270"/>
                        <a:gd name="connsiteY40" fmla="*/ 58312 h 330946"/>
                        <a:gd name="connsiteX41" fmla="*/ 180204 w 183270"/>
                        <a:gd name="connsiteY41" fmla="*/ 232934 h 330946"/>
                        <a:gd name="connsiteX42" fmla="*/ 177175 w 183270"/>
                        <a:gd name="connsiteY42" fmla="*/ 234296 h 330946"/>
                        <a:gd name="connsiteX43" fmla="*/ 131388 w 183270"/>
                        <a:gd name="connsiteY43" fmla="*/ 62446 h 330946"/>
                        <a:gd name="connsiteX44" fmla="*/ 119291 w 183270"/>
                        <a:gd name="connsiteY44" fmla="*/ 16126 h 330946"/>
                        <a:gd name="connsiteX45" fmla="*/ 116272 w 183270"/>
                        <a:gd name="connsiteY45" fmla="*/ 4105 h 330946"/>
                        <a:gd name="connsiteX46" fmla="*/ 115395 w 183270"/>
                        <a:gd name="connsiteY46" fmla="*/ 0 h 33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3270" h="330946">
                          <a:moveTo>
                            <a:pt x="115395" y="0"/>
                          </a:moveTo>
                          <a:cubicBezTo>
                            <a:pt x="115395" y="0"/>
                            <a:pt x="115919" y="1333"/>
                            <a:pt x="116729" y="4000"/>
                          </a:cubicBezTo>
                          <a:cubicBezTo>
                            <a:pt x="117567" y="6877"/>
                            <a:pt x="118720" y="10820"/>
                            <a:pt x="120196" y="15897"/>
                          </a:cubicBezTo>
                          <a:cubicBezTo>
                            <a:pt x="123206" y="26613"/>
                            <a:pt x="127559" y="42081"/>
                            <a:pt x="133150" y="61979"/>
                          </a:cubicBezTo>
                          <a:cubicBezTo>
                            <a:pt x="144285" y="102384"/>
                            <a:pt x="160372" y="160725"/>
                            <a:pt x="180413" y="233429"/>
                          </a:cubicBezTo>
                          <a:lnTo>
                            <a:pt x="183271" y="243802"/>
                          </a:lnTo>
                          <a:lnTo>
                            <a:pt x="177375" y="234782"/>
                          </a:lnTo>
                          <a:cubicBezTo>
                            <a:pt x="144742" y="184842"/>
                            <a:pt x="106213" y="125882"/>
                            <a:pt x="63589" y="60665"/>
                          </a:cubicBezTo>
                          <a:lnTo>
                            <a:pt x="67370" y="58693"/>
                          </a:lnTo>
                          <a:cubicBezTo>
                            <a:pt x="92059" y="119396"/>
                            <a:pt x="119406" y="186623"/>
                            <a:pt x="148295" y="257642"/>
                          </a:cubicBezTo>
                          <a:lnTo>
                            <a:pt x="156277" y="277273"/>
                          </a:lnTo>
                          <a:lnTo>
                            <a:pt x="144113" y="259909"/>
                          </a:lnTo>
                          <a:cubicBezTo>
                            <a:pt x="109147" y="209979"/>
                            <a:pt x="74724" y="155638"/>
                            <a:pt x="42405" y="97917"/>
                          </a:cubicBezTo>
                          <a:lnTo>
                            <a:pt x="46901" y="95879"/>
                          </a:lnTo>
                          <a:cubicBezTo>
                            <a:pt x="52207" y="110785"/>
                            <a:pt x="58550" y="126559"/>
                            <a:pt x="65551" y="142161"/>
                          </a:cubicBezTo>
                          <a:cubicBezTo>
                            <a:pt x="90831" y="198444"/>
                            <a:pt x="122634" y="249907"/>
                            <a:pt x="152991" y="299485"/>
                          </a:cubicBezTo>
                          <a:lnTo>
                            <a:pt x="149019" y="302276"/>
                          </a:lnTo>
                          <a:cubicBezTo>
                            <a:pt x="95583" y="235067"/>
                            <a:pt x="49768" y="167859"/>
                            <a:pt x="11306" y="104089"/>
                          </a:cubicBezTo>
                          <a:lnTo>
                            <a:pt x="15173" y="102022"/>
                          </a:lnTo>
                          <a:cubicBezTo>
                            <a:pt x="57045" y="192053"/>
                            <a:pt x="100289" y="268233"/>
                            <a:pt x="138246" y="329089"/>
                          </a:cubicBezTo>
                          <a:lnTo>
                            <a:pt x="135569" y="330946"/>
                          </a:lnTo>
                          <a:cubicBezTo>
                            <a:pt x="92974" y="274415"/>
                            <a:pt x="58998" y="229314"/>
                            <a:pt x="35519" y="198158"/>
                          </a:cubicBezTo>
                          <a:cubicBezTo>
                            <a:pt x="24032" y="182747"/>
                            <a:pt x="15126" y="170793"/>
                            <a:pt x="8944" y="162506"/>
                          </a:cubicBezTo>
                          <a:cubicBezTo>
                            <a:pt x="6058" y="158553"/>
                            <a:pt x="3820" y="155477"/>
                            <a:pt x="2172" y="153229"/>
                          </a:cubicBezTo>
                          <a:cubicBezTo>
                            <a:pt x="667" y="151133"/>
                            <a:pt x="0" y="149990"/>
                            <a:pt x="0" y="149990"/>
                          </a:cubicBezTo>
                          <a:cubicBezTo>
                            <a:pt x="0" y="149990"/>
                            <a:pt x="914" y="150943"/>
                            <a:pt x="2543" y="152952"/>
                          </a:cubicBezTo>
                          <a:cubicBezTo>
                            <a:pt x="4267" y="155134"/>
                            <a:pt x="6629" y="158115"/>
                            <a:pt x="9668" y="161953"/>
                          </a:cubicBezTo>
                          <a:cubicBezTo>
                            <a:pt x="16002" y="170117"/>
                            <a:pt x="25146" y="181899"/>
                            <a:pt x="36928" y="197082"/>
                          </a:cubicBezTo>
                          <a:cubicBezTo>
                            <a:pt x="60684" y="228029"/>
                            <a:pt x="95060" y="272815"/>
                            <a:pt x="138160" y="328965"/>
                          </a:cubicBezTo>
                          <a:lnTo>
                            <a:pt x="135484" y="330822"/>
                          </a:lnTo>
                          <a:cubicBezTo>
                            <a:pt x="97069" y="270110"/>
                            <a:pt x="53407" y="193977"/>
                            <a:pt x="11192" y="103880"/>
                          </a:cubicBezTo>
                          <a:lnTo>
                            <a:pt x="15059" y="101813"/>
                          </a:lnTo>
                          <a:cubicBezTo>
                            <a:pt x="53626" y="165325"/>
                            <a:pt x="99451" y="232267"/>
                            <a:pt x="152829" y="299237"/>
                          </a:cubicBezTo>
                          <a:lnTo>
                            <a:pt x="148857" y="302019"/>
                          </a:lnTo>
                          <a:cubicBezTo>
                            <a:pt x="118443" y="252479"/>
                            <a:pt x="86497" y="200863"/>
                            <a:pt x="61027" y="144180"/>
                          </a:cubicBezTo>
                          <a:cubicBezTo>
                            <a:pt x="53969" y="128464"/>
                            <a:pt x="47587" y="112557"/>
                            <a:pt x="42234" y="97517"/>
                          </a:cubicBezTo>
                          <a:lnTo>
                            <a:pt x="46730" y="95479"/>
                          </a:lnTo>
                          <a:cubicBezTo>
                            <a:pt x="78953" y="153067"/>
                            <a:pt x="113233" y="207293"/>
                            <a:pt x="148038" y="257156"/>
                          </a:cubicBezTo>
                          <a:lnTo>
                            <a:pt x="143866" y="259423"/>
                          </a:lnTo>
                          <a:cubicBezTo>
                            <a:pt x="115138" y="188328"/>
                            <a:pt x="87954" y="121034"/>
                            <a:pt x="63408" y="60284"/>
                          </a:cubicBezTo>
                          <a:lnTo>
                            <a:pt x="67189" y="58312"/>
                          </a:lnTo>
                          <a:cubicBezTo>
                            <a:pt x="109528" y="123720"/>
                            <a:pt x="147790" y="182851"/>
                            <a:pt x="180204" y="232934"/>
                          </a:cubicBezTo>
                          <a:lnTo>
                            <a:pt x="177175" y="234296"/>
                          </a:lnTo>
                          <a:cubicBezTo>
                            <a:pt x="157763" y="161420"/>
                            <a:pt x="142180" y="102937"/>
                            <a:pt x="131388" y="62446"/>
                          </a:cubicBezTo>
                          <a:cubicBezTo>
                            <a:pt x="126168" y="42443"/>
                            <a:pt x="122111" y="26899"/>
                            <a:pt x="119291" y="16126"/>
                          </a:cubicBezTo>
                          <a:cubicBezTo>
                            <a:pt x="118005" y="10992"/>
                            <a:pt x="117005" y="7010"/>
                            <a:pt x="116272" y="4105"/>
                          </a:cubicBezTo>
                          <a:cubicBezTo>
                            <a:pt x="115605" y="1419"/>
                            <a:pt x="115395" y="0"/>
                            <a:pt x="115395" y="0"/>
                          </a:cubicBezTo>
                          <a:close/>
                        </a:path>
                      </a:pathLst>
                    </a:custGeom>
                    <a:solidFill>
                      <a:srgbClr val="FFFFFF"/>
                    </a:solidFill>
                    <a:ln w="9525" cap="flat">
                      <a:noFill/>
                      <a:prstDash val="solid"/>
                      <a:miter/>
                    </a:ln>
                  </p:spPr>
                  <p:txBody>
                    <a:bodyPr rtlCol="0" anchor="ctr"/>
                    <a:lstStyle/>
                    <a:p>
                      <a:endParaRPr lang="en-US"/>
                    </a:p>
                  </p:txBody>
                </p:sp>
              </p:grpSp>
            </p:grpSp>
          </p:grpSp>
          <p:sp>
            <p:nvSpPr>
              <p:cNvPr id="1114" name="Freeform: Shape 734">
                <a:extLst>
                  <a:ext uri="{FF2B5EF4-FFF2-40B4-BE49-F238E27FC236}">
                    <a16:creationId xmlns:a16="http://schemas.microsoft.com/office/drawing/2014/main" id="{9B073CD7-4CE2-FF89-A498-7D1F522CB46C}"/>
                  </a:ext>
                </a:extLst>
              </p:cNvPr>
              <p:cNvSpPr/>
              <p:nvPr/>
            </p:nvSpPr>
            <p:spPr>
              <a:xfrm>
                <a:off x="-6045970" y="-788406"/>
                <a:ext cx="270852" cy="295741"/>
              </a:xfrm>
              <a:custGeom>
                <a:avLst/>
                <a:gdLst>
                  <a:gd name="connsiteX0" fmla="*/ 72542 w 270852"/>
                  <a:gd name="connsiteY0" fmla="*/ 0 h 295741"/>
                  <a:gd name="connsiteX1" fmla="*/ 0 w 270852"/>
                  <a:gd name="connsiteY1" fmla="*/ 134798 h 295741"/>
                  <a:gd name="connsiteX2" fmla="*/ 214627 w 270852"/>
                  <a:gd name="connsiteY2" fmla="*/ 295742 h 295741"/>
                  <a:gd name="connsiteX3" fmla="*/ 270853 w 270852"/>
                  <a:gd name="connsiteY3" fmla="*/ 191853 h 295741"/>
                  <a:gd name="connsiteX4" fmla="*/ 223828 w 270852"/>
                  <a:gd name="connsiteY4" fmla="*/ 130854 h 295741"/>
                  <a:gd name="connsiteX5" fmla="*/ 206788 w 270852"/>
                  <a:gd name="connsiteY5" fmla="*/ 113500 h 29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52" h="295741">
                    <a:moveTo>
                      <a:pt x="72542" y="0"/>
                    </a:moveTo>
                    <a:lnTo>
                      <a:pt x="0" y="134798"/>
                    </a:lnTo>
                    <a:lnTo>
                      <a:pt x="214627" y="295742"/>
                    </a:lnTo>
                    <a:lnTo>
                      <a:pt x="270853" y="191853"/>
                    </a:lnTo>
                    <a:lnTo>
                      <a:pt x="223828" y="130854"/>
                    </a:lnTo>
                    <a:lnTo>
                      <a:pt x="206788" y="113500"/>
                    </a:lnTo>
                    <a:close/>
                  </a:path>
                </a:pathLst>
              </a:custGeom>
              <a:solidFill>
                <a:srgbClr val="FFA633"/>
              </a:solidFill>
              <a:ln w="9525" cap="flat">
                <a:noFill/>
                <a:prstDash val="solid"/>
                <a:miter/>
              </a:ln>
            </p:spPr>
            <p:txBody>
              <a:bodyPr rtlCol="0" anchor="ctr"/>
              <a:lstStyle/>
              <a:p>
                <a:endParaRPr lang="en-US"/>
              </a:p>
            </p:txBody>
          </p:sp>
          <p:grpSp>
            <p:nvGrpSpPr>
              <p:cNvPr id="1115" name="Graphic 293">
                <a:extLst>
                  <a:ext uri="{FF2B5EF4-FFF2-40B4-BE49-F238E27FC236}">
                    <a16:creationId xmlns:a16="http://schemas.microsoft.com/office/drawing/2014/main" id="{857AAC29-19A9-9846-1E72-2B35E1EC7E9D}"/>
                  </a:ext>
                </a:extLst>
              </p:cNvPr>
              <p:cNvGrpSpPr/>
              <p:nvPr/>
            </p:nvGrpSpPr>
            <p:grpSpPr>
              <a:xfrm>
                <a:off x="-5853976" y="-895582"/>
                <a:ext cx="217755" cy="434740"/>
                <a:chOff x="-5853976" y="-895582"/>
                <a:chExt cx="217755" cy="434740"/>
              </a:xfrm>
            </p:grpSpPr>
            <p:grpSp>
              <p:nvGrpSpPr>
                <p:cNvPr id="1122" name="Graphic 293">
                  <a:extLst>
                    <a:ext uri="{FF2B5EF4-FFF2-40B4-BE49-F238E27FC236}">
                      <a16:creationId xmlns:a16="http://schemas.microsoft.com/office/drawing/2014/main" id="{768690BF-D345-CC25-A105-BB308F64C5FD}"/>
                    </a:ext>
                  </a:extLst>
                </p:cNvPr>
                <p:cNvGrpSpPr/>
                <p:nvPr/>
              </p:nvGrpSpPr>
              <p:grpSpPr>
                <a:xfrm>
                  <a:off x="-5853976" y="-895582"/>
                  <a:ext cx="165632" cy="432683"/>
                  <a:chOff x="-5853976" y="-895582"/>
                  <a:chExt cx="165632" cy="432683"/>
                </a:xfrm>
              </p:grpSpPr>
              <p:sp>
                <p:nvSpPr>
                  <p:cNvPr id="1125" name="Freeform: Shape 745">
                    <a:extLst>
                      <a:ext uri="{FF2B5EF4-FFF2-40B4-BE49-F238E27FC236}">
                        <a16:creationId xmlns:a16="http://schemas.microsoft.com/office/drawing/2014/main" id="{F37353CC-43FF-11C2-2EA0-57B97AAE32A3}"/>
                      </a:ext>
                    </a:extLst>
                  </p:cNvPr>
                  <p:cNvSpPr/>
                  <p:nvPr/>
                </p:nvSpPr>
                <p:spPr>
                  <a:xfrm>
                    <a:off x="-5853976" y="-895582"/>
                    <a:ext cx="165632" cy="432683"/>
                  </a:xfrm>
                  <a:custGeom>
                    <a:avLst/>
                    <a:gdLst>
                      <a:gd name="connsiteX0" fmla="*/ 24338 w 165632"/>
                      <a:gd name="connsiteY0" fmla="*/ 347587 h 432683"/>
                      <a:gd name="connsiteX1" fmla="*/ 2717 w 165632"/>
                      <a:gd name="connsiteY1" fmla="*/ 418205 h 432683"/>
                      <a:gd name="connsiteX2" fmla="*/ 146992 w 165632"/>
                      <a:gd name="connsiteY2" fmla="*/ 432683 h 432683"/>
                      <a:gd name="connsiteX3" fmla="*/ 165632 w 165632"/>
                      <a:gd name="connsiteY3" fmla="*/ 363 h 432683"/>
                      <a:gd name="connsiteX4" fmla="*/ 95300 w 165632"/>
                      <a:gd name="connsiteY4" fmla="*/ 53427 h 432683"/>
                      <a:gd name="connsiteX5" fmla="*/ 2 w 165632"/>
                      <a:gd name="connsiteY5" fmla="*/ 237897 h 432683"/>
                      <a:gd name="connsiteX6" fmla="*/ 21290 w 165632"/>
                      <a:gd name="connsiteY6" fmla="*/ 272292 h 432683"/>
                      <a:gd name="connsiteX7" fmla="*/ 34102 w 165632"/>
                      <a:gd name="connsiteY7" fmla="*/ 290161 h 432683"/>
                      <a:gd name="connsiteX8" fmla="*/ 24338 w 165632"/>
                      <a:gd name="connsiteY8" fmla="*/ 347587 h 432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632" h="432683">
                        <a:moveTo>
                          <a:pt x="24338" y="347587"/>
                        </a:moveTo>
                        <a:cubicBezTo>
                          <a:pt x="10660" y="359312"/>
                          <a:pt x="-5227" y="385106"/>
                          <a:pt x="2717" y="418205"/>
                        </a:cubicBezTo>
                        <a:lnTo>
                          <a:pt x="146992" y="432683"/>
                        </a:lnTo>
                        <a:lnTo>
                          <a:pt x="165632" y="363"/>
                        </a:lnTo>
                        <a:cubicBezTo>
                          <a:pt x="165632" y="363"/>
                          <a:pt x="123046" y="-7810"/>
                          <a:pt x="95300" y="53427"/>
                        </a:cubicBezTo>
                        <a:cubicBezTo>
                          <a:pt x="67448" y="114882"/>
                          <a:pt x="-417" y="224677"/>
                          <a:pt x="2" y="237897"/>
                        </a:cubicBezTo>
                        <a:cubicBezTo>
                          <a:pt x="421" y="251118"/>
                          <a:pt x="11337" y="259700"/>
                          <a:pt x="21290" y="272292"/>
                        </a:cubicBezTo>
                        <a:cubicBezTo>
                          <a:pt x="24710" y="276616"/>
                          <a:pt x="29615" y="282893"/>
                          <a:pt x="34102" y="290161"/>
                        </a:cubicBezTo>
                        <a:cubicBezTo>
                          <a:pt x="45731" y="309030"/>
                          <a:pt x="41169" y="333166"/>
                          <a:pt x="24338" y="347587"/>
                        </a:cubicBezTo>
                        <a:close/>
                      </a:path>
                    </a:pathLst>
                  </a:custGeom>
                  <a:solidFill>
                    <a:srgbClr val="0289AE"/>
                  </a:solidFill>
                  <a:ln w="9525" cap="flat">
                    <a:noFill/>
                    <a:prstDash val="solid"/>
                    <a:miter/>
                  </a:ln>
                </p:spPr>
                <p:txBody>
                  <a:bodyPr rtlCol="0" anchor="ctr"/>
                  <a:lstStyle/>
                  <a:p>
                    <a:endParaRPr lang="en-US"/>
                  </a:p>
                </p:txBody>
              </p:sp>
              <p:sp>
                <p:nvSpPr>
                  <p:cNvPr id="1126" name="Freeform: Shape 746">
                    <a:extLst>
                      <a:ext uri="{FF2B5EF4-FFF2-40B4-BE49-F238E27FC236}">
                        <a16:creationId xmlns:a16="http://schemas.microsoft.com/office/drawing/2014/main" id="{1AB968B1-1212-4D1C-AE85-77083B915692}"/>
                      </a:ext>
                    </a:extLst>
                  </p:cNvPr>
                  <p:cNvSpPr/>
                  <p:nvPr/>
                </p:nvSpPr>
                <p:spPr>
                  <a:xfrm>
                    <a:off x="-5812341" y="-725458"/>
                    <a:ext cx="37764" cy="39413"/>
                  </a:xfrm>
                  <a:custGeom>
                    <a:avLst/>
                    <a:gdLst>
                      <a:gd name="connsiteX0" fmla="*/ 37748 w 37764"/>
                      <a:gd name="connsiteY0" fmla="*/ 39122 h 39413"/>
                      <a:gd name="connsiteX1" fmla="*/ 12602 w 37764"/>
                      <a:gd name="connsiteY1" fmla="*/ 25730 h 39413"/>
                      <a:gd name="connsiteX2" fmla="*/ 334 w 37764"/>
                      <a:gd name="connsiteY2" fmla="*/ 12 h 39413"/>
                      <a:gd name="connsiteX3" fmla="*/ 16193 w 37764"/>
                      <a:gd name="connsiteY3" fmla="*/ 22301 h 39413"/>
                      <a:gd name="connsiteX4" fmla="*/ 37748 w 37764"/>
                      <a:gd name="connsiteY4" fmla="*/ 39122 h 39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64" h="39413">
                        <a:moveTo>
                          <a:pt x="37748" y="39122"/>
                        </a:moveTo>
                        <a:cubicBezTo>
                          <a:pt x="37615" y="40408"/>
                          <a:pt x="23937" y="37703"/>
                          <a:pt x="12602" y="25730"/>
                        </a:cubicBezTo>
                        <a:cubicBezTo>
                          <a:pt x="1134" y="13871"/>
                          <a:pt x="-952" y="88"/>
                          <a:pt x="334" y="12"/>
                        </a:cubicBezTo>
                        <a:cubicBezTo>
                          <a:pt x="1744" y="-436"/>
                          <a:pt x="5716" y="11547"/>
                          <a:pt x="16193" y="22301"/>
                        </a:cubicBezTo>
                        <a:cubicBezTo>
                          <a:pt x="26461" y="33235"/>
                          <a:pt x="38253" y="37731"/>
                          <a:pt x="37748" y="39122"/>
                        </a:cubicBezTo>
                        <a:close/>
                      </a:path>
                    </a:pathLst>
                  </a:custGeom>
                  <a:solidFill>
                    <a:srgbClr val="FFFFFF"/>
                  </a:solidFill>
                  <a:ln w="9525" cap="flat">
                    <a:noFill/>
                    <a:prstDash val="solid"/>
                    <a:miter/>
                  </a:ln>
                </p:spPr>
                <p:txBody>
                  <a:bodyPr rtlCol="0" anchor="ctr"/>
                  <a:lstStyle/>
                  <a:p>
                    <a:endParaRPr lang="en-US"/>
                  </a:p>
                </p:txBody>
              </p:sp>
              <p:sp>
                <p:nvSpPr>
                  <p:cNvPr id="1127" name="Freeform: Shape 747">
                    <a:extLst>
                      <a:ext uri="{FF2B5EF4-FFF2-40B4-BE49-F238E27FC236}">
                        <a16:creationId xmlns:a16="http://schemas.microsoft.com/office/drawing/2014/main" id="{3EFB428A-312E-79B7-6BA1-6BBCFD35308C}"/>
                      </a:ext>
                    </a:extLst>
                  </p:cNvPr>
                  <p:cNvSpPr/>
                  <p:nvPr/>
                </p:nvSpPr>
                <p:spPr>
                  <a:xfrm>
                    <a:off x="-5792845" y="-757442"/>
                    <a:ext cx="42262" cy="40036"/>
                  </a:xfrm>
                  <a:custGeom>
                    <a:avLst/>
                    <a:gdLst>
                      <a:gd name="connsiteX0" fmla="*/ 42255 w 42262"/>
                      <a:gd name="connsiteY0" fmla="*/ 39626 h 40036"/>
                      <a:gd name="connsiteX1" fmla="*/ 14194 w 42262"/>
                      <a:gd name="connsiteY1" fmla="*/ 27339 h 40036"/>
                      <a:gd name="connsiteX2" fmla="*/ 336 w 42262"/>
                      <a:gd name="connsiteY2" fmla="*/ 12 h 40036"/>
                      <a:gd name="connsiteX3" fmla="*/ 17595 w 42262"/>
                      <a:gd name="connsiteY3" fmla="*/ 23738 h 40036"/>
                      <a:gd name="connsiteX4" fmla="*/ 42255 w 42262"/>
                      <a:gd name="connsiteY4" fmla="*/ 39626 h 40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2" h="40036">
                        <a:moveTo>
                          <a:pt x="42255" y="39626"/>
                        </a:moveTo>
                        <a:cubicBezTo>
                          <a:pt x="42360" y="40931"/>
                          <a:pt x="27129" y="39702"/>
                          <a:pt x="14194" y="27339"/>
                        </a:cubicBezTo>
                        <a:cubicBezTo>
                          <a:pt x="1107" y="15118"/>
                          <a:pt x="-969" y="-17"/>
                          <a:pt x="336" y="12"/>
                        </a:cubicBezTo>
                        <a:cubicBezTo>
                          <a:pt x="1745" y="-446"/>
                          <a:pt x="5698" y="12708"/>
                          <a:pt x="17595" y="23738"/>
                        </a:cubicBezTo>
                        <a:cubicBezTo>
                          <a:pt x="29263" y="34987"/>
                          <a:pt x="42627" y="38197"/>
                          <a:pt x="42255" y="39626"/>
                        </a:cubicBezTo>
                        <a:close/>
                      </a:path>
                    </a:pathLst>
                  </a:custGeom>
                  <a:solidFill>
                    <a:srgbClr val="FFFFFF"/>
                  </a:solidFill>
                  <a:ln w="9525" cap="flat">
                    <a:noFill/>
                    <a:prstDash val="solid"/>
                    <a:miter/>
                  </a:ln>
                </p:spPr>
                <p:txBody>
                  <a:bodyPr rtlCol="0" anchor="ctr"/>
                  <a:lstStyle/>
                  <a:p>
                    <a:endParaRPr lang="en-US"/>
                  </a:p>
                </p:txBody>
              </p:sp>
            </p:grpSp>
            <p:sp>
              <p:nvSpPr>
                <p:cNvPr id="1123" name="Freeform: Shape 743">
                  <a:extLst>
                    <a:ext uri="{FF2B5EF4-FFF2-40B4-BE49-F238E27FC236}">
                      <a16:creationId xmlns:a16="http://schemas.microsoft.com/office/drawing/2014/main" id="{23FC02AD-5CC8-7B6B-82D9-5E507AC666B6}"/>
                    </a:ext>
                  </a:extLst>
                </p:cNvPr>
                <p:cNvSpPr/>
                <p:nvPr/>
              </p:nvSpPr>
              <p:spPr>
                <a:xfrm>
                  <a:off x="-5706994" y="-895562"/>
                  <a:ext cx="70773" cy="434720"/>
                </a:xfrm>
                <a:custGeom>
                  <a:avLst/>
                  <a:gdLst>
                    <a:gd name="connsiteX0" fmla="*/ 66218 w 70773"/>
                    <a:gd name="connsiteY0" fmla="*/ 2334 h 434720"/>
                    <a:gd name="connsiteX1" fmla="*/ 60046 w 70773"/>
                    <a:gd name="connsiteY1" fmla="*/ 52092 h 434720"/>
                    <a:gd name="connsiteX2" fmla="*/ 70761 w 70773"/>
                    <a:gd name="connsiteY2" fmla="*/ 102175 h 434720"/>
                    <a:gd name="connsiteX3" fmla="*/ 56226 w 70773"/>
                    <a:gd name="connsiteY3" fmla="*/ 163916 h 434720"/>
                    <a:gd name="connsiteX4" fmla="*/ 66208 w 70773"/>
                    <a:gd name="connsiteY4" fmla="*/ 236992 h 434720"/>
                    <a:gd name="connsiteX5" fmla="*/ 51464 w 70773"/>
                    <a:gd name="connsiteY5" fmla="*/ 289312 h 434720"/>
                    <a:gd name="connsiteX6" fmla="*/ 63151 w 70773"/>
                    <a:gd name="connsiteY6" fmla="*/ 343786 h 434720"/>
                    <a:gd name="connsiteX7" fmla="*/ 49854 w 70773"/>
                    <a:gd name="connsiteY7" fmla="*/ 385239 h 434720"/>
                    <a:gd name="connsiteX8" fmla="*/ 60770 w 70773"/>
                    <a:gd name="connsiteY8" fmla="*/ 434721 h 434720"/>
                    <a:gd name="connsiteX9" fmla="*/ 0 w 70773"/>
                    <a:gd name="connsiteY9" fmla="*/ 432673 h 434720"/>
                    <a:gd name="connsiteX10" fmla="*/ 14611 w 70773"/>
                    <a:gd name="connsiteY10" fmla="*/ 0 h 434720"/>
                    <a:gd name="connsiteX11" fmla="*/ 66218 w 70773"/>
                    <a:gd name="connsiteY11" fmla="*/ 2334 h 43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773" h="434720">
                      <a:moveTo>
                        <a:pt x="66218" y="2334"/>
                      </a:moveTo>
                      <a:cubicBezTo>
                        <a:pt x="78267" y="26699"/>
                        <a:pt x="61874" y="36947"/>
                        <a:pt x="60046" y="52092"/>
                      </a:cubicBezTo>
                      <a:cubicBezTo>
                        <a:pt x="58141" y="67875"/>
                        <a:pt x="71228" y="86925"/>
                        <a:pt x="70761" y="102175"/>
                      </a:cubicBezTo>
                      <a:cubicBezTo>
                        <a:pt x="69942" y="128864"/>
                        <a:pt x="57350" y="143856"/>
                        <a:pt x="56226" y="163916"/>
                      </a:cubicBezTo>
                      <a:cubicBezTo>
                        <a:pt x="54578" y="193405"/>
                        <a:pt x="69675" y="206407"/>
                        <a:pt x="66208" y="236992"/>
                      </a:cubicBezTo>
                      <a:cubicBezTo>
                        <a:pt x="63627" y="259728"/>
                        <a:pt x="52426" y="266452"/>
                        <a:pt x="51464" y="289312"/>
                      </a:cubicBezTo>
                      <a:cubicBezTo>
                        <a:pt x="50768" y="305743"/>
                        <a:pt x="63980" y="324660"/>
                        <a:pt x="63151" y="343786"/>
                      </a:cubicBezTo>
                      <a:cubicBezTo>
                        <a:pt x="61874" y="373342"/>
                        <a:pt x="51578" y="369084"/>
                        <a:pt x="49854" y="385239"/>
                      </a:cubicBezTo>
                      <a:cubicBezTo>
                        <a:pt x="47844" y="404184"/>
                        <a:pt x="64941" y="408299"/>
                        <a:pt x="60770" y="434721"/>
                      </a:cubicBezTo>
                      <a:lnTo>
                        <a:pt x="0" y="432673"/>
                      </a:lnTo>
                      <a:lnTo>
                        <a:pt x="14611" y="0"/>
                      </a:lnTo>
                      <a:lnTo>
                        <a:pt x="66218" y="2334"/>
                      </a:lnTo>
                      <a:close/>
                    </a:path>
                  </a:pathLst>
                </a:custGeom>
                <a:solidFill>
                  <a:srgbClr val="00113E"/>
                </a:solidFill>
                <a:ln w="9525" cap="flat">
                  <a:noFill/>
                  <a:prstDash val="solid"/>
                  <a:miter/>
                </a:ln>
              </p:spPr>
              <p:txBody>
                <a:bodyPr rtlCol="0" anchor="ctr"/>
                <a:lstStyle/>
                <a:p>
                  <a:endParaRPr lang="en-US"/>
                </a:p>
              </p:txBody>
            </p:sp>
            <p:sp>
              <p:nvSpPr>
                <p:cNvPr id="1124" name="Freeform: Shape 744">
                  <a:extLst>
                    <a:ext uri="{FF2B5EF4-FFF2-40B4-BE49-F238E27FC236}">
                      <a16:creationId xmlns:a16="http://schemas.microsoft.com/office/drawing/2014/main" id="{CDAD401B-FD1C-1F06-81AF-368C2FD7E9CB}"/>
                    </a:ext>
                  </a:extLst>
                </p:cNvPr>
                <p:cNvSpPr/>
                <p:nvPr/>
              </p:nvSpPr>
              <p:spPr>
                <a:xfrm>
                  <a:off x="-5771774" y="-562953"/>
                  <a:ext cx="65971" cy="90501"/>
                </a:xfrm>
                <a:custGeom>
                  <a:avLst/>
                  <a:gdLst>
                    <a:gd name="connsiteX0" fmla="*/ 601 w 65971"/>
                    <a:gd name="connsiteY0" fmla="*/ 90501 h 90501"/>
                    <a:gd name="connsiteX1" fmla="*/ 1229 w 65971"/>
                    <a:gd name="connsiteY1" fmla="*/ 73032 h 90501"/>
                    <a:gd name="connsiteX2" fmla="*/ 18031 w 65971"/>
                    <a:gd name="connsiteY2" fmla="*/ 34275 h 90501"/>
                    <a:gd name="connsiteX3" fmla="*/ 49569 w 65971"/>
                    <a:gd name="connsiteY3" fmla="*/ 6167 h 90501"/>
                    <a:gd name="connsiteX4" fmla="*/ 65961 w 65971"/>
                    <a:gd name="connsiteY4" fmla="*/ 99 h 90501"/>
                    <a:gd name="connsiteX5" fmla="*/ 51379 w 65971"/>
                    <a:gd name="connsiteY5" fmla="*/ 9167 h 90501"/>
                    <a:gd name="connsiteX6" fmla="*/ 22051 w 65971"/>
                    <a:gd name="connsiteY6" fmla="*/ 37170 h 90501"/>
                    <a:gd name="connsiteX7" fmla="*/ 4649 w 65971"/>
                    <a:gd name="connsiteY7" fmla="*/ 73794 h 90501"/>
                    <a:gd name="connsiteX8" fmla="*/ 601 w 65971"/>
                    <a:gd name="connsiteY8" fmla="*/ 90501 h 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971" h="90501">
                      <a:moveTo>
                        <a:pt x="601" y="90501"/>
                      </a:moveTo>
                      <a:cubicBezTo>
                        <a:pt x="67" y="90510"/>
                        <a:pt x="-676" y="83757"/>
                        <a:pt x="1229" y="73032"/>
                      </a:cubicBezTo>
                      <a:cubicBezTo>
                        <a:pt x="3077" y="62354"/>
                        <a:pt x="8268" y="47838"/>
                        <a:pt x="18031" y="34275"/>
                      </a:cubicBezTo>
                      <a:cubicBezTo>
                        <a:pt x="27852" y="20749"/>
                        <a:pt x="40006" y="11272"/>
                        <a:pt x="49569" y="6167"/>
                      </a:cubicBezTo>
                      <a:cubicBezTo>
                        <a:pt x="59160" y="994"/>
                        <a:pt x="65799" y="-415"/>
                        <a:pt x="65961" y="99"/>
                      </a:cubicBezTo>
                      <a:cubicBezTo>
                        <a:pt x="66256" y="871"/>
                        <a:pt x="60151" y="3433"/>
                        <a:pt x="51379" y="9167"/>
                      </a:cubicBezTo>
                      <a:cubicBezTo>
                        <a:pt x="42596" y="14863"/>
                        <a:pt x="31424" y="24274"/>
                        <a:pt x="22051" y="37170"/>
                      </a:cubicBezTo>
                      <a:cubicBezTo>
                        <a:pt x="12745" y="50115"/>
                        <a:pt x="7306" y="63669"/>
                        <a:pt x="4649" y="73794"/>
                      </a:cubicBezTo>
                      <a:cubicBezTo>
                        <a:pt x="1953" y="83948"/>
                        <a:pt x="1429" y="90549"/>
                        <a:pt x="601" y="90501"/>
                      </a:cubicBezTo>
                      <a:close/>
                    </a:path>
                  </a:pathLst>
                </a:custGeom>
                <a:solidFill>
                  <a:srgbClr val="00113E"/>
                </a:solidFill>
                <a:ln w="9525" cap="flat">
                  <a:noFill/>
                  <a:prstDash val="solid"/>
                  <a:miter/>
                </a:ln>
              </p:spPr>
              <p:txBody>
                <a:bodyPr rtlCol="0" anchor="ctr"/>
                <a:lstStyle/>
                <a:p>
                  <a:endParaRPr lang="en-US"/>
                </a:p>
              </p:txBody>
            </p:sp>
          </p:grpSp>
          <p:sp>
            <p:nvSpPr>
              <p:cNvPr id="1116" name="Freeform: Shape 736">
                <a:extLst>
                  <a:ext uri="{FF2B5EF4-FFF2-40B4-BE49-F238E27FC236}">
                    <a16:creationId xmlns:a16="http://schemas.microsoft.com/office/drawing/2014/main" id="{82433393-FC7F-A026-9916-5E8CAB42E454}"/>
                  </a:ext>
                </a:extLst>
              </p:cNvPr>
              <p:cNvSpPr/>
              <p:nvPr/>
            </p:nvSpPr>
            <p:spPr>
              <a:xfrm>
                <a:off x="-6975677" y="-1337258"/>
                <a:ext cx="1114225" cy="988966"/>
              </a:xfrm>
              <a:custGeom>
                <a:avLst/>
                <a:gdLst>
                  <a:gd name="connsiteX0" fmla="*/ 0 w 1114225"/>
                  <a:gd name="connsiteY0" fmla="*/ 749210 h 988966"/>
                  <a:gd name="connsiteX1" fmla="*/ 486251 w 1114225"/>
                  <a:gd name="connsiteY1" fmla="*/ 69449 h 988966"/>
                  <a:gd name="connsiteX2" fmla="*/ 744684 w 1114225"/>
                  <a:gd name="connsiteY2" fmla="*/ 55838 h 988966"/>
                  <a:gd name="connsiteX3" fmla="*/ 1114225 w 1114225"/>
                  <a:gd name="connsiteY3" fmla="*/ 558672 h 988966"/>
                  <a:gd name="connsiteX4" fmla="*/ 1027748 w 1114225"/>
                  <a:gd name="connsiteY4" fmla="*/ 828087 h 988966"/>
                  <a:gd name="connsiteX5" fmla="*/ 651901 w 1114225"/>
                  <a:gd name="connsiteY5" fmla="*/ 365762 h 988966"/>
                  <a:gd name="connsiteX6" fmla="*/ 362531 w 1114225"/>
                  <a:gd name="connsiteY6" fmla="*/ 901267 h 988966"/>
                  <a:gd name="connsiteX7" fmla="*/ 209531 w 1114225"/>
                  <a:gd name="connsiteY7" fmla="*/ 987745 h 988966"/>
                  <a:gd name="connsiteX8" fmla="*/ 0 w 1114225"/>
                  <a:gd name="connsiteY8" fmla="*/ 749210 h 988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4225" h="988966">
                    <a:moveTo>
                      <a:pt x="0" y="749210"/>
                    </a:moveTo>
                    <a:cubicBezTo>
                      <a:pt x="-105" y="744638"/>
                      <a:pt x="451866" y="101377"/>
                      <a:pt x="486251" y="69449"/>
                    </a:cubicBezTo>
                    <a:cubicBezTo>
                      <a:pt x="501710" y="55095"/>
                      <a:pt x="635527" y="-70540"/>
                      <a:pt x="744684" y="55838"/>
                    </a:cubicBezTo>
                    <a:cubicBezTo>
                      <a:pt x="849411" y="177072"/>
                      <a:pt x="1114225" y="558672"/>
                      <a:pt x="1114225" y="558672"/>
                    </a:cubicBezTo>
                    <a:lnTo>
                      <a:pt x="1027748" y="828087"/>
                    </a:lnTo>
                    <a:lnTo>
                      <a:pt x="651901" y="365762"/>
                    </a:lnTo>
                    <a:lnTo>
                      <a:pt x="362531" y="901267"/>
                    </a:lnTo>
                    <a:cubicBezTo>
                      <a:pt x="362531" y="901267"/>
                      <a:pt x="279378" y="1001051"/>
                      <a:pt x="209531" y="987745"/>
                    </a:cubicBezTo>
                    <a:cubicBezTo>
                      <a:pt x="139675" y="974429"/>
                      <a:pt x="16659" y="885180"/>
                      <a:pt x="0" y="749210"/>
                    </a:cubicBezTo>
                    <a:close/>
                  </a:path>
                </a:pathLst>
              </a:custGeom>
              <a:solidFill>
                <a:srgbClr val="06677F"/>
              </a:solidFill>
              <a:ln w="9525" cap="flat">
                <a:noFill/>
                <a:prstDash val="solid"/>
                <a:miter/>
              </a:ln>
            </p:spPr>
            <p:txBody>
              <a:bodyPr rtlCol="0" anchor="ctr"/>
              <a:lstStyle/>
              <a:p>
                <a:endParaRPr lang="en-US"/>
              </a:p>
            </p:txBody>
          </p:sp>
          <p:sp>
            <p:nvSpPr>
              <p:cNvPr id="1117" name="Freeform: Shape 737">
                <a:extLst>
                  <a:ext uri="{FF2B5EF4-FFF2-40B4-BE49-F238E27FC236}">
                    <a16:creationId xmlns:a16="http://schemas.microsoft.com/office/drawing/2014/main" id="{04978155-0440-F96D-11EF-4C81CA9F4106}"/>
                  </a:ext>
                </a:extLst>
              </p:cNvPr>
              <p:cNvSpPr/>
              <p:nvPr/>
            </p:nvSpPr>
            <p:spPr>
              <a:xfrm>
                <a:off x="-6366254" y="-1158186"/>
                <a:ext cx="504810" cy="653529"/>
              </a:xfrm>
              <a:custGeom>
                <a:avLst/>
                <a:gdLst>
                  <a:gd name="connsiteX0" fmla="*/ 504793 w 504810"/>
                  <a:gd name="connsiteY0" fmla="*/ 379600 h 653529"/>
                  <a:gd name="connsiteX1" fmla="*/ 503526 w 504810"/>
                  <a:gd name="connsiteY1" fmla="*/ 384687 h 653529"/>
                  <a:gd name="connsiteX2" fmla="*/ 499192 w 504810"/>
                  <a:gd name="connsiteY2" fmla="*/ 399279 h 653529"/>
                  <a:gd name="connsiteX3" fmla="*/ 482152 w 504810"/>
                  <a:gd name="connsiteY3" fmla="*/ 454362 h 653529"/>
                  <a:gd name="connsiteX4" fmla="*/ 420402 w 504810"/>
                  <a:gd name="connsiteY4" fmla="*/ 649682 h 653529"/>
                  <a:gd name="connsiteX5" fmla="*/ 419183 w 504810"/>
                  <a:gd name="connsiteY5" fmla="*/ 653530 h 653529"/>
                  <a:gd name="connsiteX6" fmla="*/ 416620 w 504810"/>
                  <a:gd name="connsiteY6" fmla="*/ 650387 h 653529"/>
                  <a:gd name="connsiteX7" fmla="*/ 257143 w 504810"/>
                  <a:gd name="connsiteY7" fmla="*/ 454676 h 653529"/>
                  <a:gd name="connsiteX8" fmla="*/ 41002 w 504810"/>
                  <a:gd name="connsiteY8" fmla="*/ 187872 h 653529"/>
                  <a:gd name="connsiteX9" fmla="*/ 40602 w 504810"/>
                  <a:gd name="connsiteY9" fmla="*/ 187386 h 653529"/>
                  <a:gd name="connsiteX10" fmla="*/ 40573 w 504810"/>
                  <a:gd name="connsiteY10" fmla="*/ 186748 h 653529"/>
                  <a:gd name="connsiteX11" fmla="*/ 14713 w 504810"/>
                  <a:gd name="connsiteY11" fmla="*/ 49635 h 653529"/>
                  <a:gd name="connsiteX12" fmla="*/ 3635 w 504810"/>
                  <a:gd name="connsiteY12" fmla="*/ 12926 h 653529"/>
                  <a:gd name="connsiteX13" fmla="*/ 806 w 504810"/>
                  <a:gd name="connsiteY13" fmla="*/ 3334 h 653529"/>
                  <a:gd name="connsiteX14" fmla="*/ 16 w 504810"/>
                  <a:gd name="connsiteY14" fmla="*/ 1 h 653529"/>
                  <a:gd name="connsiteX15" fmla="*/ 1340 w 504810"/>
                  <a:gd name="connsiteY15" fmla="*/ 3153 h 653529"/>
                  <a:gd name="connsiteX16" fmla="*/ 4692 w 504810"/>
                  <a:gd name="connsiteY16" fmla="*/ 12574 h 653529"/>
                  <a:gd name="connsiteX17" fmla="*/ 16751 w 504810"/>
                  <a:gd name="connsiteY17" fmla="*/ 49007 h 653529"/>
                  <a:gd name="connsiteX18" fmla="*/ 32982 w 504810"/>
                  <a:gd name="connsiteY18" fmla="*/ 107376 h 653529"/>
                  <a:gd name="connsiteX19" fmla="*/ 44374 w 504810"/>
                  <a:gd name="connsiteY19" fmla="*/ 186605 h 653529"/>
                  <a:gd name="connsiteX20" fmla="*/ 43955 w 504810"/>
                  <a:gd name="connsiteY20" fmla="*/ 185481 h 653529"/>
                  <a:gd name="connsiteX21" fmla="*/ 261001 w 504810"/>
                  <a:gd name="connsiteY21" fmla="*/ 451543 h 653529"/>
                  <a:gd name="connsiteX22" fmla="*/ 420021 w 504810"/>
                  <a:gd name="connsiteY22" fmla="*/ 647624 h 653529"/>
                  <a:gd name="connsiteX23" fmla="*/ 416249 w 504810"/>
                  <a:gd name="connsiteY23" fmla="*/ 648339 h 653529"/>
                  <a:gd name="connsiteX24" fmla="*/ 479714 w 504810"/>
                  <a:gd name="connsiteY24" fmla="*/ 453562 h 653529"/>
                  <a:gd name="connsiteX25" fmla="*/ 497916 w 504810"/>
                  <a:gd name="connsiteY25" fmla="*/ 398850 h 653529"/>
                  <a:gd name="connsiteX26" fmla="*/ 502888 w 504810"/>
                  <a:gd name="connsiteY26" fmla="*/ 384458 h 653529"/>
                  <a:gd name="connsiteX27" fmla="*/ 504793 w 504810"/>
                  <a:gd name="connsiteY27" fmla="*/ 379600 h 65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4810" h="653529">
                    <a:moveTo>
                      <a:pt x="504793" y="379600"/>
                    </a:moveTo>
                    <a:cubicBezTo>
                      <a:pt x="504908" y="379638"/>
                      <a:pt x="504469" y="381362"/>
                      <a:pt x="503526" y="384687"/>
                    </a:cubicBezTo>
                    <a:cubicBezTo>
                      <a:pt x="502450" y="388306"/>
                      <a:pt x="501012" y="393145"/>
                      <a:pt x="499192" y="399279"/>
                    </a:cubicBezTo>
                    <a:cubicBezTo>
                      <a:pt x="495144" y="412366"/>
                      <a:pt x="489401" y="430931"/>
                      <a:pt x="482152" y="454362"/>
                    </a:cubicBezTo>
                    <a:cubicBezTo>
                      <a:pt x="467084" y="502006"/>
                      <a:pt x="445795" y="569348"/>
                      <a:pt x="420402" y="649682"/>
                    </a:cubicBezTo>
                    <a:lnTo>
                      <a:pt x="419183" y="653530"/>
                    </a:lnTo>
                    <a:lnTo>
                      <a:pt x="416620" y="650387"/>
                    </a:lnTo>
                    <a:cubicBezTo>
                      <a:pt x="369700" y="592808"/>
                      <a:pt x="315131" y="525847"/>
                      <a:pt x="257143" y="454676"/>
                    </a:cubicBezTo>
                    <a:cubicBezTo>
                      <a:pt x="174476" y="352645"/>
                      <a:pt x="98790" y="259204"/>
                      <a:pt x="41002" y="187872"/>
                    </a:cubicBezTo>
                    <a:lnTo>
                      <a:pt x="40602" y="187386"/>
                    </a:lnTo>
                    <a:lnTo>
                      <a:pt x="40573" y="186748"/>
                    </a:lnTo>
                    <a:cubicBezTo>
                      <a:pt x="38087" y="127893"/>
                      <a:pt x="23657" y="81468"/>
                      <a:pt x="14713" y="49635"/>
                    </a:cubicBezTo>
                    <a:cubicBezTo>
                      <a:pt x="9988" y="33986"/>
                      <a:pt x="6274" y="21679"/>
                      <a:pt x="3635" y="12926"/>
                    </a:cubicBezTo>
                    <a:cubicBezTo>
                      <a:pt x="2464" y="8944"/>
                      <a:pt x="1530" y="5782"/>
                      <a:pt x="806" y="3334"/>
                    </a:cubicBezTo>
                    <a:cubicBezTo>
                      <a:pt x="197" y="1163"/>
                      <a:pt x="-70" y="29"/>
                      <a:pt x="16" y="1"/>
                    </a:cubicBezTo>
                    <a:cubicBezTo>
                      <a:pt x="111" y="-28"/>
                      <a:pt x="549" y="1039"/>
                      <a:pt x="1340" y="3153"/>
                    </a:cubicBezTo>
                    <a:cubicBezTo>
                      <a:pt x="2197" y="5554"/>
                      <a:pt x="3302" y="8668"/>
                      <a:pt x="4692" y="12574"/>
                    </a:cubicBezTo>
                    <a:cubicBezTo>
                      <a:pt x="7560" y="20879"/>
                      <a:pt x="11732" y="33128"/>
                      <a:pt x="16751" y="49007"/>
                    </a:cubicBezTo>
                    <a:cubicBezTo>
                      <a:pt x="21714" y="64894"/>
                      <a:pt x="27648" y="84373"/>
                      <a:pt x="32982" y="107376"/>
                    </a:cubicBezTo>
                    <a:cubicBezTo>
                      <a:pt x="38325" y="130350"/>
                      <a:pt x="43059" y="156925"/>
                      <a:pt x="44374" y="186605"/>
                    </a:cubicBezTo>
                    <a:lnTo>
                      <a:pt x="43955" y="185481"/>
                    </a:lnTo>
                    <a:cubicBezTo>
                      <a:pt x="101981" y="256614"/>
                      <a:pt x="177990" y="349787"/>
                      <a:pt x="261001" y="451543"/>
                    </a:cubicBezTo>
                    <a:cubicBezTo>
                      <a:pt x="318827" y="522837"/>
                      <a:pt x="373234" y="589931"/>
                      <a:pt x="420021" y="647624"/>
                    </a:cubicBezTo>
                    <a:lnTo>
                      <a:pt x="416249" y="648339"/>
                    </a:lnTo>
                    <a:cubicBezTo>
                      <a:pt x="442347" y="568233"/>
                      <a:pt x="464226" y="501073"/>
                      <a:pt x="479714" y="453562"/>
                    </a:cubicBezTo>
                    <a:cubicBezTo>
                      <a:pt x="487458" y="430292"/>
                      <a:pt x="493592" y="411843"/>
                      <a:pt x="497916" y="398850"/>
                    </a:cubicBezTo>
                    <a:cubicBezTo>
                      <a:pt x="500002" y="392802"/>
                      <a:pt x="501650" y="388030"/>
                      <a:pt x="502888" y="384458"/>
                    </a:cubicBezTo>
                    <a:cubicBezTo>
                      <a:pt x="504031" y="381220"/>
                      <a:pt x="504679" y="379562"/>
                      <a:pt x="504793" y="379600"/>
                    </a:cubicBezTo>
                    <a:close/>
                  </a:path>
                </a:pathLst>
              </a:custGeom>
              <a:solidFill>
                <a:srgbClr val="00113E"/>
              </a:solidFill>
              <a:ln w="9525" cap="flat">
                <a:noFill/>
                <a:prstDash val="solid"/>
                <a:miter/>
              </a:ln>
            </p:spPr>
            <p:txBody>
              <a:bodyPr rtlCol="0" anchor="ctr"/>
              <a:lstStyle/>
              <a:p>
                <a:endParaRPr lang="en-US"/>
              </a:p>
            </p:txBody>
          </p:sp>
          <p:sp>
            <p:nvSpPr>
              <p:cNvPr id="1118" name="Freeform: Shape 738">
                <a:extLst>
                  <a:ext uri="{FF2B5EF4-FFF2-40B4-BE49-F238E27FC236}">
                    <a16:creationId xmlns:a16="http://schemas.microsoft.com/office/drawing/2014/main" id="{339EA5B0-6F11-2BFB-D112-D8686B4C211B}"/>
                  </a:ext>
                </a:extLst>
              </p:cNvPr>
              <p:cNvSpPr/>
              <p:nvPr/>
            </p:nvSpPr>
            <p:spPr>
              <a:xfrm>
                <a:off x="-6750439" y="-971507"/>
                <a:ext cx="426668" cy="617139"/>
              </a:xfrm>
              <a:custGeom>
                <a:avLst/>
                <a:gdLst>
                  <a:gd name="connsiteX0" fmla="*/ 426654 w 426668"/>
                  <a:gd name="connsiteY0" fmla="*/ 2 h 617139"/>
                  <a:gd name="connsiteX1" fmla="*/ 423615 w 426668"/>
                  <a:gd name="connsiteY1" fmla="*/ 7250 h 617139"/>
                  <a:gd name="connsiteX2" fmla="*/ 413966 w 426668"/>
                  <a:gd name="connsiteY2" fmla="*/ 27615 h 617139"/>
                  <a:gd name="connsiteX3" fmla="*/ 375866 w 426668"/>
                  <a:gd name="connsiteY3" fmla="*/ 101186 h 617139"/>
                  <a:gd name="connsiteX4" fmla="*/ 244745 w 426668"/>
                  <a:gd name="connsiteY4" fmla="*/ 340759 h 617139"/>
                  <a:gd name="connsiteX5" fmla="*/ 178737 w 426668"/>
                  <a:gd name="connsiteY5" fmla="*/ 475966 h 617139"/>
                  <a:gd name="connsiteX6" fmla="*/ 103213 w 426668"/>
                  <a:gd name="connsiteY6" fmla="*/ 572807 h 617139"/>
                  <a:gd name="connsiteX7" fmla="*/ 29804 w 426668"/>
                  <a:gd name="connsiteY7" fmla="*/ 611021 h 617139"/>
                  <a:gd name="connsiteX8" fmla="*/ 7801 w 426668"/>
                  <a:gd name="connsiteY8" fmla="*/ 616050 h 617139"/>
                  <a:gd name="connsiteX9" fmla="*/ 0 w 426668"/>
                  <a:gd name="connsiteY9" fmla="*/ 617098 h 617139"/>
                  <a:gd name="connsiteX10" fmla="*/ 7592 w 426668"/>
                  <a:gd name="connsiteY10" fmla="*/ 615069 h 617139"/>
                  <a:gd name="connsiteX11" fmla="*/ 29242 w 426668"/>
                  <a:gd name="connsiteY11" fmla="*/ 609164 h 617139"/>
                  <a:gd name="connsiteX12" fmla="*/ 100956 w 426668"/>
                  <a:gd name="connsiteY12" fmla="*/ 570102 h 617139"/>
                  <a:gd name="connsiteX13" fmla="*/ 174708 w 426668"/>
                  <a:gd name="connsiteY13" fmla="*/ 473775 h 617139"/>
                  <a:gd name="connsiteX14" fmla="*/ 240316 w 426668"/>
                  <a:gd name="connsiteY14" fmla="*/ 338492 h 617139"/>
                  <a:gd name="connsiteX15" fmla="*/ 372790 w 426668"/>
                  <a:gd name="connsiteY15" fmla="*/ 99481 h 617139"/>
                  <a:gd name="connsiteX16" fmla="*/ 412242 w 426668"/>
                  <a:gd name="connsiteY16" fmla="*/ 26719 h 617139"/>
                  <a:gd name="connsiteX17" fmla="*/ 422710 w 426668"/>
                  <a:gd name="connsiteY17" fmla="*/ 6793 h 617139"/>
                  <a:gd name="connsiteX18" fmla="*/ 426654 w 426668"/>
                  <a:gd name="connsiteY18" fmla="*/ 2 h 61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6668" h="617139">
                    <a:moveTo>
                      <a:pt x="426654" y="2"/>
                    </a:moveTo>
                    <a:cubicBezTo>
                      <a:pt x="426806" y="78"/>
                      <a:pt x="425758" y="2574"/>
                      <a:pt x="423615" y="7250"/>
                    </a:cubicBezTo>
                    <a:cubicBezTo>
                      <a:pt x="421453" y="11927"/>
                      <a:pt x="418291" y="18833"/>
                      <a:pt x="413966" y="27615"/>
                    </a:cubicBezTo>
                    <a:cubicBezTo>
                      <a:pt x="405375" y="45198"/>
                      <a:pt x="392487" y="70411"/>
                      <a:pt x="375866" y="101186"/>
                    </a:cubicBezTo>
                    <a:cubicBezTo>
                      <a:pt x="342986" y="162936"/>
                      <a:pt x="293389" y="245937"/>
                      <a:pt x="244745" y="340759"/>
                    </a:cubicBezTo>
                    <a:cubicBezTo>
                      <a:pt x="220209" y="388041"/>
                      <a:pt x="201035" y="435209"/>
                      <a:pt x="178737" y="475966"/>
                    </a:cubicBezTo>
                    <a:cubicBezTo>
                      <a:pt x="156953" y="516933"/>
                      <a:pt x="130588" y="550537"/>
                      <a:pt x="103213" y="572807"/>
                    </a:cubicBezTo>
                    <a:cubicBezTo>
                      <a:pt x="75924" y="595419"/>
                      <a:pt x="48540" y="605725"/>
                      <a:pt x="29804" y="611021"/>
                    </a:cubicBezTo>
                    <a:cubicBezTo>
                      <a:pt x="20346" y="613650"/>
                      <a:pt x="12878" y="615184"/>
                      <a:pt x="7801" y="616050"/>
                    </a:cubicBezTo>
                    <a:cubicBezTo>
                      <a:pt x="2715" y="616908"/>
                      <a:pt x="29" y="617270"/>
                      <a:pt x="0" y="617098"/>
                    </a:cubicBezTo>
                    <a:cubicBezTo>
                      <a:pt x="-28" y="616927"/>
                      <a:pt x="2591" y="616241"/>
                      <a:pt x="7592" y="615069"/>
                    </a:cubicBezTo>
                    <a:cubicBezTo>
                      <a:pt x="12592" y="613888"/>
                      <a:pt x="19946" y="612059"/>
                      <a:pt x="29242" y="609164"/>
                    </a:cubicBezTo>
                    <a:cubicBezTo>
                      <a:pt x="47682" y="603334"/>
                      <a:pt x="74419" y="592676"/>
                      <a:pt x="100956" y="570102"/>
                    </a:cubicBezTo>
                    <a:cubicBezTo>
                      <a:pt x="127635" y="547794"/>
                      <a:pt x="153305" y="514552"/>
                      <a:pt x="174708" y="473775"/>
                    </a:cubicBezTo>
                    <a:cubicBezTo>
                      <a:pt x="196615" y="433246"/>
                      <a:pt x="215684" y="385964"/>
                      <a:pt x="240316" y="338492"/>
                    </a:cubicBezTo>
                    <a:cubicBezTo>
                      <a:pt x="289094" y="243432"/>
                      <a:pt x="339157" y="160746"/>
                      <a:pt x="372790" y="99481"/>
                    </a:cubicBezTo>
                    <a:cubicBezTo>
                      <a:pt x="389792" y="68953"/>
                      <a:pt x="403136" y="44017"/>
                      <a:pt x="412242" y="26719"/>
                    </a:cubicBezTo>
                    <a:cubicBezTo>
                      <a:pt x="416624" y="18385"/>
                      <a:pt x="420110" y="11746"/>
                      <a:pt x="422710" y="6793"/>
                    </a:cubicBezTo>
                    <a:cubicBezTo>
                      <a:pt x="425149" y="2278"/>
                      <a:pt x="426501" y="-74"/>
                      <a:pt x="426654" y="2"/>
                    </a:cubicBezTo>
                    <a:close/>
                  </a:path>
                </a:pathLst>
              </a:custGeom>
              <a:solidFill>
                <a:srgbClr val="00113E"/>
              </a:solidFill>
              <a:ln w="9525" cap="flat">
                <a:noFill/>
                <a:prstDash val="solid"/>
                <a:miter/>
              </a:ln>
            </p:spPr>
            <p:txBody>
              <a:bodyPr rtlCol="0" anchor="ctr"/>
              <a:lstStyle/>
              <a:p>
                <a:endParaRPr lang="en-US"/>
              </a:p>
            </p:txBody>
          </p:sp>
          <p:sp>
            <p:nvSpPr>
              <p:cNvPr id="1119" name="Freeform: Shape 739">
                <a:extLst>
                  <a:ext uri="{FF2B5EF4-FFF2-40B4-BE49-F238E27FC236}">
                    <a16:creationId xmlns:a16="http://schemas.microsoft.com/office/drawing/2014/main" id="{6128F880-FD39-A8AF-0D5F-ADA0719E40F0}"/>
                  </a:ext>
                </a:extLst>
              </p:cNvPr>
              <p:cNvSpPr/>
              <p:nvPr/>
            </p:nvSpPr>
            <p:spPr>
              <a:xfrm>
                <a:off x="-6945847" y="-1831614"/>
                <a:ext cx="380176" cy="321660"/>
              </a:xfrm>
              <a:custGeom>
                <a:avLst/>
                <a:gdLst>
                  <a:gd name="connsiteX0" fmla="*/ 375535 w 380176"/>
                  <a:gd name="connsiteY0" fmla="*/ 94403 h 321660"/>
                  <a:gd name="connsiteX1" fmla="*/ 329844 w 380176"/>
                  <a:gd name="connsiteY1" fmla="*/ 88745 h 321660"/>
                  <a:gd name="connsiteX2" fmla="*/ 304555 w 380176"/>
                  <a:gd name="connsiteY2" fmla="*/ 36377 h 321660"/>
                  <a:gd name="connsiteX3" fmla="*/ 246471 w 380176"/>
                  <a:gd name="connsiteY3" fmla="*/ 33586 h 321660"/>
                  <a:gd name="connsiteX4" fmla="*/ 162128 w 380176"/>
                  <a:gd name="connsiteY4" fmla="*/ 68 h 321660"/>
                  <a:gd name="connsiteX5" fmla="*/ 80375 w 380176"/>
                  <a:gd name="connsiteY5" fmla="*/ 39492 h 321660"/>
                  <a:gd name="connsiteX6" fmla="*/ 65935 w 380176"/>
                  <a:gd name="connsiteY6" fmla="*/ 7269 h 321660"/>
                  <a:gd name="connsiteX7" fmla="*/ 63706 w 380176"/>
                  <a:gd name="connsiteY7" fmla="*/ 46064 h 321660"/>
                  <a:gd name="connsiteX8" fmla="*/ 19348 w 380176"/>
                  <a:gd name="connsiteY8" fmla="*/ 33653 h 321660"/>
                  <a:gd name="connsiteX9" fmla="*/ 48028 w 380176"/>
                  <a:gd name="connsiteY9" fmla="*/ 66800 h 321660"/>
                  <a:gd name="connsiteX10" fmla="*/ 3527 w 380176"/>
                  <a:gd name="connsiteY10" fmla="*/ 146019 h 321660"/>
                  <a:gd name="connsiteX11" fmla="*/ 19415 w 380176"/>
                  <a:gd name="connsiteY11" fmla="*/ 181357 h 321660"/>
                  <a:gd name="connsiteX12" fmla="*/ 2231 w 380176"/>
                  <a:gd name="connsiteY12" fmla="*/ 248508 h 321660"/>
                  <a:gd name="connsiteX13" fmla="*/ 45618 w 380176"/>
                  <a:gd name="connsiteY13" fmla="*/ 321660 h 321660"/>
                  <a:gd name="connsiteX14" fmla="*/ 58991 w 380176"/>
                  <a:gd name="connsiteY14" fmla="*/ 198331 h 321660"/>
                  <a:gd name="connsiteX15" fmla="*/ 76984 w 380176"/>
                  <a:gd name="connsiteY15" fmla="*/ 206817 h 321660"/>
                  <a:gd name="connsiteX16" fmla="*/ 88052 w 380176"/>
                  <a:gd name="connsiteY16" fmla="*/ 169137 h 321660"/>
                  <a:gd name="connsiteX17" fmla="*/ 86613 w 380176"/>
                  <a:gd name="connsiteY17" fmla="*/ 128522 h 321660"/>
                  <a:gd name="connsiteX18" fmla="*/ 150917 w 380176"/>
                  <a:gd name="connsiteY18" fmla="*/ 99852 h 321660"/>
                  <a:gd name="connsiteX19" fmla="*/ 206076 w 380176"/>
                  <a:gd name="connsiteY19" fmla="*/ 136828 h 321660"/>
                  <a:gd name="connsiteX20" fmla="*/ 268674 w 380176"/>
                  <a:gd name="connsiteY20" fmla="*/ 127055 h 321660"/>
                  <a:gd name="connsiteX21" fmla="*/ 315128 w 380176"/>
                  <a:gd name="connsiteY21" fmla="*/ 152839 h 321660"/>
                  <a:gd name="connsiteX22" fmla="*/ 365791 w 380176"/>
                  <a:gd name="connsiteY22" fmla="*/ 142714 h 321660"/>
                  <a:gd name="connsiteX23" fmla="*/ 375535 w 380176"/>
                  <a:gd name="connsiteY23" fmla="*/ 94403 h 321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0176" h="321660">
                    <a:moveTo>
                      <a:pt x="375535" y="94403"/>
                    </a:moveTo>
                    <a:cubicBezTo>
                      <a:pt x="366220" y="79144"/>
                      <a:pt x="341502" y="75191"/>
                      <a:pt x="329844" y="88745"/>
                    </a:cubicBezTo>
                    <a:cubicBezTo>
                      <a:pt x="331606" y="68476"/>
                      <a:pt x="321519" y="47607"/>
                      <a:pt x="304555" y="36377"/>
                    </a:cubicBezTo>
                    <a:cubicBezTo>
                      <a:pt x="287581" y="25157"/>
                      <a:pt x="264436" y="24042"/>
                      <a:pt x="246471" y="33586"/>
                    </a:cubicBezTo>
                    <a:cubicBezTo>
                      <a:pt x="224602" y="11422"/>
                      <a:pt x="193246" y="-1037"/>
                      <a:pt x="162128" y="68"/>
                    </a:cubicBezTo>
                    <a:cubicBezTo>
                      <a:pt x="131009" y="1173"/>
                      <a:pt x="100615" y="15832"/>
                      <a:pt x="80375" y="39492"/>
                    </a:cubicBezTo>
                    <a:cubicBezTo>
                      <a:pt x="80413" y="27357"/>
                      <a:pt x="75012" y="15317"/>
                      <a:pt x="65935" y="7269"/>
                    </a:cubicBezTo>
                    <a:cubicBezTo>
                      <a:pt x="58438" y="18584"/>
                      <a:pt x="57553" y="33958"/>
                      <a:pt x="63706" y="46064"/>
                    </a:cubicBezTo>
                    <a:cubicBezTo>
                      <a:pt x="54267" y="32329"/>
                      <a:pt x="34550" y="26804"/>
                      <a:pt x="19348" y="33653"/>
                    </a:cubicBezTo>
                    <a:cubicBezTo>
                      <a:pt x="25568" y="47083"/>
                      <a:pt x="35626" y="58713"/>
                      <a:pt x="48028" y="66800"/>
                    </a:cubicBezTo>
                    <a:cubicBezTo>
                      <a:pt x="13890" y="72753"/>
                      <a:pt x="-9151" y="113777"/>
                      <a:pt x="3527" y="146019"/>
                    </a:cubicBezTo>
                    <a:cubicBezTo>
                      <a:pt x="8270" y="158078"/>
                      <a:pt x="17014" y="168622"/>
                      <a:pt x="19415" y="181357"/>
                    </a:cubicBezTo>
                    <a:cubicBezTo>
                      <a:pt x="23758" y="204341"/>
                      <a:pt x="6565" y="225534"/>
                      <a:pt x="2231" y="248508"/>
                    </a:cubicBezTo>
                    <a:cubicBezTo>
                      <a:pt x="-3969" y="281398"/>
                      <a:pt x="12499" y="316841"/>
                      <a:pt x="45618" y="321660"/>
                    </a:cubicBezTo>
                    <a:lnTo>
                      <a:pt x="58991" y="198331"/>
                    </a:lnTo>
                    <a:cubicBezTo>
                      <a:pt x="59743" y="211923"/>
                      <a:pt x="66582" y="215600"/>
                      <a:pt x="76984" y="206817"/>
                    </a:cubicBezTo>
                    <a:cubicBezTo>
                      <a:pt x="87385" y="198035"/>
                      <a:pt x="89195" y="182700"/>
                      <a:pt x="88052" y="169137"/>
                    </a:cubicBezTo>
                    <a:cubicBezTo>
                      <a:pt x="86909" y="155573"/>
                      <a:pt x="83584" y="141800"/>
                      <a:pt x="86613" y="128522"/>
                    </a:cubicBezTo>
                    <a:cubicBezTo>
                      <a:pt x="110788" y="128570"/>
                      <a:pt x="134791" y="117863"/>
                      <a:pt x="150917" y="99852"/>
                    </a:cubicBezTo>
                    <a:cubicBezTo>
                      <a:pt x="167738" y="114454"/>
                      <a:pt x="185092" y="129370"/>
                      <a:pt x="206076" y="136828"/>
                    </a:cubicBezTo>
                    <a:cubicBezTo>
                      <a:pt x="227059" y="144286"/>
                      <a:pt x="252815" y="142695"/>
                      <a:pt x="268674" y="127055"/>
                    </a:cubicBezTo>
                    <a:cubicBezTo>
                      <a:pt x="282324" y="138590"/>
                      <a:pt x="297735" y="148715"/>
                      <a:pt x="315128" y="152839"/>
                    </a:cubicBezTo>
                    <a:cubicBezTo>
                      <a:pt x="332520" y="156964"/>
                      <a:pt x="352209" y="154335"/>
                      <a:pt x="365791" y="142714"/>
                    </a:cubicBezTo>
                    <a:cubicBezTo>
                      <a:pt x="379402" y="131103"/>
                      <a:pt x="384851" y="109662"/>
                      <a:pt x="375535" y="94403"/>
                    </a:cubicBezTo>
                    <a:close/>
                  </a:path>
                </a:pathLst>
              </a:custGeom>
              <a:solidFill>
                <a:srgbClr val="00113E"/>
              </a:solidFill>
              <a:ln w="9525" cap="flat">
                <a:noFill/>
                <a:prstDash val="solid"/>
                <a:miter/>
              </a:ln>
            </p:spPr>
            <p:txBody>
              <a:bodyPr rtlCol="0" anchor="ctr"/>
              <a:lstStyle/>
              <a:p>
                <a:endParaRPr lang="en-US"/>
              </a:p>
            </p:txBody>
          </p:sp>
          <p:sp>
            <p:nvSpPr>
              <p:cNvPr id="1120" name="Freeform: Shape 740">
                <a:extLst>
                  <a:ext uri="{FF2B5EF4-FFF2-40B4-BE49-F238E27FC236}">
                    <a16:creationId xmlns:a16="http://schemas.microsoft.com/office/drawing/2014/main" id="{2C523099-F93F-08EE-2487-01D166F4BDFA}"/>
                  </a:ext>
                </a:extLst>
              </p:cNvPr>
              <p:cNvSpPr/>
              <p:nvPr/>
            </p:nvSpPr>
            <p:spPr>
              <a:xfrm>
                <a:off x="-6961707" y="-1636016"/>
                <a:ext cx="91146" cy="116356"/>
              </a:xfrm>
              <a:custGeom>
                <a:avLst/>
                <a:gdLst>
                  <a:gd name="connsiteX0" fmla="*/ 91015 w 91146"/>
                  <a:gd name="connsiteY0" fmla="*/ 36985 h 116356"/>
                  <a:gd name="connsiteX1" fmla="*/ 52782 w 91146"/>
                  <a:gd name="connsiteY1" fmla="*/ 1047 h 116356"/>
                  <a:gd name="connsiteX2" fmla="*/ 8538 w 91146"/>
                  <a:gd name="connsiteY2" fmla="*/ 18935 h 116356"/>
                  <a:gd name="connsiteX3" fmla="*/ 3585 w 91146"/>
                  <a:gd name="connsiteY3" fmla="*/ 67503 h 116356"/>
                  <a:gd name="connsiteX4" fmla="*/ 36961 w 91146"/>
                  <a:gd name="connsiteY4" fmla="*/ 104298 h 116356"/>
                  <a:gd name="connsiteX5" fmla="*/ 85786 w 91146"/>
                  <a:gd name="connsiteY5" fmla="*/ 116357 h 116356"/>
                  <a:gd name="connsiteX6" fmla="*/ 91015 w 91146"/>
                  <a:gd name="connsiteY6" fmla="*/ 36985 h 11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46" h="116356">
                    <a:moveTo>
                      <a:pt x="91015" y="36985"/>
                    </a:moveTo>
                    <a:cubicBezTo>
                      <a:pt x="93130" y="20202"/>
                      <a:pt x="69212" y="5085"/>
                      <a:pt x="52782" y="1047"/>
                    </a:cubicBezTo>
                    <a:cubicBezTo>
                      <a:pt x="36351" y="-2992"/>
                      <a:pt x="18139" y="5009"/>
                      <a:pt x="8538" y="18935"/>
                    </a:cubicBezTo>
                    <a:cubicBezTo>
                      <a:pt x="-1063" y="32870"/>
                      <a:pt x="-2349" y="51663"/>
                      <a:pt x="3585" y="67503"/>
                    </a:cubicBezTo>
                    <a:cubicBezTo>
                      <a:pt x="9519" y="83343"/>
                      <a:pt x="22092" y="96230"/>
                      <a:pt x="36961" y="104298"/>
                    </a:cubicBezTo>
                    <a:cubicBezTo>
                      <a:pt x="51829" y="112366"/>
                      <a:pt x="68870" y="115871"/>
                      <a:pt x="85786" y="116357"/>
                    </a:cubicBezTo>
                    <a:lnTo>
                      <a:pt x="91015" y="36985"/>
                    </a:lnTo>
                    <a:close/>
                  </a:path>
                </a:pathLst>
              </a:custGeom>
              <a:solidFill>
                <a:srgbClr val="FFAC8D"/>
              </a:solidFill>
              <a:ln w="9525" cap="flat">
                <a:noFill/>
                <a:prstDash val="solid"/>
                <a:miter/>
              </a:ln>
            </p:spPr>
            <p:txBody>
              <a:bodyPr rtlCol="0" anchor="ctr"/>
              <a:lstStyle/>
              <a:p>
                <a:endParaRPr lang="en-US"/>
              </a:p>
            </p:txBody>
          </p:sp>
          <p:sp>
            <p:nvSpPr>
              <p:cNvPr id="1121" name="Freeform: Shape 741">
                <a:extLst>
                  <a:ext uri="{FF2B5EF4-FFF2-40B4-BE49-F238E27FC236}">
                    <a16:creationId xmlns:a16="http://schemas.microsoft.com/office/drawing/2014/main" id="{41493A32-EDB0-A3BB-0A52-41887534C09E}"/>
                  </a:ext>
                </a:extLst>
              </p:cNvPr>
              <p:cNvSpPr/>
              <p:nvPr/>
            </p:nvSpPr>
            <p:spPr>
              <a:xfrm>
                <a:off x="-6941781" y="-1614351"/>
                <a:ext cx="54984" cy="62813"/>
              </a:xfrm>
              <a:custGeom>
                <a:avLst/>
                <a:gdLst>
                  <a:gd name="connsiteX0" fmla="*/ 48543 w 54984"/>
                  <a:gd name="connsiteY0" fmla="*/ 61230 h 62813"/>
                  <a:gd name="connsiteX1" fmla="*/ 27941 w 54984"/>
                  <a:gd name="connsiteY1" fmla="*/ 61421 h 62813"/>
                  <a:gd name="connsiteX2" fmla="*/ 8405 w 54984"/>
                  <a:gd name="connsiteY2" fmla="*/ 49496 h 62813"/>
                  <a:gd name="connsiteX3" fmla="*/ 509 w 54984"/>
                  <a:gd name="connsiteY3" fmla="*/ 22473 h 62813"/>
                  <a:gd name="connsiteX4" fmla="*/ 18873 w 54984"/>
                  <a:gd name="connsiteY4" fmla="*/ 1099 h 62813"/>
                  <a:gd name="connsiteX5" fmla="*/ 41676 w 54984"/>
                  <a:gd name="connsiteY5" fmla="*/ 4557 h 62813"/>
                  <a:gd name="connsiteX6" fmla="*/ 52572 w 54984"/>
                  <a:gd name="connsiteY6" fmla="*/ 15310 h 62813"/>
                  <a:gd name="connsiteX7" fmla="*/ 54925 w 54984"/>
                  <a:gd name="connsiteY7" fmla="*/ 20368 h 62813"/>
                  <a:gd name="connsiteX8" fmla="*/ 39923 w 54984"/>
                  <a:gd name="connsiteY8" fmla="*/ 7595 h 62813"/>
                  <a:gd name="connsiteX9" fmla="*/ 20302 w 54984"/>
                  <a:gd name="connsiteY9" fmla="*/ 5443 h 62813"/>
                  <a:gd name="connsiteX10" fmla="*/ 5376 w 54984"/>
                  <a:gd name="connsiteY10" fmla="*/ 23435 h 62813"/>
                  <a:gd name="connsiteX11" fmla="*/ 11910 w 54984"/>
                  <a:gd name="connsiteY11" fmla="*/ 46571 h 62813"/>
                  <a:gd name="connsiteX12" fmla="*/ 28931 w 54984"/>
                  <a:gd name="connsiteY12" fmla="*/ 58068 h 62813"/>
                  <a:gd name="connsiteX13" fmla="*/ 48543 w 54984"/>
                  <a:gd name="connsiteY13" fmla="*/ 61230 h 6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984" h="62813">
                    <a:moveTo>
                      <a:pt x="48543" y="61230"/>
                    </a:moveTo>
                    <a:cubicBezTo>
                      <a:pt x="48724" y="61640"/>
                      <a:pt x="40771" y="64459"/>
                      <a:pt x="27941" y="61421"/>
                    </a:cubicBezTo>
                    <a:cubicBezTo>
                      <a:pt x="21683" y="59811"/>
                      <a:pt x="14186" y="56277"/>
                      <a:pt x="8405" y="49496"/>
                    </a:cubicBezTo>
                    <a:cubicBezTo>
                      <a:pt x="2671" y="42933"/>
                      <a:pt x="-1492" y="32970"/>
                      <a:pt x="509" y="22473"/>
                    </a:cubicBezTo>
                    <a:cubicBezTo>
                      <a:pt x="2566" y="12196"/>
                      <a:pt x="10024" y="3795"/>
                      <a:pt x="18873" y="1099"/>
                    </a:cubicBezTo>
                    <a:cubicBezTo>
                      <a:pt x="27826" y="-1606"/>
                      <a:pt x="36151" y="1118"/>
                      <a:pt x="41676" y="4557"/>
                    </a:cubicBezTo>
                    <a:cubicBezTo>
                      <a:pt x="47296" y="8119"/>
                      <a:pt x="50601" y="12348"/>
                      <a:pt x="52572" y="15310"/>
                    </a:cubicBezTo>
                    <a:cubicBezTo>
                      <a:pt x="54525" y="18330"/>
                      <a:pt x="55201" y="20206"/>
                      <a:pt x="54925" y="20368"/>
                    </a:cubicBezTo>
                    <a:cubicBezTo>
                      <a:pt x="54182" y="21025"/>
                      <a:pt x="50362" y="13558"/>
                      <a:pt x="39923" y="7595"/>
                    </a:cubicBezTo>
                    <a:cubicBezTo>
                      <a:pt x="34789" y="4861"/>
                      <a:pt x="27407" y="3014"/>
                      <a:pt x="20302" y="5443"/>
                    </a:cubicBezTo>
                    <a:cubicBezTo>
                      <a:pt x="13263" y="7776"/>
                      <a:pt x="7072" y="14901"/>
                      <a:pt x="5376" y="23435"/>
                    </a:cubicBezTo>
                    <a:cubicBezTo>
                      <a:pt x="3719" y="31998"/>
                      <a:pt x="7024" y="40647"/>
                      <a:pt x="11910" y="46571"/>
                    </a:cubicBezTo>
                    <a:cubicBezTo>
                      <a:pt x="16787" y="52667"/>
                      <a:pt x="23254" y="56154"/>
                      <a:pt x="28931" y="58068"/>
                    </a:cubicBezTo>
                    <a:cubicBezTo>
                      <a:pt x="40523" y="61735"/>
                      <a:pt x="48524" y="60326"/>
                      <a:pt x="48543" y="61230"/>
                    </a:cubicBezTo>
                    <a:close/>
                  </a:path>
                </a:pathLst>
              </a:custGeom>
              <a:solidFill>
                <a:srgbClr val="00113E"/>
              </a:solidFill>
              <a:ln w="9525" cap="flat">
                <a:noFill/>
                <a:prstDash val="solid"/>
                <a:miter/>
              </a:ln>
            </p:spPr>
            <p:txBody>
              <a:bodyPr rtlCol="0" anchor="ctr"/>
              <a:lstStyle/>
              <a:p>
                <a:endParaRPr lang="en-US"/>
              </a:p>
            </p:txBody>
          </p:sp>
        </p:grpSp>
      </p:grpSp>
      <p:sp>
        <p:nvSpPr>
          <p:cNvPr id="1174" name="TextBox 845">
            <a:extLst>
              <a:ext uri="{FF2B5EF4-FFF2-40B4-BE49-F238E27FC236}">
                <a16:creationId xmlns:a16="http://schemas.microsoft.com/office/drawing/2014/main" id="{FCBF486A-6BEE-04DD-ED31-A01B646FDD30}"/>
              </a:ext>
            </a:extLst>
          </p:cNvPr>
          <p:cNvSpPr txBox="1"/>
          <p:nvPr/>
        </p:nvSpPr>
        <p:spPr>
          <a:xfrm>
            <a:off x="685801" y="6207635"/>
            <a:ext cx="1554174" cy="369332"/>
          </a:xfrm>
          <a:prstGeom prst="rect">
            <a:avLst/>
          </a:prstGeom>
          <a:noFill/>
        </p:spPr>
        <p:txBody>
          <a:bodyPr wrap="square">
            <a:spAutoFit/>
          </a:bodyPr>
          <a:lstStyle/>
          <a:p>
            <a:pPr algn="ctr"/>
            <a:r>
              <a:rPr lang="en-US" b="1" dirty="0">
                <a:solidFill>
                  <a:srgbClr val="62A844"/>
                </a:solidFill>
                <a:latin typeface="Calibri" panose="020F0502020204030204" pitchFamily="34" charset="0"/>
                <a:cs typeface="Calibri" panose="020F0502020204030204" pitchFamily="34" charset="0"/>
              </a:rPr>
              <a:t>Consideration</a:t>
            </a:r>
            <a:endParaRPr lang="en-ID" b="1" dirty="0">
              <a:solidFill>
                <a:srgbClr val="62A844"/>
              </a:solidFill>
              <a:latin typeface="Calibri" panose="020F0502020204030204" pitchFamily="34" charset="0"/>
              <a:cs typeface="Calibri" panose="020F0502020204030204" pitchFamily="34" charset="0"/>
            </a:endParaRPr>
          </a:p>
        </p:txBody>
      </p:sp>
      <p:sp>
        <p:nvSpPr>
          <p:cNvPr id="1175" name="Rectangle: Rounded Corners 863">
            <a:extLst>
              <a:ext uri="{FF2B5EF4-FFF2-40B4-BE49-F238E27FC236}">
                <a16:creationId xmlns:a16="http://schemas.microsoft.com/office/drawing/2014/main" id="{28CB215E-BBEF-3E4A-731D-A53DD67E6D45}"/>
              </a:ext>
            </a:extLst>
          </p:cNvPr>
          <p:cNvSpPr/>
          <p:nvPr/>
        </p:nvSpPr>
        <p:spPr>
          <a:xfrm>
            <a:off x="1072989" y="5433529"/>
            <a:ext cx="779799" cy="746288"/>
          </a:xfrm>
          <a:prstGeom prst="roundRect">
            <a:avLst/>
          </a:prstGeom>
          <a:solidFill>
            <a:schemeClr val="bg1">
              <a:alpha val="90000"/>
            </a:schemeClr>
          </a:solidFill>
          <a:ln w="34925">
            <a:solidFill>
              <a:schemeClr val="bg1">
                <a:lumMod val="95000"/>
              </a:schemeClr>
            </a:solidFill>
          </a:ln>
          <a:effectLst>
            <a:outerShdw blurRad="520700" dist="63500" sx="103000" sy="103000" algn="ctr" rotWithShape="0">
              <a:srgbClr val="000000">
                <a:alpha val="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6" name="Graphic 864">
            <a:extLst>
              <a:ext uri="{FF2B5EF4-FFF2-40B4-BE49-F238E27FC236}">
                <a16:creationId xmlns:a16="http://schemas.microsoft.com/office/drawing/2014/main" id="{61FBBD96-810C-7257-BED7-6647DB07DC96}"/>
              </a:ext>
            </a:extLst>
          </p:cNvPr>
          <p:cNvSpPr/>
          <p:nvPr/>
        </p:nvSpPr>
        <p:spPr>
          <a:xfrm>
            <a:off x="1285008" y="5621906"/>
            <a:ext cx="355760" cy="355758"/>
          </a:xfrm>
          <a:custGeom>
            <a:avLst/>
            <a:gdLst>
              <a:gd name="connsiteX0" fmla="*/ 128131 w 148608"/>
              <a:gd name="connsiteY0" fmla="*/ 31635 h 148608"/>
              <a:gd name="connsiteX1" fmla="*/ 10669 w 148608"/>
              <a:gd name="connsiteY1" fmla="*/ 120645 h 148608"/>
              <a:gd name="connsiteX2" fmla="*/ 9276 w 148608"/>
              <a:gd name="connsiteY2" fmla="*/ 120750 h 148608"/>
              <a:gd name="connsiteX3" fmla="*/ 105 w 148608"/>
              <a:gd name="connsiteY3" fmla="*/ 112843 h 148608"/>
              <a:gd name="connsiteX4" fmla="*/ 7913 w 148608"/>
              <a:gd name="connsiteY4" fmla="*/ 102279 h 148608"/>
              <a:gd name="connsiteX5" fmla="*/ 110967 w 148608"/>
              <a:gd name="connsiteY5" fmla="*/ 24112 h 148608"/>
              <a:gd name="connsiteX6" fmla="*/ 100948 w 148608"/>
              <a:gd name="connsiteY6" fmla="*/ 19715 h 148608"/>
              <a:gd name="connsiteX7" fmla="*/ 101140 w 148608"/>
              <a:gd name="connsiteY7" fmla="*/ 10390 h 148608"/>
              <a:gd name="connsiteX8" fmla="*/ 126143 w 148608"/>
              <a:gd name="connsiteY8" fmla="*/ 625 h 148608"/>
              <a:gd name="connsiteX9" fmla="*/ 135475 w 148608"/>
              <a:gd name="connsiteY9" fmla="*/ 4718 h 148608"/>
              <a:gd name="connsiteX10" fmla="*/ 145227 w 148608"/>
              <a:gd name="connsiteY10" fmla="*/ 29722 h 148608"/>
              <a:gd name="connsiteX11" fmla="*/ 138496 w 148608"/>
              <a:gd name="connsiteY11" fmla="*/ 36180 h 148608"/>
              <a:gd name="connsiteX12" fmla="*/ 128131 w 148608"/>
              <a:gd name="connsiteY12" fmla="*/ 31635 h 148608"/>
              <a:gd name="connsiteX13" fmla="*/ 0 w 148608"/>
              <a:gd name="connsiteY13" fmla="*/ 37152 h 148608"/>
              <a:gd name="connsiteX14" fmla="*/ 37152 w 148608"/>
              <a:gd name="connsiteY14" fmla="*/ 0 h 148608"/>
              <a:gd name="connsiteX15" fmla="*/ 74304 w 148608"/>
              <a:gd name="connsiteY15" fmla="*/ 37152 h 148608"/>
              <a:gd name="connsiteX16" fmla="*/ 37152 w 148608"/>
              <a:gd name="connsiteY16" fmla="*/ 74304 h 148608"/>
              <a:gd name="connsiteX17" fmla="*/ 0 w 148608"/>
              <a:gd name="connsiteY17" fmla="*/ 37152 h 148608"/>
              <a:gd name="connsiteX18" fmla="*/ 24768 w 148608"/>
              <a:gd name="connsiteY18" fmla="*/ 24768 h 148608"/>
              <a:gd name="connsiteX19" fmla="*/ 37152 w 148608"/>
              <a:gd name="connsiteY19" fmla="*/ 37152 h 148608"/>
              <a:gd name="connsiteX20" fmla="*/ 49536 w 148608"/>
              <a:gd name="connsiteY20" fmla="*/ 24768 h 148608"/>
              <a:gd name="connsiteX21" fmla="*/ 37152 w 148608"/>
              <a:gd name="connsiteY21" fmla="*/ 12384 h 148608"/>
              <a:gd name="connsiteX22" fmla="*/ 24768 w 148608"/>
              <a:gd name="connsiteY22" fmla="*/ 24768 h 148608"/>
              <a:gd name="connsiteX23" fmla="*/ 18787 w 148608"/>
              <a:gd name="connsiteY23" fmla="*/ 53623 h 148608"/>
              <a:gd name="connsiteX24" fmla="*/ 37152 w 148608"/>
              <a:gd name="connsiteY24" fmla="*/ 61920 h 148608"/>
              <a:gd name="connsiteX25" fmla="*/ 55517 w 148608"/>
              <a:gd name="connsiteY25" fmla="*/ 53623 h 148608"/>
              <a:gd name="connsiteX26" fmla="*/ 37152 w 148608"/>
              <a:gd name="connsiteY26" fmla="*/ 43344 h 148608"/>
              <a:gd name="connsiteX27" fmla="*/ 18787 w 148608"/>
              <a:gd name="connsiteY27" fmla="*/ 53623 h 148608"/>
              <a:gd name="connsiteX28" fmla="*/ 139320 w 148608"/>
              <a:gd name="connsiteY28" fmla="*/ 55728 h 148608"/>
              <a:gd name="connsiteX29" fmla="*/ 130032 w 148608"/>
              <a:gd name="connsiteY29" fmla="*/ 65016 h 148608"/>
              <a:gd name="connsiteX30" fmla="*/ 130032 w 148608"/>
              <a:gd name="connsiteY30" fmla="*/ 139320 h 148608"/>
              <a:gd name="connsiteX31" fmla="*/ 139320 w 148608"/>
              <a:gd name="connsiteY31" fmla="*/ 148608 h 148608"/>
              <a:gd name="connsiteX32" fmla="*/ 148608 w 148608"/>
              <a:gd name="connsiteY32" fmla="*/ 139320 h 148608"/>
              <a:gd name="connsiteX33" fmla="*/ 148608 w 148608"/>
              <a:gd name="connsiteY33" fmla="*/ 65016 h 148608"/>
              <a:gd name="connsiteX34" fmla="*/ 139320 w 148608"/>
              <a:gd name="connsiteY34" fmla="*/ 55728 h 148608"/>
              <a:gd name="connsiteX35" fmla="*/ 108360 w 148608"/>
              <a:gd name="connsiteY35" fmla="*/ 80496 h 148608"/>
              <a:gd name="connsiteX36" fmla="*/ 99072 w 148608"/>
              <a:gd name="connsiteY36" fmla="*/ 89784 h 148608"/>
              <a:gd name="connsiteX37" fmla="*/ 99072 w 148608"/>
              <a:gd name="connsiteY37" fmla="*/ 139320 h 148608"/>
              <a:gd name="connsiteX38" fmla="*/ 108360 w 148608"/>
              <a:gd name="connsiteY38" fmla="*/ 148608 h 148608"/>
              <a:gd name="connsiteX39" fmla="*/ 117648 w 148608"/>
              <a:gd name="connsiteY39" fmla="*/ 139320 h 148608"/>
              <a:gd name="connsiteX40" fmla="*/ 117648 w 148608"/>
              <a:gd name="connsiteY40" fmla="*/ 89784 h 148608"/>
              <a:gd name="connsiteX41" fmla="*/ 108360 w 148608"/>
              <a:gd name="connsiteY41" fmla="*/ 80496 h 148608"/>
              <a:gd name="connsiteX42" fmla="*/ 77400 w 148608"/>
              <a:gd name="connsiteY42" fmla="*/ 105264 h 148608"/>
              <a:gd name="connsiteX43" fmla="*/ 68112 w 148608"/>
              <a:gd name="connsiteY43" fmla="*/ 114552 h 148608"/>
              <a:gd name="connsiteX44" fmla="*/ 68112 w 148608"/>
              <a:gd name="connsiteY44" fmla="*/ 139320 h 148608"/>
              <a:gd name="connsiteX45" fmla="*/ 77400 w 148608"/>
              <a:gd name="connsiteY45" fmla="*/ 148608 h 148608"/>
              <a:gd name="connsiteX46" fmla="*/ 86688 w 148608"/>
              <a:gd name="connsiteY46" fmla="*/ 139320 h 148608"/>
              <a:gd name="connsiteX47" fmla="*/ 86688 w 148608"/>
              <a:gd name="connsiteY47" fmla="*/ 114552 h 148608"/>
              <a:gd name="connsiteX48" fmla="*/ 77400 w 148608"/>
              <a:gd name="connsiteY48" fmla="*/ 105264 h 148608"/>
              <a:gd name="connsiteX49" fmla="*/ 46440 w 148608"/>
              <a:gd name="connsiteY49" fmla="*/ 123840 h 148608"/>
              <a:gd name="connsiteX50" fmla="*/ 37152 w 148608"/>
              <a:gd name="connsiteY50" fmla="*/ 133128 h 148608"/>
              <a:gd name="connsiteX51" fmla="*/ 37152 w 148608"/>
              <a:gd name="connsiteY51" fmla="*/ 139320 h 148608"/>
              <a:gd name="connsiteX52" fmla="*/ 46440 w 148608"/>
              <a:gd name="connsiteY52" fmla="*/ 148608 h 148608"/>
              <a:gd name="connsiteX53" fmla="*/ 55728 w 148608"/>
              <a:gd name="connsiteY53" fmla="*/ 139320 h 148608"/>
              <a:gd name="connsiteX54" fmla="*/ 55728 w 148608"/>
              <a:gd name="connsiteY54" fmla="*/ 133128 h 148608"/>
              <a:gd name="connsiteX55" fmla="*/ 46440 w 148608"/>
              <a:gd name="connsiteY55" fmla="*/ 123840 h 148608"/>
              <a:gd name="connsiteX56" fmla="*/ 6192 w 148608"/>
              <a:gd name="connsiteY56" fmla="*/ 139320 h 148608"/>
              <a:gd name="connsiteX57" fmla="*/ 15480 w 148608"/>
              <a:gd name="connsiteY57" fmla="*/ 148608 h 148608"/>
              <a:gd name="connsiteX58" fmla="*/ 24768 w 148608"/>
              <a:gd name="connsiteY58" fmla="*/ 139320 h 148608"/>
              <a:gd name="connsiteX59" fmla="*/ 15480 w 148608"/>
              <a:gd name="connsiteY59" fmla="*/ 130032 h 148608"/>
              <a:gd name="connsiteX60" fmla="*/ 6192 w 148608"/>
              <a:gd name="connsiteY60" fmla="*/ 139320 h 14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8608" h="148608">
                <a:moveTo>
                  <a:pt x="128131" y="31635"/>
                </a:moveTo>
                <a:cubicBezTo>
                  <a:pt x="111221" y="60409"/>
                  <a:pt x="66415" y="112280"/>
                  <a:pt x="10669" y="120645"/>
                </a:cubicBezTo>
                <a:cubicBezTo>
                  <a:pt x="10198" y="120719"/>
                  <a:pt x="9740" y="120750"/>
                  <a:pt x="9276" y="120750"/>
                </a:cubicBezTo>
                <a:cubicBezTo>
                  <a:pt x="4755" y="120750"/>
                  <a:pt x="793" y="117450"/>
                  <a:pt x="105" y="112843"/>
                </a:cubicBezTo>
                <a:cubicBezTo>
                  <a:pt x="-656" y="107772"/>
                  <a:pt x="2836" y="103041"/>
                  <a:pt x="7913" y="102279"/>
                </a:cubicBezTo>
                <a:cubicBezTo>
                  <a:pt x="55839" y="95091"/>
                  <a:pt x="95902" y="48570"/>
                  <a:pt x="110967" y="24112"/>
                </a:cubicBezTo>
                <a:lnTo>
                  <a:pt x="100948" y="19715"/>
                </a:lnTo>
                <a:cubicBezTo>
                  <a:pt x="96830" y="17907"/>
                  <a:pt x="96948" y="12025"/>
                  <a:pt x="101140" y="10390"/>
                </a:cubicBezTo>
                <a:lnTo>
                  <a:pt x="126143" y="625"/>
                </a:lnTo>
                <a:cubicBezTo>
                  <a:pt x="129852" y="-824"/>
                  <a:pt x="134026" y="1009"/>
                  <a:pt x="135475" y="4718"/>
                </a:cubicBezTo>
                <a:lnTo>
                  <a:pt x="145227" y="29722"/>
                </a:lnTo>
                <a:cubicBezTo>
                  <a:pt x="146862" y="33914"/>
                  <a:pt x="142614" y="37988"/>
                  <a:pt x="138496" y="36180"/>
                </a:cubicBezTo>
                <a:lnTo>
                  <a:pt x="128131" y="31635"/>
                </a:lnTo>
                <a:close/>
                <a:moveTo>
                  <a:pt x="0" y="37152"/>
                </a:moveTo>
                <a:cubicBezTo>
                  <a:pt x="0" y="16663"/>
                  <a:pt x="16663" y="0"/>
                  <a:pt x="37152" y="0"/>
                </a:cubicBezTo>
                <a:cubicBezTo>
                  <a:pt x="57641" y="0"/>
                  <a:pt x="74304" y="16663"/>
                  <a:pt x="74304" y="37152"/>
                </a:cubicBezTo>
                <a:cubicBezTo>
                  <a:pt x="74304" y="57641"/>
                  <a:pt x="57641" y="74304"/>
                  <a:pt x="37152" y="74304"/>
                </a:cubicBezTo>
                <a:cubicBezTo>
                  <a:pt x="16663" y="74304"/>
                  <a:pt x="0" y="57641"/>
                  <a:pt x="0" y="37152"/>
                </a:cubicBezTo>
                <a:close/>
                <a:moveTo>
                  <a:pt x="24768" y="24768"/>
                </a:moveTo>
                <a:cubicBezTo>
                  <a:pt x="24768" y="31610"/>
                  <a:pt x="30310" y="37152"/>
                  <a:pt x="37152" y="37152"/>
                </a:cubicBezTo>
                <a:cubicBezTo>
                  <a:pt x="43994" y="37152"/>
                  <a:pt x="49536" y="31610"/>
                  <a:pt x="49536" y="24768"/>
                </a:cubicBezTo>
                <a:cubicBezTo>
                  <a:pt x="49536" y="17926"/>
                  <a:pt x="43994" y="12384"/>
                  <a:pt x="37152" y="12384"/>
                </a:cubicBezTo>
                <a:cubicBezTo>
                  <a:pt x="30310" y="12384"/>
                  <a:pt x="24768" y="17926"/>
                  <a:pt x="24768" y="24768"/>
                </a:cubicBezTo>
                <a:close/>
                <a:moveTo>
                  <a:pt x="18787" y="53623"/>
                </a:moveTo>
                <a:cubicBezTo>
                  <a:pt x="23325" y="58675"/>
                  <a:pt x="29833" y="61920"/>
                  <a:pt x="37152" y="61920"/>
                </a:cubicBezTo>
                <a:cubicBezTo>
                  <a:pt x="44471" y="61920"/>
                  <a:pt x="50979" y="58675"/>
                  <a:pt x="55517" y="53623"/>
                </a:cubicBezTo>
                <a:cubicBezTo>
                  <a:pt x="51691" y="47474"/>
                  <a:pt x="44929" y="43344"/>
                  <a:pt x="37152" y="43344"/>
                </a:cubicBezTo>
                <a:cubicBezTo>
                  <a:pt x="29375" y="43344"/>
                  <a:pt x="22613" y="47474"/>
                  <a:pt x="18787" y="53623"/>
                </a:cubicBezTo>
                <a:close/>
                <a:moveTo>
                  <a:pt x="139320" y="55728"/>
                </a:moveTo>
                <a:cubicBezTo>
                  <a:pt x="134187" y="55728"/>
                  <a:pt x="130032" y="59889"/>
                  <a:pt x="130032" y="65016"/>
                </a:cubicBezTo>
                <a:lnTo>
                  <a:pt x="130032" y="139320"/>
                </a:lnTo>
                <a:cubicBezTo>
                  <a:pt x="130032" y="144447"/>
                  <a:pt x="134187" y="148608"/>
                  <a:pt x="139320" y="148608"/>
                </a:cubicBezTo>
                <a:cubicBezTo>
                  <a:pt x="144453" y="148608"/>
                  <a:pt x="148608" y="144447"/>
                  <a:pt x="148608" y="139320"/>
                </a:cubicBezTo>
                <a:lnTo>
                  <a:pt x="148608" y="65016"/>
                </a:lnTo>
                <a:cubicBezTo>
                  <a:pt x="148608" y="59889"/>
                  <a:pt x="144453" y="55728"/>
                  <a:pt x="139320" y="55728"/>
                </a:cubicBezTo>
                <a:close/>
                <a:moveTo>
                  <a:pt x="108360" y="80496"/>
                </a:moveTo>
                <a:cubicBezTo>
                  <a:pt x="103227" y="80496"/>
                  <a:pt x="99072" y="84657"/>
                  <a:pt x="99072" y="89784"/>
                </a:cubicBezTo>
                <a:lnTo>
                  <a:pt x="99072" y="139320"/>
                </a:lnTo>
                <a:cubicBezTo>
                  <a:pt x="99072" y="144447"/>
                  <a:pt x="103227" y="148608"/>
                  <a:pt x="108360" y="148608"/>
                </a:cubicBezTo>
                <a:cubicBezTo>
                  <a:pt x="113493" y="148608"/>
                  <a:pt x="117648" y="144447"/>
                  <a:pt x="117648" y="139320"/>
                </a:cubicBezTo>
                <a:lnTo>
                  <a:pt x="117648" y="89784"/>
                </a:lnTo>
                <a:cubicBezTo>
                  <a:pt x="117648" y="84657"/>
                  <a:pt x="113493" y="80496"/>
                  <a:pt x="108360" y="80496"/>
                </a:cubicBezTo>
                <a:close/>
                <a:moveTo>
                  <a:pt x="77400" y="105264"/>
                </a:moveTo>
                <a:cubicBezTo>
                  <a:pt x="72267" y="105264"/>
                  <a:pt x="68112" y="109425"/>
                  <a:pt x="68112" y="114552"/>
                </a:cubicBezTo>
                <a:lnTo>
                  <a:pt x="68112" y="139320"/>
                </a:lnTo>
                <a:cubicBezTo>
                  <a:pt x="68112" y="144447"/>
                  <a:pt x="72267" y="148608"/>
                  <a:pt x="77400" y="148608"/>
                </a:cubicBezTo>
                <a:cubicBezTo>
                  <a:pt x="82533" y="148608"/>
                  <a:pt x="86688" y="144447"/>
                  <a:pt x="86688" y="139320"/>
                </a:cubicBezTo>
                <a:lnTo>
                  <a:pt x="86688" y="114552"/>
                </a:lnTo>
                <a:cubicBezTo>
                  <a:pt x="86688" y="109425"/>
                  <a:pt x="82533" y="105264"/>
                  <a:pt x="77400" y="105264"/>
                </a:cubicBezTo>
                <a:close/>
                <a:moveTo>
                  <a:pt x="46440" y="123840"/>
                </a:moveTo>
                <a:cubicBezTo>
                  <a:pt x="41307" y="123840"/>
                  <a:pt x="37152" y="128001"/>
                  <a:pt x="37152" y="133128"/>
                </a:cubicBezTo>
                <a:lnTo>
                  <a:pt x="37152" y="139320"/>
                </a:lnTo>
                <a:cubicBezTo>
                  <a:pt x="37152" y="144447"/>
                  <a:pt x="41307" y="148608"/>
                  <a:pt x="46440" y="148608"/>
                </a:cubicBezTo>
                <a:cubicBezTo>
                  <a:pt x="51573" y="148608"/>
                  <a:pt x="55728" y="144447"/>
                  <a:pt x="55728" y="139320"/>
                </a:cubicBezTo>
                <a:lnTo>
                  <a:pt x="55728" y="133128"/>
                </a:lnTo>
                <a:cubicBezTo>
                  <a:pt x="55728" y="128001"/>
                  <a:pt x="51573" y="123840"/>
                  <a:pt x="46440" y="123840"/>
                </a:cubicBezTo>
                <a:close/>
                <a:moveTo>
                  <a:pt x="6192" y="139320"/>
                </a:moveTo>
                <a:cubicBezTo>
                  <a:pt x="6192" y="144447"/>
                  <a:pt x="10353" y="148608"/>
                  <a:pt x="15480" y="148608"/>
                </a:cubicBezTo>
                <a:cubicBezTo>
                  <a:pt x="20607" y="148608"/>
                  <a:pt x="24768" y="144447"/>
                  <a:pt x="24768" y="139320"/>
                </a:cubicBezTo>
                <a:cubicBezTo>
                  <a:pt x="24768" y="134193"/>
                  <a:pt x="20607" y="130032"/>
                  <a:pt x="15480" y="130032"/>
                </a:cubicBezTo>
                <a:cubicBezTo>
                  <a:pt x="10353" y="130032"/>
                  <a:pt x="6192" y="134193"/>
                  <a:pt x="6192" y="139320"/>
                </a:cubicBezTo>
                <a:close/>
              </a:path>
            </a:pathLst>
          </a:custGeom>
          <a:solidFill>
            <a:srgbClr val="62A844"/>
          </a:solidFill>
          <a:ln w="7541" cap="flat">
            <a:noFill/>
            <a:prstDash val="solid"/>
            <a:miter/>
          </a:ln>
        </p:spPr>
        <p:txBody>
          <a:bodyPr rtlCol="0" anchor="ctr"/>
          <a:lstStyle/>
          <a:p>
            <a:endParaRPr lang="en-US"/>
          </a:p>
        </p:txBody>
      </p:sp>
      <p:sp>
        <p:nvSpPr>
          <p:cNvPr id="1177" name="TextBox 874">
            <a:extLst>
              <a:ext uri="{FF2B5EF4-FFF2-40B4-BE49-F238E27FC236}">
                <a16:creationId xmlns:a16="http://schemas.microsoft.com/office/drawing/2014/main" id="{319F71CC-4542-9966-5B84-0E8E3FA9FBEC}"/>
              </a:ext>
            </a:extLst>
          </p:cNvPr>
          <p:cNvSpPr txBox="1"/>
          <p:nvPr/>
        </p:nvSpPr>
        <p:spPr>
          <a:xfrm>
            <a:off x="4433525" y="6207635"/>
            <a:ext cx="1554174" cy="369332"/>
          </a:xfrm>
          <a:prstGeom prst="rect">
            <a:avLst/>
          </a:prstGeom>
          <a:noFill/>
        </p:spPr>
        <p:txBody>
          <a:bodyPr wrap="square">
            <a:spAutoFit/>
          </a:bodyPr>
          <a:lstStyle/>
          <a:p>
            <a:pPr algn="ctr"/>
            <a:r>
              <a:rPr lang="en-US" b="1" dirty="0">
                <a:solidFill>
                  <a:srgbClr val="EABB22"/>
                </a:solidFill>
                <a:latin typeface="Calibri" panose="020F0502020204030204" pitchFamily="34" charset="0"/>
                <a:cs typeface="Calibri" panose="020F0502020204030204" pitchFamily="34" charset="0"/>
              </a:rPr>
              <a:t>Satisfaction</a:t>
            </a:r>
            <a:endParaRPr lang="en-ID" b="1" dirty="0">
              <a:solidFill>
                <a:srgbClr val="EABB22"/>
              </a:solidFill>
              <a:latin typeface="Calibri" panose="020F0502020204030204" pitchFamily="34" charset="0"/>
              <a:cs typeface="Calibri" panose="020F0502020204030204" pitchFamily="34" charset="0"/>
            </a:endParaRPr>
          </a:p>
        </p:txBody>
      </p:sp>
      <p:sp>
        <p:nvSpPr>
          <p:cNvPr id="1178" name="Rectangle: Rounded Corners 876">
            <a:extLst>
              <a:ext uri="{FF2B5EF4-FFF2-40B4-BE49-F238E27FC236}">
                <a16:creationId xmlns:a16="http://schemas.microsoft.com/office/drawing/2014/main" id="{0D87E7E3-99E1-59B8-9E9E-3B7E4018C2D5}"/>
              </a:ext>
            </a:extLst>
          </p:cNvPr>
          <p:cNvSpPr/>
          <p:nvPr/>
        </p:nvSpPr>
        <p:spPr>
          <a:xfrm>
            <a:off x="4820713" y="5433529"/>
            <a:ext cx="779799" cy="746288"/>
          </a:xfrm>
          <a:prstGeom prst="roundRect">
            <a:avLst/>
          </a:prstGeom>
          <a:solidFill>
            <a:schemeClr val="bg1">
              <a:alpha val="90000"/>
            </a:schemeClr>
          </a:solidFill>
          <a:ln w="34925">
            <a:solidFill>
              <a:schemeClr val="bg1">
                <a:lumMod val="95000"/>
              </a:schemeClr>
            </a:solidFill>
          </a:ln>
          <a:effectLst>
            <a:outerShdw blurRad="520700" dist="63500" sx="103000" sy="103000" algn="ctr" rotWithShape="0">
              <a:srgbClr val="000000">
                <a:alpha val="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9" name="Graphic 877">
            <a:extLst>
              <a:ext uri="{FF2B5EF4-FFF2-40B4-BE49-F238E27FC236}">
                <a16:creationId xmlns:a16="http://schemas.microsoft.com/office/drawing/2014/main" id="{C8B75BAB-A237-2DE7-1199-378F97CA478E}"/>
              </a:ext>
            </a:extLst>
          </p:cNvPr>
          <p:cNvSpPr/>
          <p:nvPr/>
        </p:nvSpPr>
        <p:spPr>
          <a:xfrm>
            <a:off x="5032719" y="5621904"/>
            <a:ext cx="355786" cy="355759"/>
          </a:xfrm>
          <a:custGeom>
            <a:avLst/>
            <a:gdLst>
              <a:gd name="connsiteX0" fmla="*/ 58830 w 148619"/>
              <a:gd name="connsiteY0" fmla="*/ 15480 h 148608"/>
              <a:gd name="connsiteX1" fmla="*/ 74310 w 148619"/>
              <a:gd name="connsiteY1" fmla="*/ 0 h 148608"/>
              <a:gd name="connsiteX2" fmla="*/ 89790 w 148619"/>
              <a:gd name="connsiteY2" fmla="*/ 15480 h 148608"/>
              <a:gd name="connsiteX3" fmla="*/ 74310 w 148619"/>
              <a:gd name="connsiteY3" fmla="*/ 30960 h 148608"/>
              <a:gd name="connsiteX4" fmla="*/ 58830 w 148619"/>
              <a:gd name="connsiteY4" fmla="*/ 15480 h 148608"/>
              <a:gd name="connsiteX5" fmla="*/ 53876 w 148619"/>
              <a:gd name="connsiteY5" fmla="*/ 71623 h 148608"/>
              <a:gd name="connsiteX6" fmla="*/ 32780 w 148619"/>
              <a:gd name="connsiteY6" fmla="*/ 74923 h 148608"/>
              <a:gd name="connsiteX7" fmla="*/ 34464 w 148619"/>
              <a:gd name="connsiteY7" fmla="*/ 90936 h 148608"/>
              <a:gd name="connsiteX8" fmla="*/ 54545 w 148619"/>
              <a:gd name="connsiteY8" fmla="*/ 111215 h 148608"/>
              <a:gd name="connsiteX9" fmla="*/ 45851 w 148619"/>
              <a:gd name="connsiteY9" fmla="*/ 119908 h 148608"/>
              <a:gd name="connsiteX10" fmla="*/ 24570 w 148619"/>
              <a:gd name="connsiteY10" fmla="*/ 98409 h 148608"/>
              <a:gd name="connsiteX11" fmla="*/ 25344 w 148619"/>
              <a:gd name="connsiteY11" fmla="*/ 64236 h 148608"/>
              <a:gd name="connsiteX12" fmla="*/ 30960 w 148619"/>
              <a:gd name="connsiteY12" fmla="*/ 59418 h 148608"/>
              <a:gd name="connsiteX13" fmla="*/ 30960 w 148619"/>
              <a:gd name="connsiteY13" fmla="*/ 34935 h 148608"/>
              <a:gd name="connsiteX14" fmla="*/ 17077 w 148619"/>
              <a:gd name="connsiteY14" fmla="*/ 18650 h 148608"/>
              <a:gd name="connsiteX15" fmla="*/ 0 w 148619"/>
              <a:gd name="connsiteY15" fmla="*/ 34050 h 148608"/>
              <a:gd name="connsiteX16" fmla="*/ 0 w 148619"/>
              <a:gd name="connsiteY16" fmla="*/ 110769 h 148608"/>
              <a:gd name="connsiteX17" fmla="*/ 6483 w 148619"/>
              <a:gd name="connsiteY17" fmla="*/ 127475 h 148608"/>
              <a:gd name="connsiteX18" fmla="*/ 25783 w 148619"/>
              <a:gd name="connsiteY18" fmla="*/ 148602 h 148608"/>
              <a:gd name="connsiteX19" fmla="*/ 86687 w 148619"/>
              <a:gd name="connsiteY19" fmla="*/ 148602 h 148608"/>
              <a:gd name="connsiteX20" fmla="*/ 86687 w 148619"/>
              <a:gd name="connsiteY20" fmla="*/ 109642 h 148608"/>
              <a:gd name="connsiteX21" fmla="*/ 80601 w 148619"/>
              <a:gd name="connsiteY21" fmla="*/ 95889 h 148608"/>
              <a:gd name="connsiteX22" fmla="*/ 53870 w 148619"/>
              <a:gd name="connsiteY22" fmla="*/ 71617 h 148608"/>
              <a:gd name="connsiteX23" fmla="*/ 114155 w 148619"/>
              <a:gd name="connsiteY23" fmla="*/ 90942 h 148608"/>
              <a:gd name="connsiteX24" fmla="*/ 98756 w 148619"/>
              <a:gd name="connsiteY24" fmla="*/ 106620 h 148608"/>
              <a:gd name="connsiteX25" fmla="*/ 88929 w 148619"/>
              <a:gd name="connsiteY25" fmla="*/ 86731 h 148608"/>
              <a:gd name="connsiteX26" fmla="*/ 83517 w 148619"/>
              <a:gd name="connsiteY26" fmla="*/ 81815 h 148608"/>
              <a:gd name="connsiteX27" fmla="*/ 94743 w 148619"/>
              <a:gd name="connsiteY27" fmla="*/ 71623 h 148608"/>
              <a:gd name="connsiteX28" fmla="*/ 115839 w 148619"/>
              <a:gd name="connsiteY28" fmla="*/ 74923 h 148608"/>
              <a:gd name="connsiteX29" fmla="*/ 114155 w 148619"/>
              <a:gd name="connsiteY29" fmla="*/ 90936 h 148608"/>
              <a:gd name="connsiteX30" fmla="*/ 148613 w 148619"/>
              <a:gd name="connsiteY30" fmla="*/ 34056 h 148608"/>
              <a:gd name="connsiteX31" fmla="*/ 148613 w 148619"/>
              <a:gd name="connsiteY31" fmla="*/ 110775 h 148608"/>
              <a:gd name="connsiteX32" fmla="*/ 142130 w 148619"/>
              <a:gd name="connsiteY32" fmla="*/ 127481 h 148608"/>
              <a:gd name="connsiteX33" fmla="*/ 122830 w 148619"/>
              <a:gd name="connsiteY33" fmla="*/ 148608 h 148608"/>
              <a:gd name="connsiteX34" fmla="*/ 99078 w 148619"/>
              <a:gd name="connsiteY34" fmla="*/ 148608 h 148608"/>
              <a:gd name="connsiteX35" fmla="*/ 99078 w 148619"/>
              <a:gd name="connsiteY35" fmla="*/ 123722 h 148608"/>
              <a:gd name="connsiteX36" fmla="*/ 124050 w 148619"/>
              <a:gd name="connsiteY36" fmla="*/ 98409 h 148608"/>
              <a:gd name="connsiteX37" fmla="*/ 123276 w 148619"/>
              <a:gd name="connsiteY37" fmla="*/ 64236 h 148608"/>
              <a:gd name="connsiteX38" fmla="*/ 117660 w 148619"/>
              <a:gd name="connsiteY38" fmla="*/ 59418 h 148608"/>
              <a:gd name="connsiteX39" fmla="*/ 117660 w 148619"/>
              <a:gd name="connsiteY39" fmla="*/ 34056 h 148608"/>
              <a:gd name="connsiteX40" fmla="*/ 133139 w 148619"/>
              <a:gd name="connsiteY40" fmla="*/ 18576 h 148608"/>
              <a:gd name="connsiteX41" fmla="*/ 148619 w 148619"/>
              <a:gd name="connsiteY41" fmla="*/ 34056 h 148608"/>
              <a:gd name="connsiteX42" fmla="*/ 62198 w 148619"/>
              <a:gd name="connsiteY42" fmla="*/ 62459 h 148608"/>
              <a:gd name="connsiteX43" fmla="*/ 74310 w 148619"/>
              <a:gd name="connsiteY43" fmla="*/ 73450 h 148608"/>
              <a:gd name="connsiteX44" fmla="*/ 86427 w 148619"/>
              <a:gd name="connsiteY44" fmla="*/ 62453 h 148608"/>
              <a:gd name="connsiteX45" fmla="*/ 99078 w 148619"/>
              <a:gd name="connsiteY45" fmla="*/ 56130 h 148608"/>
              <a:gd name="connsiteX46" fmla="*/ 99078 w 148619"/>
              <a:gd name="connsiteY46" fmla="*/ 52632 h 148608"/>
              <a:gd name="connsiteX47" fmla="*/ 83598 w 148619"/>
              <a:gd name="connsiteY47" fmla="*/ 37152 h 148608"/>
              <a:gd name="connsiteX48" fmla="*/ 65022 w 148619"/>
              <a:gd name="connsiteY48" fmla="*/ 37152 h 148608"/>
              <a:gd name="connsiteX49" fmla="*/ 49542 w 148619"/>
              <a:gd name="connsiteY49" fmla="*/ 52632 h 148608"/>
              <a:gd name="connsiteX50" fmla="*/ 49542 w 148619"/>
              <a:gd name="connsiteY50" fmla="*/ 56137 h 148608"/>
              <a:gd name="connsiteX51" fmla="*/ 62198 w 148619"/>
              <a:gd name="connsiteY51" fmla="*/ 62465 h 14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8619" h="148608">
                <a:moveTo>
                  <a:pt x="58830" y="15480"/>
                </a:moveTo>
                <a:cubicBezTo>
                  <a:pt x="58830" y="6929"/>
                  <a:pt x="65759" y="0"/>
                  <a:pt x="74310" y="0"/>
                </a:cubicBezTo>
                <a:cubicBezTo>
                  <a:pt x="82861" y="0"/>
                  <a:pt x="89790" y="6929"/>
                  <a:pt x="89790" y="15480"/>
                </a:cubicBezTo>
                <a:cubicBezTo>
                  <a:pt x="89790" y="24031"/>
                  <a:pt x="82861" y="30960"/>
                  <a:pt x="74310" y="30960"/>
                </a:cubicBezTo>
                <a:cubicBezTo>
                  <a:pt x="65759" y="30960"/>
                  <a:pt x="58830" y="24031"/>
                  <a:pt x="58830" y="15480"/>
                </a:cubicBezTo>
                <a:close/>
                <a:moveTo>
                  <a:pt x="53876" y="71623"/>
                </a:moveTo>
                <a:cubicBezTo>
                  <a:pt x="47579" y="65908"/>
                  <a:pt x="37356" y="67158"/>
                  <a:pt x="32780" y="74923"/>
                </a:cubicBezTo>
                <a:cubicBezTo>
                  <a:pt x="29808" y="79970"/>
                  <a:pt x="30731" y="86428"/>
                  <a:pt x="34464" y="90936"/>
                </a:cubicBezTo>
                <a:lnTo>
                  <a:pt x="54545" y="111215"/>
                </a:lnTo>
                <a:lnTo>
                  <a:pt x="45851" y="119908"/>
                </a:lnTo>
                <a:lnTo>
                  <a:pt x="24570" y="98409"/>
                </a:lnTo>
                <a:cubicBezTo>
                  <a:pt x="16341" y="88477"/>
                  <a:pt x="16675" y="73784"/>
                  <a:pt x="25344" y="64236"/>
                </a:cubicBezTo>
                <a:cubicBezTo>
                  <a:pt x="26254" y="63233"/>
                  <a:pt x="30960" y="59418"/>
                  <a:pt x="30960" y="59418"/>
                </a:cubicBezTo>
                <a:lnTo>
                  <a:pt x="30960" y="34935"/>
                </a:lnTo>
                <a:cubicBezTo>
                  <a:pt x="30960" y="26836"/>
                  <a:pt x="25133" y="19461"/>
                  <a:pt x="17077" y="18650"/>
                </a:cubicBezTo>
                <a:cubicBezTo>
                  <a:pt x="7814" y="17722"/>
                  <a:pt x="0" y="24972"/>
                  <a:pt x="0" y="34050"/>
                </a:cubicBezTo>
                <a:lnTo>
                  <a:pt x="0" y="110769"/>
                </a:lnTo>
                <a:cubicBezTo>
                  <a:pt x="0" y="116948"/>
                  <a:pt x="2310" y="122911"/>
                  <a:pt x="6483" y="127475"/>
                </a:cubicBezTo>
                <a:lnTo>
                  <a:pt x="25783" y="148602"/>
                </a:lnTo>
                <a:lnTo>
                  <a:pt x="86687" y="148602"/>
                </a:lnTo>
                <a:lnTo>
                  <a:pt x="86687" y="109642"/>
                </a:lnTo>
                <a:cubicBezTo>
                  <a:pt x="86687" y="104403"/>
                  <a:pt x="84477" y="99413"/>
                  <a:pt x="80601" y="95889"/>
                </a:cubicBezTo>
                <a:lnTo>
                  <a:pt x="53870" y="71617"/>
                </a:lnTo>
                <a:close/>
                <a:moveTo>
                  <a:pt x="114155" y="90942"/>
                </a:moveTo>
                <a:lnTo>
                  <a:pt x="98756" y="106620"/>
                </a:lnTo>
                <a:cubicBezTo>
                  <a:pt x="98000" y="99035"/>
                  <a:pt x="94613" y="91895"/>
                  <a:pt x="88929" y="86731"/>
                </a:cubicBezTo>
                <a:lnTo>
                  <a:pt x="83517" y="81815"/>
                </a:lnTo>
                <a:lnTo>
                  <a:pt x="94743" y="71623"/>
                </a:lnTo>
                <a:cubicBezTo>
                  <a:pt x="101040" y="65908"/>
                  <a:pt x="111263" y="67158"/>
                  <a:pt x="115839" y="74923"/>
                </a:cubicBezTo>
                <a:cubicBezTo>
                  <a:pt x="118811" y="79970"/>
                  <a:pt x="117889" y="86428"/>
                  <a:pt x="114155" y="90936"/>
                </a:cubicBezTo>
                <a:close/>
                <a:moveTo>
                  <a:pt x="148613" y="34056"/>
                </a:moveTo>
                <a:lnTo>
                  <a:pt x="148613" y="110775"/>
                </a:lnTo>
                <a:cubicBezTo>
                  <a:pt x="148613" y="116955"/>
                  <a:pt x="146304" y="122917"/>
                  <a:pt x="142130" y="127481"/>
                </a:cubicBezTo>
                <a:lnTo>
                  <a:pt x="122830" y="148608"/>
                </a:lnTo>
                <a:lnTo>
                  <a:pt x="99078" y="148608"/>
                </a:lnTo>
                <a:lnTo>
                  <a:pt x="99078" y="123722"/>
                </a:lnTo>
                <a:lnTo>
                  <a:pt x="124050" y="98409"/>
                </a:lnTo>
                <a:cubicBezTo>
                  <a:pt x="132279" y="88477"/>
                  <a:pt x="131944" y="73784"/>
                  <a:pt x="123276" y="64236"/>
                </a:cubicBezTo>
                <a:cubicBezTo>
                  <a:pt x="122365" y="63233"/>
                  <a:pt x="117660" y="59418"/>
                  <a:pt x="117660" y="59418"/>
                </a:cubicBezTo>
                <a:lnTo>
                  <a:pt x="117660" y="34056"/>
                </a:lnTo>
                <a:cubicBezTo>
                  <a:pt x="117660" y="25505"/>
                  <a:pt x="124588" y="18576"/>
                  <a:pt x="133139" y="18576"/>
                </a:cubicBezTo>
                <a:cubicBezTo>
                  <a:pt x="141691" y="18576"/>
                  <a:pt x="148619" y="25505"/>
                  <a:pt x="148619" y="34056"/>
                </a:cubicBezTo>
                <a:close/>
                <a:moveTo>
                  <a:pt x="62198" y="62459"/>
                </a:moveTo>
                <a:lnTo>
                  <a:pt x="74310" y="73450"/>
                </a:lnTo>
                <a:lnTo>
                  <a:pt x="86427" y="62453"/>
                </a:lnTo>
                <a:cubicBezTo>
                  <a:pt x="90037" y="59171"/>
                  <a:pt x="94415" y="57010"/>
                  <a:pt x="99078" y="56130"/>
                </a:cubicBezTo>
                <a:lnTo>
                  <a:pt x="99078" y="52632"/>
                </a:lnTo>
                <a:cubicBezTo>
                  <a:pt x="99078" y="44099"/>
                  <a:pt x="92136" y="37152"/>
                  <a:pt x="83598" y="37152"/>
                </a:cubicBezTo>
                <a:lnTo>
                  <a:pt x="65022" y="37152"/>
                </a:lnTo>
                <a:cubicBezTo>
                  <a:pt x="56483" y="37152"/>
                  <a:pt x="49542" y="44099"/>
                  <a:pt x="49542" y="52632"/>
                </a:cubicBezTo>
                <a:lnTo>
                  <a:pt x="49542" y="56137"/>
                </a:lnTo>
                <a:cubicBezTo>
                  <a:pt x="54204" y="57022"/>
                  <a:pt x="58588" y="59183"/>
                  <a:pt x="62198" y="62465"/>
                </a:cubicBezTo>
                <a:close/>
              </a:path>
            </a:pathLst>
          </a:custGeom>
          <a:solidFill>
            <a:srgbClr val="EABB22"/>
          </a:solidFill>
          <a:ln w="7541" cap="flat">
            <a:noFill/>
            <a:prstDash val="solid"/>
            <a:miter/>
          </a:ln>
        </p:spPr>
        <p:txBody>
          <a:bodyPr rtlCol="0" anchor="ctr"/>
          <a:lstStyle/>
          <a:p>
            <a:endParaRPr lang="en-US"/>
          </a:p>
        </p:txBody>
      </p:sp>
      <p:sp>
        <p:nvSpPr>
          <p:cNvPr id="1180" name="TextBox 879">
            <a:extLst>
              <a:ext uri="{FF2B5EF4-FFF2-40B4-BE49-F238E27FC236}">
                <a16:creationId xmlns:a16="http://schemas.microsoft.com/office/drawing/2014/main" id="{553493A2-39CA-5843-EE68-511F5B5D1B5B}"/>
              </a:ext>
            </a:extLst>
          </p:cNvPr>
          <p:cNvSpPr txBox="1"/>
          <p:nvPr/>
        </p:nvSpPr>
        <p:spPr>
          <a:xfrm>
            <a:off x="2559663" y="6207635"/>
            <a:ext cx="1554174" cy="369332"/>
          </a:xfrm>
          <a:prstGeom prst="rect">
            <a:avLst/>
          </a:prstGeom>
          <a:noFill/>
        </p:spPr>
        <p:txBody>
          <a:bodyPr wrap="square">
            <a:spAutoFit/>
          </a:bodyPr>
          <a:lstStyle/>
          <a:p>
            <a:pPr algn="ctr"/>
            <a:r>
              <a:rPr lang="en-US" b="1" dirty="0">
                <a:solidFill>
                  <a:srgbClr val="0289AE"/>
                </a:solidFill>
                <a:latin typeface="Calibri" panose="020F0502020204030204" pitchFamily="34" charset="0"/>
                <a:cs typeface="Calibri" panose="020F0502020204030204" pitchFamily="34" charset="0"/>
              </a:rPr>
              <a:t>Engagement</a:t>
            </a:r>
            <a:endParaRPr lang="en-ID" b="1" dirty="0">
              <a:solidFill>
                <a:srgbClr val="0289AE"/>
              </a:solidFill>
              <a:latin typeface="Calibri" panose="020F0502020204030204" pitchFamily="34" charset="0"/>
              <a:cs typeface="Calibri" panose="020F0502020204030204" pitchFamily="34" charset="0"/>
            </a:endParaRPr>
          </a:p>
        </p:txBody>
      </p:sp>
      <p:sp>
        <p:nvSpPr>
          <p:cNvPr id="1181" name="Rectangle: Rounded Corners 881">
            <a:extLst>
              <a:ext uri="{FF2B5EF4-FFF2-40B4-BE49-F238E27FC236}">
                <a16:creationId xmlns:a16="http://schemas.microsoft.com/office/drawing/2014/main" id="{1ADECA7A-AA17-072A-A20E-6A43C0A53A90}"/>
              </a:ext>
            </a:extLst>
          </p:cNvPr>
          <p:cNvSpPr/>
          <p:nvPr/>
        </p:nvSpPr>
        <p:spPr>
          <a:xfrm>
            <a:off x="2946851" y="5433529"/>
            <a:ext cx="779799" cy="746288"/>
          </a:xfrm>
          <a:prstGeom prst="roundRect">
            <a:avLst/>
          </a:prstGeom>
          <a:solidFill>
            <a:schemeClr val="bg1">
              <a:alpha val="90000"/>
            </a:schemeClr>
          </a:solidFill>
          <a:ln w="34925">
            <a:solidFill>
              <a:schemeClr val="bg1">
                <a:lumMod val="95000"/>
              </a:schemeClr>
            </a:solidFill>
          </a:ln>
          <a:effectLst>
            <a:outerShdw blurRad="520700" dist="63500" sx="103000" sy="103000" algn="ctr" rotWithShape="0">
              <a:srgbClr val="000000">
                <a:alpha val="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2" name="Graphic 882">
            <a:extLst>
              <a:ext uri="{FF2B5EF4-FFF2-40B4-BE49-F238E27FC236}">
                <a16:creationId xmlns:a16="http://schemas.microsoft.com/office/drawing/2014/main" id="{015C6B09-2109-4FD8-F18F-E6FF7507EDC5}"/>
              </a:ext>
            </a:extLst>
          </p:cNvPr>
          <p:cNvSpPr/>
          <p:nvPr/>
        </p:nvSpPr>
        <p:spPr>
          <a:xfrm>
            <a:off x="3158872" y="5621876"/>
            <a:ext cx="355757" cy="355817"/>
          </a:xfrm>
          <a:custGeom>
            <a:avLst/>
            <a:gdLst>
              <a:gd name="connsiteX0" fmla="*/ 40248 w 148607"/>
              <a:gd name="connsiteY0" fmla="*/ 80496 h 148632"/>
              <a:gd name="connsiteX1" fmla="*/ 80495 w 148607"/>
              <a:gd name="connsiteY1" fmla="*/ 40248 h 148632"/>
              <a:gd name="connsiteX2" fmla="*/ 40248 w 148607"/>
              <a:gd name="connsiteY2" fmla="*/ 0 h 148632"/>
              <a:gd name="connsiteX3" fmla="*/ 0 w 148607"/>
              <a:gd name="connsiteY3" fmla="*/ 40248 h 148632"/>
              <a:gd name="connsiteX4" fmla="*/ 0 w 148607"/>
              <a:gd name="connsiteY4" fmla="*/ 65016 h 148632"/>
              <a:gd name="connsiteX5" fmla="*/ 15480 w 148607"/>
              <a:gd name="connsiteY5" fmla="*/ 80496 h 148632"/>
              <a:gd name="connsiteX6" fmla="*/ 40248 w 148607"/>
              <a:gd name="connsiteY6" fmla="*/ 68112 h 148632"/>
              <a:gd name="connsiteX7" fmla="*/ 34056 w 148607"/>
              <a:gd name="connsiteY7" fmla="*/ 61920 h 148632"/>
              <a:gd name="connsiteX8" fmla="*/ 40248 w 148607"/>
              <a:gd name="connsiteY8" fmla="*/ 55728 h 148632"/>
              <a:gd name="connsiteX9" fmla="*/ 46440 w 148607"/>
              <a:gd name="connsiteY9" fmla="*/ 61920 h 148632"/>
              <a:gd name="connsiteX10" fmla="*/ 40248 w 148607"/>
              <a:gd name="connsiteY10" fmla="*/ 68112 h 148632"/>
              <a:gd name="connsiteX11" fmla="*/ 49207 w 148607"/>
              <a:gd name="connsiteY11" fmla="*/ 47239 h 148632"/>
              <a:gd name="connsiteX12" fmla="*/ 44762 w 148607"/>
              <a:gd name="connsiteY12" fmla="*/ 50682 h 148632"/>
              <a:gd name="connsiteX13" fmla="*/ 40248 w 148607"/>
              <a:gd name="connsiteY13" fmla="*/ 52620 h 148632"/>
              <a:gd name="connsiteX14" fmla="*/ 36012 w 148607"/>
              <a:gd name="connsiteY14" fmla="*/ 50942 h 148632"/>
              <a:gd name="connsiteX15" fmla="*/ 35715 w 148607"/>
              <a:gd name="connsiteY15" fmla="*/ 42217 h 148632"/>
              <a:gd name="connsiteX16" fmla="*/ 43226 w 148607"/>
              <a:gd name="connsiteY16" fmla="*/ 36390 h 148632"/>
              <a:gd name="connsiteX17" fmla="*/ 46334 w 148607"/>
              <a:gd name="connsiteY17" fmla="*/ 29784 h 148632"/>
              <a:gd name="connsiteX18" fmla="*/ 41418 w 148607"/>
              <a:gd name="connsiteY18" fmla="*/ 24873 h 148632"/>
              <a:gd name="connsiteX19" fmla="*/ 36266 w 148607"/>
              <a:gd name="connsiteY19" fmla="*/ 26217 h 148632"/>
              <a:gd name="connsiteX20" fmla="*/ 34050 w 148607"/>
              <a:gd name="connsiteY20" fmla="*/ 30966 h 148632"/>
              <a:gd name="connsiteX21" fmla="*/ 27858 w 148607"/>
              <a:gd name="connsiteY21" fmla="*/ 37158 h 148632"/>
              <a:gd name="connsiteX22" fmla="*/ 21666 w 148607"/>
              <a:gd name="connsiteY22" fmla="*/ 30966 h 148632"/>
              <a:gd name="connsiteX23" fmla="*/ 28297 w 148607"/>
              <a:gd name="connsiteY23" fmla="*/ 16737 h 148632"/>
              <a:gd name="connsiteX24" fmla="*/ 43554 w 148607"/>
              <a:gd name="connsiteY24" fmla="*/ 12681 h 148632"/>
              <a:gd name="connsiteX25" fmla="*/ 58526 w 148607"/>
              <a:gd name="connsiteY25" fmla="*/ 27647 h 148632"/>
              <a:gd name="connsiteX26" fmla="*/ 49201 w 148607"/>
              <a:gd name="connsiteY26" fmla="*/ 47245 h 148632"/>
              <a:gd name="connsiteX27" fmla="*/ 88359 w 148607"/>
              <a:gd name="connsiteY27" fmla="*/ 71084 h 148632"/>
              <a:gd name="connsiteX28" fmla="*/ 80495 w 148607"/>
              <a:gd name="connsiteY28" fmla="*/ 90063 h 148632"/>
              <a:gd name="connsiteX29" fmla="*/ 80495 w 148607"/>
              <a:gd name="connsiteY29" fmla="*/ 95970 h 148632"/>
              <a:gd name="connsiteX30" fmla="*/ 83591 w 148607"/>
              <a:gd name="connsiteY30" fmla="*/ 99066 h 148632"/>
              <a:gd name="connsiteX31" fmla="*/ 89505 w 148607"/>
              <a:gd name="connsiteY31" fmla="*/ 99066 h 148632"/>
              <a:gd name="connsiteX32" fmla="*/ 108477 w 148607"/>
              <a:gd name="connsiteY32" fmla="*/ 91208 h 148632"/>
              <a:gd name="connsiteX33" fmla="*/ 143864 w 148607"/>
              <a:gd name="connsiteY33" fmla="*/ 55821 h 148632"/>
              <a:gd name="connsiteX34" fmla="*/ 145424 w 148607"/>
              <a:gd name="connsiteY34" fmla="*/ 36211 h 148632"/>
              <a:gd name="connsiteX35" fmla="*/ 124316 w 148607"/>
              <a:gd name="connsiteY35" fmla="*/ 35121 h 148632"/>
              <a:gd name="connsiteX36" fmla="*/ 88359 w 148607"/>
              <a:gd name="connsiteY36" fmla="*/ 71078 h 148632"/>
              <a:gd name="connsiteX37" fmla="*/ 91944 w 148607"/>
              <a:gd name="connsiteY37" fmla="*/ 49988 h 148632"/>
              <a:gd name="connsiteX38" fmla="*/ 92879 w 148607"/>
              <a:gd name="connsiteY38" fmla="*/ 40248 h 148632"/>
              <a:gd name="connsiteX39" fmla="*/ 90557 w 148607"/>
              <a:gd name="connsiteY39" fmla="*/ 24768 h 148632"/>
              <a:gd name="connsiteX40" fmla="*/ 117548 w 148607"/>
              <a:gd name="connsiteY40" fmla="*/ 24768 h 148632"/>
              <a:gd name="connsiteX41" fmla="*/ 115561 w 148607"/>
              <a:gd name="connsiteY41" fmla="*/ 26372 h 148632"/>
              <a:gd name="connsiteX42" fmla="*/ 148607 w 148607"/>
              <a:gd name="connsiteY42" fmla="*/ 68595 h 148632"/>
              <a:gd name="connsiteX43" fmla="*/ 148607 w 148607"/>
              <a:gd name="connsiteY43" fmla="*/ 135320 h 148632"/>
              <a:gd name="connsiteX44" fmla="*/ 141585 w 148607"/>
              <a:gd name="connsiteY44" fmla="*/ 147048 h 148632"/>
              <a:gd name="connsiteX45" fmla="*/ 135300 w 148607"/>
              <a:gd name="connsiteY45" fmla="*/ 148633 h 148632"/>
              <a:gd name="connsiteX46" fmla="*/ 127932 w 148607"/>
              <a:gd name="connsiteY46" fmla="*/ 146404 h 148632"/>
              <a:gd name="connsiteX47" fmla="*/ 103387 w 148607"/>
              <a:gd name="connsiteY47" fmla="*/ 130032 h 148632"/>
              <a:gd name="connsiteX48" fmla="*/ 68112 w 148607"/>
              <a:gd name="connsiteY48" fmla="*/ 130032 h 148632"/>
              <a:gd name="connsiteX49" fmla="*/ 37152 w 148607"/>
              <a:gd name="connsiteY49" fmla="*/ 99072 h 148632"/>
              <a:gd name="connsiteX50" fmla="*/ 37152 w 148607"/>
              <a:gd name="connsiteY50" fmla="*/ 92725 h 148632"/>
              <a:gd name="connsiteX51" fmla="*/ 40248 w 148607"/>
              <a:gd name="connsiteY51" fmla="*/ 92880 h 148632"/>
              <a:gd name="connsiteX52" fmla="*/ 68539 w 148607"/>
              <a:gd name="connsiteY52" fmla="*/ 84583 h 148632"/>
              <a:gd name="connsiteX53" fmla="*/ 68112 w 148607"/>
              <a:gd name="connsiteY53" fmla="*/ 90069 h 148632"/>
              <a:gd name="connsiteX54" fmla="*/ 68112 w 148607"/>
              <a:gd name="connsiteY54" fmla="*/ 95976 h 148632"/>
              <a:gd name="connsiteX55" fmla="*/ 83591 w 148607"/>
              <a:gd name="connsiteY55" fmla="*/ 111456 h 148632"/>
              <a:gd name="connsiteX56" fmla="*/ 89505 w 148607"/>
              <a:gd name="connsiteY56" fmla="*/ 111456 h 148632"/>
              <a:gd name="connsiteX57" fmla="*/ 117239 w 148607"/>
              <a:gd name="connsiteY57" fmla="*/ 99970 h 148632"/>
              <a:gd name="connsiteX58" fmla="*/ 148607 w 148607"/>
              <a:gd name="connsiteY58" fmla="*/ 68601 h 14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48607" h="148632">
                <a:moveTo>
                  <a:pt x="40248" y="80496"/>
                </a:moveTo>
                <a:cubicBezTo>
                  <a:pt x="62477" y="80496"/>
                  <a:pt x="80495" y="62477"/>
                  <a:pt x="80495" y="40248"/>
                </a:cubicBezTo>
                <a:cubicBezTo>
                  <a:pt x="80495" y="18019"/>
                  <a:pt x="62477" y="0"/>
                  <a:pt x="40248" y="0"/>
                </a:cubicBezTo>
                <a:cubicBezTo>
                  <a:pt x="18019" y="0"/>
                  <a:pt x="0" y="18019"/>
                  <a:pt x="0" y="40248"/>
                </a:cubicBezTo>
                <a:lnTo>
                  <a:pt x="0" y="65016"/>
                </a:lnTo>
                <a:cubicBezTo>
                  <a:pt x="0" y="73567"/>
                  <a:pt x="6929" y="80496"/>
                  <a:pt x="15480" y="80496"/>
                </a:cubicBezTo>
                <a:close/>
                <a:moveTo>
                  <a:pt x="40248" y="68112"/>
                </a:moveTo>
                <a:cubicBezTo>
                  <a:pt x="36830" y="68112"/>
                  <a:pt x="34056" y="65338"/>
                  <a:pt x="34056" y="61920"/>
                </a:cubicBezTo>
                <a:cubicBezTo>
                  <a:pt x="34056" y="58502"/>
                  <a:pt x="36830" y="55728"/>
                  <a:pt x="40248" y="55728"/>
                </a:cubicBezTo>
                <a:cubicBezTo>
                  <a:pt x="43666" y="55728"/>
                  <a:pt x="46440" y="58502"/>
                  <a:pt x="46440" y="61920"/>
                </a:cubicBezTo>
                <a:cubicBezTo>
                  <a:pt x="46440" y="65338"/>
                  <a:pt x="43666" y="68112"/>
                  <a:pt x="40248" y="68112"/>
                </a:cubicBezTo>
                <a:close/>
                <a:moveTo>
                  <a:pt x="49207" y="47239"/>
                </a:moveTo>
                <a:cubicBezTo>
                  <a:pt x="46755" y="48582"/>
                  <a:pt x="44780" y="50657"/>
                  <a:pt x="44762" y="50682"/>
                </a:cubicBezTo>
                <a:cubicBezTo>
                  <a:pt x="43542" y="51969"/>
                  <a:pt x="41901" y="52620"/>
                  <a:pt x="40248" y="52620"/>
                </a:cubicBezTo>
                <a:cubicBezTo>
                  <a:pt x="38725" y="52620"/>
                  <a:pt x="37207" y="52062"/>
                  <a:pt x="36012" y="50942"/>
                </a:cubicBezTo>
                <a:cubicBezTo>
                  <a:pt x="33529" y="48607"/>
                  <a:pt x="33387" y="44712"/>
                  <a:pt x="35715" y="42217"/>
                </a:cubicBezTo>
                <a:cubicBezTo>
                  <a:pt x="36043" y="41858"/>
                  <a:pt x="39071" y="38675"/>
                  <a:pt x="43226" y="36390"/>
                </a:cubicBezTo>
                <a:cubicBezTo>
                  <a:pt x="45022" y="35400"/>
                  <a:pt x="46910" y="33078"/>
                  <a:pt x="46334" y="29784"/>
                </a:cubicBezTo>
                <a:cubicBezTo>
                  <a:pt x="45907" y="27362"/>
                  <a:pt x="43839" y="25301"/>
                  <a:pt x="41418" y="24873"/>
                </a:cubicBezTo>
                <a:cubicBezTo>
                  <a:pt x="39529" y="24533"/>
                  <a:pt x="37690" y="25016"/>
                  <a:pt x="36266" y="26217"/>
                </a:cubicBezTo>
                <a:cubicBezTo>
                  <a:pt x="34855" y="27400"/>
                  <a:pt x="34050" y="29127"/>
                  <a:pt x="34050" y="30966"/>
                </a:cubicBezTo>
                <a:cubicBezTo>
                  <a:pt x="34050" y="34384"/>
                  <a:pt x="31276" y="37158"/>
                  <a:pt x="27858" y="37158"/>
                </a:cubicBezTo>
                <a:cubicBezTo>
                  <a:pt x="24440" y="37158"/>
                  <a:pt x="21666" y="34384"/>
                  <a:pt x="21666" y="30966"/>
                </a:cubicBezTo>
                <a:cubicBezTo>
                  <a:pt x="21666" y="25462"/>
                  <a:pt x="24087" y="20279"/>
                  <a:pt x="28297" y="16737"/>
                </a:cubicBezTo>
                <a:cubicBezTo>
                  <a:pt x="32508" y="13195"/>
                  <a:pt x="38068" y="11715"/>
                  <a:pt x="43554" y="12681"/>
                </a:cubicBezTo>
                <a:cubicBezTo>
                  <a:pt x="51047" y="13994"/>
                  <a:pt x="57208" y="20149"/>
                  <a:pt x="58526" y="27647"/>
                </a:cubicBezTo>
                <a:cubicBezTo>
                  <a:pt x="59907" y="35530"/>
                  <a:pt x="56161" y="43406"/>
                  <a:pt x="49201" y="47245"/>
                </a:cubicBezTo>
                <a:close/>
                <a:moveTo>
                  <a:pt x="88359" y="71084"/>
                </a:moveTo>
                <a:cubicBezTo>
                  <a:pt x="83325" y="76118"/>
                  <a:pt x="80495" y="82948"/>
                  <a:pt x="80495" y="90063"/>
                </a:cubicBezTo>
                <a:lnTo>
                  <a:pt x="80495" y="95970"/>
                </a:lnTo>
                <a:cubicBezTo>
                  <a:pt x="80495" y="97679"/>
                  <a:pt x="81882" y="99066"/>
                  <a:pt x="83591" y="99066"/>
                </a:cubicBezTo>
                <a:lnTo>
                  <a:pt x="89505" y="99066"/>
                </a:lnTo>
                <a:cubicBezTo>
                  <a:pt x="96619" y="99066"/>
                  <a:pt x="103449" y="96236"/>
                  <a:pt x="108477" y="91208"/>
                </a:cubicBezTo>
                <a:lnTo>
                  <a:pt x="143864" y="55821"/>
                </a:lnTo>
                <a:cubicBezTo>
                  <a:pt x="149127" y="50558"/>
                  <a:pt x="150136" y="41976"/>
                  <a:pt x="145424" y="36211"/>
                </a:cubicBezTo>
                <a:cubicBezTo>
                  <a:pt x="140006" y="29585"/>
                  <a:pt x="130217" y="29220"/>
                  <a:pt x="124316" y="35121"/>
                </a:cubicBezTo>
                <a:lnTo>
                  <a:pt x="88359" y="71078"/>
                </a:lnTo>
                <a:close/>
                <a:moveTo>
                  <a:pt x="91944" y="49988"/>
                </a:moveTo>
                <a:cubicBezTo>
                  <a:pt x="92539" y="46830"/>
                  <a:pt x="92879" y="43579"/>
                  <a:pt x="92879" y="40248"/>
                </a:cubicBezTo>
                <a:cubicBezTo>
                  <a:pt x="92879" y="34861"/>
                  <a:pt x="92062" y="29666"/>
                  <a:pt x="90557" y="24768"/>
                </a:cubicBezTo>
                <a:lnTo>
                  <a:pt x="117548" y="24768"/>
                </a:lnTo>
                <a:cubicBezTo>
                  <a:pt x="116892" y="25313"/>
                  <a:pt x="116167" y="25765"/>
                  <a:pt x="115561" y="26372"/>
                </a:cubicBezTo>
                <a:close/>
                <a:moveTo>
                  <a:pt x="148607" y="68595"/>
                </a:moveTo>
                <a:lnTo>
                  <a:pt x="148607" y="135320"/>
                </a:lnTo>
                <a:cubicBezTo>
                  <a:pt x="148607" y="140230"/>
                  <a:pt x="145914" y="144726"/>
                  <a:pt x="141585" y="147048"/>
                </a:cubicBezTo>
                <a:cubicBezTo>
                  <a:pt x="139616" y="148106"/>
                  <a:pt x="137455" y="148633"/>
                  <a:pt x="135300" y="148633"/>
                </a:cubicBezTo>
                <a:cubicBezTo>
                  <a:pt x="132725" y="148633"/>
                  <a:pt x="130155" y="147884"/>
                  <a:pt x="127932" y="146404"/>
                </a:cubicBezTo>
                <a:lnTo>
                  <a:pt x="103387" y="130032"/>
                </a:lnTo>
                <a:lnTo>
                  <a:pt x="68112" y="130032"/>
                </a:lnTo>
                <a:cubicBezTo>
                  <a:pt x="51040" y="130032"/>
                  <a:pt x="37152" y="116143"/>
                  <a:pt x="37152" y="99072"/>
                </a:cubicBezTo>
                <a:lnTo>
                  <a:pt x="37152" y="92725"/>
                </a:lnTo>
                <a:cubicBezTo>
                  <a:pt x="38180" y="92787"/>
                  <a:pt x="39201" y="92880"/>
                  <a:pt x="40248" y="92880"/>
                </a:cubicBezTo>
                <a:cubicBezTo>
                  <a:pt x="50669" y="92880"/>
                  <a:pt x="60359" y="89809"/>
                  <a:pt x="68539" y="84583"/>
                </a:cubicBezTo>
                <a:cubicBezTo>
                  <a:pt x="68285" y="86391"/>
                  <a:pt x="68112" y="88211"/>
                  <a:pt x="68112" y="90069"/>
                </a:cubicBezTo>
                <a:lnTo>
                  <a:pt x="68112" y="95976"/>
                </a:lnTo>
                <a:cubicBezTo>
                  <a:pt x="68112" y="104515"/>
                  <a:pt x="75059" y="111456"/>
                  <a:pt x="83591" y="111456"/>
                </a:cubicBezTo>
                <a:lnTo>
                  <a:pt x="89505" y="111456"/>
                </a:lnTo>
                <a:cubicBezTo>
                  <a:pt x="99975" y="111456"/>
                  <a:pt x="109827" y="107375"/>
                  <a:pt x="117239" y="99970"/>
                </a:cubicBezTo>
                <a:lnTo>
                  <a:pt x="148607" y="68601"/>
                </a:lnTo>
                <a:close/>
              </a:path>
            </a:pathLst>
          </a:custGeom>
          <a:solidFill>
            <a:srgbClr val="0289AE"/>
          </a:solidFill>
          <a:ln w="7541" cap="flat">
            <a:noFill/>
            <a:prstDash val="solid"/>
            <a:miter/>
          </a:ln>
        </p:spPr>
        <p:txBody>
          <a:bodyPr rtlCol="0" anchor="ctr"/>
          <a:lstStyle/>
          <a:p>
            <a:endParaRPr lang="en-US"/>
          </a:p>
        </p:txBody>
      </p:sp>
      <p:sp>
        <p:nvSpPr>
          <p:cNvPr id="2" name="Text Placeholder 11">
            <a:extLst>
              <a:ext uri="{FF2B5EF4-FFF2-40B4-BE49-F238E27FC236}">
                <a16:creationId xmlns:a16="http://schemas.microsoft.com/office/drawing/2014/main" id="{F351301B-A961-CB16-4CC4-9C86B12DA504}"/>
              </a:ext>
            </a:extLst>
          </p:cNvPr>
          <p:cNvSpPr txBox="1">
            <a:spLocks/>
          </p:cNvSpPr>
          <p:nvPr/>
        </p:nvSpPr>
        <p:spPr>
          <a:xfrm>
            <a:off x="454695" y="394053"/>
            <a:ext cx="673468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latin typeface="Calibri" panose="020F0502020204030204" pitchFamily="34" charset="0"/>
                <a:cs typeface="Calibri" panose="020F0502020204030204" pitchFamily="34" charset="0"/>
              </a:rPr>
              <a:t>What Is a Customer Journey Map?</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3" name="Straight Connector 2">
            <a:extLst>
              <a:ext uri="{FF2B5EF4-FFF2-40B4-BE49-F238E27FC236}">
                <a16:creationId xmlns:a16="http://schemas.microsoft.com/office/drawing/2014/main" id="{7DEDD855-F022-F464-BECA-3A93ED425B74}"/>
              </a:ext>
            </a:extLst>
          </p:cNvPr>
          <p:cNvCxnSpPr>
            <a:cxnSpLocks/>
          </p:cNvCxnSpPr>
          <p:nvPr/>
        </p:nvCxnSpPr>
        <p:spPr>
          <a:xfrm>
            <a:off x="0" y="1028228"/>
            <a:ext cx="81159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6" name="TextBox 97">
            <a:extLst>
              <a:ext uri="{FF2B5EF4-FFF2-40B4-BE49-F238E27FC236}">
                <a16:creationId xmlns:a16="http://schemas.microsoft.com/office/drawing/2014/main" id="{8A867C8C-DD31-CF38-D312-4656CBAECBA9}"/>
              </a:ext>
            </a:extLst>
          </p:cNvPr>
          <p:cNvSpPr txBox="1"/>
          <p:nvPr/>
        </p:nvSpPr>
        <p:spPr>
          <a:xfrm>
            <a:off x="8570633" y="673645"/>
            <a:ext cx="2788403" cy="923330"/>
          </a:xfrm>
          <a:prstGeom prst="rect">
            <a:avLst/>
          </a:prstGeom>
          <a:solidFill>
            <a:schemeClr val="bg1"/>
          </a:solidFill>
        </p:spPr>
        <p:txBody>
          <a:bodyPr wrap="square">
            <a:spAutoFit/>
          </a:bodyPr>
          <a:lstStyle/>
          <a:p>
            <a:r>
              <a:rPr lang="en-US" b="1" dirty="0">
                <a:solidFill>
                  <a:srgbClr val="62A844"/>
                </a:solidFill>
              </a:rPr>
              <a:t>Journey maps help teams design better experiences and reduce hidden friction.</a:t>
            </a:r>
            <a:endParaRPr lang="en-US" dirty="0">
              <a:solidFill>
                <a:srgbClr val="62A844"/>
              </a:solidFill>
            </a:endParaRPr>
          </a:p>
        </p:txBody>
      </p:sp>
    </p:spTree>
    <p:extLst>
      <p:ext uri="{BB962C8B-B14F-4D97-AF65-F5344CB8AC3E}">
        <p14:creationId xmlns:p14="http://schemas.microsoft.com/office/powerpoint/2010/main" val="29885651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4A42E-4F8E-430F-AD27-5132CAC3D866}"/>
            </a:ext>
          </a:extLst>
        </p:cNvPr>
        <p:cNvGrpSpPr/>
        <p:nvPr/>
      </p:nvGrpSpPr>
      <p:grpSpPr>
        <a:xfrm>
          <a:off x="0" y="0"/>
          <a:ext cx="0" cy="0"/>
          <a:chOff x="0" y="0"/>
          <a:chExt cx="0" cy="0"/>
        </a:xfrm>
      </p:grpSpPr>
      <p:sp>
        <p:nvSpPr>
          <p:cNvPr id="13" name="Freeform 12">
            <a:extLst>
              <a:ext uri="{FF2B5EF4-FFF2-40B4-BE49-F238E27FC236}">
                <a16:creationId xmlns:a16="http://schemas.microsoft.com/office/drawing/2014/main" id="{C3F68C03-FB7F-7BA8-2830-6850EBE0BE00}"/>
              </a:ext>
            </a:extLst>
          </p:cNvPr>
          <p:cNvSpPr/>
          <p:nvPr/>
        </p:nvSpPr>
        <p:spPr>
          <a:xfrm>
            <a:off x="0" y="1337196"/>
            <a:ext cx="12192000" cy="918882"/>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7" name="TextBox 16">
            <a:extLst>
              <a:ext uri="{FF2B5EF4-FFF2-40B4-BE49-F238E27FC236}">
                <a16:creationId xmlns:a16="http://schemas.microsoft.com/office/drawing/2014/main" id="{7CE70AAC-943B-CDB2-C31B-1F2E5E499BC3}"/>
              </a:ext>
            </a:extLst>
          </p:cNvPr>
          <p:cNvSpPr txBox="1"/>
          <p:nvPr/>
        </p:nvSpPr>
        <p:spPr>
          <a:xfrm>
            <a:off x="711412" y="2994051"/>
            <a:ext cx="7743688" cy="3639266"/>
          </a:xfrm>
          <a:prstGeom prst="rect">
            <a:avLst/>
          </a:prstGeom>
          <a:noFill/>
        </p:spPr>
        <p:txBody>
          <a:bodyPr wrap="square" lIns="91440" tIns="45720" rIns="91440" bIns="45720" rtlCol="0" anchor="t">
            <a:spAutoFit/>
          </a:bodyPr>
          <a:lstStyle/>
          <a:p>
            <a:pPr>
              <a:lnSpc>
                <a:spcPts val="2280"/>
              </a:lnSpc>
            </a:pPr>
            <a:r>
              <a:rPr lang="en-US" sz="2400" dirty="0">
                <a:solidFill>
                  <a:srgbClr val="262626"/>
                </a:solidFill>
              </a:rPr>
              <a:t>The Interaction Design Foundation defines customer journey maps as visual representations of customer experiences over time and across channels, used to uncover needs, pain points, and opportunities. </a:t>
            </a:r>
          </a:p>
          <a:p>
            <a:pPr>
              <a:lnSpc>
                <a:spcPts val="2280"/>
              </a:lnSpc>
            </a:pPr>
            <a:endParaRPr lang="en-US" sz="2400" dirty="0">
              <a:solidFill>
                <a:srgbClr val="262626"/>
              </a:solidFill>
            </a:endParaRPr>
          </a:p>
          <a:p>
            <a:pPr>
              <a:lnSpc>
                <a:spcPts val="2280"/>
              </a:lnSpc>
            </a:pPr>
            <a:r>
              <a:rPr lang="en-US" sz="2400" dirty="0">
                <a:solidFill>
                  <a:srgbClr val="262626"/>
                </a:solidFill>
                <a:hlinkClick r:id="rId3">
                  <a:extLst>
                    <a:ext uri="{A12FA001-AC4F-418D-AE19-62706E023703}">
                      <ahyp:hlinkClr xmlns:ahyp="http://schemas.microsoft.com/office/drawing/2018/hyperlinkcolor" val="tx"/>
                    </a:ext>
                  </a:extLst>
                </a:hlinkClick>
              </a:rPr>
              <a:t>https://ixdf.org/literature/topics/customer-journey-map</a:t>
            </a:r>
            <a:r>
              <a:rPr lang="en-US" sz="2400" dirty="0">
                <a:solidFill>
                  <a:srgbClr val="262626"/>
                </a:solidFill>
              </a:rPr>
              <a:t> </a:t>
            </a:r>
          </a:p>
          <a:p>
            <a:pPr>
              <a:lnSpc>
                <a:spcPts val="2280"/>
              </a:lnSpc>
            </a:pPr>
            <a:endParaRPr lang="en-US" sz="2400" dirty="0">
              <a:solidFill>
                <a:srgbClr val="262626"/>
              </a:solidFill>
              <a:hlinkClick r:id="rId4">
                <a:extLst>
                  <a:ext uri="{A12FA001-AC4F-418D-AE19-62706E023703}">
                    <ahyp:hlinkClr xmlns:ahyp="http://schemas.microsoft.com/office/drawing/2018/hyperlinkcolor" val="tx"/>
                  </a:ext>
                </a:extLst>
              </a:hlinkClick>
            </a:endParaRPr>
          </a:p>
          <a:p>
            <a:pPr>
              <a:lnSpc>
                <a:spcPts val="2280"/>
              </a:lnSpc>
            </a:pPr>
            <a:r>
              <a:rPr lang="en-US" sz="2400" dirty="0">
                <a:solidFill>
                  <a:srgbClr val="262626"/>
                </a:solidFill>
                <a:hlinkClick r:id="rId4">
                  <a:extLst>
                    <a:ext uri="{A12FA001-AC4F-418D-AE19-62706E023703}">
                      <ahyp:hlinkClr xmlns:ahyp="http://schemas.microsoft.com/office/drawing/2018/hyperlinkcolor" val="tx"/>
                    </a:ext>
                  </a:extLst>
                </a:hlinkClick>
              </a:rPr>
              <a:t>https://</a:t>
            </a:r>
            <a:r>
              <a:rPr lang="en-US" sz="2400" dirty="0" err="1">
                <a:solidFill>
                  <a:srgbClr val="262626"/>
                </a:solidFill>
                <a:hlinkClick r:id="rId4">
                  <a:extLst>
                    <a:ext uri="{A12FA001-AC4F-418D-AE19-62706E023703}">
                      <ahyp:hlinkClr xmlns:ahyp="http://schemas.microsoft.com/office/drawing/2018/hyperlinkcolor" val="tx"/>
                    </a:ext>
                  </a:extLst>
                </a:hlinkClick>
              </a:rPr>
              <a:t>www.interaction</a:t>
            </a:r>
            <a:r>
              <a:rPr lang="en-US" sz="2400" dirty="0">
                <a:solidFill>
                  <a:srgbClr val="262626"/>
                </a:solidFill>
                <a:hlinkClick r:id="rId4">
                  <a:extLst>
                    <a:ext uri="{A12FA001-AC4F-418D-AE19-62706E023703}">
                      <ahyp:hlinkClr xmlns:ahyp="http://schemas.microsoft.com/office/drawing/2018/hyperlinkcolor" val="tx"/>
                    </a:ext>
                  </a:extLst>
                </a:hlinkClick>
              </a:rPr>
              <a:t> design.org/literature/article/customer-journey-maps-walking-a-mile-in-your-customer-s-shoes</a:t>
            </a:r>
            <a:endParaRPr lang="en-US" sz="2400" dirty="0">
              <a:solidFill>
                <a:srgbClr val="262626"/>
              </a:solidFill>
            </a:endParaRPr>
          </a:p>
          <a:p>
            <a:pPr>
              <a:lnSpc>
                <a:spcPts val="2280"/>
              </a:lnSpc>
            </a:pPr>
            <a:endParaRPr lang="en-US" sz="2400" dirty="0">
              <a:solidFill>
                <a:srgbClr val="262626"/>
              </a:solidFill>
            </a:endParaRPr>
          </a:p>
          <a:p>
            <a:pPr>
              <a:lnSpc>
                <a:spcPts val="2280"/>
              </a:lnSpc>
            </a:pPr>
            <a:endParaRPr lang="de-DE" sz="2400" dirty="0">
              <a:solidFill>
                <a:srgbClr val="262626"/>
              </a:solidFill>
            </a:endParaRPr>
          </a:p>
        </p:txBody>
      </p:sp>
      <p:sp>
        <p:nvSpPr>
          <p:cNvPr id="18" name="TextBox 17">
            <a:extLst>
              <a:ext uri="{FF2B5EF4-FFF2-40B4-BE49-F238E27FC236}">
                <a16:creationId xmlns:a16="http://schemas.microsoft.com/office/drawing/2014/main" id="{A7F88340-7300-057F-FB4A-8FFED166255C}"/>
              </a:ext>
            </a:extLst>
          </p:cNvPr>
          <p:cNvSpPr txBox="1"/>
          <p:nvPr/>
        </p:nvSpPr>
        <p:spPr>
          <a:xfrm>
            <a:off x="711412" y="1501363"/>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9" name="Graphic 4">
            <a:extLst>
              <a:ext uri="{FF2B5EF4-FFF2-40B4-BE49-F238E27FC236}">
                <a16:creationId xmlns:a16="http://schemas.microsoft.com/office/drawing/2014/main" id="{F1F5FDAD-E2AC-9409-376E-381E9719DE84}"/>
              </a:ext>
            </a:extLst>
          </p:cNvPr>
          <p:cNvSpPr/>
          <p:nvPr/>
        </p:nvSpPr>
        <p:spPr>
          <a:xfrm rot="5400000">
            <a:off x="1314218" y="1425507"/>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0" name="Graphic 19">
            <a:extLst>
              <a:ext uri="{FF2B5EF4-FFF2-40B4-BE49-F238E27FC236}">
                <a16:creationId xmlns:a16="http://schemas.microsoft.com/office/drawing/2014/main" id="{5C08FDEC-AA0F-0C36-4020-BB7197C44EF6}"/>
              </a:ext>
            </a:extLst>
          </p:cNvPr>
          <p:cNvPicPr>
            <a:picLocks noChangeAspect="1"/>
          </p:cNvPicPr>
          <p:nvPr/>
        </p:nvPicPr>
        <p:blipFill>
          <a:blip>
            <a:extLst>
              <a:ext uri="{96DAC541-7B7A-43D3-8B79-37D633B846F1}">
                <asvg:svgBlip xmlns:asvg="http://schemas.microsoft.com/office/drawing/2016/SVG/main" r:embed="rId5"/>
              </a:ext>
            </a:extLst>
          </a:blip>
          <a:srcRect l="32264" t="48938" r="39869" b="41747"/>
          <a:stretch>
            <a:fillRect/>
          </a:stretch>
        </p:blipFill>
        <p:spPr>
          <a:xfrm>
            <a:off x="5458250" y="0"/>
            <a:ext cx="6754568" cy="3196842"/>
          </a:xfrm>
          <a:prstGeom prst="rect">
            <a:avLst/>
          </a:prstGeom>
        </p:spPr>
      </p:pic>
      <p:pic>
        <p:nvPicPr>
          <p:cNvPr id="21" name="Picture 20" descr="iPhone6_mockup_front_white.png">
            <a:extLst>
              <a:ext uri="{FF2B5EF4-FFF2-40B4-BE49-F238E27FC236}">
                <a16:creationId xmlns:a16="http://schemas.microsoft.com/office/drawing/2014/main" id="{3039CEDA-501B-DBE0-68E7-EF3F6BE050C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90358" y="226918"/>
            <a:ext cx="4094254" cy="6404164"/>
          </a:xfrm>
          <a:prstGeom prst="rect">
            <a:avLst/>
          </a:prstGeom>
        </p:spPr>
      </p:pic>
      <p:pic>
        <p:nvPicPr>
          <p:cNvPr id="6" name="Bildplatzhalter 5">
            <a:extLst>
              <a:ext uri="{FF2B5EF4-FFF2-40B4-BE49-F238E27FC236}">
                <a16:creationId xmlns:a16="http://schemas.microsoft.com/office/drawing/2014/main" id="{1193DB0D-8C7D-B1D8-1954-1A5865FF62A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057" t="-171" r="28185" b="171"/>
          <a:stretch>
            <a:fillRect/>
          </a:stretch>
        </p:blipFill>
        <p:spPr>
          <a:xfrm>
            <a:off x="8768830" y="1178140"/>
            <a:ext cx="2493867" cy="4425249"/>
          </a:xfrm>
          <a:prstGeom prst="rect">
            <a:avLst/>
          </a:prstGeom>
          <a:solidFill>
            <a:srgbClr val="FFFFFF">
              <a:lumMod val="85000"/>
            </a:srgbClr>
          </a:solidFill>
        </p:spPr>
      </p:pic>
      <p:grpSp>
        <p:nvGrpSpPr>
          <p:cNvPr id="7" name="Group 6">
            <a:extLst>
              <a:ext uri="{FF2B5EF4-FFF2-40B4-BE49-F238E27FC236}">
                <a16:creationId xmlns:a16="http://schemas.microsoft.com/office/drawing/2014/main" id="{9B81AE89-7440-819B-5CF5-8E7FC86C5784}"/>
              </a:ext>
            </a:extLst>
          </p:cNvPr>
          <p:cNvGrpSpPr/>
          <p:nvPr/>
        </p:nvGrpSpPr>
        <p:grpSpPr>
          <a:xfrm rot="21145702">
            <a:off x="8107486" y="5269073"/>
            <a:ext cx="1456095" cy="1406604"/>
            <a:chOff x="7777737" y="4274827"/>
            <a:chExt cx="1456095" cy="1406604"/>
          </a:xfrm>
        </p:grpSpPr>
        <p:sp>
          <p:nvSpPr>
            <p:cNvPr id="8" name="Oval 7">
              <a:extLst>
                <a:ext uri="{FF2B5EF4-FFF2-40B4-BE49-F238E27FC236}">
                  <a16:creationId xmlns:a16="http://schemas.microsoft.com/office/drawing/2014/main" id="{7585700C-A147-FF09-7F1A-E4ABA5EDE15B}"/>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DB644EF-1BBE-A5D3-8D54-DCB00C3A1181}"/>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3">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29371502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0EBBA-1EE8-00A6-387E-309199AC7E6D}"/>
            </a:ext>
          </a:extLst>
        </p:cNvPr>
        <p:cNvGrpSpPr/>
        <p:nvPr/>
      </p:nvGrpSpPr>
      <p:grpSpPr>
        <a:xfrm>
          <a:off x="0" y="0"/>
          <a:ext cx="0" cy="0"/>
          <a:chOff x="0" y="0"/>
          <a:chExt cx="0" cy="0"/>
        </a:xfrm>
      </p:grpSpPr>
      <p:sp>
        <p:nvSpPr>
          <p:cNvPr id="35" name="Text Placeholder 11">
            <a:extLst>
              <a:ext uri="{FF2B5EF4-FFF2-40B4-BE49-F238E27FC236}">
                <a16:creationId xmlns:a16="http://schemas.microsoft.com/office/drawing/2014/main" id="{C415DFD4-AC93-6313-D532-8BAEFF599FCF}"/>
              </a:ext>
            </a:extLst>
          </p:cNvPr>
          <p:cNvSpPr txBox="1">
            <a:spLocks/>
          </p:cNvSpPr>
          <p:nvPr/>
        </p:nvSpPr>
        <p:spPr>
          <a:xfrm>
            <a:off x="429114" y="510835"/>
            <a:ext cx="608036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The Main Stages of the Hospitality Guest Journe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6" name="Straight Connector 35">
            <a:extLst>
              <a:ext uri="{FF2B5EF4-FFF2-40B4-BE49-F238E27FC236}">
                <a16:creationId xmlns:a16="http://schemas.microsoft.com/office/drawing/2014/main" id="{5132F740-48FB-DA38-3396-51A455F25E5F}"/>
              </a:ext>
            </a:extLst>
          </p:cNvPr>
          <p:cNvCxnSpPr>
            <a:cxnSpLocks/>
          </p:cNvCxnSpPr>
          <p:nvPr/>
        </p:nvCxnSpPr>
        <p:spPr>
          <a:xfrm>
            <a:off x="0" y="1694302"/>
            <a:ext cx="733926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61" name="Rectangle 30">
            <a:extLst>
              <a:ext uri="{FF2B5EF4-FFF2-40B4-BE49-F238E27FC236}">
                <a16:creationId xmlns:a16="http://schemas.microsoft.com/office/drawing/2014/main" id="{A4F4C5D8-7096-70F7-9DAD-7DEC91968FAF}"/>
              </a:ext>
            </a:extLst>
          </p:cNvPr>
          <p:cNvSpPr/>
          <p:nvPr/>
        </p:nvSpPr>
        <p:spPr>
          <a:xfrm flipH="1">
            <a:off x="7567863" y="678488"/>
            <a:ext cx="4006516" cy="1477328"/>
          </a:xfrm>
          <a:prstGeom prst="rect">
            <a:avLst/>
          </a:prstGeom>
        </p:spPr>
        <p:txBody>
          <a:bodyPr wrap="square">
            <a:spAutoFit/>
          </a:bodyPr>
          <a:lstStyle/>
          <a:p>
            <a:pPr>
              <a:buClr>
                <a:srgbClr val="62A844"/>
              </a:buClr>
            </a:pPr>
            <a:r>
              <a:rPr lang="en-US" b="1" dirty="0">
                <a:solidFill>
                  <a:srgbClr val="262626"/>
                </a:solidFill>
              </a:rPr>
              <a:t>Each stage of the Guest Journey offers opportunities to make sustainability feel easier, clearer, and more meaningful.</a:t>
            </a:r>
          </a:p>
          <a:p>
            <a:pPr>
              <a:buClr>
                <a:srgbClr val="62A844"/>
              </a:buClr>
            </a:pPr>
            <a:endParaRPr lang="en-US" dirty="0">
              <a:solidFill>
                <a:srgbClr val="262626"/>
              </a:solidFill>
            </a:endParaRPr>
          </a:p>
        </p:txBody>
      </p:sp>
      <p:sp>
        <p:nvSpPr>
          <p:cNvPr id="62" name="Rounded Rectangle 61">
            <a:extLst>
              <a:ext uri="{FF2B5EF4-FFF2-40B4-BE49-F238E27FC236}">
                <a16:creationId xmlns:a16="http://schemas.microsoft.com/office/drawing/2014/main" id="{BB9F9ECF-C0FB-11B1-A4CC-292CA7697692}"/>
              </a:ext>
            </a:extLst>
          </p:cNvPr>
          <p:cNvSpPr/>
          <p:nvPr/>
        </p:nvSpPr>
        <p:spPr>
          <a:xfrm>
            <a:off x="7339263" y="544209"/>
            <a:ext cx="4453721" cy="1401700"/>
          </a:xfrm>
          <a:prstGeom prst="roundRect">
            <a:avLst>
              <a:gd name="adj" fmla="val 8566"/>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Google Shape;252;p20">
            <a:extLst>
              <a:ext uri="{FF2B5EF4-FFF2-40B4-BE49-F238E27FC236}">
                <a16:creationId xmlns:a16="http://schemas.microsoft.com/office/drawing/2014/main" id="{5DF08BDE-7A56-14DA-A4DF-B874B22F9F3B}"/>
              </a:ext>
            </a:extLst>
          </p:cNvPr>
          <p:cNvSpPr/>
          <p:nvPr/>
        </p:nvSpPr>
        <p:spPr>
          <a:xfrm>
            <a:off x="429114" y="2600756"/>
            <a:ext cx="2201126" cy="2261407"/>
          </a:xfrm>
          <a:custGeom>
            <a:avLst/>
            <a:gdLst/>
            <a:ahLst/>
            <a:cxnLst/>
            <a:rect l="l" t="t" r="r" b="b"/>
            <a:pathLst>
              <a:path w="17244" h="22162" extrusionOk="0">
                <a:moveTo>
                  <a:pt x="2324" y="1"/>
                </a:moveTo>
                <a:cubicBezTo>
                  <a:pt x="1042" y="1"/>
                  <a:pt x="1" y="1042"/>
                  <a:pt x="1" y="2324"/>
                </a:cubicBezTo>
                <a:lnTo>
                  <a:pt x="1" y="19838"/>
                </a:lnTo>
                <a:cubicBezTo>
                  <a:pt x="1" y="21119"/>
                  <a:pt x="1042" y="22162"/>
                  <a:pt x="2324" y="22162"/>
                </a:cubicBezTo>
                <a:lnTo>
                  <a:pt x="12011" y="22162"/>
                </a:lnTo>
                <a:lnTo>
                  <a:pt x="12011" y="21029"/>
                </a:lnTo>
                <a:lnTo>
                  <a:pt x="2324" y="21029"/>
                </a:lnTo>
                <a:cubicBezTo>
                  <a:pt x="1668" y="21029"/>
                  <a:pt x="1133" y="20495"/>
                  <a:pt x="1133" y="19840"/>
                </a:cubicBezTo>
                <a:lnTo>
                  <a:pt x="1133" y="2324"/>
                </a:lnTo>
                <a:cubicBezTo>
                  <a:pt x="1133" y="1668"/>
                  <a:pt x="1668" y="1133"/>
                  <a:pt x="2324" y="1133"/>
                </a:cubicBezTo>
                <a:lnTo>
                  <a:pt x="14920" y="1133"/>
                </a:lnTo>
                <a:cubicBezTo>
                  <a:pt x="15576" y="1133"/>
                  <a:pt x="16111" y="1668"/>
                  <a:pt x="16111" y="2324"/>
                </a:cubicBezTo>
                <a:lnTo>
                  <a:pt x="16111" y="7628"/>
                </a:lnTo>
                <a:lnTo>
                  <a:pt x="17244" y="7628"/>
                </a:lnTo>
                <a:lnTo>
                  <a:pt x="17244" y="2324"/>
                </a:lnTo>
                <a:cubicBezTo>
                  <a:pt x="17244" y="1042"/>
                  <a:pt x="16201" y="1"/>
                  <a:pt x="14920"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53;p20">
            <a:extLst>
              <a:ext uri="{FF2B5EF4-FFF2-40B4-BE49-F238E27FC236}">
                <a16:creationId xmlns:a16="http://schemas.microsoft.com/office/drawing/2014/main" id="{2CA02751-7204-215E-72BF-ABFE5D5A8F1F}"/>
              </a:ext>
            </a:extLst>
          </p:cNvPr>
          <p:cNvSpPr/>
          <p:nvPr/>
        </p:nvSpPr>
        <p:spPr>
          <a:xfrm>
            <a:off x="1767238" y="4921411"/>
            <a:ext cx="219294" cy="287084"/>
          </a:xfrm>
          <a:custGeom>
            <a:avLst/>
            <a:gdLst/>
            <a:ahLst/>
            <a:cxnLst/>
            <a:rect l="l" t="t" r="r" b="b"/>
            <a:pathLst>
              <a:path w="2329" h="3006" extrusionOk="0">
                <a:moveTo>
                  <a:pt x="1" y="0"/>
                </a:moveTo>
                <a:lnTo>
                  <a:pt x="1" y="3006"/>
                </a:lnTo>
                <a:lnTo>
                  <a:pt x="2329" y="1503"/>
                </a:lnTo>
                <a:lnTo>
                  <a:pt x="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56;p20">
            <a:extLst>
              <a:ext uri="{FF2B5EF4-FFF2-40B4-BE49-F238E27FC236}">
                <a16:creationId xmlns:a16="http://schemas.microsoft.com/office/drawing/2014/main" id="{F7B4F501-6203-080E-79B7-1DC40932DE30}"/>
              </a:ext>
            </a:extLst>
          </p:cNvPr>
          <p:cNvSpPr/>
          <p:nvPr/>
        </p:nvSpPr>
        <p:spPr>
          <a:xfrm>
            <a:off x="6146166" y="3574442"/>
            <a:ext cx="2201126" cy="2261610"/>
          </a:xfrm>
          <a:custGeom>
            <a:avLst/>
            <a:gdLst/>
            <a:ahLst/>
            <a:cxnLst/>
            <a:rect l="l" t="t" r="r" b="b"/>
            <a:pathLst>
              <a:path w="17244" h="22164" extrusionOk="0">
                <a:moveTo>
                  <a:pt x="2324" y="1"/>
                </a:moveTo>
                <a:cubicBezTo>
                  <a:pt x="1043" y="1"/>
                  <a:pt x="1" y="1043"/>
                  <a:pt x="1" y="2324"/>
                </a:cubicBezTo>
                <a:lnTo>
                  <a:pt x="1" y="19840"/>
                </a:lnTo>
                <a:cubicBezTo>
                  <a:pt x="1" y="21122"/>
                  <a:pt x="1043" y="22163"/>
                  <a:pt x="2324" y="22163"/>
                </a:cubicBezTo>
                <a:lnTo>
                  <a:pt x="14921" y="22163"/>
                </a:lnTo>
                <a:cubicBezTo>
                  <a:pt x="16200" y="22163"/>
                  <a:pt x="17243" y="21122"/>
                  <a:pt x="17244" y="19840"/>
                </a:cubicBezTo>
                <a:lnTo>
                  <a:pt x="17244" y="14536"/>
                </a:lnTo>
                <a:lnTo>
                  <a:pt x="16111" y="14536"/>
                </a:lnTo>
                <a:lnTo>
                  <a:pt x="16111" y="19840"/>
                </a:lnTo>
                <a:cubicBezTo>
                  <a:pt x="16111" y="20496"/>
                  <a:pt x="15576" y="21031"/>
                  <a:pt x="14921" y="21031"/>
                </a:cubicBezTo>
                <a:lnTo>
                  <a:pt x="2324" y="21031"/>
                </a:lnTo>
                <a:cubicBezTo>
                  <a:pt x="1668" y="21031"/>
                  <a:pt x="1133" y="20496"/>
                  <a:pt x="1133" y="19840"/>
                </a:cubicBezTo>
                <a:lnTo>
                  <a:pt x="1133" y="2324"/>
                </a:lnTo>
                <a:cubicBezTo>
                  <a:pt x="1133" y="1668"/>
                  <a:pt x="1668" y="1134"/>
                  <a:pt x="2324" y="1134"/>
                </a:cubicBezTo>
                <a:lnTo>
                  <a:pt x="12011" y="1134"/>
                </a:lnTo>
                <a:lnTo>
                  <a:pt x="12011" y="1"/>
                </a:ln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roup 21">
            <a:extLst>
              <a:ext uri="{FF2B5EF4-FFF2-40B4-BE49-F238E27FC236}">
                <a16:creationId xmlns:a16="http://schemas.microsoft.com/office/drawing/2014/main" id="{F14F5D20-F0A8-3601-F2C5-724465DAFEC8}"/>
              </a:ext>
            </a:extLst>
          </p:cNvPr>
          <p:cNvGrpSpPr/>
          <p:nvPr/>
        </p:nvGrpSpPr>
        <p:grpSpPr>
          <a:xfrm>
            <a:off x="2026427" y="3469094"/>
            <a:ext cx="2201254" cy="2366958"/>
            <a:chOff x="2582322" y="3020639"/>
            <a:chExt cx="2633813" cy="2746181"/>
          </a:xfrm>
        </p:grpSpPr>
        <p:sp>
          <p:nvSpPr>
            <p:cNvPr id="47" name="Google Shape;260;p20">
              <a:extLst>
                <a:ext uri="{FF2B5EF4-FFF2-40B4-BE49-F238E27FC236}">
                  <a16:creationId xmlns:a16="http://schemas.microsoft.com/office/drawing/2014/main" id="{134CFEF0-7CC1-6E82-D753-E52907E5A78B}"/>
                </a:ext>
              </a:extLst>
            </p:cNvPr>
            <p:cNvSpPr/>
            <p:nvPr/>
          </p:nvSpPr>
          <p:spPr>
            <a:xfrm>
              <a:off x="2582322" y="3142866"/>
              <a:ext cx="2633813" cy="2623954"/>
            </a:xfrm>
            <a:custGeom>
              <a:avLst/>
              <a:gdLst/>
              <a:ahLst/>
              <a:cxnLst/>
              <a:rect l="l" t="t" r="r" b="b"/>
              <a:pathLst>
                <a:path w="17245" h="22164" extrusionOk="0">
                  <a:moveTo>
                    <a:pt x="2325" y="1"/>
                  </a:moveTo>
                  <a:cubicBezTo>
                    <a:pt x="1043" y="1"/>
                    <a:pt x="1" y="1043"/>
                    <a:pt x="1" y="2324"/>
                  </a:cubicBezTo>
                  <a:lnTo>
                    <a:pt x="1" y="19840"/>
                  </a:lnTo>
                  <a:cubicBezTo>
                    <a:pt x="1" y="21122"/>
                    <a:pt x="1043" y="22163"/>
                    <a:pt x="2325" y="22163"/>
                  </a:cubicBezTo>
                  <a:lnTo>
                    <a:pt x="14921" y="22163"/>
                  </a:lnTo>
                  <a:cubicBezTo>
                    <a:pt x="16201" y="22163"/>
                    <a:pt x="17245" y="21122"/>
                    <a:pt x="17245" y="19840"/>
                  </a:cubicBezTo>
                  <a:lnTo>
                    <a:pt x="17245" y="14536"/>
                  </a:lnTo>
                  <a:lnTo>
                    <a:pt x="16111" y="14536"/>
                  </a:lnTo>
                  <a:lnTo>
                    <a:pt x="16111" y="19840"/>
                  </a:lnTo>
                  <a:cubicBezTo>
                    <a:pt x="16111" y="20496"/>
                    <a:pt x="15577" y="21031"/>
                    <a:pt x="14921" y="21031"/>
                  </a:cubicBezTo>
                  <a:lnTo>
                    <a:pt x="2325" y="21031"/>
                  </a:lnTo>
                  <a:cubicBezTo>
                    <a:pt x="1668" y="21031"/>
                    <a:pt x="1134" y="20496"/>
                    <a:pt x="1134" y="19840"/>
                  </a:cubicBezTo>
                  <a:lnTo>
                    <a:pt x="1134" y="2324"/>
                  </a:lnTo>
                  <a:cubicBezTo>
                    <a:pt x="1134" y="1668"/>
                    <a:pt x="1668" y="1134"/>
                    <a:pt x="2325" y="1134"/>
                  </a:cubicBezTo>
                  <a:lnTo>
                    <a:pt x="12012" y="1134"/>
                  </a:lnTo>
                  <a:lnTo>
                    <a:pt x="12012" y="1"/>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61;p20">
              <a:extLst>
                <a:ext uri="{FF2B5EF4-FFF2-40B4-BE49-F238E27FC236}">
                  <a16:creationId xmlns:a16="http://schemas.microsoft.com/office/drawing/2014/main" id="{9233DA5F-5792-01D1-6616-23E7966C8CE7}"/>
                </a:ext>
              </a:extLst>
            </p:cNvPr>
            <p:cNvSpPr/>
            <p:nvPr/>
          </p:nvSpPr>
          <p:spPr>
            <a:xfrm>
              <a:off x="4373286" y="3020639"/>
              <a:ext cx="299717" cy="392667"/>
            </a:xfrm>
            <a:custGeom>
              <a:avLst/>
              <a:gdLst/>
              <a:ahLst/>
              <a:cxnLst/>
              <a:rect l="l" t="t" r="r" b="b"/>
              <a:pathLst>
                <a:path w="2328" h="3007" extrusionOk="0">
                  <a:moveTo>
                    <a:pt x="1" y="1"/>
                  </a:moveTo>
                  <a:lnTo>
                    <a:pt x="1" y="3006"/>
                  </a:lnTo>
                  <a:lnTo>
                    <a:pt x="2328" y="1504"/>
                  </a:lnTo>
                  <a:lnTo>
                    <a:pt x="1" y="1"/>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 name="Group 20">
            <a:extLst>
              <a:ext uri="{FF2B5EF4-FFF2-40B4-BE49-F238E27FC236}">
                <a16:creationId xmlns:a16="http://schemas.microsoft.com/office/drawing/2014/main" id="{699A8A51-F110-AF2E-CA1D-17A5A25784DC}"/>
              </a:ext>
            </a:extLst>
          </p:cNvPr>
          <p:cNvGrpSpPr/>
          <p:nvPr/>
        </p:nvGrpSpPr>
        <p:grpSpPr>
          <a:xfrm>
            <a:off x="4064677" y="2600756"/>
            <a:ext cx="2201126" cy="2356924"/>
            <a:chOff x="4774592" y="2011867"/>
            <a:chExt cx="2633660" cy="2734539"/>
          </a:xfrm>
        </p:grpSpPr>
        <p:sp>
          <p:nvSpPr>
            <p:cNvPr id="55" name="Google Shape;268;p20">
              <a:extLst>
                <a:ext uri="{FF2B5EF4-FFF2-40B4-BE49-F238E27FC236}">
                  <a16:creationId xmlns:a16="http://schemas.microsoft.com/office/drawing/2014/main" id="{3CC61223-3BB9-FC1F-C5EB-60D33B6905D8}"/>
                </a:ext>
              </a:extLst>
            </p:cNvPr>
            <p:cNvSpPr/>
            <p:nvPr/>
          </p:nvSpPr>
          <p:spPr>
            <a:xfrm>
              <a:off x="4774592" y="2011867"/>
              <a:ext cx="2633660" cy="2623718"/>
            </a:xfrm>
            <a:custGeom>
              <a:avLst/>
              <a:gdLst/>
              <a:ahLst/>
              <a:cxnLst/>
              <a:rect l="l" t="t" r="r" b="b"/>
              <a:pathLst>
                <a:path w="17244" h="22162" extrusionOk="0">
                  <a:moveTo>
                    <a:pt x="2324" y="1"/>
                  </a:moveTo>
                  <a:cubicBezTo>
                    <a:pt x="1042" y="1"/>
                    <a:pt x="1" y="1042"/>
                    <a:pt x="1" y="2324"/>
                  </a:cubicBezTo>
                  <a:lnTo>
                    <a:pt x="1" y="19838"/>
                  </a:lnTo>
                  <a:cubicBezTo>
                    <a:pt x="1" y="21119"/>
                    <a:pt x="1042" y="22162"/>
                    <a:pt x="2324" y="22162"/>
                  </a:cubicBezTo>
                  <a:lnTo>
                    <a:pt x="12011" y="22162"/>
                  </a:lnTo>
                  <a:lnTo>
                    <a:pt x="12011" y="21029"/>
                  </a:lnTo>
                  <a:lnTo>
                    <a:pt x="2324" y="21029"/>
                  </a:lnTo>
                  <a:cubicBezTo>
                    <a:pt x="1668" y="21029"/>
                    <a:pt x="1133" y="20495"/>
                    <a:pt x="1133" y="19840"/>
                  </a:cubicBezTo>
                  <a:lnTo>
                    <a:pt x="1133" y="2324"/>
                  </a:lnTo>
                  <a:cubicBezTo>
                    <a:pt x="1133" y="1668"/>
                    <a:pt x="1668" y="1133"/>
                    <a:pt x="2324" y="1133"/>
                  </a:cubicBezTo>
                  <a:lnTo>
                    <a:pt x="14921" y="1133"/>
                  </a:lnTo>
                  <a:cubicBezTo>
                    <a:pt x="15576" y="1133"/>
                    <a:pt x="16110" y="1668"/>
                    <a:pt x="16110" y="2324"/>
                  </a:cubicBezTo>
                  <a:lnTo>
                    <a:pt x="16110" y="7628"/>
                  </a:lnTo>
                  <a:lnTo>
                    <a:pt x="17244" y="7628"/>
                  </a:lnTo>
                  <a:lnTo>
                    <a:pt x="17244" y="2324"/>
                  </a:lnTo>
                  <a:cubicBezTo>
                    <a:pt x="17244" y="1042"/>
                    <a:pt x="16201" y="1"/>
                    <a:pt x="14921"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69;p20">
              <a:extLst>
                <a:ext uri="{FF2B5EF4-FFF2-40B4-BE49-F238E27FC236}">
                  <a16:creationId xmlns:a16="http://schemas.microsoft.com/office/drawing/2014/main" id="{4536D372-FC31-1694-9E3D-2B8F0078BDDF}"/>
                </a:ext>
              </a:extLst>
            </p:cNvPr>
            <p:cNvSpPr/>
            <p:nvPr/>
          </p:nvSpPr>
          <p:spPr>
            <a:xfrm>
              <a:off x="6531088" y="4353869"/>
              <a:ext cx="299846" cy="392537"/>
            </a:xfrm>
            <a:custGeom>
              <a:avLst/>
              <a:gdLst/>
              <a:ahLst/>
              <a:cxnLst/>
              <a:rect l="l" t="t" r="r" b="b"/>
              <a:pathLst>
                <a:path w="2329" h="3006" extrusionOk="0">
                  <a:moveTo>
                    <a:pt x="1" y="0"/>
                  </a:moveTo>
                  <a:lnTo>
                    <a:pt x="1" y="3006"/>
                  </a:lnTo>
                  <a:lnTo>
                    <a:pt x="2328" y="1503"/>
                  </a:lnTo>
                  <a:lnTo>
                    <a:pt x="1" y="0"/>
                  </a:ln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0" name="Group 29">
            <a:extLst>
              <a:ext uri="{FF2B5EF4-FFF2-40B4-BE49-F238E27FC236}">
                <a16:creationId xmlns:a16="http://schemas.microsoft.com/office/drawing/2014/main" id="{2D437621-3DC6-3670-0EA2-5476573F7176}"/>
              </a:ext>
            </a:extLst>
          </p:cNvPr>
          <p:cNvGrpSpPr/>
          <p:nvPr/>
        </p:nvGrpSpPr>
        <p:grpSpPr>
          <a:xfrm>
            <a:off x="673759" y="2187223"/>
            <a:ext cx="621816" cy="717246"/>
            <a:chOff x="1264352" y="1641270"/>
            <a:chExt cx="876623" cy="1011159"/>
          </a:xfrm>
        </p:grpSpPr>
        <p:sp>
          <p:nvSpPr>
            <p:cNvPr id="41" name="Google Shape;254;p20">
              <a:extLst>
                <a:ext uri="{FF2B5EF4-FFF2-40B4-BE49-F238E27FC236}">
                  <a16:creationId xmlns:a16="http://schemas.microsoft.com/office/drawing/2014/main" id="{301778B9-4518-EEBF-6B16-249476485509}"/>
                </a:ext>
              </a:extLst>
            </p:cNvPr>
            <p:cNvSpPr/>
            <p:nvPr/>
          </p:nvSpPr>
          <p:spPr>
            <a:xfrm>
              <a:off x="1337157" y="1714919"/>
              <a:ext cx="731013" cy="741459"/>
            </a:xfrm>
            <a:custGeom>
              <a:avLst/>
              <a:gdLst/>
              <a:ahLst/>
              <a:cxnLst/>
              <a:rect l="l" t="t" r="r" b="b"/>
              <a:pathLst>
                <a:path w="5678" h="5678" extrusionOk="0">
                  <a:moveTo>
                    <a:pt x="2839" y="1"/>
                  </a:moveTo>
                  <a:cubicBezTo>
                    <a:pt x="1272" y="1"/>
                    <a:pt x="0" y="1272"/>
                    <a:pt x="0" y="2839"/>
                  </a:cubicBezTo>
                  <a:cubicBezTo>
                    <a:pt x="0" y="4407"/>
                    <a:pt x="1272" y="5678"/>
                    <a:pt x="2839" y="5678"/>
                  </a:cubicBezTo>
                  <a:cubicBezTo>
                    <a:pt x="4407" y="5678"/>
                    <a:pt x="5678" y="4407"/>
                    <a:pt x="5678" y="2839"/>
                  </a:cubicBezTo>
                  <a:cubicBezTo>
                    <a:pt x="5678" y="1272"/>
                    <a:pt x="4407" y="1"/>
                    <a:pt x="2839"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grpSp>
          <p:nvGrpSpPr>
            <p:cNvPr id="23" name="Group 22">
              <a:extLst>
                <a:ext uri="{FF2B5EF4-FFF2-40B4-BE49-F238E27FC236}">
                  <a16:creationId xmlns:a16="http://schemas.microsoft.com/office/drawing/2014/main" id="{161778B6-06F6-2588-C3A2-64B732EC7F94}"/>
                </a:ext>
              </a:extLst>
            </p:cNvPr>
            <p:cNvGrpSpPr/>
            <p:nvPr/>
          </p:nvGrpSpPr>
          <p:grpSpPr>
            <a:xfrm>
              <a:off x="1264352" y="1641270"/>
              <a:ext cx="876623" cy="1011159"/>
              <a:chOff x="1264352" y="1641270"/>
              <a:chExt cx="876623" cy="1011159"/>
            </a:xfrm>
          </p:grpSpPr>
          <p:sp>
            <p:nvSpPr>
              <p:cNvPr id="42" name="Google Shape;255;p20">
                <a:extLst>
                  <a:ext uri="{FF2B5EF4-FFF2-40B4-BE49-F238E27FC236}">
                    <a16:creationId xmlns:a16="http://schemas.microsoft.com/office/drawing/2014/main" id="{022BFCDA-3BC8-4A8D-8465-525C475FA27F}"/>
                  </a:ext>
                </a:extLst>
              </p:cNvPr>
              <p:cNvSpPr/>
              <p:nvPr/>
            </p:nvSpPr>
            <p:spPr>
              <a:xfrm>
                <a:off x="1264352" y="1641270"/>
                <a:ext cx="876623" cy="889149"/>
              </a:xfrm>
              <a:custGeom>
                <a:avLst/>
                <a:gdLst/>
                <a:ahLst/>
                <a:cxnLst/>
                <a:rect l="l" t="t" r="r" b="b"/>
                <a:pathLst>
                  <a:path w="6809" h="6809" extrusionOk="0">
                    <a:moveTo>
                      <a:pt x="3405" y="1131"/>
                    </a:moveTo>
                    <a:cubicBezTo>
                      <a:pt x="4658" y="1131"/>
                      <a:pt x="5677" y="2152"/>
                      <a:pt x="5677" y="3403"/>
                    </a:cubicBezTo>
                    <a:cubicBezTo>
                      <a:pt x="5677" y="4656"/>
                      <a:pt x="4658" y="5676"/>
                      <a:pt x="3405" y="5676"/>
                    </a:cubicBezTo>
                    <a:cubicBezTo>
                      <a:pt x="2152" y="5676"/>
                      <a:pt x="1132" y="4656"/>
                      <a:pt x="1132" y="3403"/>
                    </a:cubicBezTo>
                    <a:cubicBezTo>
                      <a:pt x="1132" y="2150"/>
                      <a:pt x="2152" y="1131"/>
                      <a:pt x="3405" y="1131"/>
                    </a:cubicBezTo>
                    <a:close/>
                    <a:moveTo>
                      <a:pt x="3405" y="1"/>
                    </a:moveTo>
                    <a:cubicBezTo>
                      <a:pt x="1527" y="1"/>
                      <a:pt x="1" y="1527"/>
                      <a:pt x="1" y="3405"/>
                    </a:cubicBezTo>
                    <a:cubicBezTo>
                      <a:pt x="1" y="5282"/>
                      <a:pt x="1528" y="6809"/>
                      <a:pt x="3405" y="6809"/>
                    </a:cubicBezTo>
                    <a:cubicBezTo>
                      <a:pt x="5282" y="6809"/>
                      <a:pt x="6809" y="5282"/>
                      <a:pt x="6809" y="3405"/>
                    </a:cubicBezTo>
                    <a:cubicBezTo>
                      <a:pt x="6809" y="1527"/>
                      <a:pt x="5282" y="1"/>
                      <a:pt x="3405"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sp>
            <p:nvSpPr>
              <p:cNvPr id="18" name="TextBox 26">
                <a:extLst>
                  <a:ext uri="{FF2B5EF4-FFF2-40B4-BE49-F238E27FC236}">
                    <a16:creationId xmlns:a16="http://schemas.microsoft.com/office/drawing/2014/main" id="{38DF4CD8-E848-CF79-69B4-D734EEABF772}"/>
                  </a:ext>
                </a:extLst>
              </p:cNvPr>
              <p:cNvSpPr txBox="1"/>
              <p:nvPr/>
            </p:nvSpPr>
            <p:spPr bwMode="auto">
              <a:xfrm>
                <a:off x="1357600" y="1762985"/>
                <a:ext cx="710713" cy="889444"/>
              </a:xfrm>
              <a:prstGeom prst="rect">
                <a:avLst/>
              </a:prstGeom>
              <a:noFill/>
            </p:spPr>
            <p:txBody>
              <a:bodyPr wrap="square">
                <a:spAutoFit/>
              </a:bodyPr>
              <a:lstStyle/>
              <a:p>
                <a:pPr algn="ctr">
                  <a:lnSpc>
                    <a:spcPct val="150000"/>
                  </a:lnSpc>
                  <a:defRPr/>
                </a:pPr>
                <a:r>
                  <a:rPr lang="en-US" sz="38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26" name="Group 25">
            <a:extLst>
              <a:ext uri="{FF2B5EF4-FFF2-40B4-BE49-F238E27FC236}">
                <a16:creationId xmlns:a16="http://schemas.microsoft.com/office/drawing/2014/main" id="{6445A7E2-17E4-3C11-FFD4-EF1988E31CB2}"/>
              </a:ext>
            </a:extLst>
          </p:cNvPr>
          <p:cNvGrpSpPr/>
          <p:nvPr/>
        </p:nvGrpSpPr>
        <p:grpSpPr>
          <a:xfrm>
            <a:off x="4355426" y="2187223"/>
            <a:ext cx="621907" cy="717246"/>
            <a:chOff x="5653046" y="1641270"/>
            <a:chExt cx="876752" cy="1011159"/>
          </a:xfrm>
        </p:grpSpPr>
        <p:sp>
          <p:nvSpPr>
            <p:cNvPr id="57" name="Google Shape;270;p20">
              <a:extLst>
                <a:ext uri="{FF2B5EF4-FFF2-40B4-BE49-F238E27FC236}">
                  <a16:creationId xmlns:a16="http://schemas.microsoft.com/office/drawing/2014/main" id="{F52E3232-DF90-EEDF-5D83-91F293A94BF9}"/>
                </a:ext>
              </a:extLst>
            </p:cNvPr>
            <p:cNvSpPr/>
            <p:nvPr/>
          </p:nvSpPr>
          <p:spPr>
            <a:xfrm>
              <a:off x="5725914" y="1714919"/>
              <a:ext cx="731013" cy="741459"/>
            </a:xfrm>
            <a:custGeom>
              <a:avLst/>
              <a:gdLst/>
              <a:ahLst/>
              <a:cxnLst/>
              <a:rect l="l" t="t" r="r" b="b"/>
              <a:pathLst>
                <a:path w="5678" h="5678" extrusionOk="0">
                  <a:moveTo>
                    <a:pt x="2839" y="1"/>
                  </a:moveTo>
                  <a:cubicBezTo>
                    <a:pt x="1272" y="1"/>
                    <a:pt x="1" y="1272"/>
                    <a:pt x="1" y="2839"/>
                  </a:cubicBezTo>
                  <a:cubicBezTo>
                    <a:pt x="1" y="4407"/>
                    <a:pt x="1272" y="5678"/>
                    <a:pt x="2839" y="5678"/>
                  </a:cubicBezTo>
                  <a:cubicBezTo>
                    <a:pt x="4407" y="5678"/>
                    <a:pt x="5678" y="4407"/>
                    <a:pt x="5678" y="2839"/>
                  </a:cubicBezTo>
                  <a:cubicBezTo>
                    <a:pt x="5678" y="1272"/>
                    <a:pt x="4407" y="1"/>
                    <a:pt x="2839"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grpSp>
          <p:nvGrpSpPr>
            <p:cNvPr id="25" name="Group 24">
              <a:extLst>
                <a:ext uri="{FF2B5EF4-FFF2-40B4-BE49-F238E27FC236}">
                  <a16:creationId xmlns:a16="http://schemas.microsoft.com/office/drawing/2014/main" id="{C0DA7C42-AF77-ED2F-BE94-13EAAAF6FE07}"/>
                </a:ext>
              </a:extLst>
            </p:cNvPr>
            <p:cNvGrpSpPr/>
            <p:nvPr/>
          </p:nvGrpSpPr>
          <p:grpSpPr>
            <a:xfrm>
              <a:off x="5653046" y="1641270"/>
              <a:ext cx="876752" cy="1011159"/>
              <a:chOff x="5653046" y="1641270"/>
              <a:chExt cx="876752" cy="1011159"/>
            </a:xfrm>
          </p:grpSpPr>
          <p:sp>
            <p:nvSpPr>
              <p:cNvPr id="58" name="Google Shape;271;p20">
                <a:extLst>
                  <a:ext uri="{FF2B5EF4-FFF2-40B4-BE49-F238E27FC236}">
                    <a16:creationId xmlns:a16="http://schemas.microsoft.com/office/drawing/2014/main" id="{29D2A05A-E52A-7F4A-D03B-FAA91B942E6D}"/>
                  </a:ext>
                </a:extLst>
              </p:cNvPr>
              <p:cNvSpPr/>
              <p:nvPr/>
            </p:nvSpPr>
            <p:spPr>
              <a:xfrm>
                <a:off x="5653046" y="1641270"/>
                <a:ext cx="876752" cy="889149"/>
              </a:xfrm>
              <a:custGeom>
                <a:avLst/>
                <a:gdLst/>
                <a:ahLst/>
                <a:cxnLst/>
                <a:rect l="l" t="t" r="r" b="b"/>
                <a:pathLst>
                  <a:path w="6810" h="6809" extrusionOk="0">
                    <a:moveTo>
                      <a:pt x="3404" y="1131"/>
                    </a:moveTo>
                    <a:cubicBezTo>
                      <a:pt x="4657" y="1131"/>
                      <a:pt x="5677" y="2152"/>
                      <a:pt x="5677" y="3403"/>
                    </a:cubicBezTo>
                    <a:cubicBezTo>
                      <a:pt x="5677" y="4656"/>
                      <a:pt x="4657" y="5676"/>
                      <a:pt x="3404" y="5676"/>
                    </a:cubicBezTo>
                    <a:cubicBezTo>
                      <a:pt x="2151" y="5676"/>
                      <a:pt x="1132" y="4656"/>
                      <a:pt x="1132" y="3403"/>
                    </a:cubicBezTo>
                    <a:cubicBezTo>
                      <a:pt x="1132" y="2150"/>
                      <a:pt x="2151" y="1131"/>
                      <a:pt x="3404" y="1131"/>
                    </a:cubicBezTo>
                    <a:close/>
                    <a:moveTo>
                      <a:pt x="3404" y="1"/>
                    </a:moveTo>
                    <a:cubicBezTo>
                      <a:pt x="1527" y="1"/>
                      <a:pt x="1" y="1527"/>
                      <a:pt x="1" y="3405"/>
                    </a:cubicBezTo>
                    <a:cubicBezTo>
                      <a:pt x="1" y="5282"/>
                      <a:pt x="1527" y="6809"/>
                      <a:pt x="3404" y="6809"/>
                    </a:cubicBezTo>
                    <a:cubicBezTo>
                      <a:pt x="5281" y="6809"/>
                      <a:pt x="6810" y="5282"/>
                      <a:pt x="6810" y="3405"/>
                    </a:cubicBezTo>
                    <a:cubicBezTo>
                      <a:pt x="6810" y="1527"/>
                      <a:pt x="5281" y="1"/>
                      <a:pt x="3404"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sp>
            <p:nvSpPr>
              <p:cNvPr id="19" name="TextBox 26">
                <a:extLst>
                  <a:ext uri="{FF2B5EF4-FFF2-40B4-BE49-F238E27FC236}">
                    <a16:creationId xmlns:a16="http://schemas.microsoft.com/office/drawing/2014/main" id="{B95A8542-784D-E388-6BE5-1F17914919C7}"/>
                  </a:ext>
                </a:extLst>
              </p:cNvPr>
              <p:cNvSpPr txBox="1"/>
              <p:nvPr/>
            </p:nvSpPr>
            <p:spPr bwMode="auto">
              <a:xfrm>
                <a:off x="5736063" y="1762985"/>
                <a:ext cx="710714" cy="889444"/>
              </a:xfrm>
              <a:prstGeom prst="rect">
                <a:avLst/>
              </a:prstGeom>
              <a:noFill/>
            </p:spPr>
            <p:txBody>
              <a:bodyPr wrap="square">
                <a:spAutoFit/>
              </a:bodyPr>
              <a:lstStyle/>
              <a:p>
                <a:pPr algn="ctr">
                  <a:lnSpc>
                    <a:spcPct val="150000"/>
                  </a:lnSpc>
                  <a:defRPr/>
                </a:pPr>
                <a:r>
                  <a:rPr lang="en-US" sz="38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grpSp>
        <p:nvGrpSpPr>
          <p:cNvPr id="3" name="Group 2">
            <a:extLst>
              <a:ext uri="{FF2B5EF4-FFF2-40B4-BE49-F238E27FC236}">
                <a16:creationId xmlns:a16="http://schemas.microsoft.com/office/drawing/2014/main" id="{5A5C1974-C585-2A33-D79B-FC54061A3504}"/>
              </a:ext>
            </a:extLst>
          </p:cNvPr>
          <p:cNvGrpSpPr/>
          <p:nvPr/>
        </p:nvGrpSpPr>
        <p:grpSpPr>
          <a:xfrm>
            <a:off x="6443349" y="5597566"/>
            <a:ext cx="621907" cy="724100"/>
            <a:chOff x="7845316" y="5238165"/>
            <a:chExt cx="876752" cy="1020821"/>
          </a:xfrm>
        </p:grpSpPr>
        <p:sp>
          <p:nvSpPr>
            <p:cNvPr id="4" name="Google Shape;259;p20">
              <a:extLst>
                <a:ext uri="{FF2B5EF4-FFF2-40B4-BE49-F238E27FC236}">
                  <a16:creationId xmlns:a16="http://schemas.microsoft.com/office/drawing/2014/main" id="{99130598-53A5-820B-A4C9-FFB271A1AE39}"/>
                </a:ext>
              </a:extLst>
            </p:cNvPr>
            <p:cNvSpPr/>
            <p:nvPr/>
          </p:nvSpPr>
          <p:spPr>
            <a:xfrm>
              <a:off x="7845316" y="5238165"/>
              <a:ext cx="876752" cy="889019"/>
            </a:xfrm>
            <a:custGeom>
              <a:avLst/>
              <a:gdLst/>
              <a:ahLst/>
              <a:cxnLst/>
              <a:rect l="l" t="t" r="r" b="b"/>
              <a:pathLst>
                <a:path w="6810" h="6808" extrusionOk="0">
                  <a:moveTo>
                    <a:pt x="3405" y="1132"/>
                  </a:moveTo>
                  <a:cubicBezTo>
                    <a:pt x="4659" y="1132"/>
                    <a:pt x="5677" y="2151"/>
                    <a:pt x="5677" y="3405"/>
                  </a:cubicBezTo>
                  <a:cubicBezTo>
                    <a:pt x="5677" y="4658"/>
                    <a:pt x="4659" y="5676"/>
                    <a:pt x="3405" y="5676"/>
                  </a:cubicBezTo>
                  <a:cubicBezTo>
                    <a:pt x="2152" y="5676"/>
                    <a:pt x="1132" y="4658"/>
                    <a:pt x="1132" y="3405"/>
                  </a:cubicBezTo>
                  <a:cubicBezTo>
                    <a:pt x="1132" y="2151"/>
                    <a:pt x="2152" y="1132"/>
                    <a:pt x="3405" y="1132"/>
                  </a:cubicBezTo>
                  <a:close/>
                  <a:moveTo>
                    <a:pt x="3405" y="0"/>
                  </a:moveTo>
                  <a:cubicBezTo>
                    <a:pt x="1528" y="0"/>
                    <a:pt x="1" y="1527"/>
                    <a:pt x="1" y="3405"/>
                  </a:cubicBezTo>
                  <a:cubicBezTo>
                    <a:pt x="1" y="5282"/>
                    <a:pt x="1528" y="6808"/>
                    <a:pt x="3405" y="6808"/>
                  </a:cubicBezTo>
                  <a:cubicBezTo>
                    <a:pt x="5283" y="6808"/>
                    <a:pt x="6810" y="5282"/>
                    <a:pt x="6809" y="3405"/>
                  </a:cubicBezTo>
                  <a:cubicBezTo>
                    <a:pt x="6809" y="1527"/>
                    <a:pt x="5283" y="0"/>
                    <a:pt x="3405"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grpSp>
          <p:nvGrpSpPr>
            <p:cNvPr id="5" name="Group 4">
              <a:extLst>
                <a:ext uri="{FF2B5EF4-FFF2-40B4-BE49-F238E27FC236}">
                  <a16:creationId xmlns:a16="http://schemas.microsoft.com/office/drawing/2014/main" id="{BA8648BD-B1CE-0893-E106-E60406EFEA8C}"/>
                </a:ext>
              </a:extLst>
            </p:cNvPr>
            <p:cNvGrpSpPr/>
            <p:nvPr/>
          </p:nvGrpSpPr>
          <p:grpSpPr>
            <a:xfrm>
              <a:off x="7918121" y="5311945"/>
              <a:ext cx="731141" cy="947041"/>
              <a:chOff x="7918121" y="5311945"/>
              <a:chExt cx="731141" cy="947041"/>
            </a:xfrm>
          </p:grpSpPr>
          <p:sp>
            <p:nvSpPr>
              <p:cNvPr id="6" name="Google Shape;258;p20">
                <a:extLst>
                  <a:ext uri="{FF2B5EF4-FFF2-40B4-BE49-F238E27FC236}">
                    <a16:creationId xmlns:a16="http://schemas.microsoft.com/office/drawing/2014/main" id="{314924E8-0B4C-B33F-4291-A6DD277003E3}"/>
                  </a:ext>
                </a:extLst>
              </p:cNvPr>
              <p:cNvSpPr/>
              <p:nvPr/>
            </p:nvSpPr>
            <p:spPr>
              <a:xfrm>
                <a:off x="7918121" y="5311945"/>
                <a:ext cx="731141" cy="741589"/>
              </a:xfrm>
              <a:custGeom>
                <a:avLst/>
                <a:gdLst/>
                <a:ahLst/>
                <a:cxnLst/>
                <a:rect l="l" t="t" r="r" b="b"/>
                <a:pathLst>
                  <a:path w="5679" h="5679" extrusionOk="0">
                    <a:moveTo>
                      <a:pt x="2839" y="1"/>
                    </a:moveTo>
                    <a:cubicBezTo>
                      <a:pt x="1271" y="1"/>
                      <a:pt x="1" y="1271"/>
                      <a:pt x="1" y="2840"/>
                    </a:cubicBezTo>
                    <a:cubicBezTo>
                      <a:pt x="1" y="4407"/>
                      <a:pt x="1271" y="5678"/>
                      <a:pt x="2839" y="5678"/>
                    </a:cubicBezTo>
                    <a:cubicBezTo>
                      <a:pt x="4407" y="5678"/>
                      <a:pt x="5678" y="4407"/>
                      <a:pt x="5678" y="2840"/>
                    </a:cubicBezTo>
                    <a:cubicBezTo>
                      <a:pt x="5678" y="1271"/>
                      <a:pt x="4407" y="1"/>
                      <a:pt x="2839" y="1"/>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sp>
            <p:nvSpPr>
              <p:cNvPr id="7" name="TextBox 26">
                <a:extLst>
                  <a:ext uri="{FF2B5EF4-FFF2-40B4-BE49-F238E27FC236}">
                    <a16:creationId xmlns:a16="http://schemas.microsoft.com/office/drawing/2014/main" id="{EFBD8464-5032-003E-7BD7-609E5869BB99}"/>
                  </a:ext>
                </a:extLst>
              </p:cNvPr>
              <p:cNvSpPr txBox="1"/>
              <p:nvPr/>
            </p:nvSpPr>
            <p:spPr bwMode="auto">
              <a:xfrm>
                <a:off x="7938550" y="5369543"/>
                <a:ext cx="710712" cy="889443"/>
              </a:xfrm>
              <a:prstGeom prst="rect">
                <a:avLst/>
              </a:prstGeom>
              <a:noFill/>
            </p:spPr>
            <p:txBody>
              <a:bodyPr wrap="square">
                <a:spAutoFit/>
              </a:bodyPr>
              <a:lstStyle/>
              <a:p>
                <a:pPr algn="ctr">
                  <a:lnSpc>
                    <a:spcPct val="150000"/>
                  </a:lnSpc>
                  <a:defRPr/>
                </a:pPr>
                <a:r>
                  <a:rPr lang="en-US" sz="38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8" name="Group 7">
            <a:extLst>
              <a:ext uri="{FF2B5EF4-FFF2-40B4-BE49-F238E27FC236}">
                <a16:creationId xmlns:a16="http://schemas.microsoft.com/office/drawing/2014/main" id="{88E731F5-5DCB-71A4-7B39-47638F1811DA}"/>
              </a:ext>
            </a:extLst>
          </p:cNvPr>
          <p:cNvGrpSpPr/>
          <p:nvPr/>
        </p:nvGrpSpPr>
        <p:grpSpPr>
          <a:xfrm>
            <a:off x="2309537" y="5597358"/>
            <a:ext cx="622089" cy="717352"/>
            <a:chOff x="3460723" y="5238165"/>
            <a:chExt cx="877009" cy="1011309"/>
          </a:xfrm>
        </p:grpSpPr>
        <p:sp>
          <p:nvSpPr>
            <p:cNvPr id="9" name="Google Shape;262;p20">
              <a:extLst>
                <a:ext uri="{FF2B5EF4-FFF2-40B4-BE49-F238E27FC236}">
                  <a16:creationId xmlns:a16="http://schemas.microsoft.com/office/drawing/2014/main" id="{5A97A8E6-9A05-3362-A00B-56C93E901AAB}"/>
                </a:ext>
              </a:extLst>
            </p:cNvPr>
            <p:cNvSpPr/>
            <p:nvPr/>
          </p:nvSpPr>
          <p:spPr>
            <a:xfrm>
              <a:off x="3533720" y="5311945"/>
              <a:ext cx="731013" cy="741589"/>
            </a:xfrm>
            <a:custGeom>
              <a:avLst/>
              <a:gdLst/>
              <a:ahLst/>
              <a:cxnLst/>
              <a:rect l="l" t="t" r="r" b="b"/>
              <a:pathLst>
                <a:path w="5678" h="5679" extrusionOk="0">
                  <a:moveTo>
                    <a:pt x="2839" y="1"/>
                  </a:moveTo>
                  <a:cubicBezTo>
                    <a:pt x="1271" y="1"/>
                    <a:pt x="1" y="1271"/>
                    <a:pt x="1" y="2840"/>
                  </a:cubicBezTo>
                  <a:cubicBezTo>
                    <a:pt x="1" y="4407"/>
                    <a:pt x="1271" y="5678"/>
                    <a:pt x="2839" y="5678"/>
                  </a:cubicBezTo>
                  <a:cubicBezTo>
                    <a:pt x="4406" y="5678"/>
                    <a:pt x="5678" y="4407"/>
                    <a:pt x="5678" y="2840"/>
                  </a:cubicBezTo>
                  <a:cubicBezTo>
                    <a:pt x="5678" y="1271"/>
                    <a:pt x="4406" y="1"/>
                    <a:pt x="2839" y="1"/>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sp>
          <p:nvSpPr>
            <p:cNvPr id="10" name="Google Shape;263;p20">
              <a:extLst>
                <a:ext uri="{FF2B5EF4-FFF2-40B4-BE49-F238E27FC236}">
                  <a16:creationId xmlns:a16="http://schemas.microsoft.com/office/drawing/2014/main" id="{FD57C918-EF2E-077A-6159-AE41A2E69EB1}"/>
                </a:ext>
              </a:extLst>
            </p:cNvPr>
            <p:cNvSpPr/>
            <p:nvPr/>
          </p:nvSpPr>
          <p:spPr>
            <a:xfrm>
              <a:off x="3460723" y="5238165"/>
              <a:ext cx="877009" cy="889019"/>
            </a:xfrm>
            <a:custGeom>
              <a:avLst/>
              <a:gdLst/>
              <a:ahLst/>
              <a:cxnLst/>
              <a:rect l="l" t="t" r="r" b="b"/>
              <a:pathLst>
                <a:path w="6812" h="6808" extrusionOk="0">
                  <a:moveTo>
                    <a:pt x="3406" y="1132"/>
                  </a:moveTo>
                  <a:cubicBezTo>
                    <a:pt x="4659" y="1132"/>
                    <a:pt x="5678" y="2151"/>
                    <a:pt x="5678" y="3405"/>
                  </a:cubicBezTo>
                  <a:cubicBezTo>
                    <a:pt x="5678" y="4658"/>
                    <a:pt x="4659" y="5676"/>
                    <a:pt x="3406" y="5676"/>
                  </a:cubicBezTo>
                  <a:cubicBezTo>
                    <a:pt x="2153" y="5676"/>
                    <a:pt x="1134" y="4658"/>
                    <a:pt x="1134" y="3405"/>
                  </a:cubicBezTo>
                  <a:cubicBezTo>
                    <a:pt x="1134" y="2151"/>
                    <a:pt x="2153" y="1132"/>
                    <a:pt x="3406" y="1132"/>
                  </a:cubicBezTo>
                  <a:close/>
                  <a:moveTo>
                    <a:pt x="3406" y="0"/>
                  </a:moveTo>
                  <a:cubicBezTo>
                    <a:pt x="1528" y="0"/>
                    <a:pt x="1" y="1527"/>
                    <a:pt x="1" y="3405"/>
                  </a:cubicBezTo>
                  <a:cubicBezTo>
                    <a:pt x="1" y="5282"/>
                    <a:pt x="1529" y="6808"/>
                    <a:pt x="3406" y="6808"/>
                  </a:cubicBezTo>
                  <a:cubicBezTo>
                    <a:pt x="5284" y="6808"/>
                    <a:pt x="6812" y="5282"/>
                    <a:pt x="6810" y="3405"/>
                  </a:cubicBezTo>
                  <a:cubicBezTo>
                    <a:pt x="6810" y="1527"/>
                    <a:pt x="5283" y="0"/>
                    <a:pt x="3406"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sp>
          <p:nvSpPr>
            <p:cNvPr id="11" name="TextBox 26">
              <a:extLst>
                <a:ext uri="{FF2B5EF4-FFF2-40B4-BE49-F238E27FC236}">
                  <a16:creationId xmlns:a16="http://schemas.microsoft.com/office/drawing/2014/main" id="{02E6687B-1AE4-5CDB-02B6-0915D4CE319F}"/>
                </a:ext>
              </a:extLst>
            </p:cNvPr>
            <p:cNvSpPr txBox="1"/>
            <p:nvPr/>
          </p:nvSpPr>
          <p:spPr bwMode="auto">
            <a:xfrm>
              <a:off x="3533720" y="5360030"/>
              <a:ext cx="710712" cy="889444"/>
            </a:xfrm>
            <a:prstGeom prst="rect">
              <a:avLst/>
            </a:prstGeom>
            <a:noFill/>
          </p:spPr>
          <p:txBody>
            <a:bodyPr wrap="square">
              <a:spAutoFit/>
            </a:bodyPr>
            <a:lstStyle/>
            <a:p>
              <a:pPr algn="ctr">
                <a:lnSpc>
                  <a:spcPct val="150000"/>
                </a:lnSpc>
                <a:defRPr/>
              </a:pPr>
              <a:r>
                <a:rPr lang="en-US" sz="38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sp>
        <p:nvSpPr>
          <p:cNvPr id="67" name="Google Shape;252;p20">
            <a:extLst>
              <a:ext uri="{FF2B5EF4-FFF2-40B4-BE49-F238E27FC236}">
                <a16:creationId xmlns:a16="http://schemas.microsoft.com/office/drawing/2014/main" id="{9130F784-A755-768E-7245-16F7C031DFA0}"/>
              </a:ext>
            </a:extLst>
          </p:cNvPr>
          <p:cNvSpPr/>
          <p:nvPr/>
        </p:nvSpPr>
        <p:spPr>
          <a:xfrm>
            <a:off x="7775813" y="2598089"/>
            <a:ext cx="2201126" cy="2261407"/>
          </a:xfrm>
          <a:custGeom>
            <a:avLst/>
            <a:gdLst/>
            <a:ahLst/>
            <a:cxnLst/>
            <a:rect l="l" t="t" r="r" b="b"/>
            <a:pathLst>
              <a:path w="17244" h="22162" extrusionOk="0">
                <a:moveTo>
                  <a:pt x="2324" y="1"/>
                </a:moveTo>
                <a:cubicBezTo>
                  <a:pt x="1042" y="1"/>
                  <a:pt x="1" y="1042"/>
                  <a:pt x="1" y="2324"/>
                </a:cubicBezTo>
                <a:lnTo>
                  <a:pt x="1" y="19838"/>
                </a:lnTo>
                <a:cubicBezTo>
                  <a:pt x="1" y="21119"/>
                  <a:pt x="1042" y="22162"/>
                  <a:pt x="2324" y="22162"/>
                </a:cubicBezTo>
                <a:lnTo>
                  <a:pt x="12011" y="22162"/>
                </a:lnTo>
                <a:lnTo>
                  <a:pt x="12011" y="21029"/>
                </a:lnTo>
                <a:lnTo>
                  <a:pt x="2324" y="21029"/>
                </a:lnTo>
                <a:cubicBezTo>
                  <a:pt x="1668" y="21029"/>
                  <a:pt x="1133" y="20495"/>
                  <a:pt x="1133" y="19840"/>
                </a:cubicBezTo>
                <a:lnTo>
                  <a:pt x="1133" y="2324"/>
                </a:lnTo>
                <a:cubicBezTo>
                  <a:pt x="1133" y="1668"/>
                  <a:pt x="1668" y="1133"/>
                  <a:pt x="2324" y="1133"/>
                </a:cubicBezTo>
                <a:lnTo>
                  <a:pt x="14920" y="1133"/>
                </a:lnTo>
                <a:cubicBezTo>
                  <a:pt x="15576" y="1133"/>
                  <a:pt x="16111" y="1668"/>
                  <a:pt x="16111" y="2324"/>
                </a:cubicBezTo>
                <a:lnTo>
                  <a:pt x="16111" y="7628"/>
                </a:lnTo>
                <a:lnTo>
                  <a:pt x="17244" y="7628"/>
                </a:lnTo>
                <a:lnTo>
                  <a:pt x="17244" y="2324"/>
                </a:lnTo>
                <a:cubicBezTo>
                  <a:pt x="17244" y="1042"/>
                  <a:pt x="16201" y="1"/>
                  <a:pt x="14920" y="1"/>
                </a:cubicBez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53;p20">
            <a:extLst>
              <a:ext uri="{FF2B5EF4-FFF2-40B4-BE49-F238E27FC236}">
                <a16:creationId xmlns:a16="http://schemas.microsoft.com/office/drawing/2014/main" id="{2281E8EE-B1EA-4228-9DF2-2836D98EB35C}"/>
              </a:ext>
            </a:extLst>
          </p:cNvPr>
          <p:cNvSpPr/>
          <p:nvPr/>
        </p:nvSpPr>
        <p:spPr>
          <a:xfrm>
            <a:off x="9113937" y="4918745"/>
            <a:ext cx="219294" cy="287084"/>
          </a:xfrm>
          <a:custGeom>
            <a:avLst/>
            <a:gdLst/>
            <a:ahLst/>
            <a:cxnLst/>
            <a:rect l="l" t="t" r="r" b="b"/>
            <a:pathLst>
              <a:path w="2329" h="3006" extrusionOk="0">
                <a:moveTo>
                  <a:pt x="1" y="0"/>
                </a:moveTo>
                <a:lnTo>
                  <a:pt x="1" y="3006"/>
                </a:lnTo>
                <a:lnTo>
                  <a:pt x="2329" y="1503"/>
                </a:lnTo>
                <a:lnTo>
                  <a:pt x="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9" name="Group 68">
            <a:extLst>
              <a:ext uri="{FF2B5EF4-FFF2-40B4-BE49-F238E27FC236}">
                <a16:creationId xmlns:a16="http://schemas.microsoft.com/office/drawing/2014/main" id="{26B572B5-7181-0598-6181-252667E9394F}"/>
              </a:ext>
            </a:extLst>
          </p:cNvPr>
          <p:cNvGrpSpPr/>
          <p:nvPr/>
        </p:nvGrpSpPr>
        <p:grpSpPr>
          <a:xfrm>
            <a:off x="9397189" y="3466428"/>
            <a:ext cx="2201254" cy="2366958"/>
            <a:chOff x="2582322" y="3020639"/>
            <a:chExt cx="2633813" cy="2746181"/>
          </a:xfrm>
        </p:grpSpPr>
        <p:sp>
          <p:nvSpPr>
            <p:cNvPr id="70" name="Google Shape;260;p20">
              <a:extLst>
                <a:ext uri="{FF2B5EF4-FFF2-40B4-BE49-F238E27FC236}">
                  <a16:creationId xmlns:a16="http://schemas.microsoft.com/office/drawing/2014/main" id="{9661BEDE-6991-73C8-6219-29B2932F5949}"/>
                </a:ext>
              </a:extLst>
            </p:cNvPr>
            <p:cNvSpPr/>
            <p:nvPr/>
          </p:nvSpPr>
          <p:spPr>
            <a:xfrm>
              <a:off x="2582322" y="3142866"/>
              <a:ext cx="2633813" cy="2623954"/>
            </a:xfrm>
            <a:custGeom>
              <a:avLst/>
              <a:gdLst/>
              <a:ahLst/>
              <a:cxnLst/>
              <a:rect l="l" t="t" r="r" b="b"/>
              <a:pathLst>
                <a:path w="17245" h="22164" extrusionOk="0">
                  <a:moveTo>
                    <a:pt x="2325" y="1"/>
                  </a:moveTo>
                  <a:cubicBezTo>
                    <a:pt x="1043" y="1"/>
                    <a:pt x="1" y="1043"/>
                    <a:pt x="1" y="2324"/>
                  </a:cubicBezTo>
                  <a:lnTo>
                    <a:pt x="1" y="19840"/>
                  </a:lnTo>
                  <a:cubicBezTo>
                    <a:pt x="1" y="21122"/>
                    <a:pt x="1043" y="22163"/>
                    <a:pt x="2325" y="22163"/>
                  </a:cubicBezTo>
                  <a:lnTo>
                    <a:pt x="14921" y="22163"/>
                  </a:lnTo>
                  <a:cubicBezTo>
                    <a:pt x="16201" y="22163"/>
                    <a:pt x="17245" y="21122"/>
                    <a:pt x="17245" y="19840"/>
                  </a:cubicBezTo>
                  <a:lnTo>
                    <a:pt x="17245" y="14536"/>
                  </a:lnTo>
                  <a:lnTo>
                    <a:pt x="16111" y="14536"/>
                  </a:lnTo>
                  <a:lnTo>
                    <a:pt x="16111" y="19840"/>
                  </a:lnTo>
                  <a:cubicBezTo>
                    <a:pt x="16111" y="20496"/>
                    <a:pt x="15577" y="21031"/>
                    <a:pt x="14921" y="21031"/>
                  </a:cubicBezTo>
                  <a:lnTo>
                    <a:pt x="2325" y="21031"/>
                  </a:lnTo>
                  <a:cubicBezTo>
                    <a:pt x="1668" y="21031"/>
                    <a:pt x="1134" y="20496"/>
                    <a:pt x="1134" y="19840"/>
                  </a:cubicBezTo>
                  <a:lnTo>
                    <a:pt x="1134" y="2324"/>
                  </a:lnTo>
                  <a:cubicBezTo>
                    <a:pt x="1134" y="1668"/>
                    <a:pt x="1668" y="1134"/>
                    <a:pt x="2325" y="1134"/>
                  </a:cubicBezTo>
                  <a:lnTo>
                    <a:pt x="12012" y="1134"/>
                  </a:lnTo>
                  <a:lnTo>
                    <a:pt x="12012" y="1"/>
                  </a:ln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1" name="Google Shape;261;p20">
              <a:extLst>
                <a:ext uri="{FF2B5EF4-FFF2-40B4-BE49-F238E27FC236}">
                  <a16:creationId xmlns:a16="http://schemas.microsoft.com/office/drawing/2014/main" id="{C1AA25D8-BEA3-DBF3-31CB-FCA75A6435D3}"/>
                </a:ext>
              </a:extLst>
            </p:cNvPr>
            <p:cNvSpPr/>
            <p:nvPr/>
          </p:nvSpPr>
          <p:spPr>
            <a:xfrm>
              <a:off x="4373286" y="3020639"/>
              <a:ext cx="299717" cy="392667"/>
            </a:xfrm>
            <a:custGeom>
              <a:avLst/>
              <a:gdLst/>
              <a:ahLst/>
              <a:cxnLst/>
              <a:rect l="l" t="t" r="r" b="b"/>
              <a:pathLst>
                <a:path w="2328" h="3007" extrusionOk="0">
                  <a:moveTo>
                    <a:pt x="1" y="1"/>
                  </a:moveTo>
                  <a:lnTo>
                    <a:pt x="1" y="3006"/>
                  </a:lnTo>
                  <a:lnTo>
                    <a:pt x="2328" y="1504"/>
                  </a:lnTo>
                  <a:lnTo>
                    <a:pt x="1" y="1"/>
                  </a:ln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 name="Group 71">
            <a:extLst>
              <a:ext uri="{FF2B5EF4-FFF2-40B4-BE49-F238E27FC236}">
                <a16:creationId xmlns:a16="http://schemas.microsoft.com/office/drawing/2014/main" id="{66C308F4-28A3-3014-8728-DAF4BCC78DC5}"/>
              </a:ext>
            </a:extLst>
          </p:cNvPr>
          <p:cNvGrpSpPr/>
          <p:nvPr/>
        </p:nvGrpSpPr>
        <p:grpSpPr>
          <a:xfrm>
            <a:off x="8020458" y="2184558"/>
            <a:ext cx="621816" cy="719912"/>
            <a:chOff x="1264352" y="1641269"/>
            <a:chExt cx="876623" cy="1014917"/>
          </a:xfrm>
        </p:grpSpPr>
        <p:sp>
          <p:nvSpPr>
            <p:cNvPr id="73" name="Google Shape;254;p20">
              <a:extLst>
                <a:ext uri="{FF2B5EF4-FFF2-40B4-BE49-F238E27FC236}">
                  <a16:creationId xmlns:a16="http://schemas.microsoft.com/office/drawing/2014/main" id="{BCCDFAEC-FFA3-25E8-394D-2F54C768A847}"/>
                </a:ext>
              </a:extLst>
            </p:cNvPr>
            <p:cNvSpPr/>
            <p:nvPr/>
          </p:nvSpPr>
          <p:spPr>
            <a:xfrm>
              <a:off x="1337157" y="1714919"/>
              <a:ext cx="731013" cy="741459"/>
            </a:xfrm>
            <a:custGeom>
              <a:avLst/>
              <a:gdLst/>
              <a:ahLst/>
              <a:cxnLst/>
              <a:rect l="l" t="t" r="r" b="b"/>
              <a:pathLst>
                <a:path w="5678" h="5678" extrusionOk="0">
                  <a:moveTo>
                    <a:pt x="2839" y="1"/>
                  </a:moveTo>
                  <a:cubicBezTo>
                    <a:pt x="1272" y="1"/>
                    <a:pt x="0" y="1272"/>
                    <a:pt x="0" y="2839"/>
                  </a:cubicBezTo>
                  <a:cubicBezTo>
                    <a:pt x="0" y="4407"/>
                    <a:pt x="1272" y="5678"/>
                    <a:pt x="2839" y="5678"/>
                  </a:cubicBezTo>
                  <a:cubicBezTo>
                    <a:pt x="4407" y="5678"/>
                    <a:pt x="5678" y="4407"/>
                    <a:pt x="5678" y="2839"/>
                  </a:cubicBezTo>
                  <a:cubicBezTo>
                    <a:pt x="5678" y="1272"/>
                    <a:pt x="4407" y="1"/>
                    <a:pt x="2839" y="1"/>
                  </a:cubicBez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grpSp>
          <p:nvGrpSpPr>
            <p:cNvPr id="74" name="Group 73">
              <a:extLst>
                <a:ext uri="{FF2B5EF4-FFF2-40B4-BE49-F238E27FC236}">
                  <a16:creationId xmlns:a16="http://schemas.microsoft.com/office/drawing/2014/main" id="{BD9F1BCB-A329-86D9-C7DF-E304CF911C06}"/>
                </a:ext>
              </a:extLst>
            </p:cNvPr>
            <p:cNvGrpSpPr/>
            <p:nvPr/>
          </p:nvGrpSpPr>
          <p:grpSpPr>
            <a:xfrm>
              <a:off x="1264352" y="1641269"/>
              <a:ext cx="876623" cy="1014917"/>
              <a:chOff x="1264352" y="1641269"/>
              <a:chExt cx="876623" cy="1014917"/>
            </a:xfrm>
          </p:grpSpPr>
          <p:sp>
            <p:nvSpPr>
              <p:cNvPr id="75" name="Google Shape;255;p20">
                <a:extLst>
                  <a:ext uri="{FF2B5EF4-FFF2-40B4-BE49-F238E27FC236}">
                    <a16:creationId xmlns:a16="http://schemas.microsoft.com/office/drawing/2014/main" id="{8FBD27AC-6F6C-35B5-4775-AB88FCC568E4}"/>
                  </a:ext>
                </a:extLst>
              </p:cNvPr>
              <p:cNvSpPr/>
              <p:nvPr/>
            </p:nvSpPr>
            <p:spPr>
              <a:xfrm>
                <a:off x="1264352" y="1641269"/>
                <a:ext cx="876623" cy="889148"/>
              </a:xfrm>
              <a:custGeom>
                <a:avLst/>
                <a:gdLst/>
                <a:ahLst/>
                <a:cxnLst/>
                <a:rect l="l" t="t" r="r" b="b"/>
                <a:pathLst>
                  <a:path w="6809" h="6809" extrusionOk="0">
                    <a:moveTo>
                      <a:pt x="3405" y="1131"/>
                    </a:moveTo>
                    <a:cubicBezTo>
                      <a:pt x="4658" y="1131"/>
                      <a:pt x="5677" y="2152"/>
                      <a:pt x="5677" y="3403"/>
                    </a:cubicBezTo>
                    <a:cubicBezTo>
                      <a:pt x="5677" y="4656"/>
                      <a:pt x="4658" y="5676"/>
                      <a:pt x="3405" y="5676"/>
                    </a:cubicBezTo>
                    <a:cubicBezTo>
                      <a:pt x="2152" y="5676"/>
                      <a:pt x="1132" y="4656"/>
                      <a:pt x="1132" y="3403"/>
                    </a:cubicBezTo>
                    <a:cubicBezTo>
                      <a:pt x="1132" y="2150"/>
                      <a:pt x="2152" y="1131"/>
                      <a:pt x="3405" y="1131"/>
                    </a:cubicBezTo>
                    <a:close/>
                    <a:moveTo>
                      <a:pt x="3405" y="1"/>
                    </a:moveTo>
                    <a:cubicBezTo>
                      <a:pt x="1527" y="1"/>
                      <a:pt x="1" y="1527"/>
                      <a:pt x="1" y="3405"/>
                    </a:cubicBezTo>
                    <a:cubicBezTo>
                      <a:pt x="1" y="5282"/>
                      <a:pt x="1528" y="6809"/>
                      <a:pt x="3405" y="6809"/>
                    </a:cubicBezTo>
                    <a:cubicBezTo>
                      <a:pt x="5282" y="6809"/>
                      <a:pt x="6809" y="5282"/>
                      <a:pt x="6809" y="3405"/>
                    </a:cubicBezTo>
                    <a:cubicBezTo>
                      <a:pt x="6809" y="1527"/>
                      <a:pt x="5282" y="1"/>
                      <a:pt x="3405" y="1"/>
                    </a:cubicBez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dirty="0"/>
              </a:p>
            </p:txBody>
          </p:sp>
          <p:sp>
            <p:nvSpPr>
              <p:cNvPr id="76" name="TextBox 26">
                <a:extLst>
                  <a:ext uri="{FF2B5EF4-FFF2-40B4-BE49-F238E27FC236}">
                    <a16:creationId xmlns:a16="http://schemas.microsoft.com/office/drawing/2014/main" id="{F4668587-FB2F-B5D9-170F-EE030642C633}"/>
                  </a:ext>
                </a:extLst>
              </p:cNvPr>
              <p:cNvSpPr txBox="1"/>
              <p:nvPr/>
            </p:nvSpPr>
            <p:spPr bwMode="auto">
              <a:xfrm>
                <a:off x="1357457" y="1766741"/>
                <a:ext cx="710713" cy="889445"/>
              </a:xfrm>
              <a:prstGeom prst="rect">
                <a:avLst/>
              </a:prstGeom>
              <a:noFill/>
            </p:spPr>
            <p:txBody>
              <a:bodyPr wrap="square">
                <a:spAutoFit/>
              </a:bodyPr>
              <a:lstStyle/>
              <a:p>
                <a:pPr algn="ctr">
                  <a:lnSpc>
                    <a:spcPct val="150000"/>
                  </a:lnSpc>
                  <a:defRPr/>
                </a:pPr>
                <a:r>
                  <a:rPr lang="en-US" sz="38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grpSp>
        <p:nvGrpSpPr>
          <p:cNvPr id="79" name="Group 78">
            <a:extLst>
              <a:ext uri="{FF2B5EF4-FFF2-40B4-BE49-F238E27FC236}">
                <a16:creationId xmlns:a16="http://schemas.microsoft.com/office/drawing/2014/main" id="{5F55DFC8-B924-A9D1-AECE-118DC8BC57D2}"/>
              </a:ext>
            </a:extLst>
          </p:cNvPr>
          <p:cNvGrpSpPr/>
          <p:nvPr/>
        </p:nvGrpSpPr>
        <p:grpSpPr>
          <a:xfrm>
            <a:off x="9680300" y="5594690"/>
            <a:ext cx="622089" cy="703880"/>
            <a:chOff x="3460723" y="5238165"/>
            <a:chExt cx="877009" cy="992316"/>
          </a:xfrm>
        </p:grpSpPr>
        <p:sp>
          <p:nvSpPr>
            <p:cNvPr id="80" name="Google Shape;262;p20">
              <a:extLst>
                <a:ext uri="{FF2B5EF4-FFF2-40B4-BE49-F238E27FC236}">
                  <a16:creationId xmlns:a16="http://schemas.microsoft.com/office/drawing/2014/main" id="{23583625-DC59-7D78-AAE1-DEF776C1C550}"/>
                </a:ext>
              </a:extLst>
            </p:cNvPr>
            <p:cNvSpPr/>
            <p:nvPr/>
          </p:nvSpPr>
          <p:spPr>
            <a:xfrm>
              <a:off x="3533720" y="5311945"/>
              <a:ext cx="731013" cy="741589"/>
            </a:xfrm>
            <a:custGeom>
              <a:avLst/>
              <a:gdLst/>
              <a:ahLst/>
              <a:cxnLst/>
              <a:rect l="l" t="t" r="r" b="b"/>
              <a:pathLst>
                <a:path w="5678" h="5679" extrusionOk="0">
                  <a:moveTo>
                    <a:pt x="2839" y="1"/>
                  </a:moveTo>
                  <a:cubicBezTo>
                    <a:pt x="1271" y="1"/>
                    <a:pt x="1" y="1271"/>
                    <a:pt x="1" y="2840"/>
                  </a:cubicBezTo>
                  <a:cubicBezTo>
                    <a:pt x="1" y="4407"/>
                    <a:pt x="1271" y="5678"/>
                    <a:pt x="2839" y="5678"/>
                  </a:cubicBezTo>
                  <a:cubicBezTo>
                    <a:pt x="4406" y="5678"/>
                    <a:pt x="5678" y="4407"/>
                    <a:pt x="5678" y="2840"/>
                  </a:cubicBezTo>
                  <a:cubicBezTo>
                    <a:pt x="5678" y="1271"/>
                    <a:pt x="4406" y="1"/>
                    <a:pt x="2839"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a:p>
          </p:txBody>
        </p:sp>
        <p:sp>
          <p:nvSpPr>
            <p:cNvPr id="81" name="Google Shape;263;p20">
              <a:extLst>
                <a:ext uri="{FF2B5EF4-FFF2-40B4-BE49-F238E27FC236}">
                  <a16:creationId xmlns:a16="http://schemas.microsoft.com/office/drawing/2014/main" id="{9D64CBD1-0520-862C-AF2E-8EA564F5DF69}"/>
                </a:ext>
              </a:extLst>
            </p:cNvPr>
            <p:cNvSpPr/>
            <p:nvPr/>
          </p:nvSpPr>
          <p:spPr>
            <a:xfrm>
              <a:off x="3460723" y="5238165"/>
              <a:ext cx="877009" cy="889019"/>
            </a:xfrm>
            <a:custGeom>
              <a:avLst/>
              <a:gdLst/>
              <a:ahLst/>
              <a:cxnLst/>
              <a:rect l="l" t="t" r="r" b="b"/>
              <a:pathLst>
                <a:path w="6812" h="6808" extrusionOk="0">
                  <a:moveTo>
                    <a:pt x="3406" y="1132"/>
                  </a:moveTo>
                  <a:cubicBezTo>
                    <a:pt x="4659" y="1132"/>
                    <a:pt x="5678" y="2151"/>
                    <a:pt x="5678" y="3405"/>
                  </a:cubicBezTo>
                  <a:cubicBezTo>
                    <a:pt x="5678" y="4658"/>
                    <a:pt x="4659" y="5676"/>
                    <a:pt x="3406" y="5676"/>
                  </a:cubicBezTo>
                  <a:cubicBezTo>
                    <a:pt x="2153" y="5676"/>
                    <a:pt x="1134" y="4658"/>
                    <a:pt x="1134" y="3405"/>
                  </a:cubicBezTo>
                  <a:cubicBezTo>
                    <a:pt x="1134" y="2151"/>
                    <a:pt x="2153" y="1132"/>
                    <a:pt x="3406" y="1132"/>
                  </a:cubicBezTo>
                  <a:close/>
                  <a:moveTo>
                    <a:pt x="3406" y="0"/>
                  </a:moveTo>
                  <a:cubicBezTo>
                    <a:pt x="1528" y="0"/>
                    <a:pt x="1" y="1527"/>
                    <a:pt x="1" y="3405"/>
                  </a:cubicBezTo>
                  <a:cubicBezTo>
                    <a:pt x="1" y="5282"/>
                    <a:pt x="1529" y="6808"/>
                    <a:pt x="3406" y="6808"/>
                  </a:cubicBezTo>
                  <a:cubicBezTo>
                    <a:pt x="5284" y="6808"/>
                    <a:pt x="6812" y="5282"/>
                    <a:pt x="6810" y="3405"/>
                  </a:cubicBezTo>
                  <a:cubicBezTo>
                    <a:pt x="6810" y="1527"/>
                    <a:pt x="5283" y="0"/>
                    <a:pt x="3406" y="0"/>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800" dirty="0"/>
            </a:p>
          </p:txBody>
        </p:sp>
        <p:sp>
          <p:nvSpPr>
            <p:cNvPr id="82" name="TextBox 26">
              <a:extLst>
                <a:ext uri="{FF2B5EF4-FFF2-40B4-BE49-F238E27FC236}">
                  <a16:creationId xmlns:a16="http://schemas.microsoft.com/office/drawing/2014/main" id="{5CF23984-FC78-6FBD-79E7-57B42811F528}"/>
                </a:ext>
              </a:extLst>
            </p:cNvPr>
            <p:cNvSpPr txBox="1"/>
            <p:nvPr/>
          </p:nvSpPr>
          <p:spPr bwMode="auto">
            <a:xfrm>
              <a:off x="3533720" y="5341037"/>
              <a:ext cx="710712" cy="889444"/>
            </a:xfrm>
            <a:prstGeom prst="rect">
              <a:avLst/>
            </a:prstGeom>
            <a:noFill/>
          </p:spPr>
          <p:txBody>
            <a:bodyPr wrap="square">
              <a:spAutoFit/>
            </a:bodyPr>
            <a:lstStyle/>
            <a:p>
              <a:pPr algn="ctr">
                <a:lnSpc>
                  <a:spcPct val="150000"/>
                </a:lnSpc>
                <a:defRPr/>
              </a:pPr>
              <a:r>
                <a:rPr lang="en-US" sz="3800" b="1" spc="-150" baseline="30000" dirty="0">
                  <a:solidFill>
                    <a:schemeClr val="bg1"/>
                  </a:solidFill>
                  <a:latin typeface="Calibri" panose="020F0502020204030204" pitchFamily="34" charset="0"/>
                  <a:ea typeface="Roboto Cn" pitchFamily="2" charset="0"/>
                  <a:cs typeface="Calibri" panose="020F0502020204030204" pitchFamily="34" charset="0"/>
                </a:rPr>
                <a:t>06</a:t>
              </a:r>
            </a:p>
          </p:txBody>
        </p:sp>
      </p:grpSp>
      <p:sp>
        <p:nvSpPr>
          <p:cNvPr id="86" name="TextBox 28">
            <a:extLst>
              <a:ext uri="{FF2B5EF4-FFF2-40B4-BE49-F238E27FC236}">
                <a16:creationId xmlns:a16="http://schemas.microsoft.com/office/drawing/2014/main" id="{E5314567-F9AC-B7D8-5D70-559A8F7D1E07}"/>
              </a:ext>
            </a:extLst>
          </p:cNvPr>
          <p:cNvSpPr txBox="1"/>
          <p:nvPr/>
        </p:nvSpPr>
        <p:spPr>
          <a:xfrm>
            <a:off x="2250798" y="3937401"/>
            <a:ext cx="1832168" cy="1942198"/>
          </a:xfrm>
          <a:prstGeom prst="rect">
            <a:avLst/>
          </a:prstGeom>
          <a:noFill/>
        </p:spPr>
        <p:txBody>
          <a:bodyPr wrap="square">
            <a:spAutoFit/>
          </a:bodyPr>
          <a:lstStyle/>
          <a:p>
            <a:pPr>
              <a:lnSpc>
                <a:spcPts val="1790"/>
              </a:lnSpc>
            </a:pPr>
            <a:r>
              <a:rPr lang="en-US" sz="2300" b="1" dirty="0">
                <a:solidFill>
                  <a:srgbClr val="06677F"/>
                </a:solidFill>
              </a:rPr>
              <a:t>Arrival</a:t>
            </a:r>
          </a:p>
          <a:p>
            <a:pPr>
              <a:lnSpc>
                <a:spcPts val="1790"/>
              </a:lnSpc>
            </a:pPr>
            <a:endParaRPr lang="en-US" dirty="0">
              <a:solidFill>
                <a:srgbClr val="262626"/>
              </a:solidFill>
            </a:endParaRPr>
          </a:p>
          <a:p>
            <a:pPr>
              <a:lnSpc>
                <a:spcPts val="1790"/>
              </a:lnSpc>
            </a:pPr>
            <a:r>
              <a:rPr lang="en-US" dirty="0">
                <a:solidFill>
                  <a:srgbClr val="262626"/>
                </a:solidFill>
              </a:rPr>
              <a:t>Welcome, wayfinding, </a:t>
            </a:r>
          </a:p>
          <a:p>
            <a:pPr>
              <a:lnSpc>
                <a:spcPts val="1790"/>
              </a:lnSpc>
            </a:pPr>
            <a:r>
              <a:rPr lang="en-US" dirty="0">
                <a:solidFill>
                  <a:srgbClr val="262626"/>
                </a:solidFill>
              </a:rPr>
              <a:t>First impressions, clarity</a:t>
            </a:r>
          </a:p>
          <a:p>
            <a:pPr>
              <a:lnSpc>
                <a:spcPts val="1790"/>
              </a:lnSpc>
            </a:pPr>
            <a:endParaRPr lang="en-US" dirty="0">
              <a:solidFill>
                <a:srgbClr val="262626"/>
              </a:solidFill>
            </a:endParaRPr>
          </a:p>
          <a:p>
            <a:pPr>
              <a:lnSpc>
                <a:spcPts val="1790"/>
              </a:lnSpc>
            </a:pPr>
            <a:endParaRPr lang="en-US" dirty="0">
              <a:solidFill>
                <a:srgbClr val="262626"/>
              </a:solidFill>
            </a:endParaRPr>
          </a:p>
        </p:txBody>
      </p:sp>
      <p:sp>
        <p:nvSpPr>
          <p:cNvPr id="87" name="TextBox 28">
            <a:extLst>
              <a:ext uri="{FF2B5EF4-FFF2-40B4-BE49-F238E27FC236}">
                <a16:creationId xmlns:a16="http://schemas.microsoft.com/office/drawing/2014/main" id="{C110E3C2-383C-974B-5810-07C75A71B0E6}"/>
              </a:ext>
            </a:extLst>
          </p:cNvPr>
          <p:cNvSpPr txBox="1"/>
          <p:nvPr/>
        </p:nvSpPr>
        <p:spPr>
          <a:xfrm>
            <a:off x="6357555" y="3937401"/>
            <a:ext cx="1602074" cy="2173031"/>
          </a:xfrm>
          <a:prstGeom prst="rect">
            <a:avLst/>
          </a:prstGeom>
          <a:noFill/>
        </p:spPr>
        <p:txBody>
          <a:bodyPr wrap="square">
            <a:spAutoFit/>
          </a:bodyPr>
          <a:lstStyle/>
          <a:p>
            <a:pPr>
              <a:lnSpc>
                <a:spcPts val="1790"/>
              </a:lnSpc>
            </a:pPr>
            <a:r>
              <a:rPr lang="en-US" sz="2300" b="1" dirty="0">
                <a:solidFill>
                  <a:srgbClr val="3D8241"/>
                </a:solidFill>
              </a:rPr>
              <a:t>Dining &amp; Activities</a:t>
            </a:r>
          </a:p>
          <a:p>
            <a:pPr>
              <a:lnSpc>
                <a:spcPts val="1790"/>
              </a:lnSpc>
            </a:pPr>
            <a:endParaRPr lang="en-US" dirty="0">
              <a:solidFill>
                <a:srgbClr val="262626"/>
              </a:solidFill>
            </a:endParaRPr>
          </a:p>
          <a:p>
            <a:pPr>
              <a:lnSpc>
                <a:spcPts val="1790"/>
              </a:lnSpc>
            </a:pPr>
            <a:r>
              <a:rPr lang="en-US" dirty="0">
                <a:solidFill>
                  <a:srgbClr val="262626"/>
                </a:solidFill>
              </a:rPr>
              <a:t>Food choices, local culture, mobility, discovery</a:t>
            </a:r>
          </a:p>
          <a:p>
            <a:pPr>
              <a:lnSpc>
                <a:spcPts val="1790"/>
              </a:lnSpc>
            </a:pPr>
            <a:endParaRPr lang="en-US" dirty="0">
              <a:solidFill>
                <a:srgbClr val="262626"/>
              </a:solidFill>
            </a:endParaRPr>
          </a:p>
          <a:p>
            <a:pPr>
              <a:lnSpc>
                <a:spcPts val="1790"/>
              </a:lnSpc>
            </a:pPr>
            <a:endParaRPr lang="en-US" dirty="0">
              <a:solidFill>
                <a:srgbClr val="262626"/>
              </a:solidFill>
            </a:endParaRPr>
          </a:p>
        </p:txBody>
      </p:sp>
      <p:sp>
        <p:nvSpPr>
          <p:cNvPr id="88" name="TextBox 28">
            <a:extLst>
              <a:ext uri="{FF2B5EF4-FFF2-40B4-BE49-F238E27FC236}">
                <a16:creationId xmlns:a16="http://schemas.microsoft.com/office/drawing/2014/main" id="{410CE722-EFAD-C0B5-A72F-181CDC9DE3B5}"/>
              </a:ext>
            </a:extLst>
          </p:cNvPr>
          <p:cNvSpPr txBox="1"/>
          <p:nvPr/>
        </p:nvSpPr>
        <p:spPr>
          <a:xfrm>
            <a:off x="573701" y="2997719"/>
            <a:ext cx="1799647" cy="1942198"/>
          </a:xfrm>
          <a:prstGeom prst="rect">
            <a:avLst/>
          </a:prstGeom>
          <a:noFill/>
        </p:spPr>
        <p:txBody>
          <a:bodyPr wrap="square">
            <a:spAutoFit/>
          </a:bodyPr>
          <a:lstStyle/>
          <a:p>
            <a:pPr>
              <a:lnSpc>
                <a:spcPts val="1790"/>
              </a:lnSpc>
            </a:pPr>
            <a:r>
              <a:rPr lang="en-US" sz="2300" b="1" dirty="0">
                <a:solidFill>
                  <a:srgbClr val="0289AE"/>
                </a:solidFill>
              </a:rPr>
              <a:t>Pre-Arrival</a:t>
            </a:r>
            <a:r>
              <a:rPr lang="en-US" b="1" dirty="0">
                <a:solidFill>
                  <a:srgbClr val="262626"/>
                </a:solidFill>
              </a:rPr>
              <a:t> </a:t>
            </a:r>
          </a:p>
          <a:p>
            <a:pPr>
              <a:lnSpc>
                <a:spcPts val="1790"/>
              </a:lnSpc>
            </a:pPr>
            <a:endParaRPr lang="en-US" b="1" dirty="0">
              <a:solidFill>
                <a:srgbClr val="262626"/>
              </a:solidFill>
            </a:endParaRPr>
          </a:p>
          <a:p>
            <a:pPr>
              <a:lnSpc>
                <a:spcPts val="1790"/>
              </a:lnSpc>
            </a:pPr>
            <a:r>
              <a:rPr lang="en-US" dirty="0">
                <a:solidFill>
                  <a:srgbClr val="262626"/>
                </a:solidFill>
              </a:rPr>
              <a:t>Search, </a:t>
            </a:r>
            <a:br>
              <a:rPr lang="en-US" dirty="0">
                <a:solidFill>
                  <a:srgbClr val="262626"/>
                </a:solidFill>
              </a:rPr>
            </a:br>
            <a:r>
              <a:rPr lang="en-US" dirty="0">
                <a:solidFill>
                  <a:srgbClr val="262626"/>
                </a:solidFill>
              </a:rPr>
              <a:t>booking, expectations, trust signals</a:t>
            </a:r>
          </a:p>
          <a:p>
            <a:pPr>
              <a:lnSpc>
                <a:spcPts val="1790"/>
              </a:lnSpc>
            </a:pPr>
            <a:endParaRPr lang="en-US" dirty="0">
              <a:solidFill>
                <a:srgbClr val="262626"/>
              </a:solidFill>
            </a:endParaRPr>
          </a:p>
          <a:p>
            <a:pPr>
              <a:lnSpc>
                <a:spcPts val="1790"/>
              </a:lnSpc>
            </a:pPr>
            <a:endParaRPr lang="en-US" dirty="0">
              <a:solidFill>
                <a:srgbClr val="262626"/>
              </a:solidFill>
            </a:endParaRPr>
          </a:p>
        </p:txBody>
      </p:sp>
      <p:sp>
        <p:nvSpPr>
          <p:cNvPr id="89" name="TextBox 28">
            <a:extLst>
              <a:ext uri="{FF2B5EF4-FFF2-40B4-BE49-F238E27FC236}">
                <a16:creationId xmlns:a16="http://schemas.microsoft.com/office/drawing/2014/main" id="{13705259-92C3-C2A5-8631-8A151EF0B285}"/>
              </a:ext>
            </a:extLst>
          </p:cNvPr>
          <p:cNvSpPr txBox="1"/>
          <p:nvPr/>
        </p:nvSpPr>
        <p:spPr>
          <a:xfrm>
            <a:off x="4225147" y="2997719"/>
            <a:ext cx="2002424" cy="1942198"/>
          </a:xfrm>
          <a:prstGeom prst="rect">
            <a:avLst/>
          </a:prstGeom>
          <a:noFill/>
        </p:spPr>
        <p:txBody>
          <a:bodyPr wrap="square">
            <a:spAutoFit/>
          </a:bodyPr>
          <a:lstStyle/>
          <a:p>
            <a:pPr>
              <a:lnSpc>
                <a:spcPts val="1790"/>
              </a:lnSpc>
            </a:pPr>
            <a:r>
              <a:rPr lang="en-US" sz="2300" b="1" dirty="0">
                <a:solidFill>
                  <a:srgbClr val="62A844"/>
                </a:solidFill>
              </a:rPr>
              <a:t>Stay</a:t>
            </a:r>
          </a:p>
          <a:p>
            <a:pPr>
              <a:lnSpc>
                <a:spcPts val="1790"/>
              </a:lnSpc>
            </a:pPr>
            <a:endParaRPr lang="en-US" dirty="0">
              <a:solidFill>
                <a:srgbClr val="262626"/>
              </a:solidFill>
            </a:endParaRPr>
          </a:p>
          <a:p>
            <a:pPr>
              <a:lnSpc>
                <a:spcPts val="1790"/>
              </a:lnSpc>
            </a:pPr>
            <a:r>
              <a:rPr lang="en-US" dirty="0">
                <a:solidFill>
                  <a:srgbClr val="262626"/>
                </a:solidFill>
              </a:rPr>
              <a:t>Comfort, room </a:t>
            </a:r>
          </a:p>
          <a:p>
            <a:pPr>
              <a:lnSpc>
                <a:spcPts val="1790"/>
              </a:lnSpc>
            </a:pPr>
            <a:r>
              <a:rPr lang="en-US" dirty="0">
                <a:solidFill>
                  <a:srgbClr val="262626"/>
                </a:solidFill>
              </a:rPr>
              <a:t>use, housekeeping, amenities, information</a:t>
            </a:r>
          </a:p>
          <a:p>
            <a:pPr>
              <a:lnSpc>
                <a:spcPts val="1790"/>
              </a:lnSpc>
            </a:pPr>
            <a:endParaRPr lang="en-US" dirty="0">
              <a:solidFill>
                <a:srgbClr val="262626"/>
              </a:solidFill>
            </a:endParaRPr>
          </a:p>
          <a:p>
            <a:pPr>
              <a:lnSpc>
                <a:spcPts val="1790"/>
              </a:lnSpc>
            </a:pPr>
            <a:endParaRPr lang="en-US" dirty="0">
              <a:solidFill>
                <a:srgbClr val="262626"/>
              </a:solidFill>
            </a:endParaRPr>
          </a:p>
        </p:txBody>
      </p:sp>
      <p:sp>
        <p:nvSpPr>
          <p:cNvPr id="90" name="TextBox 28">
            <a:extLst>
              <a:ext uri="{FF2B5EF4-FFF2-40B4-BE49-F238E27FC236}">
                <a16:creationId xmlns:a16="http://schemas.microsoft.com/office/drawing/2014/main" id="{A35D2948-E879-A536-FD5B-8C7B7F52A3A2}"/>
              </a:ext>
            </a:extLst>
          </p:cNvPr>
          <p:cNvSpPr txBox="1"/>
          <p:nvPr/>
        </p:nvSpPr>
        <p:spPr>
          <a:xfrm>
            <a:off x="7987509" y="2995053"/>
            <a:ext cx="1602073" cy="2173031"/>
          </a:xfrm>
          <a:prstGeom prst="rect">
            <a:avLst/>
          </a:prstGeom>
          <a:noFill/>
        </p:spPr>
        <p:txBody>
          <a:bodyPr wrap="square">
            <a:spAutoFit/>
          </a:bodyPr>
          <a:lstStyle/>
          <a:p>
            <a:pPr>
              <a:lnSpc>
                <a:spcPts val="1790"/>
              </a:lnSpc>
            </a:pPr>
            <a:r>
              <a:rPr lang="en-US" sz="2300" b="1" dirty="0">
                <a:solidFill>
                  <a:srgbClr val="EABB22"/>
                </a:solidFill>
              </a:rPr>
              <a:t>Departure</a:t>
            </a:r>
          </a:p>
          <a:p>
            <a:pPr>
              <a:lnSpc>
                <a:spcPts val="1790"/>
              </a:lnSpc>
            </a:pPr>
            <a:endParaRPr lang="en-US" dirty="0">
              <a:solidFill>
                <a:srgbClr val="262626"/>
              </a:solidFill>
            </a:endParaRPr>
          </a:p>
          <a:p>
            <a:pPr>
              <a:lnSpc>
                <a:spcPts val="1790"/>
              </a:lnSpc>
            </a:pPr>
            <a:r>
              <a:rPr lang="en-US" dirty="0">
                <a:solidFill>
                  <a:srgbClr val="262626"/>
                </a:solidFill>
              </a:rPr>
              <a:t>Closure, gratitude, memory, review </a:t>
            </a:r>
          </a:p>
          <a:p>
            <a:pPr>
              <a:lnSpc>
                <a:spcPts val="1790"/>
              </a:lnSpc>
            </a:pPr>
            <a:r>
              <a:rPr lang="en-US" dirty="0">
                <a:solidFill>
                  <a:srgbClr val="262626"/>
                </a:solidFill>
              </a:rPr>
              <a:t>prompt</a:t>
            </a:r>
          </a:p>
          <a:p>
            <a:pPr>
              <a:lnSpc>
                <a:spcPts val="1790"/>
              </a:lnSpc>
            </a:pPr>
            <a:endParaRPr lang="en-US" dirty="0">
              <a:solidFill>
                <a:srgbClr val="262626"/>
              </a:solidFill>
            </a:endParaRPr>
          </a:p>
          <a:p>
            <a:pPr>
              <a:lnSpc>
                <a:spcPts val="1790"/>
              </a:lnSpc>
            </a:pPr>
            <a:endParaRPr lang="en-US" dirty="0">
              <a:solidFill>
                <a:srgbClr val="262626"/>
              </a:solidFill>
            </a:endParaRPr>
          </a:p>
        </p:txBody>
      </p:sp>
      <p:sp>
        <p:nvSpPr>
          <p:cNvPr id="91" name="TextBox 28">
            <a:extLst>
              <a:ext uri="{FF2B5EF4-FFF2-40B4-BE49-F238E27FC236}">
                <a16:creationId xmlns:a16="http://schemas.microsoft.com/office/drawing/2014/main" id="{F42CF092-442E-5B32-6855-39AB2BBF2F9D}"/>
              </a:ext>
            </a:extLst>
          </p:cNvPr>
          <p:cNvSpPr txBox="1"/>
          <p:nvPr/>
        </p:nvSpPr>
        <p:spPr>
          <a:xfrm>
            <a:off x="9621561" y="3934735"/>
            <a:ext cx="1976882" cy="1249701"/>
          </a:xfrm>
          <a:prstGeom prst="rect">
            <a:avLst/>
          </a:prstGeom>
          <a:noFill/>
        </p:spPr>
        <p:txBody>
          <a:bodyPr wrap="square">
            <a:spAutoFit/>
          </a:bodyPr>
          <a:lstStyle/>
          <a:p>
            <a:pPr>
              <a:lnSpc>
                <a:spcPts val="1790"/>
              </a:lnSpc>
            </a:pPr>
            <a:r>
              <a:rPr lang="en-US" sz="2300" b="1" dirty="0">
                <a:solidFill>
                  <a:srgbClr val="0289AE"/>
                </a:solidFill>
              </a:rPr>
              <a:t>Post-stay</a:t>
            </a:r>
          </a:p>
          <a:p>
            <a:pPr>
              <a:lnSpc>
                <a:spcPts val="1790"/>
              </a:lnSpc>
            </a:pPr>
            <a:endParaRPr lang="en-US" dirty="0">
              <a:solidFill>
                <a:srgbClr val="262626"/>
              </a:solidFill>
            </a:endParaRPr>
          </a:p>
          <a:p>
            <a:pPr>
              <a:lnSpc>
                <a:spcPts val="1790"/>
              </a:lnSpc>
            </a:pPr>
            <a:r>
              <a:rPr lang="en-US" dirty="0">
                <a:solidFill>
                  <a:srgbClr val="262626"/>
                </a:solidFill>
              </a:rPr>
              <a:t>Reflection, sharing, loyalty, advocacy</a:t>
            </a:r>
          </a:p>
          <a:p>
            <a:pPr>
              <a:lnSpc>
                <a:spcPts val="1790"/>
              </a:lnSpc>
            </a:pPr>
            <a:endParaRPr lang="en-US" dirty="0">
              <a:solidFill>
                <a:srgbClr val="262626"/>
              </a:solidFill>
            </a:endParaRPr>
          </a:p>
        </p:txBody>
      </p:sp>
    </p:spTree>
    <p:extLst>
      <p:ext uri="{BB962C8B-B14F-4D97-AF65-F5344CB8AC3E}">
        <p14:creationId xmlns:p14="http://schemas.microsoft.com/office/powerpoint/2010/main" val="30294541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32F2E3F-A5B2-44EC-EE40-E334F1F1CCD3}"/>
              </a:ext>
            </a:extLst>
          </p:cNvPr>
          <p:cNvSpPr/>
          <p:nvPr/>
        </p:nvSpPr>
        <p:spPr>
          <a:xfrm flipH="1" flipV="1">
            <a:off x="0" y="0"/>
            <a:ext cx="12185500" cy="16857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10" name="Text Placeholder 2">
            <a:extLst>
              <a:ext uri="{FF2B5EF4-FFF2-40B4-BE49-F238E27FC236}">
                <a16:creationId xmlns:a16="http://schemas.microsoft.com/office/drawing/2014/main" id="{0AEC9317-FA0D-5C89-84CE-5685782147C8}"/>
              </a:ext>
            </a:extLst>
          </p:cNvPr>
          <p:cNvSpPr txBox="1">
            <a:spLocks/>
          </p:cNvSpPr>
          <p:nvPr/>
        </p:nvSpPr>
        <p:spPr>
          <a:xfrm>
            <a:off x="579275" y="2131647"/>
            <a:ext cx="3475889"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rgbClr val="0289AE"/>
                </a:solidFill>
              </a:rPr>
              <a:t>Guests rarely describe a stay as “ESG-aligned.” They describe how it </a:t>
            </a:r>
            <a:r>
              <a:rPr lang="en-US" b="1" dirty="0">
                <a:solidFill>
                  <a:srgbClr val="0289AE"/>
                </a:solidFill>
              </a:rPr>
              <a:t>felt.</a:t>
            </a:r>
          </a:p>
          <a:p>
            <a:pPr marL="0" indent="0">
              <a:buNone/>
            </a:pPr>
            <a:endParaRPr lang="en-US" sz="2400" dirty="0">
              <a:solidFill>
                <a:srgbClr val="0289AE"/>
              </a:solidFill>
            </a:endParaRPr>
          </a:p>
        </p:txBody>
      </p:sp>
      <p:sp>
        <p:nvSpPr>
          <p:cNvPr id="14" name="Graphic 4">
            <a:extLst>
              <a:ext uri="{FF2B5EF4-FFF2-40B4-BE49-F238E27FC236}">
                <a16:creationId xmlns:a16="http://schemas.microsoft.com/office/drawing/2014/main" id="{1760BBD1-DE0C-BFB0-A4FC-8279C544EBC2}"/>
              </a:ext>
            </a:extLst>
          </p:cNvPr>
          <p:cNvSpPr/>
          <p:nvPr/>
        </p:nvSpPr>
        <p:spPr>
          <a:xfrm rot="5400000">
            <a:off x="1314218" y="844431"/>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634E1DCC-6497-2937-9B14-21A1FFBC2E2F}"/>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14515"/>
            <a:ext cx="3531079" cy="1671210"/>
          </a:xfrm>
          <a:prstGeom prst="rect">
            <a:avLst/>
          </a:prstGeom>
        </p:spPr>
      </p:pic>
      <p:sp>
        <p:nvSpPr>
          <p:cNvPr id="16" name="Text Placeholder 11">
            <a:extLst>
              <a:ext uri="{FF2B5EF4-FFF2-40B4-BE49-F238E27FC236}">
                <a16:creationId xmlns:a16="http://schemas.microsoft.com/office/drawing/2014/main" id="{0A22DD92-6BDC-C333-679C-24F32F42EC88}"/>
              </a:ext>
            </a:extLst>
          </p:cNvPr>
          <p:cNvSpPr txBox="1">
            <a:spLocks/>
          </p:cNvSpPr>
          <p:nvPr/>
        </p:nvSpPr>
        <p:spPr>
          <a:xfrm>
            <a:off x="579276" y="753148"/>
            <a:ext cx="8410178"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Why This Module Matters in Hospitality</a:t>
            </a:r>
          </a:p>
          <a:p>
            <a:pPr marL="0" indent="0">
              <a:buNone/>
            </a:pPr>
            <a:endParaRPr lang="en-US" sz="3600" b="1" dirty="0">
              <a:solidFill>
                <a:schemeClr val="bg1"/>
              </a:solidFill>
              <a:cs typeface="Times New Roman" panose="02020603050405020304" pitchFamily="18" charset="0"/>
            </a:endParaRPr>
          </a:p>
        </p:txBody>
      </p:sp>
      <p:sp>
        <p:nvSpPr>
          <p:cNvPr id="17" name="Text Placeholder 2">
            <a:extLst>
              <a:ext uri="{FF2B5EF4-FFF2-40B4-BE49-F238E27FC236}">
                <a16:creationId xmlns:a16="http://schemas.microsoft.com/office/drawing/2014/main" id="{F7E67B58-C9B6-C8C9-D7FE-B7C4C81AC3F5}"/>
              </a:ext>
            </a:extLst>
          </p:cNvPr>
          <p:cNvSpPr txBox="1">
            <a:spLocks/>
          </p:cNvSpPr>
          <p:nvPr/>
        </p:nvSpPr>
        <p:spPr>
          <a:xfrm>
            <a:off x="4373218" y="2054955"/>
            <a:ext cx="6984594"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dirty="0">
                <a:solidFill>
                  <a:srgbClr val="262626"/>
                </a:solidFill>
              </a:rPr>
              <a:t>They remember whether arrival was smooth, whether the room felt thoughtful, whether food felt local and authentic, whether sustainability felt genuine and lived, and whether the business made responsible choices visible without making the guest feel guilty or restricted.</a:t>
            </a:r>
          </a:p>
          <a:p>
            <a:pPr marL="0" indent="0">
              <a:buNone/>
            </a:pPr>
            <a:r>
              <a:rPr lang="en-US" sz="2200" dirty="0">
                <a:solidFill>
                  <a:srgbClr val="262626"/>
                </a:solidFill>
              </a:rPr>
              <a:t>This is why sustainable customer experience design matters. It translates environmental and social values into </a:t>
            </a:r>
            <a:r>
              <a:rPr lang="en-US" sz="2200" b="1" dirty="0">
                <a:solidFill>
                  <a:srgbClr val="06677F"/>
                </a:solidFill>
              </a:rPr>
              <a:t>moments that guests can see, understand, and remember</a:t>
            </a:r>
            <a:r>
              <a:rPr lang="en-US" sz="2200" dirty="0">
                <a:solidFill>
                  <a:srgbClr val="06677F"/>
                </a:solidFill>
              </a:rPr>
              <a:t>.</a:t>
            </a:r>
          </a:p>
          <a:p>
            <a:pPr marL="0" indent="0">
              <a:buNone/>
            </a:pPr>
            <a:r>
              <a:rPr lang="en-US" sz="2200" dirty="0">
                <a:solidFill>
                  <a:srgbClr val="262626"/>
                </a:solidFill>
              </a:rPr>
              <a:t>This also reflects current market shifts. </a:t>
            </a:r>
            <a:r>
              <a:rPr lang="en-US" sz="2200" dirty="0" err="1">
                <a:solidFill>
                  <a:srgbClr val="262626"/>
                </a:solidFill>
              </a:rPr>
              <a:t>Booking.com’s</a:t>
            </a:r>
            <a:r>
              <a:rPr lang="en-US" sz="2200" dirty="0">
                <a:solidFill>
                  <a:srgbClr val="262626"/>
                </a:solidFill>
              </a:rPr>
              <a:t> 2025 </a:t>
            </a:r>
            <a:r>
              <a:rPr lang="en-US" sz="2200" dirty="0" err="1">
                <a:solidFill>
                  <a:srgbClr val="262626"/>
                </a:solidFill>
              </a:rPr>
              <a:t>traveller</a:t>
            </a:r>
            <a:r>
              <a:rPr lang="en-US" sz="2200" dirty="0">
                <a:solidFill>
                  <a:srgbClr val="262626"/>
                </a:solidFill>
              </a:rPr>
              <a:t> research reported that </a:t>
            </a:r>
            <a:r>
              <a:rPr lang="en-US" sz="2200" b="1" dirty="0">
                <a:solidFill>
                  <a:srgbClr val="06677F"/>
                </a:solidFill>
              </a:rPr>
              <a:t>84% of </a:t>
            </a:r>
            <a:r>
              <a:rPr lang="en-US" sz="2200" b="1" dirty="0" err="1">
                <a:solidFill>
                  <a:srgbClr val="06677F"/>
                </a:solidFill>
              </a:rPr>
              <a:t>travellers</a:t>
            </a:r>
            <a:r>
              <a:rPr lang="en-US" sz="2200" b="1" dirty="0">
                <a:solidFill>
                  <a:srgbClr val="06677F"/>
                </a:solidFill>
              </a:rPr>
              <a:t> say sustainable travel remains important</a:t>
            </a:r>
            <a:r>
              <a:rPr lang="en-US" sz="2200" dirty="0">
                <a:solidFill>
                  <a:srgbClr val="06677F"/>
                </a:solidFill>
              </a:rPr>
              <a:t>, </a:t>
            </a:r>
            <a:r>
              <a:rPr lang="en-US" sz="2200" b="1" dirty="0">
                <a:solidFill>
                  <a:srgbClr val="06677F"/>
                </a:solidFill>
              </a:rPr>
              <a:t>93% want to make more sustainable travel choices</a:t>
            </a:r>
            <a:r>
              <a:rPr lang="en-US" sz="2200" dirty="0">
                <a:solidFill>
                  <a:srgbClr val="262626"/>
                </a:solidFill>
              </a:rPr>
              <a:t>, and </a:t>
            </a:r>
            <a:r>
              <a:rPr lang="en-US" sz="2200" b="1" dirty="0">
                <a:solidFill>
                  <a:srgbClr val="06677F"/>
                </a:solidFill>
              </a:rPr>
              <a:t>77% seek experiences representative of local culture.</a:t>
            </a:r>
            <a:endParaRPr lang="en-US" sz="2200" dirty="0">
              <a:solidFill>
                <a:srgbClr val="06677F"/>
              </a:solidFill>
            </a:endParaRPr>
          </a:p>
        </p:txBody>
      </p:sp>
      <p:pic>
        <p:nvPicPr>
          <p:cNvPr id="2" name="Graphic 1">
            <a:extLst>
              <a:ext uri="{FF2B5EF4-FFF2-40B4-BE49-F238E27FC236}">
                <a16:creationId xmlns:a16="http://schemas.microsoft.com/office/drawing/2014/main" id="{203B269B-BDCB-2CA1-6455-A135032E21F5}"/>
              </a:ext>
            </a:extLst>
          </p:cNvPr>
          <p:cNvPicPr>
            <a:picLocks noChangeAspect="1"/>
          </p:cNvPicPr>
          <p:nvPr/>
        </p:nvPicPr>
        <p:blipFill>
          <a:blip>
            <a:extLst>
              <a:ext uri="{96DAC541-7B7A-43D3-8B79-37D633B846F1}">
                <asvg:svgBlip xmlns:asvg="http://schemas.microsoft.com/office/drawing/2016/SVG/main" r:embed="rId2"/>
              </a:ext>
            </a:extLst>
          </a:blip>
          <a:srcRect l="31584" t="38697" r="39868" b="43173"/>
          <a:stretch/>
        </p:blipFill>
        <p:spPr>
          <a:xfrm rot="5400000">
            <a:off x="-140936" y="3953761"/>
            <a:ext cx="3112653" cy="2798801"/>
          </a:xfrm>
          <a:prstGeom prst="rect">
            <a:avLst/>
          </a:prstGeom>
        </p:spPr>
      </p:pic>
    </p:spTree>
    <p:extLst>
      <p:ext uri="{BB962C8B-B14F-4D97-AF65-F5344CB8AC3E}">
        <p14:creationId xmlns:p14="http://schemas.microsoft.com/office/powerpoint/2010/main" val="39786860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9B941-E735-9A2A-BFE8-264AB1AE64EC}"/>
            </a:ext>
          </a:extLst>
        </p:cNvPr>
        <p:cNvGrpSpPr/>
        <p:nvPr/>
      </p:nvGrpSpPr>
      <p:grpSpPr>
        <a:xfrm>
          <a:off x="0" y="0"/>
          <a:ext cx="0" cy="0"/>
          <a:chOff x="0" y="0"/>
          <a:chExt cx="0" cy="0"/>
        </a:xfrm>
      </p:grpSpPr>
      <p:sp>
        <p:nvSpPr>
          <p:cNvPr id="17" name="Google Shape;701;p55">
            <a:extLst>
              <a:ext uri="{FF2B5EF4-FFF2-40B4-BE49-F238E27FC236}">
                <a16:creationId xmlns:a16="http://schemas.microsoft.com/office/drawing/2014/main" id="{2A059FFB-989D-F4C1-7DF5-FFAB8AE66E29}"/>
              </a:ext>
            </a:extLst>
          </p:cNvPr>
          <p:cNvSpPr/>
          <p:nvPr/>
        </p:nvSpPr>
        <p:spPr>
          <a:xfrm rot="5400000" flipH="1">
            <a:off x="6307993" y="1785982"/>
            <a:ext cx="2158839" cy="3500155"/>
          </a:xfrm>
          <a:prstGeom prst="uturnArrow">
            <a:avLst>
              <a:gd name="adj1" fmla="val 25000"/>
              <a:gd name="adj2" fmla="val 25000"/>
              <a:gd name="adj3" fmla="val 25000"/>
              <a:gd name="adj4" fmla="val 43750"/>
              <a:gd name="adj5" fmla="val 75000"/>
            </a:avLst>
          </a:prstGeom>
          <a:solidFill>
            <a:srgbClr val="3D8241"/>
          </a:solidFill>
          <a:ln>
            <a:noFill/>
          </a:ln>
          <a:effectLst>
            <a:outerShdw blurRad="800100" dist="546100" dir="2700000" sx="90000" sy="90000" algn="tl" rotWithShape="0">
              <a:srgbClr val="000000">
                <a:alpha val="9803"/>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900">
              <a:solidFill>
                <a:schemeClr val="lt1"/>
              </a:solidFill>
              <a:latin typeface="Calibri" panose="020F0502020204030204" pitchFamily="34" charset="0"/>
              <a:ea typeface="Poppins"/>
              <a:cs typeface="Calibri" panose="020F0502020204030204" pitchFamily="34" charset="0"/>
              <a:sym typeface="Poppins"/>
            </a:endParaRPr>
          </a:p>
        </p:txBody>
      </p:sp>
      <p:sp>
        <p:nvSpPr>
          <p:cNvPr id="19" name="Google Shape;702;p55">
            <a:extLst>
              <a:ext uri="{FF2B5EF4-FFF2-40B4-BE49-F238E27FC236}">
                <a16:creationId xmlns:a16="http://schemas.microsoft.com/office/drawing/2014/main" id="{8D01E0DA-8158-F3B1-8E29-E46836C3D52C}"/>
              </a:ext>
            </a:extLst>
          </p:cNvPr>
          <p:cNvSpPr/>
          <p:nvPr/>
        </p:nvSpPr>
        <p:spPr>
          <a:xfrm>
            <a:off x="2933222" y="3805847"/>
            <a:ext cx="4454191" cy="1088264"/>
          </a:xfrm>
          <a:prstGeom prst="rightArrow">
            <a:avLst>
              <a:gd name="adj1" fmla="val 50000"/>
              <a:gd name="adj2" fmla="val 50000"/>
            </a:avLst>
          </a:prstGeom>
          <a:solidFill>
            <a:srgbClr val="62A84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Calibri" panose="020F0502020204030204" pitchFamily="34" charset="0"/>
              <a:ea typeface="Poppins"/>
              <a:cs typeface="Calibri" panose="020F0502020204030204" pitchFamily="34" charset="0"/>
              <a:sym typeface="Poppins"/>
            </a:endParaRPr>
          </a:p>
        </p:txBody>
      </p:sp>
      <p:sp>
        <p:nvSpPr>
          <p:cNvPr id="20" name="Google Shape;703;p55">
            <a:extLst>
              <a:ext uri="{FF2B5EF4-FFF2-40B4-BE49-F238E27FC236}">
                <a16:creationId xmlns:a16="http://schemas.microsoft.com/office/drawing/2014/main" id="{D11127FF-8456-0099-F4CF-17D40DF29DD3}"/>
              </a:ext>
            </a:extLst>
          </p:cNvPr>
          <p:cNvSpPr/>
          <p:nvPr/>
        </p:nvSpPr>
        <p:spPr>
          <a:xfrm rot="16200000" flipH="1">
            <a:off x="1848906" y="2754753"/>
            <a:ext cx="2158839" cy="2103886"/>
          </a:xfrm>
          <a:prstGeom prst="uturnArrow">
            <a:avLst>
              <a:gd name="adj1" fmla="val 25000"/>
              <a:gd name="adj2" fmla="val 25000"/>
              <a:gd name="adj3" fmla="val 25000"/>
              <a:gd name="adj4" fmla="val 43750"/>
              <a:gd name="adj5" fmla="val 75000"/>
            </a:avLst>
          </a:prstGeom>
          <a:solidFill>
            <a:srgbClr val="06677F"/>
          </a:solidFill>
          <a:ln>
            <a:noFill/>
          </a:ln>
          <a:effectLst>
            <a:outerShdw blurRad="800100" dist="546100" dir="2700000" sx="90000" sy="90000" algn="tl" rotWithShape="0">
              <a:srgbClr val="000000">
                <a:alpha val="9803"/>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900">
              <a:solidFill>
                <a:schemeClr val="lt1"/>
              </a:solidFill>
              <a:latin typeface="Calibri" panose="020F0502020204030204" pitchFamily="34" charset="0"/>
              <a:ea typeface="Poppins"/>
              <a:cs typeface="Calibri" panose="020F0502020204030204" pitchFamily="34" charset="0"/>
              <a:sym typeface="Poppins"/>
            </a:endParaRPr>
          </a:p>
        </p:txBody>
      </p:sp>
      <p:sp>
        <p:nvSpPr>
          <p:cNvPr id="22" name="Google Shape;704;p55">
            <a:extLst>
              <a:ext uri="{FF2B5EF4-FFF2-40B4-BE49-F238E27FC236}">
                <a16:creationId xmlns:a16="http://schemas.microsoft.com/office/drawing/2014/main" id="{9A88AE4D-13F7-B648-139C-2146303A59F9}"/>
              </a:ext>
            </a:extLst>
          </p:cNvPr>
          <p:cNvSpPr/>
          <p:nvPr/>
        </p:nvSpPr>
        <p:spPr>
          <a:xfrm rot="5400000">
            <a:off x="1480276" y="-78201"/>
            <a:ext cx="2158839" cy="5119391"/>
          </a:xfrm>
          <a:prstGeom prst="uturnArrow">
            <a:avLst>
              <a:gd name="adj1" fmla="val 25000"/>
              <a:gd name="adj2" fmla="val 25000"/>
              <a:gd name="adj3" fmla="val 25000"/>
              <a:gd name="adj4" fmla="val 43750"/>
              <a:gd name="adj5" fmla="val 30803"/>
            </a:avLst>
          </a:prstGeom>
          <a:solidFill>
            <a:srgbClr val="0289AE"/>
          </a:solidFill>
          <a:ln>
            <a:noFill/>
          </a:ln>
          <a:effectLst>
            <a:outerShdw blurRad="800100" dist="546100" dir="2700000" sx="90000" sy="90000" algn="tl" rotWithShape="0">
              <a:srgbClr val="000000">
                <a:alpha val="9803"/>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900">
              <a:solidFill>
                <a:schemeClr val="lt1"/>
              </a:solidFill>
              <a:latin typeface="Calibri" panose="020F0502020204030204" pitchFamily="34" charset="0"/>
              <a:ea typeface="Poppins"/>
              <a:cs typeface="Calibri" panose="020F0502020204030204" pitchFamily="34" charset="0"/>
              <a:sym typeface="Poppins"/>
            </a:endParaRPr>
          </a:p>
        </p:txBody>
      </p:sp>
      <p:sp>
        <p:nvSpPr>
          <p:cNvPr id="54" name="Google Shape;728;p55">
            <a:extLst>
              <a:ext uri="{FF2B5EF4-FFF2-40B4-BE49-F238E27FC236}">
                <a16:creationId xmlns:a16="http://schemas.microsoft.com/office/drawing/2014/main" id="{22C2EFC2-0AFE-ADFF-16AE-C20B1853F9E3}"/>
              </a:ext>
            </a:extLst>
          </p:cNvPr>
          <p:cNvSpPr txBox="1"/>
          <p:nvPr/>
        </p:nvSpPr>
        <p:spPr>
          <a:xfrm>
            <a:off x="5241517" y="1826732"/>
            <a:ext cx="2709280" cy="582180"/>
          </a:xfrm>
          <a:prstGeom prst="rect">
            <a:avLst/>
          </a:prstGeom>
          <a:noFill/>
          <a:ln>
            <a:noFill/>
          </a:ln>
        </p:spPr>
        <p:txBody>
          <a:bodyPr spcFirstLastPara="1" wrap="square" lIns="68575" tIns="34275" rIns="68575" bIns="34275" anchor="t" anchorCtr="0">
            <a:spAutoFit/>
          </a:bodyPr>
          <a:lstStyle/>
          <a:p>
            <a:pPr lvl="0">
              <a:lnSpc>
                <a:spcPts val="1960"/>
              </a:lnSpc>
            </a:pPr>
            <a:r>
              <a:rPr lang="en-US" dirty="0">
                <a:solidFill>
                  <a:srgbClr val="262626"/>
                </a:solidFill>
                <a:latin typeface="Calibri" panose="020F0502020204030204" pitchFamily="34" charset="0"/>
                <a:cs typeface="Calibri" panose="020F0502020204030204" pitchFamily="34" charset="0"/>
              </a:rPr>
              <a:t>Where the guest interacts with the business</a:t>
            </a:r>
            <a:endParaRPr dirty="0">
              <a:solidFill>
                <a:srgbClr val="262626"/>
              </a:solidFill>
              <a:latin typeface="Calibri" panose="020F0502020204030204" pitchFamily="34" charset="0"/>
              <a:cs typeface="Calibri" panose="020F0502020204030204" pitchFamily="34" charset="0"/>
            </a:endParaRPr>
          </a:p>
        </p:txBody>
      </p:sp>
      <p:sp>
        <p:nvSpPr>
          <p:cNvPr id="55" name="Google Shape;729;p55">
            <a:extLst>
              <a:ext uri="{FF2B5EF4-FFF2-40B4-BE49-F238E27FC236}">
                <a16:creationId xmlns:a16="http://schemas.microsoft.com/office/drawing/2014/main" id="{4D640D34-D48E-625A-87C1-1052DFA720D2}"/>
              </a:ext>
            </a:extLst>
          </p:cNvPr>
          <p:cNvSpPr txBox="1"/>
          <p:nvPr/>
        </p:nvSpPr>
        <p:spPr>
          <a:xfrm>
            <a:off x="5241516" y="1395440"/>
            <a:ext cx="2288273" cy="469329"/>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de-DE" sz="2600" b="1" dirty="0">
                <a:solidFill>
                  <a:srgbClr val="0289AE"/>
                </a:solidFill>
                <a:latin typeface="Calibri" panose="020F0502020204030204" pitchFamily="34" charset="0"/>
                <a:ea typeface="Raleway"/>
                <a:cs typeface="Calibri" panose="020F0502020204030204" pitchFamily="34" charset="0"/>
                <a:sym typeface="Raleway"/>
              </a:rPr>
              <a:t>Touchpoints</a:t>
            </a:r>
            <a:endParaRPr sz="2600" dirty="0">
              <a:solidFill>
                <a:srgbClr val="0289AE"/>
              </a:solidFill>
              <a:latin typeface="Calibri" panose="020F0502020204030204" pitchFamily="34" charset="0"/>
              <a:cs typeface="Calibri" panose="020F0502020204030204" pitchFamily="34" charset="0"/>
            </a:endParaRPr>
          </a:p>
        </p:txBody>
      </p:sp>
      <p:sp>
        <p:nvSpPr>
          <p:cNvPr id="57" name="Google Shape;731;p55">
            <a:extLst>
              <a:ext uri="{FF2B5EF4-FFF2-40B4-BE49-F238E27FC236}">
                <a16:creationId xmlns:a16="http://schemas.microsoft.com/office/drawing/2014/main" id="{CAA1C6E3-DA83-5AC2-5EE3-A4CD665F1769}"/>
              </a:ext>
            </a:extLst>
          </p:cNvPr>
          <p:cNvSpPr txBox="1"/>
          <p:nvPr/>
        </p:nvSpPr>
        <p:spPr>
          <a:xfrm>
            <a:off x="5319659" y="5215235"/>
            <a:ext cx="3172942" cy="582180"/>
          </a:xfrm>
          <a:prstGeom prst="rect">
            <a:avLst/>
          </a:prstGeom>
          <a:noFill/>
          <a:ln>
            <a:noFill/>
          </a:ln>
        </p:spPr>
        <p:txBody>
          <a:bodyPr spcFirstLastPara="1" wrap="square" lIns="68575" tIns="34275" rIns="68575" bIns="34275" anchor="t" anchorCtr="0">
            <a:spAutoFit/>
          </a:bodyPr>
          <a:lstStyle/>
          <a:p>
            <a:pPr lvl="0">
              <a:lnSpc>
                <a:spcPts val="1960"/>
              </a:lnSpc>
            </a:pPr>
            <a:r>
              <a:rPr lang="en-US" dirty="0">
                <a:solidFill>
                  <a:srgbClr val="262626"/>
                </a:solidFill>
                <a:latin typeface="Calibri" panose="020F0502020204030204" pitchFamily="34" charset="0"/>
                <a:cs typeface="Calibri" panose="020F0502020204030204" pitchFamily="34" charset="0"/>
              </a:rPr>
              <a:t>Confident, confused, welcomed, rushed, curious, reassured</a:t>
            </a:r>
            <a:endParaRPr dirty="0">
              <a:solidFill>
                <a:srgbClr val="262626"/>
              </a:solidFill>
              <a:latin typeface="Calibri" panose="020F0502020204030204" pitchFamily="34" charset="0"/>
              <a:cs typeface="Calibri" panose="020F0502020204030204" pitchFamily="34" charset="0"/>
            </a:endParaRPr>
          </a:p>
        </p:txBody>
      </p:sp>
      <p:sp>
        <p:nvSpPr>
          <p:cNvPr id="58" name="Google Shape;732;p55">
            <a:extLst>
              <a:ext uri="{FF2B5EF4-FFF2-40B4-BE49-F238E27FC236}">
                <a16:creationId xmlns:a16="http://schemas.microsoft.com/office/drawing/2014/main" id="{9A729B3A-0A67-7ECD-0D4D-B3E6B2C4053F}"/>
              </a:ext>
            </a:extLst>
          </p:cNvPr>
          <p:cNvSpPr txBox="1"/>
          <p:nvPr/>
        </p:nvSpPr>
        <p:spPr>
          <a:xfrm>
            <a:off x="5319659" y="4783943"/>
            <a:ext cx="1904616" cy="469329"/>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de-DE" sz="2600" b="1" dirty="0">
                <a:solidFill>
                  <a:srgbClr val="62A844"/>
                </a:solidFill>
                <a:latin typeface="Calibri" panose="020F0502020204030204" pitchFamily="34" charset="0"/>
                <a:ea typeface="Raleway"/>
                <a:cs typeface="Calibri" panose="020F0502020204030204" pitchFamily="34" charset="0"/>
                <a:sym typeface="Raleway"/>
              </a:rPr>
              <a:t>Feelings</a:t>
            </a:r>
            <a:endParaRPr sz="2600" dirty="0">
              <a:solidFill>
                <a:srgbClr val="62A844"/>
              </a:solidFill>
              <a:latin typeface="Calibri" panose="020F0502020204030204" pitchFamily="34" charset="0"/>
              <a:cs typeface="Calibri" panose="020F0502020204030204" pitchFamily="34" charset="0"/>
            </a:endParaRPr>
          </a:p>
        </p:txBody>
      </p:sp>
      <p:sp>
        <p:nvSpPr>
          <p:cNvPr id="60" name="Google Shape;734;p55">
            <a:extLst>
              <a:ext uri="{FF2B5EF4-FFF2-40B4-BE49-F238E27FC236}">
                <a16:creationId xmlns:a16="http://schemas.microsoft.com/office/drawing/2014/main" id="{5FB176D3-34A5-48CB-1747-04E773BD04C1}"/>
              </a:ext>
            </a:extLst>
          </p:cNvPr>
          <p:cNvSpPr txBox="1"/>
          <p:nvPr/>
        </p:nvSpPr>
        <p:spPr>
          <a:xfrm>
            <a:off x="599683" y="5131048"/>
            <a:ext cx="3762977" cy="582180"/>
          </a:xfrm>
          <a:prstGeom prst="rect">
            <a:avLst/>
          </a:prstGeom>
          <a:noFill/>
          <a:ln>
            <a:noFill/>
          </a:ln>
        </p:spPr>
        <p:txBody>
          <a:bodyPr spcFirstLastPara="1" wrap="square" lIns="68575" tIns="34275" rIns="68575" bIns="34275" anchor="t" anchorCtr="0">
            <a:spAutoFit/>
          </a:bodyPr>
          <a:lstStyle/>
          <a:p>
            <a:pPr lvl="0">
              <a:lnSpc>
                <a:spcPts val="1960"/>
              </a:lnSpc>
            </a:pPr>
            <a:r>
              <a:rPr lang="de-DE" dirty="0">
                <a:solidFill>
                  <a:srgbClr val="262626"/>
                </a:solidFill>
                <a:latin typeface="Calibri" panose="020F0502020204030204" pitchFamily="34" charset="0"/>
                <a:cs typeface="Calibri" panose="020F0502020204030204" pitchFamily="34" charset="0"/>
              </a:rPr>
              <a:t>Website, email, in </a:t>
            </a:r>
            <a:r>
              <a:rPr lang="de-DE" dirty="0" err="1">
                <a:solidFill>
                  <a:srgbClr val="262626"/>
                </a:solidFill>
                <a:latin typeface="Calibri" panose="020F0502020204030204" pitchFamily="34" charset="0"/>
                <a:cs typeface="Calibri" panose="020F0502020204030204" pitchFamily="34" charset="0"/>
              </a:rPr>
              <a:t>person</a:t>
            </a:r>
            <a:r>
              <a:rPr lang="de-DE" dirty="0">
                <a:solidFill>
                  <a:srgbClr val="262626"/>
                </a:solidFill>
                <a:latin typeface="Calibri" panose="020F0502020204030204" pitchFamily="34" charset="0"/>
                <a:cs typeface="Calibri" panose="020F0502020204030204" pitchFamily="34" charset="0"/>
              </a:rPr>
              <a:t>, </a:t>
            </a:r>
            <a:r>
              <a:rPr lang="de-DE" dirty="0" err="1">
                <a:solidFill>
                  <a:srgbClr val="262626"/>
                </a:solidFill>
                <a:latin typeface="Calibri" panose="020F0502020204030204" pitchFamily="34" charset="0"/>
                <a:cs typeface="Calibri" panose="020F0502020204030204" pitchFamily="34" charset="0"/>
              </a:rPr>
              <a:t>signage</a:t>
            </a:r>
            <a:r>
              <a:rPr lang="de-DE" dirty="0">
                <a:solidFill>
                  <a:srgbClr val="262626"/>
                </a:solidFill>
                <a:latin typeface="Calibri" panose="020F0502020204030204" pitchFamily="34" charset="0"/>
                <a:cs typeface="Calibri" panose="020F0502020204030204" pitchFamily="34" charset="0"/>
              </a:rPr>
              <a:t>, </a:t>
            </a:r>
            <a:r>
              <a:rPr lang="de-DE" dirty="0" err="1">
                <a:solidFill>
                  <a:srgbClr val="262626"/>
                </a:solidFill>
                <a:latin typeface="Calibri" panose="020F0502020204030204" pitchFamily="34" charset="0"/>
                <a:cs typeface="Calibri" panose="020F0502020204030204" pitchFamily="34" charset="0"/>
              </a:rPr>
              <a:t>app</a:t>
            </a:r>
            <a:r>
              <a:rPr lang="de-DE" dirty="0">
                <a:solidFill>
                  <a:srgbClr val="262626"/>
                </a:solidFill>
                <a:latin typeface="Calibri" panose="020F0502020204030204" pitchFamily="34" charset="0"/>
                <a:cs typeface="Calibri" panose="020F0502020204030204" pitchFamily="34" charset="0"/>
              </a:rPr>
              <a:t>, </a:t>
            </a:r>
            <a:r>
              <a:rPr lang="de-DE" dirty="0" err="1">
                <a:solidFill>
                  <a:srgbClr val="262626"/>
                </a:solidFill>
                <a:latin typeface="Calibri" panose="020F0502020204030204" pitchFamily="34" charset="0"/>
                <a:cs typeface="Calibri" panose="020F0502020204030204" pitchFamily="34" charset="0"/>
              </a:rPr>
              <a:t>phone</a:t>
            </a:r>
            <a:r>
              <a:rPr lang="de-DE" dirty="0">
                <a:solidFill>
                  <a:srgbClr val="262626"/>
                </a:solidFill>
                <a:latin typeface="Calibri" panose="020F0502020204030204" pitchFamily="34" charset="0"/>
                <a:cs typeface="Calibri" panose="020F0502020204030204" pitchFamily="34" charset="0"/>
              </a:rPr>
              <a:t>, </a:t>
            </a:r>
            <a:r>
              <a:rPr lang="de-DE" dirty="0" err="1">
                <a:solidFill>
                  <a:srgbClr val="262626"/>
                </a:solidFill>
                <a:latin typeface="Calibri" panose="020F0502020204030204" pitchFamily="34" charset="0"/>
                <a:cs typeface="Calibri" panose="020F0502020204030204" pitchFamily="34" charset="0"/>
              </a:rPr>
              <a:t>room</a:t>
            </a:r>
            <a:r>
              <a:rPr lang="de-DE" dirty="0">
                <a:solidFill>
                  <a:srgbClr val="262626"/>
                </a:solidFill>
                <a:latin typeface="Calibri" panose="020F0502020204030204" pitchFamily="34" charset="0"/>
                <a:cs typeface="Calibri" panose="020F0502020204030204" pitchFamily="34" charset="0"/>
              </a:rPr>
              <a:t> </a:t>
            </a:r>
            <a:r>
              <a:rPr lang="de-DE" dirty="0" err="1">
                <a:solidFill>
                  <a:srgbClr val="262626"/>
                </a:solidFill>
                <a:latin typeface="Calibri" panose="020F0502020204030204" pitchFamily="34" charset="0"/>
                <a:cs typeface="Calibri" panose="020F0502020204030204" pitchFamily="34" charset="0"/>
              </a:rPr>
              <a:t>information</a:t>
            </a:r>
            <a:endParaRPr dirty="0">
              <a:solidFill>
                <a:srgbClr val="262626"/>
              </a:solidFill>
              <a:latin typeface="Calibri" panose="020F0502020204030204" pitchFamily="34" charset="0"/>
              <a:cs typeface="Calibri" panose="020F0502020204030204" pitchFamily="34" charset="0"/>
            </a:endParaRPr>
          </a:p>
        </p:txBody>
      </p:sp>
      <p:sp>
        <p:nvSpPr>
          <p:cNvPr id="61" name="Google Shape;735;p55">
            <a:extLst>
              <a:ext uri="{FF2B5EF4-FFF2-40B4-BE49-F238E27FC236}">
                <a16:creationId xmlns:a16="http://schemas.microsoft.com/office/drawing/2014/main" id="{D076AE0D-47A8-746E-5218-8F2302FF0A4F}"/>
              </a:ext>
            </a:extLst>
          </p:cNvPr>
          <p:cNvSpPr txBox="1"/>
          <p:nvPr/>
        </p:nvSpPr>
        <p:spPr>
          <a:xfrm>
            <a:off x="599684" y="4699756"/>
            <a:ext cx="1904616" cy="469329"/>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de-DE" sz="2600" b="1" dirty="0">
                <a:solidFill>
                  <a:srgbClr val="0289AE"/>
                </a:solidFill>
                <a:latin typeface="Calibri" panose="020F0502020204030204" pitchFamily="34" charset="0"/>
                <a:ea typeface="Raleway"/>
                <a:cs typeface="Calibri" panose="020F0502020204030204" pitchFamily="34" charset="0"/>
                <a:sym typeface="Raleway"/>
              </a:rPr>
              <a:t>Channels</a:t>
            </a:r>
            <a:endParaRPr sz="2600" dirty="0">
              <a:solidFill>
                <a:srgbClr val="0289AE"/>
              </a:solidFill>
              <a:latin typeface="Calibri" panose="020F0502020204030204" pitchFamily="34" charset="0"/>
              <a:cs typeface="Calibri" panose="020F0502020204030204" pitchFamily="34" charset="0"/>
            </a:endParaRPr>
          </a:p>
        </p:txBody>
      </p:sp>
      <p:sp>
        <p:nvSpPr>
          <p:cNvPr id="63" name="Google Shape;737;p55">
            <a:extLst>
              <a:ext uri="{FF2B5EF4-FFF2-40B4-BE49-F238E27FC236}">
                <a16:creationId xmlns:a16="http://schemas.microsoft.com/office/drawing/2014/main" id="{6C57FC07-F3E2-8224-9170-3282609D215A}"/>
              </a:ext>
            </a:extLst>
          </p:cNvPr>
          <p:cNvSpPr txBox="1"/>
          <p:nvPr/>
        </p:nvSpPr>
        <p:spPr>
          <a:xfrm>
            <a:off x="9365961" y="3637484"/>
            <a:ext cx="2308885" cy="838661"/>
          </a:xfrm>
          <a:prstGeom prst="rect">
            <a:avLst/>
          </a:prstGeom>
          <a:noFill/>
          <a:ln>
            <a:noFill/>
          </a:ln>
        </p:spPr>
        <p:txBody>
          <a:bodyPr spcFirstLastPara="1" wrap="square" lIns="68575" tIns="34275" rIns="68575" bIns="34275" anchor="t" anchorCtr="0">
            <a:spAutoFit/>
          </a:bodyPr>
          <a:lstStyle/>
          <a:p>
            <a:pPr lvl="0">
              <a:lnSpc>
                <a:spcPts val="1960"/>
              </a:lnSpc>
            </a:pPr>
            <a:r>
              <a:rPr lang="en-US" dirty="0">
                <a:solidFill>
                  <a:srgbClr val="262626"/>
                </a:solidFill>
                <a:latin typeface="Calibri" panose="020F0502020204030204" pitchFamily="34" charset="0"/>
                <a:cs typeface="Calibri" panose="020F0502020204030204" pitchFamily="34" charset="0"/>
              </a:rPr>
              <a:t>Clarity, comfort, relevance, accessibility, trust, choice</a:t>
            </a:r>
            <a:endParaRPr dirty="0">
              <a:solidFill>
                <a:srgbClr val="262626"/>
              </a:solidFill>
              <a:latin typeface="Calibri" panose="020F0502020204030204" pitchFamily="34" charset="0"/>
              <a:cs typeface="Calibri" panose="020F0502020204030204" pitchFamily="34" charset="0"/>
            </a:endParaRPr>
          </a:p>
        </p:txBody>
      </p:sp>
      <p:sp>
        <p:nvSpPr>
          <p:cNvPr id="64" name="Google Shape;738;p55">
            <a:extLst>
              <a:ext uri="{FF2B5EF4-FFF2-40B4-BE49-F238E27FC236}">
                <a16:creationId xmlns:a16="http://schemas.microsoft.com/office/drawing/2014/main" id="{145797FA-AD0B-33FF-53C5-B7C8BC22CFB4}"/>
              </a:ext>
            </a:extLst>
          </p:cNvPr>
          <p:cNvSpPr txBox="1"/>
          <p:nvPr/>
        </p:nvSpPr>
        <p:spPr>
          <a:xfrm>
            <a:off x="9365961" y="3206191"/>
            <a:ext cx="1904615" cy="469329"/>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de-DE" sz="2600" b="1" dirty="0">
                <a:solidFill>
                  <a:srgbClr val="62A844"/>
                </a:solidFill>
                <a:latin typeface="Calibri" panose="020F0502020204030204" pitchFamily="34" charset="0"/>
                <a:ea typeface="Raleway"/>
                <a:cs typeface="Calibri" panose="020F0502020204030204" pitchFamily="34" charset="0"/>
                <a:sym typeface="Raleway"/>
              </a:rPr>
              <a:t>Needs</a:t>
            </a:r>
            <a:endParaRPr sz="2600" dirty="0">
              <a:solidFill>
                <a:srgbClr val="62A844"/>
              </a:solidFill>
              <a:latin typeface="Calibri" panose="020F0502020204030204" pitchFamily="34" charset="0"/>
              <a:cs typeface="Calibri" panose="020F0502020204030204" pitchFamily="34" charset="0"/>
            </a:endParaRPr>
          </a:p>
        </p:txBody>
      </p:sp>
      <p:sp>
        <p:nvSpPr>
          <p:cNvPr id="70" name="TextBox 97">
            <a:extLst>
              <a:ext uri="{FF2B5EF4-FFF2-40B4-BE49-F238E27FC236}">
                <a16:creationId xmlns:a16="http://schemas.microsoft.com/office/drawing/2014/main" id="{499DB380-BA31-B792-2896-46DF46423770}"/>
              </a:ext>
            </a:extLst>
          </p:cNvPr>
          <p:cNvSpPr txBox="1"/>
          <p:nvPr/>
        </p:nvSpPr>
        <p:spPr>
          <a:xfrm>
            <a:off x="567011" y="6092482"/>
            <a:ext cx="11107835" cy="430887"/>
          </a:xfrm>
          <a:prstGeom prst="rect">
            <a:avLst/>
          </a:prstGeom>
          <a:noFill/>
        </p:spPr>
        <p:txBody>
          <a:bodyPr wrap="square">
            <a:spAutoFit/>
          </a:bodyPr>
          <a:lstStyle/>
          <a:p>
            <a:r>
              <a:rPr lang="en-US" sz="2200" b="1" dirty="0">
                <a:solidFill>
                  <a:srgbClr val="62A844"/>
                </a:solidFill>
                <a:latin typeface="Calibri" panose="020F0502020204030204" pitchFamily="34" charset="0"/>
                <a:cs typeface="Calibri" panose="020F0502020204030204" pitchFamily="34" charset="0"/>
              </a:rPr>
              <a:t>Sustainability works best when it supports the real need behind the moment.</a:t>
            </a:r>
            <a:endParaRPr lang="en-US" sz="2200" dirty="0">
              <a:solidFill>
                <a:srgbClr val="62A844"/>
              </a:solidFill>
              <a:latin typeface="Calibri" panose="020F0502020204030204" pitchFamily="34" charset="0"/>
              <a:cs typeface="Calibri" panose="020F0502020204030204" pitchFamily="34" charset="0"/>
            </a:endParaRPr>
          </a:p>
        </p:txBody>
      </p:sp>
      <p:sp>
        <p:nvSpPr>
          <p:cNvPr id="2" name="Text Placeholder 11">
            <a:extLst>
              <a:ext uri="{FF2B5EF4-FFF2-40B4-BE49-F238E27FC236}">
                <a16:creationId xmlns:a16="http://schemas.microsoft.com/office/drawing/2014/main" id="{84004463-2B9E-AC0D-0CEC-62BA0C77B5BD}"/>
              </a:ext>
            </a:extLst>
          </p:cNvPr>
          <p:cNvSpPr txBox="1">
            <a:spLocks/>
          </p:cNvSpPr>
          <p:nvPr/>
        </p:nvSpPr>
        <p:spPr>
          <a:xfrm>
            <a:off x="429115" y="378488"/>
            <a:ext cx="7776422"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latin typeface="Calibri" panose="020F0502020204030204" pitchFamily="34" charset="0"/>
                <a:cs typeface="Calibri" panose="020F0502020204030204" pitchFamily="34" charset="0"/>
              </a:rPr>
              <a:t>Touchpoints, Channels, Feelings, Need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3" name="Straight Connector 2">
            <a:extLst>
              <a:ext uri="{FF2B5EF4-FFF2-40B4-BE49-F238E27FC236}">
                <a16:creationId xmlns:a16="http://schemas.microsoft.com/office/drawing/2014/main" id="{0B2A74D7-549E-FDF8-A0BC-7D84A5ABE7F3}"/>
              </a:ext>
            </a:extLst>
          </p:cNvPr>
          <p:cNvCxnSpPr>
            <a:cxnSpLocks/>
          </p:cNvCxnSpPr>
          <p:nvPr/>
        </p:nvCxnSpPr>
        <p:spPr>
          <a:xfrm>
            <a:off x="0" y="1046459"/>
            <a:ext cx="863465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5" name="Rectangle 30">
            <a:extLst>
              <a:ext uri="{FF2B5EF4-FFF2-40B4-BE49-F238E27FC236}">
                <a16:creationId xmlns:a16="http://schemas.microsoft.com/office/drawing/2014/main" id="{14728E83-D77A-AE4C-358F-4BDF386A6C75}"/>
              </a:ext>
            </a:extLst>
          </p:cNvPr>
          <p:cNvSpPr/>
          <p:nvPr/>
        </p:nvSpPr>
        <p:spPr>
          <a:xfrm flipH="1">
            <a:off x="8782485" y="599541"/>
            <a:ext cx="2894598" cy="923330"/>
          </a:xfrm>
          <a:prstGeom prst="rect">
            <a:avLst/>
          </a:prstGeom>
        </p:spPr>
        <p:txBody>
          <a:bodyPr wrap="square">
            <a:spAutoFit/>
          </a:bodyPr>
          <a:lstStyle/>
          <a:p>
            <a:pPr>
              <a:buClr>
                <a:srgbClr val="62A844"/>
              </a:buClr>
            </a:pPr>
            <a:r>
              <a:rPr lang="en-US" b="1" dirty="0">
                <a:solidFill>
                  <a:srgbClr val="262626"/>
                </a:solidFill>
                <a:latin typeface="Calibri" panose="020F0502020204030204" pitchFamily="34" charset="0"/>
                <a:cs typeface="Calibri" panose="020F0502020204030204" pitchFamily="34" charset="0"/>
              </a:rPr>
              <a:t>When mapping a journey, look at four things together:</a:t>
            </a:r>
          </a:p>
          <a:p>
            <a:pPr>
              <a:buClr>
                <a:srgbClr val="62A844"/>
              </a:buClr>
            </a:pPr>
            <a:endParaRPr lang="en-US" b="1" dirty="0">
              <a:solidFill>
                <a:srgbClr val="262626"/>
              </a:solidFill>
              <a:latin typeface="Calibri" panose="020F0502020204030204" pitchFamily="34" charset="0"/>
              <a:cs typeface="Calibri" panose="020F0502020204030204" pitchFamily="34" charset="0"/>
            </a:endParaRPr>
          </a:p>
        </p:txBody>
      </p:sp>
      <p:sp>
        <p:nvSpPr>
          <p:cNvPr id="7" name="Rounded Rectangle 6">
            <a:extLst>
              <a:ext uri="{FF2B5EF4-FFF2-40B4-BE49-F238E27FC236}">
                <a16:creationId xmlns:a16="http://schemas.microsoft.com/office/drawing/2014/main" id="{1A30BC07-0311-B1CE-EF34-1D4FCAE4E5EE}"/>
              </a:ext>
            </a:extLst>
          </p:cNvPr>
          <p:cNvSpPr/>
          <p:nvPr/>
        </p:nvSpPr>
        <p:spPr>
          <a:xfrm>
            <a:off x="8634652" y="403033"/>
            <a:ext cx="3158332" cy="945623"/>
          </a:xfrm>
          <a:prstGeom prst="roundRect">
            <a:avLst>
              <a:gd name="adj" fmla="val 8566"/>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10" name="Freeform 9">
            <a:extLst>
              <a:ext uri="{FF2B5EF4-FFF2-40B4-BE49-F238E27FC236}">
                <a16:creationId xmlns:a16="http://schemas.microsoft.com/office/drawing/2014/main" id="{1FDB5DFA-05ED-FE96-DDAC-56A9A8130902}"/>
              </a:ext>
            </a:extLst>
          </p:cNvPr>
          <p:cNvSpPr/>
          <p:nvPr/>
        </p:nvSpPr>
        <p:spPr>
          <a:xfrm rot="18416194" flipH="1">
            <a:off x="8411442" y="1649607"/>
            <a:ext cx="926896" cy="526949"/>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15" name="Group 14">
            <a:extLst>
              <a:ext uri="{FF2B5EF4-FFF2-40B4-BE49-F238E27FC236}">
                <a16:creationId xmlns:a16="http://schemas.microsoft.com/office/drawing/2014/main" id="{BEDA4865-FF81-7505-BF9A-AD6BA0D538A7}"/>
              </a:ext>
            </a:extLst>
          </p:cNvPr>
          <p:cNvGrpSpPr/>
          <p:nvPr/>
        </p:nvGrpSpPr>
        <p:grpSpPr>
          <a:xfrm>
            <a:off x="4272193" y="1441158"/>
            <a:ext cx="888124" cy="901925"/>
            <a:chOff x="4351657" y="2357629"/>
            <a:chExt cx="888124" cy="901925"/>
          </a:xfrm>
        </p:grpSpPr>
        <p:sp>
          <p:nvSpPr>
            <p:cNvPr id="34" name="Google Shape;713;p55">
              <a:extLst>
                <a:ext uri="{FF2B5EF4-FFF2-40B4-BE49-F238E27FC236}">
                  <a16:creationId xmlns:a16="http://schemas.microsoft.com/office/drawing/2014/main" id="{010306FF-C321-CCF6-9EDB-89B05A21CE38}"/>
                </a:ext>
              </a:extLst>
            </p:cNvPr>
            <p:cNvSpPr/>
            <p:nvPr/>
          </p:nvSpPr>
          <p:spPr>
            <a:xfrm>
              <a:off x="4351657" y="2357629"/>
              <a:ext cx="888124" cy="901925"/>
            </a:xfrm>
            <a:prstGeom prst="ellipse">
              <a:avLst/>
            </a:prstGeom>
            <a:solidFill>
              <a:srgbClr val="06677F"/>
            </a:solidFill>
            <a:ln>
              <a:noFill/>
            </a:ln>
            <a:effectLst>
              <a:outerShdw blurRad="254000" dist="50800" dir="5400000" algn="ctr" rotWithShape="0">
                <a:srgbClr val="000000">
                  <a:alpha val="24705"/>
                </a:srgbClr>
              </a:outerShdw>
            </a:effectLst>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chemeClr val="dk1"/>
                </a:solidFill>
                <a:latin typeface="Calibri" panose="020F0502020204030204" pitchFamily="34" charset="0"/>
                <a:ea typeface="Poppins"/>
                <a:cs typeface="Calibri" panose="020F0502020204030204" pitchFamily="34" charset="0"/>
                <a:sym typeface="Poppins"/>
              </a:endParaRPr>
            </a:p>
          </p:txBody>
        </p:sp>
        <p:sp>
          <p:nvSpPr>
            <p:cNvPr id="35" name="Google Shape;714;p55">
              <a:extLst>
                <a:ext uri="{FF2B5EF4-FFF2-40B4-BE49-F238E27FC236}">
                  <a16:creationId xmlns:a16="http://schemas.microsoft.com/office/drawing/2014/main" id="{462CBC4D-05DE-86D4-CA67-0A83FB9C34DE}"/>
                </a:ext>
              </a:extLst>
            </p:cNvPr>
            <p:cNvSpPr/>
            <p:nvPr/>
          </p:nvSpPr>
          <p:spPr>
            <a:xfrm>
              <a:off x="4482306" y="2490308"/>
              <a:ext cx="626826" cy="636567"/>
            </a:xfrm>
            <a:prstGeom prst="ellipse">
              <a:avLst/>
            </a:prstGeom>
            <a:solidFill>
              <a:schemeClr val="lt1"/>
            </a:solidFill>
            <a:ln>
              <a:noFill/>
            </a:ln>
            <a:effectLst>
              <a:outerShdw blurRad="50800" dist="38100" dir="5400000" algn="t" rotWithShape="0">
                <a:prstClr val="black">
                  <a:alpha val="40000"/>
                </a:prst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accent1"/>
                </a:solidFill>
                <a:latin typeface="Calibri" panose="020F0502020204030204" pitchFamily="34" charset="0"/>
                <a:ea typeface="Poppins"/>
                <a:cs typeface="Calibri" panose="020F0502020204030204" pitchFamily="34" charset="0"/>
                <a:sym typeface="Poppins"/>
              </a:endParaRPr>
            </a:p>
          </p:txBody>
        </p:sp>
        <p:sp>
          <p:nvSpPr>
            <p:cNvPr id="11" name="TextBox 27">
              <a:extLst>
                <a:ext uri="{FF2B5EF4-FFF2-40B4-BE49-F238E27FC236}">
                  <a16:creationId xmlns:a16="http://schemas.microsoft.com/office/drawing/2014/main" id="{E919BD91-73A4-ECB9-1887-BB4C722CEA11}"/>
                </a:ext>
              </a:extLst>
            </p:cNvPr>
            <p:cNvSpPr txBox="1"/>
            <p:nvPr/>
          </p:nvSpPr>
          <p:spPr>
            <a:xfrm>
              <a:off x="4443700" y="2454648"/>
              <a:ext cx="704039" cy="707886"/>
            </a:xfrm>
            <a:prstGeom prst="rect">
              <a:avLst/>
            </a:prstGeom>
            <a:noFill/>
          </p:spPr>
          <p:txBody>
            <a:bodyPr wrap="none" rtlCol="0">
              <a:spAutoFit/>
            </a:bodyPr>
            <a:lstStyle/>
            <a:p>
              <a:pPr algn="r"/>
              <a:r>
                <a:rPr lang="en-IE" sz="4000" b="1" dirty="0">
                  <a:solidFill>
                    <a:srgbClr val="0289AE"/>
                  </a:solidFill>
                  <a:latin typeface="Calibri" panose="020F0502020204030204" pitchFamily="34" charset="0"/>
                  <a:ea typeface="Lato" panose="020F0502020204030203" pitchFamily="34" charset="0"/>
                  <a:cs typeface="Calibri" panose="020F0502020204030204" pitchFamily="34" charset="0"/>
                </a:rPr>
                <a:t>01</a:t>
              </a:r>
              <a:endParaRPr lang="en-US" sz="4000" b="1" dirty="0">
                <a:solidFill>
                  <a:srgbClr val="0289AE"/>
                </a:solidFill>
                <a:latin typeface="Calibri" panose="020F0502020204030204" pitchFamily="34" charset="0"/>
                <a:ea typeface="Lato" panose="020F0502020204030203" pitchFamily="34" charset="0"/>
                <a:cs typeface="Calibri" panose="020F0502020204030204" pitchFamily="34" charset="0"/>
              </a:endParaRPr>
            </a:p>
          </p:txBody>
        </p:sp>
      </p:grpSp>
      <p:grpSp>
        <p:nvGrpSpPr>
          <p:cNvPr id="16" name="Group 15">
            <a:extLst>
              <a:ext uri="{FF2B5EF4-FFF2-40B4-BE49-F238E27FC236}">
                <a16:creationId xmlns:a16="http://schemas.microsoft.com/office/drawing/2014/main" id="{E10072FF-F7D4-296A-863D-1B60F0CEE24D}"/>
              </a:ext>
            </a:extLst>
          </p:cNvPr>
          <p:cNvGrpSpPr/>
          <p:nvPr/>
        </p:nvGrpSpPr>
        <p:grpSpPr>
          <a:xfrm>
            <a:off x="1752152" y="3619192"/>
            <a:ext cx="888124" cy="901925"/>
            <a:chOff x="4351657" y="2357629"/>
            <a:chExt cx="888124" cy="901925"/>
          </a:xfrm>
        </p:grpSpPr>
        <p:sp>
          <p:nvSpPr>
            <p:cNvPr id="18" name="Google Shape;713;p55">
              <a:extLst>
                <a:ext uri="{FF2B5EF4-FFF2-40B4-BE49-F238E27FC236}">
                  <a16:creationId xmlns:a16="http://schemas.microsoft.com/office/drawing/2014/main" id="{B7FD6FA6-29CF-135C-02BD-8BA4C91E9317}"/>
                </a:ext>
              </a:extLst>
            </p:cNvPr>
            <p:cNvSpPr/>
            <p:nvPr/>
          </p:nvSpPr>
          <p:spPr>
            <a:xfrm>
              <a:off x="4351657" y="2357629"/>
              <a:ext cx="888124" cy="901925"/>
            </a:xfrm>
            <a:prstGeom prst="ellipse">
              <a:avLst/>
            </a:prstGeom>
            <a:solidFill>
              <a:srgbClr val="0289AE"/>
            </a:solidFill>
            <a:ln>
              <a:noFill/>
            </a:ln>
            <a:effectLst>
              <a:outerShdw blurRad="254000" dist="50800" dir="5400000" algn="ctr" rotWithShape="0">
                <a:srgbClr val="000000">
                  <a:alpha val="24705"/>
                </a:srgbClr>
              </a:outerShdw>
            </a:effectLst>
          </p:spPr>
          <p:txBody>
            <a:bodyPr spcFirstLastPara="1" wrap="square" lIns="68575" tIns="34275" rIns="68575" bIns="34275" anchor="ctr" anchorCtr="0">
              <a:noAutofit/>
            </a:bodyPr>
            <a:lstStyle/>
            <a:p>
              <a:pPr marL="0" marR="0" lvl="0" indent="0" algn="l" rtl="0">
                <a:spcBef>
                  <a:spcPts val="0"/>
                </a:spcBef>
                <a:spcAft>
                  <a:spcPts val="0"/>
                </a:spcAft>
                <a:buNone/>
              </a:pPr>
              <a:endParaRPr sz="1400" dirty="0">
                <a:solidFill>
                  <a:schemeClr val="dk1"/>
                </a:solidFill>
                <a:latin typeface="Calibri" panose="020F0502020204030204" pitchFamily="34" charset="0"/>
                <a:ea typeface="Poppins"/>
                <a:cs typeface="Calibri" panose="020F0502020204030204" pitchFamily="34" charset="0"/>
                <a:sym typeface="Poppins"/>
              </a:endParaRPr>
            </a:p>
          </p:txBody>
        </p:sp>
        <p:sp>
          <p:nvSpPr>
            <p:cNvPr id="21" name="Google Shape;714;p55">
              <a:extLst>
                <a:ext uri="{FF2B5EF4-FFF2-40B4-BE49-F238E27FC236}">
                  <a16:creationId xmlns:a16="http://schemas.microsoft.com/office/drawing/2014/main" id="{3F21D97D-B848-DB14-8134-6040C3082F2F}"/>
                </a:ext>
              </a:extLst>
            </p:cNvPr>
            <p:cNvSpPr/>
            <p:nvPr/>
          </p:nvSpPr>
          <p:spPr>
            <a:xfrm>
              <a:off x="4482306" y="2490308"/>
              <a:ext cx="626826" cy="636567"/>
            </a:xfrm>
            <a:prstGeom prst="ellipse">
              <a:avLst/>
            </a:prstGeom>
            <a:solidFill>
              <a:schemeClr val="lt1"/>
            </a:solidFill>
            <a:ln>
              <a:noFill/>
            </a:ln>
            <a:effectLst>
              <a:outerShdw blurRad="50800" dist="38100" dir="5400000" algn="t" rotWithShape="0">
                <a:prstClr val="black">
                  <a:alpha val="40000"/>
                </a:prst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accent1"/>
                </a:solidFill>
                <a:latin typeface="Calibri" panose="020F0502020204030204" pitchFamily="34" charset="0"/>
                <a:ea typeface="Poppins"/>
                <a:cs typeface="Calibri" panose="020F0502020204030204" pitchFamily="34" charset="0"/>
                <a:sym typeface="Poppins"/>
              </a:endParaRPr>
            </a:p>
          </p:txBody>
        </p:sp>
        <p:sp>
          <p:nvSpPr>
            <p:cNvPr id="23" name="TextBox 27">
              <a:extLst>
                <a:ext uri="{FF2B5EF4-FFF2-40B4-BE49-F238E27FC236}">
                  <a16:creationId xmlns:a16="http://schemas.microsoft.com/office/drawing/2014/main" id="{1965BCE4-3B70-5B31-60C6-90759652647A}"/>
                </a:ext>
              </a:extLst>
            </p:cNvPr>
            <p:cNvSpPr txBox="1"/>
            <p:nvPr/>
          </p:nvSpPr>
          <p:spPr>
            <a:xfrm>
              <a:off x="4443700" y="2454648"/>
              <a:ext cx="704039" cy="707886"/>
            </a:xfrm>
            <a:prstGeom prst="rect">
              <a:avLst/>
            </a:prstGeom>
            <a:noFill/>
          </p:spPr>
          <p:txBody>
            <a:bodyPr wrap="none" rtlCol="0">
              <a:spAutoFit/>
            </a:bodyPr>
            <a:lstStyle/>
            <a:p>
              <a:pPr algn="r"/>
              <a:r>
                <a:rPr lang="en-IE" sz="4000" b="1" dirty="0">
                  <a:solidFill>
                    <a:srgbClr val="06677F"/>
                  </a:solidFill>
                  <a:latin typeface="Calibri" panose="020F0502020204030204" pitchFamily="34" charset="0"/>
                  <a:ea typeface="Lato" panose="020F0502020204030203" pitchFamily="34" charset="0"/>
                  <a:cs typeface="Calibri" panose="020F0502020204030204" pitchFamily="34" charset="0"/>
                </a:rPr>
                <a:t>02</a:t>
              </a:r>
              <a:endParaRPr lang="en-US" sz="4000" b="1" dirty="0">
                <a:solidFill>
                  <a:srgbClr val="06677F"/>
                </a:solidFill>
                <a:latin typeface="Calibri" panose="020F0502020204030204" pitchFamily="34" charset="0"/>
                <a:ea typeface="Lato" panose="020F0502020204030203" pitchFamily="34" charset="0"/>
                <a:cs typeface="Calibri" panose="020F0502020204030204" pitchFamily="34" charset="0"/>
              </a:endParaRPr>
            </a:p>
          </p:txBody>
        </p:sp>
      </p:grpSp>
      <p:grpSp>
        <p:nvGrpSpPr>
          <p:cNvPr id="25" name="Group 24">
            <a:extLst>
              <a:ext uri="{FF2B5EF4-FFF2-40B4-BE49-F238E27FC236}">
                <a16:creationId xmlns:a16="http://schemas.microsoft.com/office/drawing/2014/main" id="{A6723E97-2E0B-950D-CC1C-E0F88C4FB909}"/>
              </a:ext>
            </a:extLst>
          </p:cNvPr>
          <p:cNvGrpSpPr/>
          <p:nvPr/>
        </p:nvGrpSpPr>
        <p:grpSpPr>
          <a:xfrm>
            <a:off x="5189010" y="3882018"/>
            <a:ext cx="888124" cy="901925"/>
            <a:chOff x="4351657" y="2357629"/>
            <a:chExt cx="888124" cy="901925"/>
          </a:xfrm>
        </p:grpSpPr>
        <p:sp>
          <p:nvSpPr>
            <p:cNvPr id="26" name="Google Shape;713;p55">
              <a:extLst>
                <a:ext uri="{FF2B5EF4-FFF2-40B4-BE49-F238E27FC236}">
                  <a16:creationId xmlns:a16="http://schemas.microsoft.com/office/drawing/2014/main" id="{7C5BE4DB-DC99-39B0-2423-5E431E31CDD0}"/>
                </a:ext>
              </a:extLst>
            </p:cNvPr>
            <p:cNvSpPr/>
            <p:nvPr/>
          </p:nvSpPr>
          <p:spPr>
            <a:xfrm>
              <a:off x="4351657" y="2357629"/>
              <a:ext cx="888124" cy="901925"/>
            </a:xfrm>
            <a:prstGeom prst="ellipse">
              <a:avLst/>
            </a:prstGeom>
            <a:solidFill>
              <a:srgbClr val="3D8241"/>
            </a:solidFill>
            <a:ln>
              <a:noFill/>
            </a:ln>
            <a:effectLst>
              <a:outerShdw blurRad="254000" dist="50800" dir="5400000" algn="ctr" rotWithShape="0">
                <a:srgbClr val="000000">
                  <a:alpha val="24705"/>
                </a:srgbClr>
              </a:outerShdw>
            </a:effectLst>
          </p:spPr>
          <p:txBody>
            <a:bodyPr spcFirstLastPara="1" wrap="square" lIns="68575" tIns="34275" rIns="68575" bIns="34275" anchor="ctr" anchorCtr="0">
              <a:noAutofit/>
            </a:bodyPr>
            <a:lstStyle/>
            <a:p>
              <a:pPr marL="0" marR="0" lvl="0" indent="0" algn="l" rtl="0">
                <a:spcBef>
                  <a:spcPts val="0"/>
                </a:spcBef>
                <a:spcAft>
                  <a:spcPts val="0"/>
                </a:spcAft>
                <a:buNone/>
              </a:pPr>
              <a:endParaRPr sz="1400" dirty="0">
                <a:solidFill>
                  <a:schemeClr val="dk1"/>
                </a:solidFill>
                <a:latin typeface="Calibri" panose="020F0502020204030204" pitchFamily="34" charset="0"/>
                <a:ea typeface="Poppins"/>
                <a:cs typeface="Calibri" panose="020F0502020204030204" pitchFamily="34" charset="0"/>
                <a:sym typeface="Poppins"/>
              </a:endParaRPr>
            </a:p>
          </p:txBody>
        </p:sp>
        <p:sp>
          <p:nvSpPr>
            <p:cNvPr id="28" name="Google Shape;714;p55">
              <a:extLst>
                <a:ext uri="{FF2B5EF4-FFF2-40B4-BE49-F238E27FC236}">
                  <a16:creationId xmlns:a16="http://schemas.microsoft.com/office/drawing/2014/main" id="{BFD06D4D-0074-52B3-A57B-05E31E311C6E}"/>
                </a:ext>
              </a:extLst>
            </p:cNvPr>
            <p:cNvSpPr/>
            <p:nvPr/>
          </p:nvSpPr>
          <p:spPr>
            <a:xfrm>
              <a:off x="4482306" y="2490308"/>
              <a:ext cx="626826" cy="636567"/>
            </a:xfrm>
            <a:prstGeom prst="ellipse">
              <a:avLst/>
            </a:prstGeom>
            <a:solidFill>
              <a:schemeClr val="lt1"/>
            </a:solidFill>
            <a:ln>
              <a:noFill/>
            </a:ln>
            <a:effectLst>
              <a:outerShdw blurRad="50800" dist="38100" dir="5400000" algn="t" rotWithShape="0">
                <a:prstClr val="black">
                  <a:alpha val="40000"/>
                </a:prst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accent1"/>
                </a:solidFill>
                <a:latin typeface="Calibri" panose="020F0502020204030204" pitchFamily="34" charset="0"/>
                <a:ea typeface="Poppins"/>
                <a:cs typeface="Calibri" panose="020F0502020204030204" pitchFamily="34" charset="0"/>
                <a:sym typeface="Poppins"/>
              </a:endParaRPr>
            </a:p>
          </p:txBody>
        </p:sp>
        <p:sp>
          <p:nvSpPr>
            <p:cNvPr id="29" name="TextBox 27">
              <a:extLst>
                <a:ext uri="{FF2B5EF4-FFF2-40B4-BE49-F238E27FC236}">
                  <a16:creationId xmlns:a16="http://schemas.microsoft.com/office/drawing/2014/main" id="{AA5A537F-50B7-74EF-E5FF-807AA7A57641}"/>
                </a:ext>
              </a:extLst>
            </p:cNvPr>
            <p:cNvSpPr txBox="1"/>
            <p:nvPr/>
          </p:nvSpPr>
          <p:spPr>
            <a:xfrm>
              <a:off x="4443700" y="2454648"/>
              <a:ext cx="704039" cy="707886"/>
            </a:xfrm>
            <a:prstGeom prst="rect">
              <a:avLst/>
            </a:prstGeom>
            <a:noFill/>
          </p:spPr>
          <p:txBody>
            <a:bodyPr wrap="none" rtlCol="0">
              <a:spAutoFit/>
            </a:bodyPr>
            <a:lstStyle/>
            <a:p>
              <a:pPr algn="r"/>
              <a:r>
                <a:rPr lang="en-IE" sz="4000" b="1" dirty="0">
                  <a:solidFill>
                    <a:srgbClr val="62A844"/>
                  </a:solidFill>
                  <a:latin typeface="Calibri" panose="020F0502020204030204" pitchFamily="34" charset="0"/>
                  <a:ea typeface="Lato" panose="020F0502020204030203" pitchFamily="34" charset="0"/>
                  <a:cs typeface="Calibri" panose="020F0502020204030204" pitchFamily="34" charset="0"/>
                </a:rPr>
                <a:t>03</a:t>
              </a:r>
              <a:endParaRPr lang="en-US" sz="4000" b="1" dirty="0">
                <a:solidFill>
                  <a:srgbClr val="62A844"/>
                </a:solidFill>
                <a:latin typeface="Calibri" panose="020F0502020204030204" pitchFamily="34" charset="0"/>
                <a:ea typeface="Lato" panose="020F0502020204030203" pitchFamily="34" charset="0"/>
                <a:cs typeface="Calibri" panose="020F0502020204030204" pitchFamily="34" charset="0"/>
              </a:endParaRPr>
            </a:p>
          </p:txBody>
        </p:sp>
      </p:grpSp>
      <p:grpSp>
        <p:nvGrpSpPr>
          <p:cNvPr id="30" name="Group 29">
            <a:extLst>
              <a:ext uri="{FF2B5EF4-FFF2-40B4-BE49-F238E27FC236}">
                <a16:creationId xmlns:a16="http://schemas.microsoft.com/office/drawing/2014/main" id="{0D8CF892-28BB-E4CD-1131-A6899844B74D}"/>
              </a:ext>
            </a:extLst>
          </p:cNvPr>
          <p:cNvGrpSpPr/>
          <p:nvPr/>
        </p:nvGrpSpPr>
        <p:grpSpPr>
          <a:xfrm>
            <a:off x="8385794" y="3136194"/>
            <a:ext cx="888124" cy="901925"/>
            <a:chOff x="4351657" y="2357629"/>
            <a:chExt cx="888124" cy="901925"/>
          </a:xfrm>
        </p:grpSpPr>
        <p:sp>
          <p:nvSpPr>
            <p:cNvPr id="31" name="Google Shape;713;p55">
              <a:extLst>
                <a:ext uri="{FF2B5EF4-FFF2-40B4-BE49-F238E27FC236}">
                  <a16:creationId xmlns:a16="http://schemas.microsoft.com/office/drawing/2014/main" id="{4B3AAF8C-5BDF-E077-438B-D3310A7F09C5}"/>
                </a:ext>
              </a:extLst>
            </p:cNvPr>
            <p:cNvSpPr/>
            <p:nvPr/>
          </p:nvSpPr>
          <p:spPr>
            <a:xfrm>
              <a:off x="4351657" y="2357629"/>
              <a:ext cx="888124" cy="901925"/>
            </a:xfrm>
            <a:prstGeom prst="ellipse">
              <a:avLst/>
            </a:prstGeom>
            <a:solidFill>
              <a:srgbClr val="62A844"/>
            </a:solidFill>
            <a:ln>
              <a:noFill/>
            </a:ln>
            <a:effectLst>
              <a:outerShdw blurRad="254000" dist="50800" dir="5400000" algn="ctr" rotWithShape="0">
                <a:srgbClr val="000000">
                  <a:alpha val="24705"/>
                </a:srgbClr>
              </a:outerShdw>
            </a:effectLst>
          </p:spPr>
          <p:txBody>
            <a:bodyPr spcFirstLastPara="1" wrap="square" lIns="68575" tIns="34275" rIns="68575" bIns="34275" anchor="ctr" anchorCtr="0">
              <a:noAutofit/>
            </a:bodyPr>
            <a:lstStyle/>
            <a:p>
              <a:pPr marL="0" marR="0" lvl="0" indent="0" algn="l" rtl="0">
                <a:spcBef>
                  <a:spcPts val="0"/>
                </a:spcBef>
                <a:spcAft>
                  <a:spcPts val="0"/>
                </a:spcAft>
                <a:buNone/>
              </a:pPr>
              <a:endParaRPr sz="1400" dirty="0">
                <a:solidFill>
                  <a:schemeClr val="dk1"/>
                </a:solidFill>
                <a:latin typeface="Calibri" panose="020F0502020204030204" pitchFamily="34" charset="0"/>
                <a:ea typeface="Poppins"/>
                <a:cs typeface="Calibri" panose="020F0502020204030204" pitchFamily="34" charset="0"/>
                <a:sym typeface="Poppins"/>
              </a:endParaRPr>
            </a:p>
          </p:txBody>
        </p:sp>
        <p:sp>
          <p:nvSpPr>
            <p:cNvPr id="36" name="Google Shape;714;p55">
              <a:extLst>
                <a:ext uri="{FF2B5EF4-FFF2-40B4-BE49-F238E27FC236}">
                  <a16:creationId xmlns:a16="http://schemas.microsoft.com/office/drawing/2014/main" id="{CC8D235C-486D-723E-AE5C-CE53B692929B}"/>
                </a:ext>
              </a:extLst>
            </p:cNvPr>
            <p:cNvSpPr/>
            <p:nvPr/>
          </p:nvSpPr>
          <p:spPr>
            <a:xfrm>
              <a:off x="4482306" y="2490308"/>
              <a:ext cx="626826" cy="636567"/>
            </a:xfrm>
            <a:prstGeom prst="ellipse">
              <a:avLst/>
            </a:prstGeom>
            <a:solidFill>
              <a:schemeClr val="lt1"/>
            </a:solidFill>
            <a:ln>
              <a:noFill/>
            </a:ln>
            <a:effectLst>
              <a:outerShdw blurRad="50800" dist="38100" dir="5400000" algn="t" rotWithShape="0">
                <a:prstClr val="black">
                  <a:alpha val="40000"/>
                </a:prst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accent1"/>
                </a:solidFill>
                <a:latin typeface="Calibri" panose="020F0502020204030204" pitchFamily="34" charset="0"/>
                <a:ea typeface="Poppins"/>
                <a:cs typeface="Calibri" panose="020F0502020204030204" pitchFamily="34" charset="0"/>
                <a:sym typeface="Poppins"/>
              </a:endParaRPr>
            </a:p>
          </p:txBody>
        </p:sp>
        <p:sp>
          <p:nvSpPr>
            <p:cNvPr id="39" name="TextBox 27">
              <a:extLst>
                <a:ext uri="{FF2B5EF4-FFF2-40B4-BE49-F238E27FC236}">
                  <a16:creationId xmlns:a16="http://schemas.microsoft.com/office/drawing/2014/main" id="{62080601-8F99-7946-70EF-4F16D552018F}"/>
                </a:ext>
              </a:extLst>
            </p:cNvPr>
            <p:cNvSpPr txBox="1"/>
            <p:nvPr/>
          </p:nvSpPr>
          <p:spPr>
            <a:xfrm>
              <a:off x="4443700" y="2454648"/>
              <a:ext cx="704039" cy="707886"/>
            </a:xfrm>
            <a:prstGeom prst="rect">
              <a:avLst/>
            </a:prstGeom>
            <a:noFill/>
          </p:spPr>
          <p:txBody>
            <a:bodyPr wrap="none" rtlCol="0">
              <a:spAutoFit/>
            </a:bodyPr>
            <a:lstStyle/>
            <a:p>
              <a:pPr algn="r"/>
              <a:r>
                <a:rPr lang="en-IE" sz="4000" b="1" dirty="0">
                  <a:solidFill>
                    <a:srgbClr val="3D8241"/>
                  </a:solidFill>
                  <a:latin typeface="Calibri" panose="020F0502020204030204" pitchFamily="34" charset="0"/>
                  <a:ea typeface="Lato" panose="020F0502020204030203" pitchFamily="34" charset="0"/>
                  <a:cs typeface="Calibri" panose="020F0502020204030204" pitchFamily="34" charset="0"/>
                </a:rPr>
                <a:t>04</a:t>
              </a:r>
              <a:endParaRPr lang="en-US" sz="4000" b="1" dirty="0">
                <a:solidFill>
                  <a:srgbClr val="3D8241"/>
                </a:solidFill>
                <a:latin typeface="Calibri" panose="020F0502020204030204" pitchFamily="34" charset="0"/>
                <a:ea typeface="Lato" panose="020F0502020204030203" pitchFamily="34" charset="0"/>
                <a:cs typeface="Calibri" panose="020F0502020204030204" pitchFamily="34" charset="0"/>
              </a:endParaRPr>
            </a:p>
          </p:txBody>
        </p:sp>
      </p:grpSp>
      <p:sp>
        <p:nvSpPr>
          <p:cNvPr id="40" name="Freeform 39">
            <a:extLst>
              <a:ext uri="{FF2B5EF4-FFF2-40B4-BE49-F238E27FC236}">
                <a16:creationId xmlns:a16="http://schemas.microsoft.com/office/drawing/2014/main" id="{99508769-D476-B333-201A-88A8600F7CE3}"/>
              </a:ext>
            </a:extLst>
          </p:cNvPr>
          <p:cNvSpPr/>
          <p:nvPr/>
        </p:nvSpPr>
        <p:spPr>
          <a:xfrm rot="7851137">
            <a:off x="717573" y="4017161"/>
            <a:ext cx="926896" cy="526949"/>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6677F"/>
          </a:solidFill>
          <a:ln w="539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015077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B0AA0-226F-FD3C-B035-99533CDEF636}"/>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D9BA243F-AA40-CB00-E992-FF1BDF26A58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B9A1BC9F-7681-0219-7C82-E8DC43956A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6">
            <a:extLst>
              <a:ext uri="{FF2B5EF4-FFF2-40B4-BE49-F238E27FC236}">
                <a16:creationId xmlns:a16="http://schemas.microsoft.com/office/drawing/2014/main" id="{25AA5E93-8001-AC73-85FC-CA0F6D4D3B74}"/>
              </a:ext>
            </a:extLst>
          </p:cNvPr>
          <p:cNvSpPr txBox="1"/>
          <p:nvPr/>
        </p:nvSpPr>
        <p:spPr>
          <a:xfrm>
            <a:off x="570087" y="1351143"/>
            <a:ext cx="6311976" cy="5478423"/>
          </a:xfrm>
          <a:prstGeom prst="rect">
            <a:avLst/>
          </a:prstGeom>
          <a:noFill/>
        </p:spPr>
        <p:txBody>
          <a:bodyPr wrap="square" lIns="91440" tIns="45720" rIns="91440" bIns="45720" rtlCol="0" anchor="t">
            <a:spAutoFit/>
          </a:bodyPr>
          <a:lstStyle/>
          <a:p>
            <a:pPr>
              <a:lnSpc>
                <a:spcPts val="1960"/>
              </a:lnSpc>
              <a:buClr>
                <a:srgbClr val="62A844"/>
              </a:buClr>
            </a:pPr>
            <a:r>
              <a:rPr lang="en-US" sz="2000" b="1" i="1" dirty="0">
                <a:solidFill>
                  <a:srgbClr val="262626"/>
                </a:solidFill>
              </a:rPr>
              <a:t>Some points in the guest journey carry disproportionate influence. These are often called moments of truth.</a:t>
            </a:r>
          </a:p>
          <a:p>
            <a:pPr>
              <a:lnSpc>
                <a:spcPts val="1960"/>
              </a:lnSpc>
              <a:buClr>
                <a:srgbClr val="62A844"/>
              </a:buClr>
            </a:pPr>
            <a:endParaRPr lang="en-US" dirty="0">
              <a:solidFill>
                <a:srgbClr val="262626"/>
              </a:solidFill>
            </a:endParaRPr>
          </a:p>
          <a:p>
            <a:pPr>
              <a:lnSpc>
                <a:spcPts val="1960"/>
              </a:lnSpc>
              <a:buClr>
                <a:srgbClr val="62A844"/>
              </a:buClr>
            </a:pPr>
            <a:r>
              <a:rPr lang="en-US" sz="2000" b="1" dirty="0">
                <a:solidFill>
                  <a:srgbClr val="0289AE"/>
                </a:solidFill>
              </a:rPr>
              <a:t>In sustainable experience design, common moments of truth include:</a:t>
            </a:r>
          </a:p>
          <a:p>
            <a:pPr marL="285750" indent="-285750">
              <a:lnSpc>
                <a:spcPts val="1960"/>
              </a:lnSpc>
              <a:buClr>
                <a:srgbClr val="62A844"/>
              </a:buClr>
              <a:buFont typeface="Arial" panose="020B0604020202020204" pitchFamily="34" charset="0"/>
              <a:buChar char="•"/>
            </a:pPr>
            <a:r>
              <a:rPr lang="en-US" dirty="0">
                <a:solidFill>
                  <a:srgbClr val="262626"/>
                </a:solidFill>
              </a:rPr>
              <a:t>booking-page credibility</a:t>
            </a:r>
          </a:p>
          <a:p>
            <a:pPr marL="285750" indent="-285750">
              <a:lnSpc>
                <a:spcPts val="1960"/>
              </a:lnSpc>
              <a:buClr>
                <a:srgbClr val="62A844"/>
              </a:buClr>
              <a:buFont typeface="Arial" panose="020B0604020202020204" pitchFamily="34" charset="0"/>
              <a:buChar char="•"/>
            </a:pPr>
            <a:r>
              <a:rPr lang="en-US" dirty="0">
                <a:solidFill>
                  <a:srgbClr val="262626"/>
                </a:solidFill>
              </a:rPr>
              <a:t>arrival welcome</a:t>
            </a:r>
          </a:p>
          <a:p>
            <a:pPr marL="285750" indent="-285750">
              <a:lnSpc>
                <a:spcPts val="1960"/>
              </a:lnSpc>
              <a:buClr>
                <a:srgbClr val="62A844"/>
              </a:buClr>
              <a:buFont typeface="Arial" panose="020B0604020202020204" pitchFamily="34" charset="0"/>
              <a:buChar char="•"/>
            </a:pPr>
            <a:r>
              <a:rPr lang="en-US" dirty="0">
                <a:solidFill>
                  <a:srgbClr val="262626"/>
                </a:solidFill>
              </a:rPr>
              <a:t>room communication</a:t>
            </a:r>
          </a:p>
          <a:p>
            <a:pPr marL="285750" indent="-285750">
              <a:lnSpc>
                <a:spcPts val="1960"/>
              </a:lnSpc>
              <a:buClr>
                <a:srgbClr val="62A844"/>
              </a:buClr>
              <a:buFont typeface="Arial" panose="020B0604020202020204" pitchFamily="34" charset="0"/>
              <a:buChar char="•"/>
            </a:pPr>
            <a:r>
              <a:rPr lang="en-US" dirty="0">
                <a:solidFill>
                  <a:srgbClr val="262626"/>
                </a:solidFill>
              </a:rPr>
              <a:t>breakfast or menu explanation</a:t>
            </a:r>
          </a:p>
          <a:p>
            <a:pPr marL="285750" indent="-285750">
              <a:lnSpc>
                <a:spcPts val="1960"/>
              </a:lnSpc>
              <a:buClr>
                <a:srgbClr val="62A844"/>
              </a:buClr>
              <a:buFont typeface="Arial" panose="020B0604020202020204" pitchFamily="34" charset="0"/>
              <a:buChar char="•"/>
            </a:pPr>
            <a:r>
              <a:rPr lang="en-US" dirty="0">
                <a:solidFill>
                  <a:srgbClr val="262626"/>
                </a:solidFill>
              </a:rPr>
              <a:t>problem handling</a:t>
            </a:r>
          </a:p>
          <a:p>
            <a:pPr marL="285750" indent="-285750">
              <a:lnSpc>
                <a:spcPts val="1960"/>
              </a:lnSpc>
              <a:buClr>
                <a:srgbClr val="62A844"/>
              </a:buClr>
              <a:buFont typeface="Arial" panose="020B0604020202020204" pitchFamily="34" charset="0"/>
              <a:buChar char="•"/>
            </a:pPr>
            <a:r>
              <a:rPr lang="en-US" dirty="0">
                <a:solidFill>
                  <a:srgbClr val="262626"/>
                </a:solidFill>
              </a:rPr>
              <a:t>departure messaging</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28600" indent="-228600">
              <a:lnSpc>
                <a:spcPts val="1960"/>
              </a:lnSpc>
              <a:buClr>
                <a:srgbClr val="62A844"/>
              </a:buClr>
            </a:pPr>
            <a:r>
              <a:rPr lang="en-US" sz="2000" b="1" dirty="0">
                <a:solidFill>
                  <a:srgbClr val="0289AE"/>
                </a:solidFill>
              </a:rPr>
              <a:t>Common friction points include:</a:t>
            </a:r>
          </a:p>
          <a:p>
            <a:pPr marL="285750" indent="-285750">
              <a:lnSpc>
                <a:spcPts val="1960"/>
              </a:lnSpc>
              <a:buClr>
                <a:srgbClr val="62A844"/>
              </a:buClr>
              <a:buFont typeface="Arial" panose="020B0604020202020204" pitchFamily="34" charset="0"/>
              <a:buChar char="•"/>
            </a:pPr>
            <a:r>
              <a:rPr lang="en-US" dirty="0">
                <a:solidFill>
                  <a:srgbClr val="262626"/>
                </a:solidFill>
              </a:rPr>
              <a:t>confusing sustainability claims</a:t>
            </a:r>
          </a:p>
          <a:p>
            <a:pPr marL="285750" indent="-285750">
              <a:lnSpc>
                <a:spcPts val="1960"/>
              </a:lnSpc>
              <a:buClr>
                <a:srgbClr val="62A844"/>
              </a:buClr>
              <a:buFont typeface="Arial" panose="020B0604020202020204" pitchFamily="34" charset="0"/>
              <a:buChar char="•"/>
            </a:pPr>
            <a:r>
              <a:rPr lang="en-US" dirty="0">
                <a:solidFill>
                  <a:srgbClr val="262626"/>
                </a:solidFill>
              </a:rPr>
              <a:t>unclear icons or signage</a:t>
            </a:r>
          </a:p>
          <a:p>
            <a:pPr marL="285750" indent="-285750">
              <a:lnSpc>
                <a:spcPts val="1960"/>
              </a:lnSpc>
              <a:buClr>
                <a:srgbClr val="62A844"/>
              </a:buClr>
              <a:buFont typeface="Arial" panose="020B0604020202020204" pitchFamily="34" charset="0"/>
              <a:buChar char="•"/>
            </a:pPr>
            <a:r>
              <a:rPr lang="en-US" dirty="0">
                <a:solidFill>
                  <a:srgbClr val="262626"/>
                </a:solidFill>
              </a:rPr>
              <a:t>opt-out systems that feel manipulative</a:t>
            </a:r>
          </a:p>
          <a:p>
            <a:pPr marL="285750" indent="-285750">
              <a:lnSpc>
                <a:spcPts val="1960"/>
              </a:lnSpc>
              <a:buClr>
                <a:srgbClr val="62A844"/>
              </a:buClr>
              <a:buFont typeface="Arial" panose="020B0604020202020204" pitchFamily="34" charset="0"/>
              <a:buChar char="•"/>
            </a:pPr>
            <a:r>
              <a:rPr lang="en-US" dirty="0">
                <a:solidFill>
                  <a:srgbClr val="262626"/>
                </a:solidFill>
              </a:rPr>
              <a:t>lack of accessible alternatives</a:t>
            </a:r>
          </a:p>
          <a:p>
            <a:pPr marL="285750" indent="-285750">
              <a:lnSpc>
                <a:spcPts val="1960"/>
              </a:lnSpc>
              <a:buClr>
                <a:srgbClr val="62A844"/>
              </a:buClr>
              <a:buFont typeface="Arial" panose="020B0604020202020204" pitchFamily="34" charset="0"/>
              <a:buChar char="•"/>
            </a:pPr>
            <a:r>
              <a:rPr lang="en-US" dirty="0">
                <a:solidFill>
                  <a:srgbClr val="262626"/>
                </a:solidFill>
              </a:rPr>
              <a:t>too much text at the wrong moment</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marL="228600" indent="-228600">
              <a:lnSpc>
                <a:spcPts val="1960"/>
              </a:lnSpc>
              <a:buClr>
                <a:srgbClr val="62A844"/>
              </a:buClr>
            </a:pPr>
            <a:endParaRPr lang="en-US" dirty="0">
              <a:solidFill>
                <a:srgbClr val="262626"/>
              </a:solidFill>
            </a:endParaRPr>
          </a:p>
          <a:p>
            <a:pPr>
              <a:lnSpc>
                <a:spcPts val="1960"/>
              </a:lnSpc>
              <a:buClr>
                <a:srgbClr val="62A844"/>
              </a:buClr>
            </a:pPr>
            <a:endParaRPr lang="en-US" dirty="0">
              <a:solidFill>
                <a:srgbClr val="262626"/>
              </a:solidFill>
            </a:endParaRPr>
          </a:p>
        </p:txBody>
      </p:sp>
      <p:sp>
        <p:nvSpPr>
          <p:cNvPr id="7" name="Text Placeholder 11">
            <a:extLst>
              <a:ext uri="{FF2B5EF4-FFF2-40B4-BE49-F238E27FC236}">
                <a16:creationId xmlns:a16="http://schemas.microsoft.com/office/drawing/2014/main" id="{BCDC82AE-86A3-F82A-257B-9713F5418111}"/>
              </a:ext>
            </a:extLst>
          </p:cNvPr>
          <p:cNvSpPr txBox="1">
            <a:spLocks/>
          </p:cNvSpPr>
          <p:nvPr/>
        </p:nvSpPr>
        <p:spPr>
          <a:xfrm>
            <a:off x="454695" y="394053"/>
            <a:ext cx="711316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latin typeface="Calibri" panose="020F0502020204030204" pitchFamily="34" charset="0"/>
                <a:cs typeface="Calibri" panose="020F0502020204030204" pitchFamily="34" charset="0"/>
              </a:rPr>
              <a:t>Moments of Truth and Friction Point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667FE83F-3D28-C235-9AE1-BFC78AA2792A}"/>
              </a:ext>
            </a:extLst>
          </p:cNvPr>
          <p:cNvCxnSpPr>
            <a:cxnSpLocks/>
          </p:cNvCxnSpPr>
          <p:nvPr/>
        </p:nvCxnSpPr>
        <p:spPr>
          <a:xfrm>
            <a:off x="0" y="1115711"/>
            <a:ext cx="756786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9" name="TextBox 97">
            <a:extLst>
              <a:ext uri="{FF2B5EF4-FFF2-40B4-BE49-F238E27FC236}">
                <a16:creationId xmlns:a16="http://schemas.microsoft.com/office/drawing/2014/main" id="{FAD898F0-5F88-E793-DD53-9F1E133F3935}"/>
              </a:ext>
            </a:extLst>
          </p:cNvPr>
          <p:cNvSpPr txBox="1"/>
          <p:nvPr/>
        </p:nvSpPr>
        <p:spPr>
          <a:xfrm>
            <a:off x="7809453" y="4224122"/>
            <a:ext cx="3538251" cy="1054135"/>
          </a:xfrm>
          <a:prstGeom prst="rect">
            <a:avLst/>
          </a:prstGeom>
          <a:noFill/>
        </p:spPr>
        <p:txBody>
          <a:bodyPr wrap="square">
            <a:spAutoFit/>
          </a:bodyPr>
          <a:lstStyle/>
          <a:p>
            <a:pPr algn="r">
              <a:lnSpc>
                <a:spcPts val="2540"/>
              </a:lnSpc>
            </a:pPr>
            <a:r>
              <a:rPr lang="en-US" sz="2200" b="1" dirty="0">
                <a:solidFill>
                  <a:srgbClr val="62A844"/>
                </a:solidFill>
              </a:rPr>
              <a:t>Concentrate effort on the moments that shape trust and memory most.</a:t>
            </a:r>
          </a:p>
        </p:txBody>
      </p:sp>
      <p:sp>
        <p:nvSpPr>
          <p:cNvPr id="10" name="Rounded Rectangle 9">
            <a:extLst>
              <a:ext uri="{FF2B5EF4-FFF2-40B4-BE49-F238E27FC236}">
                <a16:creationId xmlns:a16="http://schemas.microsoft.com/office/drawing/2014/main" id="{CBA032C2-7AA1-5D3E-4FFD-ADF680678B55}"/>
              </a:ext>
            </a:extLst>
          </p:cNvPr>
          <p:cNvSpPr/>
          <p:nvPr/>
        </p:nvSpPr>
        <p:spPr>
          <a:xfrm>
            <a:off x="7124915" y="6002285"/>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7CAC634-2060-8D7C-CB80-0D05463C098F}"/>
              </a:ext>
            </a:extLst>
          </p:cNvPr>
          <p:cNvSpPr txBox="1"/>
          <p:nvPr/>
        </p:nvSpPr>
        <p:spPr>
          <a:xfrm>
            <a:off x="7250914" y="6065563"/>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2" name="TextBox 11">
            <a:extLst>
              <a:ext uri="{FF2B5EF4-FFF2-40B4-BE49-F238E27FC236}">
                <a16:creationId xmlns:a16="http://schemas.microsoft.com/office/drawing/2014/main" id="{FAF82394-616D-4700-833A-942219372669}"/>
              </a:ext>
            </a:extLst>
          </p:cNvPr>
          <p:cNvSpPr txBox="1"/>
          <p:nvPr/>
        </p:nvSpPr>
        <p:spPr>
          <a:xfrm>
            <a:off x="8006915" y="6065563"/>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8EE086D9-2A2A-9661-84D0-45AB60F8E758}"/>
              </a:ext>
            </a:extLst>
          </p:cNvPr>
          <p:cNvSpPr txBox="1"/>
          <p:nvPr/>
        </p:nvSpPr>
        <p:spPr>
          <a:xfrm>
            <a:off x="8600914" y="6065563"/>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pic>
        <p:nvPicPr>
          <p:cNvPr id="14" name="Graphic 13">
            <a:extLst>
              <a:ext uri="{FF2B5EF4-FFF2-40B4-BE49-F238E27FC236}">
                <a16:creationId xmlns:a16="http://schemas.microsoft.com/office/drawing/2014/main" id="{FFA1E564-BF89-EB8D-2A78-089E3FE3969B}"/>
              </a:ext>
            </a:extLst>
          </p:cNvPr>
          <p:cNvPicPr>
            <a:picLocks noChangeAspect="1"/>
          </p:cNvPicPr>
          <p:nvPr/>
        </p:nvPicPr>
        <p:blipFill>
          <a:blip>
            <a:extLst>
              <a:ext uri="{96DAC541-7B7A-43D3-8B79-37D633B846F1}">
                <asvg:svgBlip xmlns:asvg="http://schemas.microsoft.com/office/drawing/2016/SVG/main" r:embed="rId6"/>
              </a:ext>
            </a:extLst>
          </a:blip>
          <a:srcRect l="32264" t="48939" r="39869" b="38482"/>
          <a:stretch>
            <a:fillRect/>
          </a:stretch>
        </p:blipFill>
        <p:spPr>
          <a:xfrm>
            <a:off x="5458250" y="-1"/>
            <a:ext cx="6754568" cy="4317351"/>
          </a:xfrm>
          <a:prstGeom prst="rect">
            <a:avLst/>
          </a:prstGeom>
        </p:spPr>
      </p:pic>
    </p:spTree>
    <p:extLst>
      <p:ext uri="{BB962C8B-B14F-4D97-AF65-F5344CB8AC3E}">
        <p14:creationId xmlns:p14="http://schemas.microsoft.com/office/powerpoint/2010/main" val="24318602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C100F-897C-2F0C-749C-BF221ED02C69}"/>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4A5EEC42-E099-EBCE-A645-8CF6099663B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D9BA243F-AA40-CB00-E992-FF1BDF26A5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6">
            <a:extLst>
              <a:ext uri="{FF2B5EF4-FFF2-40B4-BE49-F238E27FC236}">
                <a16:creationId xmlns:a16="http://schemas.microsoft.com/office/drawing/2014/main" id="{777DAE9B-B867-9D8C-BE34-3CC7DA8B40B6}"/>
              </a:ext>
            </a:extLst>
          </p:cNvPr>
          <p:cNvSpPr txBox="1"/>
          <p:nvPr/>
        </p:nvSpPr>
        <p:spPr>
          <a:xfrm>
            <a:off x="570087" y="2062742"/>
            <a:ext cx="5301324" cy="3683060"/>
          </a:xfrm>
          <a:prstGeom prst="rect">
            <a:avLst/>
          </a:prstGeom>
          <a:noFill/>
        </p:spPr>
        <p:txBody>
          <a:bodyPr wrap="square" lIns="91440" tIns="45720" rIns="91440" bIns="45720" rtlCol="0" anchor="t">
            <a:spAutoFit/>
          </a:bodyPr>
          <a:lstStyle/>
          <a:p>
            <a:pPr>
              <a:lnSpc>
                <a:spcPts val="1960"/>
              </a:lnSpc>
              <a:buNone/>
            </a:pPr>
            <a:r>
              <a:rPr lang="en-US" sz="2000" b="1" i="1" dirty="0">
                <a:solidFill>
                  <a:srgbClr val="262626"/>
                </a:solidFill>
              </a:rPr>
              <a:t>A well-designed guest journey works for every guest including those who are less confident, less digitally fluent, with mobility needs, or from less familiar cultural backgrounds.</a:t>
            </a:r>
          </a:p>
          <a:p>
            <a:pPr>
              <a:lnSpc>
                <a:spcPts val="1960"/>
              </a:lnSpc>
              <a:buNone/>
            </a:pPr>
            <a:endParaRPr lang="en-US" dirty="0">
              <a:solidFill>
                <a:srgbClr val="262626"/>
              </a:solidFill>
            </a:endParaRPr>
          </a:p>
          <a:p>
            <a:pPr>
              <a:lnSpc>
                <a:spcPts val="1960"/>
              </a:lnSpc>
              <a:buNone/>
            </a:pPr>
            <a:r>
              <a:rPr lang="en-US" sz="2000" b="1" dirty="0">
                <a:solidFill>
                  <a:srgbClr val="0289AE"/>
                </a:solidFill>
              </a:rPr>
              <a:t>Questions to ask:</a:t>
            </a:r>
          </a:p>
          <a:p>
            <a:pPr marL="285750" indent="-285750">
              <a:lnSpc>
                <a:spcPts val="1960"/>
              </a:lnSpc>
              <a:buClr>
                <a:srgbClr val="62A844"/>
              </a:buClr>
              <a:buFont typeface="Arial" panose="020B0604020202020204" pitchFamily="34" charset="0"/>
              <a:buChar char="•"/>
            </a:pPr>
            <a:r>
              <a:rPr lang="en-US" dirty="0">
                <a:solidFill>
                  <a:srgbClr val="262626"/>
                </a:solidFill>
              </a:rPr>
              <a:t>Is the information readable and understandable?</a:t>
            </a:r>
          </a:p>
          <a:p>
            <a:pPr marL="285750" indent="-285750">
              <a:lnSpc>
                <a:spcPts val="1960"/>
              </a:lnSpc>
              <a:buClr>
                <a:srgbClr val="62A844"/>
              </a:buClr>
              <a:buFont typeface="Arial" panose="020B0604020202020204" pitchFamily="34" charset="0"/>
              <a:buChar char="•"/>
            </a:pPr>
            <a:r>
              <a:rPr lang="en-US" dirty="0">
                <a:solidFill>
                  <a:srgbClr val="262626"/>
                </a:solidFill>
              </a:rPr>
              <a:t>Is the signage accessible?</a:t>
            </a:r>
          </a:p>
          <a:p>
            <a:pPr marL="285750" indent="-285750">
              <a:lnSpc>
                <a:spcPts val="1960"/>
              </a:lnSpc>
              <a:buClr>
                <a:srgbClr val="62A844"/>
              </a:buClr>
              <a:buFont typeface="Arial" panose="020B0604020202020204" pitchFamily="34" charset="0"/>
              <a:buChar char="•"/>
            </a:pPr>
            <a:r>
              <a:rPr lang="en-US" dirty="0">
                <a:solidFill>
                  <a:srgbClr val="262626"/>
                </a:solidFill>
              </a:rPr>
              <a:t>Are there non-digital alternatives where needed?</a:t>
            </a:r>
          </a:p>
          <a:p>
            <a:pPr marL="285750" indent="-285750">
              <a:lnSpc>
                <a:spcPts val="1960"/>
              </a:lnSpc>
              <a:buClr>
                <a:srgbClr val="62A844"/>
              </a:buClr>
              <a:buFont typeface="Arial" panose="020B0604020202020204" pitchFamily="34" charset="0"/>
              <a:buChar char="•"/>
            </a:pPr>
            <a:r>
              <a:rPr lang="en-US" dirty="0">
                <a:solidFill>
                  <a:srgbClr val="262626"/>
                </a:solidFill>
              </a:rPr>
              <a:t>Can guests with mobility, sensory, language, or dietary needs move through the experience with dignity?</a:t>
            </a:r>
          </a:p>
          <a:p>
            <a:pPr marL="285750" indent="-285750">
              <a:lnSpc>
                <a:spcPts val="1960"/>
              </a:lnSpc>
              <a:buClr>
                <a:srgbClr val="62A844"/>
              </a:buClr>
              <a:buFont typeface="Arial" panose="020B0604020202020204" pitchFamily="34" charset="0"/>
              <a:buChar char="•"/>
            </a:pPr>
            <a:r>
              <a:rPr lang="en-US" dirty="0">
                <a:solidFill>
                  <a:srgbClr val="262626"/>
                </a:solidFill>
              </a:rPr>
              <a:t>Does the communication check for assumptions and hidden barriers?</a:t>
            </a:r>
          </a:p>
        </p:txBody>
      </p:sp>
      <p:sp>
        <p:nvSpPr>
          <p:cNvPr id="7" name="Text Placeholder 11">
            <a:extLst>
              <a:ext uri="{FF2B5EF4-FFF2-40B4-BE49-F238E27FC236}">
                <a16:creationId xmlns:a16="http://schemas.microsoft.com/office/drawing/2014/main" id="{2088F1BF-375E-B384-59FB-ABF7E364A8F9}"/>
              </a:ext>
            </a:extLst>
          </p:cNvPr>
          <p:cNvSpPr txBox="1">
            <a:spLocks/>
          </p:cNvSpPr>
          <p:nvPr/>
        </p:nvSpPr>
        <p:spPr>
          <a:xfrm>
            <a:off x="454695" y="394053"/>
            <a:ext cx="766281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latin typeface="Calibri" panose="020F0502020204030204" pitchFamily="34" charset="0"/>
                <a:cs typeface="Calibri" panose="020F0502020204030204" pitchFamily="34" charset="0"/>
              </a:rPr>
              <a:t>Mapping for Inclusion and Accessibility</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3EA3DC82-D11E-F20B-C8B2-F4BAC5D3F323}"/>
              </a:ext>
            </a:extLst>
          </p:cNvPr>
          <p:cNvCxnSpPr>
            <a:cxnSpLocks/>
          </p:cNvCxnSpPr>
          <p:nvPr/>
        </p:nvCxnSpPr>
        <p:spPr>
          <a:xfrm>
            <a:off x="0" y="1542360"/>
            <a:ext cx="660533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9" name="TextBox 97">
            <a:extLst>
              <a:ext uri="{FF2B5EF4-FFF2-40B4-BE49-F238E27FC236}">
                <a16:creationId xmlns:a16="http://schemas.microsoft.com/office/drawing/2014/main" id="{487AF20C-8C3E-1BEF-342E-0AC89CC08CC6}"/>
              </a:ext>
            </a:extLst>
          </p:cNvPr>
          <p:cNvSpPr txBox="1"/>
          <p:nvPr/>
        </p:nvSpPr>
        <p:spPr>
          <a:xfrm>
            <a:off x="7184189" y="5219647"/>
            <a:ext cx="4163515" cy="1374735"/>
          </a:xfrm>
          <a:prstGeom prst="rect">
            <a:avLst/>
          </a:prstGeom>
          <a:noFill/>
        </p:spPr>
        <p:txBody>
          <a:bodyPr wrap="square">
            <a:spAutoFit/>
          </a:bodyPr>
          <a:lstStyle/>
          <a:p>
            <a:pPr algn="r">
              <a:lnSpc>
                <a:spcPts val="2540"/>
              </a:lnSpc>
            </a:pPr>
            <a:r>
              <a:rPr lang="en-US" sz="2200" b="1" dirty="0">
                <a:solidFill>
                  <a:srgbClr val="62A844"/>
                </a:solidFill>
              </a:rPr>
              <a:t>Accessible information is part of good experience design, woven through every touchpoint.</a:t>
            </a:r>
          </a:p>
          <a:p>
            <a:pPr algn="r">
              <a:lnSpc>
                <a:spcPts val="2540"/>
              </a:lnSpc>
            </a:pPr>
            <a:endParaRPr lang="en-US" sz="2200" b="1" dirty="0">
              <a:solidFill>
                <a:srgbClr val="62A844"/>
              </a:solidFill>
            </a:endParaRPr>
          </a:p>
        </p:txBody>
      </p:sp>
      <p:pic>
        <p:nvPicPr>
          <p:cNvPr id="6" name="Picture 5">
            <a:extLst>
              <a:ext uri="{FF2B5EF4-FFF2-40B4-BE49-F238E27FC236}">
                <a16:creationId xmlns:a16="http://schemas.microsoft.com/office/drawing/2014/main" id="{5F86ECCA-9E4D-226C-E6DA-C600CA19296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57408" y="1062676"/>
            <a:ext cx="4764505" cy="4015797"/>
          </a:xfrm>
          <a:prstGeom prst="rect">
            <a:avLst/>
          </a:prstGeom>
        </p:spPr>
      </p:pic>
    </p:spTree>
    <p:extLst>
      <p:ext uri="{BB962C8B-B14F-4D97-AF65-F5344CB8AC3E}">
        <p14:creationId xmlns:p14="http://schemas.microsoft.com/office/powerpoint/2010/main" val="5795086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863CA-0861-E45F-DBC1-7736C897F7B4}"/>
            </a:ext>
          </a:extLst>
        </p:cNvPr>
        <p:cNvGrpSpPr/>
        <p:nvPr/>
      </p:nvGrpSpPr>
      <p:grpSpPr>
        <a:xfrm>
          <a:off x="0" y="0"/>
          <a:ext cx="0" cy="0"/>
          <a:chOff x="0" y="0"/>
          <a:chExt cx="0" cy="0"/>
        </a:xfrm>
      </p:grpSpPr>
      <p:sp>
        <p:nvSpPr>
          <p:cNvPr id="13" name="Freeform 12">
            <a:extLst>
              <a:ext uri="{FF2B5EF4-FFF2-40B4-BE49-F238E27FC236}">
                <a16:creationId xmlns:a16="http://schemas.microsoft.com/office/drawing/2014/main" id="{2F3F0225-C8CB-1DC0-EFF6-C680E0027D45}"/>
              </a:ext>
            </a:extLst>
          </p:cNvPr>
          <p:cNvSpPr/>
          <p:nvPr/>
        </p:nvSpPr>
        <p:spPr>
          <a:xfrm>
            <a:off x="0" y="896681"/>
            <a:ext cx="12192000" cy="1286126"/>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7" name="TextBox 16">
            <a:extLst>
              <a:ext uri="{FF2B5EF4-FFF2-40B4-BE49-F238E27FC236}">
                <a16:creationId xmlns:a16="http://schemas.microsoft.com/office/drawing/2014/main" id="{9307DCE7-D3C0-9CC9-8748-22A9FDF8633A}"/>
              </a:ext>
            </a:extLst>
          </p:cNvPr>
          <p:cNvSpPr txBox="1"/>
          <p:nvPr/>
        </p:nvSpPr>
        <p:spPr>
          <a:xfrm>
            <a:off x="5836840" y="2450377"/>
            <a:ext cx="5746172" cy="3139321"/>
          </a:xfrm>
          <a:prstGeom prst="rect">
            <a:avLst/>
          </a:prstGeom>
          <a:noFill/>
        </p:spPr>
        <p:txBody>
          <a:bodyPr wrap="square" lIns="91440" tIns="45720" rIns="91440" bIns="45720" rtlCol="0" anchor="t">
            <a:spAutoFit/>
          </a:bodyPr>
          <a:lstStyle/>
          <a:p>
            <a:r>
              <a:rPr lang="en-US" dirty="0">
                <a:solidFill>
                  <a:srgbClr val="262626"/>
                </a:solidFill>
              </a:rPr>
              <a:t>“According to the World Health Organization (WHO, 2023), 1.3 billion people - 16% of the population - experience significant disability. Accessibility for all to tourism facilities, products, and services should be a central part of any responsible and sustainable tourism policy. Accessibility is not only about human rights. It is a business opportunity for destinations and companies to embrace all visitors and enhance their revenues. “</a:t>
            </a:r>
          </a:p>
          <a:p>
            <a:endParaRPr lang="en-US" dirty="0">
              <a:solidFill>
                <a:srgbClr val="262626"/>
              </a:solidFill>
            </a:endParaRPr>
          </a:p>
          <a:p>
            <a:r>
              <a:rPr lang="de-DE" dirty="0">
                <a:solidFill>
                  <a:srgbClr val="262626"/>
                </a:solidFill>
                <a:hlinkClick r:id="rId3">
                  <a:extLst>
                    <a:ext uri="{A12FA001-AC4F-418D-AE19-62706E023703}">
                      <ahyp:hlinkClr xmlns:ahyp="http://schemas.microsoft.com/office/drawing/2018/hyperlinkcolor" val="tx"/>
                    </a:ext>
                  </a:extLst>
                </a:hlinkClick>
              </a:rPr>
              <a:t>https://www.untourism.int/accessibility-tourism</a:t>
            </a:r>
            <a:endParaRPr lang="de-DE" dirty="0">
              <a:solidFill>
                <a:srgbClr val="262626"/>
              </a:solidFill>
            </a:endParaRPr>
          </a:p>
          <a:p>
            <a:endParaRPr lang="de-DE" dirty="0">
              <a:solidFill>
                <a:srgbClr val="262626"/>
              </a:solidFill>
            </a:endParaRPr>
          </a:p>
        </p:txBody>
      </p:sp>
      <p:sp>
        <p:nvSpPr>
          <p:cNvPr id="18" name="TextBox 17">
            <a:extLst>
              <a:ext uri="{FF2B5EF4-FFF2-40B4-BE49-F238E27FC236}">
                <a16:creationId xmlns:a16="http://schemas.microsoft.com/office/drawing/2014/main" id="{550CB004-85B3-85CD-BE9E-86F271DF6BD8}"/>
              </a:ext>
            </a:extLst>
          </p:cNvPr>
          <p:cNvSpPr txBox="1"/>
          <p:nvPr/>
        </p:nvSpPr>
        <p:spPr>
          <a:xfrm>
            <a:off x="5836840" y="1231967"/>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9" name="Graphic 4">
            <a:extLst>
              <a:ext uri="{FF2B5EF4-FFF2-40B4-BE49-F238E27FC236}">
                <a16:creationId xmlns:a16="http://schemas.microsoft.com/office/drawing/2014/main" id="{052596A3-7044-6605-78A7-8C2454FD8582}"/>
              </a:ext>
            </a:extLst>
          </p:cNvPr>
          <p:cNvSpPr/>
          <p:nvPr/>
        </p:nvSpPr>
        <p:spPr>
          <a:xfrm rot="5400000">
            <a:off x="1314218" y="98499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0" name="Graphic 19">
            <a:extLst>
              <a:ext uri="{FF2B5EF4-FFF2-40B4-BE49-F238E27FC236}">
                <a16:creationId xmlns:a16="http://schemas.microsoft.com/office/drawing/2014/main" id="{A6C711BD-51A0-2BAA-44F6-8695FA017275}"/>
              </a:ext>
            </a:extLst>
          </p:cNvPr>
          <p:cNvPicPr>
            <a:picLocks noChangeAspect="1"/>
          </p:cNvPicPr>
          <p:nvPr/>
        </p:nvPicPr>
        <p:blipFill>
          <a:blip>
            <a:extLst>
              <a:ext uri="{96DAC541-7B7A-43D3-8B79-37D633B846F1}">
                <asvg:svgBlip xmlns:asvg="http://schemas.microsoft.com/office/drawing/2016/SVG/main" r:embed="rId4"/>
              </a:ext>
            </a:extLst>
          </a:blip>
          <a:srcRect l="32264" t="48938" r="39869" b="41747"/>
          <a:stretch>
            <a:fillRect/>
          </a:stretch>
        </p:blipFill>
        <p:spPr>
          <a:xfrm flipH="1">
            <a:off x="-20818" y="0"/>
            <a:ext cx="6754568" cy="3196842"/>
          </a:xfrm>
          <a:prstGeom prst="rect">
            <a:avLst/>
          </a:prstGeom>
        </p:spPr>
      </p:pic>
      <p:pic>
        <p:nvPicPr>
          <p:cNvPr id="7" name="Picture 6">
            <a:extLst>
              <a:ext uri="{FF2B5EF4-FFF2-40B4-BE49-F238E27FC236}">
                <a16:creationId xmlns:a16="http://schemas.microsoft.com/office/drawing/2014/main" id="{024CB3E2-8345-2D34-44BF-5E8D6E10E8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761" t="12298" r="29196" b="16922"/>
          <a:stretch>
            <a:fillRect/>
          </a:stretch>
        </p:blipFill>
        <p:spPr>
          <a:xfrm flipH="1">
            <a:off x="-20818" y="1670749"/>
            <a:ext cx="6038094" cy="4647690"/>
          </a:xfrm>
          <a:prstGeom prst="rect">
            <a:avLst/>
          </a:prstGeom>
        </p:spPr>
      </p:pic>
      <p:pic>
        <p:nvPicPr>
          <p:cNvPr id="3" name="Bildplatzhalter 5">
            <a:extLst>
              <a:ext uri="{FF2B5EF4-FFF2-40B4-BE49-F238E27FC236}">
                <a16:creationId xmlns:a16="http://schemas.microsoft.com/office/drawing/2014/main" id="{360E4D5B-CCCF-973B-C502-6B8BE178329E}"/>
              </a:ext>
            </a:extLst>
          </p:cNvPr>
          <p:cNvPicPr>
            <a:picLocks noChangeAspect="1"/>
          </p:cNvPicPr>
          <p:nvPr/>
        </p:nvPicPr>
        <p:blipFill>
          <a:blip r:embed="rId6" cstate="screen">
            <a:extLst>
              <a:ext uri="{28A0092B-C50C-407E-A947-70E740481C1C}">
                <a14:useLocalDpi xmlns:a14="http://schemas.microsoft.com/office/drawing/2010/main"/>
              </a:ext>
            </a:extLst>
          </a:blip>
          <a:srcRect r="19256"/>
          <a:stretch>
            <a:fillRect/>
          </a:stretch>
        </p:blipFill>
        <p:spPr>
          <a:xfrm>
            <a:off x="12572" y="2087160"/>
            <a:ext cx="4592374" cy="3502538"/>
          </a:xfrm>
          <a:prstGeom prst="rect">
            <a:avLst/>
          </a:prstGeom>
          <a:solidFill>
            <a:srgbClr val="FFFFFF">
              <a:lumMod val="85000"/>
            </a:srgbClr>
          </a:solidFill>
        </p:spPr>
      </p:pic>
      <p:sp>
        <p:nvSpPr>
          <p:cNvPr id="4" name="Rounded Rectangle 3">
            <a:extLst>
              <a:ext uri="{FF2B5EF4-FFF2-40B4-BE49-F238E27FC236}">
                <a16:creationId xmlns:a16="http://schemas.microsoft.com/office/drawing/2014/main" id="{05B13781-2C1B-EBB5-4993-0401F6AAADCE}"/>
              </a:ext>
            </a:extLst>
          </p:cNvPr>
          <p:cNvSpPr/>
          <p:nvPr/>
        </p:nvSpPr>
        <p:spPr>
          <a:xfrm>
            <a:off x="5836840" y="5998985"/>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170A7907-DB14-0704-ABFB-AD4DF448B890}"/>
              </a:ext>
            </a:extLst>
          </p:cNvPr>
          <p:cNvSpPr txBox="1"/>
          <p:nvPr/>
        </p:nvSpPr>
        <p:spPr>
          <a:xfrm>
            <a:off x="5962839" y="6062263"/>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6" name="TextBox 5">
            <a:extLst>
              <a:ext uri="{FF2B5EF4-FFF2-40B4-BE49-F238E27FC236}">
                <a16:creationId xmlns:a16="http://schemas.microsoft.com/office/drawing/2014/main" id="{8A9F3A84-59D7-80FF-05D2-8AFD7B9D2428}"/>
              </a:ext>
            </a:extLst>
          </p:cNvPr>
          <p:cNvSpPr txBox="1"/>
          <p:nvPr/>
        </p:nvSpPr>
        <p:spPr>
          <a:xfrm>
            <a:off x="6718840" y="6062263"/>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200A844F-DA4E-77F1-B7C0-3918D149723A}"/>
              </a:ext>
            </a:extLst>
          </p:cNvPr>
          <p:cNvSpPr txBox="1"/>
          <p:nvPr/>
        </p:nvSpPr>
        <p:spPr>
          <a:xfrm>
            <a:off x="7312839" y="6062263"/>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igital Marketing for Sustainability</a:t>
            </a:r>
          </a:p>
        </p:txBody>
      </p:sp>
    </p:spTree>
    <p:extLst>
      <p:ext uri="{BB962C8B-B14F-4D97-AF65-F5344CB8AC3E}">
        <p14:creationId xmlns:p14="http://schemas.microsoft.com/office/powerpoint/2010/main" val="14624014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137A55-83D4-10F7-BD93-069CC3C8613E}"/>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FF694DFC-C8F6-B4B8-3EE6-058C18F3F34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E996AA85-B6C5-AC40-77FF-CE55B1D503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8D29B87D-CA00-C742-DE2E-8EC5FF5DD625}"/>
              </a:ext>
            </a:extLst>
          </p:cNvPr>
          <p:cNvGrpSpPr/>
          <p:nvPr/>
        </p:nvGrpSpPr>
        <p:grpSpPr>
          <a:xfrm>
            <a:off x="3493528" y="0"/>
            <a:ext cx="8698472" cy="6695457"/>
            <a:chOff x="3889094" y="182689"/>
            <a:chExt cx="8302906" cy="6390979"/>
          </a:xfrm>
        </p:grpSpPr>
        <p:pic>
          <p:nvPicPr>
            <p:cNvPr id="7" name="Picture 6">
              <a:extLst>
                <a:ext uri="{FF2B5EF4-FFF2-40B4-BE49-F238E27FC236}">
                  <a16:creationId xmlns:a16="http://schemas.microsoft.com/office/drawing/2014/main" id="{72E39095-4E86-BDE5-5067-4CE057158E9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761" t="12298" r="29196" b="16922"/>
            <a:stretch>
              <a:fillRect/>
            </a:stretch>
          </p:blipFill>
          <p:spPr>
            <a:xfrm>
              <a:off x="3889094" y="182689"/>
              <a:ext cx="8302906" cy="6390979"/>
            </a:xfrm>
            <a:prstGeom prst="rect">
              <a:avLst/>
            </a:prstGeom>
          </p:spPr>
        </p:pic>
        <p:sp>
          <p:nvSpPr>
            <p:cNvPr id="8" name="Rectangle 7">
              <a:extLst>
                <a:ext uri="{FF2B5EF4-FFF2-40B4-BE49-F238E27FC236}">
                  <a16:creationId xmlns:a16="http://schemas.microsoft.com/office/drawing/2014/main" id="{1E2D841B-586C-3289-B975-9AEB8AFC0222}"/>
                </a:ext>
              </a:extLst>
            </p:cNvPr>
            <p:cNvSpPr/>
            <p:nvPr/>
          </p:nvSpPr>
          <p:spPr>
            <a:xfrm>
              <a:off x="5871410" y="694482"/>
              <a:ext cx="6320589" cy="48497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fik 3" descr="The image depicts statistics and facts regarding travel accessibility and preferences among people with disabilities, including percentages and references to studies and reports.&#10;&#10;KI-generierte Inhalte können fehlerhaft sein.">
              <a:extLst>
                <a:ext uri="{FF2B5EF4-FFF2-40B4-BE49-F238E27FC236}">
                  <a16:creationId xmlns:a16="http://schemas.microsoft.com/office/drawing/2014/main" id="{FD47C579-F79F-1BD1-B0FE-EF625D896711}"/>
                </a:ext>
              </a:extLst>
            </p:cNvPr>
            <p:cNvPicPr>
              <a:picLocks noChangeAspect="1"/>
            </p:cNvPicPr>
            <p:nvPr/>
          </p:nvPicPr>
          <p:blipFill rotWithShape="1">
            <a:blip r:embed="rId7">
              <a:duotone>
                <a:schemeClr val="accent1">
                  <a:shade val="45000"/>
                  <a:satMod val="135000"/>
                </a:schemeClr>
                <a:prstClr val="white"/>
              </a:duotone>
            </a:blip>
            <a:srcRect l="-1713" t="-9162" r="-1713" b="-5928"/>
            <a:stretch>
              <a:fillRect/>
            </a:stretch>
          </p:blipFill>
          <p:spPr>
            <a:xfrm>
              <a:off x="5871411" y="694482"/>
              <a:ext cx="6320589" cy="4943600"/>
            </a:xfrm>
            <a:prstGeom prst="rect">
              <a:avLst/>
            </a:prstGeom>
          </p:spPr>
        </p:pic>
      </p:grpSp>
      <p:sp>
        <p:nvSpPr>
          <p:cNvPr id="6" name="Textfeld 5">
            <a:extLst>
              <a:ext uri="{FF2B5EF4-FFF2-40B4-BE49-F238E27FC236}">
                <a16:creationId xmlns:a16="http://schemas.microsoft.com/office/drawing/2014/main" id="{8DD4941F-035C-ACD4-C686-83442B0562F5}"/>
              </a:ext>
            </a:extLst>
          </p:cNvPr>
          <p:cNvSpPr txBox="1"/>
          <p:nvPr/>
        </p:nvSpPr>
        <p:spPr>
          <a:xfrm>
            <a:off x="570087" y="2814370"/>
            <a:ext cx="2923441" cy="646331"/>
          </a:xfrm>
          <a:prstGeom prst="rect">
            <a:avLst/>
          </a:prstGeom>
          <a:noFill/>
        </p:spPr>
        <p:txBody>
          <a:bodyPr wrap="square">
            <a:spAutoFit/>
          </a:bodyPr>
          <a:lstStyle/>
          <a:p>
            <a:pPr marL="0" indent="0"/>
            <a:r>
              <a:rPr lang="de-DE" sz="1800" dirty="0">
                <a:solidFill>
                  <a:srgbClr val="262626"/>
                </a:solidFill>
                <a:hlinkClick r:id="rId8">
                  <a:extLst>
                    <a:ext uri="{A12FA001-AC4F-418D-AE19-62706E023703}">
                      <ahyp:hlinkClr xmlns:ahyp="http://schemas.microsoft.com/office/drawing/2018/hyperlinkcolor" val="tx"/>
                    </a:ext>
                  </a:extLst>
                </a:hlinkClick>
              </a:rPr>
              <a:t>https://www.untourism.int/accessibility-tourism</a:t>
            </a:r>
            <a:endParaRPr lang="de-DE" sz="1800" dirty="0">
              <a:solidFill>
                <a:srgbClr val="262626"/>
              </a:solidFill>
            </a:endParaRPr>
          </a:p>
        </p:txBody>
      </p:sp>
      <p:sp>
        <p:nvSpPr>
          <p:cNvPr id="2" name="TextBox 6">
            <a:extLst>
              <a:ext uri="{FF2B5EF4-FFF2-40B4-BE49-F238E27FC236}">
                <a16:creationId xmlns:a16="http://schemas.microsoft.com/office/drawing/2014/main" id="{D00F111E-091E-0299-6DC3-4C6C8766D317}"/>
              </a:ext>
            </a:extLst>
          </p:cNvPr>
          <p:cNvSpPr txBox="1"/>
          <p:nvPr/>
        </p:nvSpPr>
        <p:spPr>
          <a:xfrm>
            <a:off x="570087" y="2244280"/>
            <a:ext cx="5301324" cy="605294"/>
          </a:xfrm>
          <a:prstGeom prst="rect">
            <a:avLst/>
          </a:prstGeom>
          <a:noFill/>
        </p:spPr>
        <p:txBody>
          <a:bodyPr wrap="square" lIns="91440" tIns="45720" rIns="91440" bIns="45720" rtlCol="0" anchor="t">
            <a:spAutoFit/>
          </a:bodyPr>
          <a:lstStyle/>
          <a:p>
            <a:pPr>
              <a:lnSpc>
                <a:spcPts val="1960"/>
              </a:lnSpc>
            </a:pPr>
            <a:r>
              <a:rPr lang="en-US" sz="3200" b="1" dirty="0">
                <a:solidFill>
                  <a:srgbClr val="0289AE"/>
                </a:solidFill>
              </a:rPr>
              <a:t>Did you know..</a:t>
            </a:r>
          </a:p>
          <a:p>
            <a:pPr>
              <a:lnSpc>
                <a:spcPts val="1960"/>
              </a:lnSpc>
            </a:pPr>
            <a:endParaRPr lang="en-US" dirty="0">
              <a:solidFill>
                <a:srgbClr val="262626"/>
              </a:solidFill>
            </a:endParaRPr>
          </a:p>
        </p:txBody>
      </p:sp>
      <p:sp>
        <p:nvSpPr>
          <p:cNvPr id="3" name="Text Placeholder 11">
            <a:extLst>
              <a:ext uri="{FF2B5EF4-FFF2-40B4-BE49-F238E27FC236}">
                <a16:creationId xmlns:a16="http://schemas.microsoft.com/office/drawing/2014/main" id="{D0F41A40-9ED0-539D-7E3C-3B59280D2C88}"/>
              </a:ext>
            </a:extLst>
          </p:cNvPr>
          <p:cNvSpPr txBox="1">
            <a:spLocks/>
          </p:cNvSpPr>
          <p:nvPr/>
        </p:nvSpPr>
        <p:spPr>
          <a:xfrm>
            <a:off x="454695" y="394053"/>
            <a:ext cx="446305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latin typeface="Calibri" panose="020F0502020204030204" pitchFamily="34" charset="0"/>
                <a:cs typeface="Calibri" panose="020F0502020204030204" pitchFamily="34" charset="0"/>
              </a:rPr>
              <a:t>Mapping for Inclusion and Accessibility</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024CD52F-25C2-107F-7700-70B1C095724B}"/>
              </a:ext>
            </a:extLst>
          </p:cNvPr>
          <p:cNvCxnSpPr>
            <a:cxnSpLocks/>
          </p:cNvCxnSpPr>
          <p:nvPr/>
        </p:nvCxnSpPr>
        <p:spPr>
          <a:xfrm>
            <a:off x="0" y="1901175"/>
            <a:ext cx="402799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390789E2-85AE-61A6-D9BD-84FDD62936BC}"/>
              </a:ext>
            </a:extLst>
          </p:cNvPr>
          <p:cNvPicPr>
            <a:picLocks noChangeAspect="1"/>
          </p:cNvPicPr>
          <p:nvPr/>
        </p:nvPicPr>
        <p:blipFill>
          <a:blip>
            <a:extLst>
              <a:ext uri="{96DAC541-7B7A-43D3-8B79-37D633B846F1}">
                <asvg:svgBlip xmlns:asvg="http://schemas.microsoft.com/office/drawing/2016/SVG/main" r:embed="rId9"/>
              </a:ext>
            </a:extLst>
          </a:blip>
          <a:srcRect l="32544" t="48938" r="39869" b="38763"/>
          <a:stretch>
            <a:fillRect/>
          </a:stretch>
        </p:blipFill>
        <p:spPr>
          <a:xfrm rot="10800000">
            <a:off x="-2" y="3419663"/>
            <a:ext cx="5635216" cy="3557261"/>
          </a:xfrm>
          <a:prstGeom prst="rect">
            <a:avLst/>
          </a:prstGeom>
        </p:spPr>
      </p:pic>
      <p:sp>
        <p:nvSpPr>
          <p:cNvPr id="12" name="Freeform 11">
            <a:extLst>
              <a:ext uri="{FF2B5EF4-FFF2-40B4-BE49-F238E27FC236}">
                <a16:creationId xmlns:a16="http://schemas.microsoft.com/office/drawing/2014/main" id="{E1C54EB0-EFB3-B8DD-BB2B-510246275CA1}"/>
              </a:ext>
            </a:extLst>
          </p:cNvPr>
          <p:cNvSpPr/>
          <p:nvPr/>
        </p:nvSpPr>
        <p:spPr>
          <a:xfrm>
            <a:off x="3138233" y="3454867"/>
            <a:ext cx="1779514" cy="1011670"/>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126321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CFCE3-8928-283B-470D-4E89A1F1AA44}"/>
            </a:ext>
          </a:extLst>
        </p:cNvPr>
        <p:cNvGrpSpPr/>
        <p:nvPr/>
      </p:nvGrpSpPr>
      <p:grpSpPr>
        <a:xfrm>
          <a:off x="0" y="0"/>
          <a:ext cx="0" cy="0"/>
          <a:chOff x="0" y="0"/>
          <a:chExt cx="0" cy="0"/>
        </a:xfrm>
      </p:grpSpPr>
      <p:cxnSp>
        <p:nvCxnSpPr>
          <p:cNvPr id="16" name="Straight Connector 28">
            <a:extLst>
              <a:ext uri="{FF2B5EF4-FFF2-40B4-BE49-F238E27FC236}">
                <a16:creationId xmlns:a16="http://schemas.microsoft.com/office/drawing/2014/main" id="{D93CE147-DB33-AE61-98AF-C4EADE62BDB9}"/>
              </a:ext>
            </a:extLst>
          </p:cNvPr>
          <p:cNvCxnSpPr>
            <a:cxnSpLocks/>
          </p:cNvCxnSpPr>
          <p:nvPr/>
        </p:nvCxnSpPr>
        <p:spPr>
          <a:xfrm>
            <a:off x="770021" y="3740044"/>
            <a:ext cx="0" cy="1232419"/>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28">
            <a:extLst>
              <a:ext uri="{FF2B5EF4-FFF2-40B4-BE49-F238E27FC236}">
                <a16:creationId xmlns:a16="http://schemas.microsoft.com/office/drawing/2014/main" id="{3B424CBF-6B85-00BF-5DBE-0C1E51DDABA5}"/>
              </a:ext>
            </a:extLst>
          </p:cNvPr>
          <p:cNvCxnSpPr>
            <a:cxnSpLocks/>
            <a:endCxn id="104" idx="6"/>
          </p:cNvCxnSpPr>
          <p:nvPr/>
        </p:nvCxnSpPr>
        <p:spPr>
          <a:xfrm flipH="1">
            <a:off x="4307165" y="3995983"/>
            <a:ext cx="9475" cy="1144085"/>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28">
            <a:extLst>
              <a:ext uri="{FF2B5EF4-FFF2-40B4-BE49-F238E27FC236}">
                <a16:creationId xmlns:a16="http://schemas.microsoft.com/office/drawing/2014/main" id="{DC3F9613-A3BC-3310-D3D8-4FCB5D2D5DED}"/>
              </a:ext>
            </a:extLst>
          </p:cNvPr>
          <p:cNvCxnSpPr>
            <a:cxnSpLocks/>
          </p:cNvCxnSpPr>
          <p:nvPr/>
        </p:nvCxnSpPr>
        <p:spPr>
          <a:xfrm>
            <a:off x="7805440" y="3995983"/>
            <a:ext cx="0" cy="1144085"/>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TextBox 36">
            <a:extLst>
              <a:ext uri="{FF2B5EF4-FFF2-40B4-BE49-F238E27FC236}">
                <a16:creationId xmlns:a16="http://schemas.microsoft.com/office/drawing/2014/main" id="{E5AD2D56-5FF1-50ED-369C-9B4F522F6F63}"/>
              </a:ext>
            </a:extLst>
          </p:cNvPr>
          <p:cNvSpPr txBox="1"/>
          <p:nvPr/>
        </p:nvSpPr>
        <p:spPr>
          <a:xfrm>
            <a:off x="921705" y="5295436"/>
            <a:ext cx="3290222" cy="1711366"/>
          </a:xfrm>
          <a:prstGeom prst="rect">
            <a:avLst/>
          </a:prstGeom>
          <a:noFill/>
        </p:spPr>
        <p:txBody>
          <a:bodyPr wrap="square" numCol="1">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840"/>
              </a:lnSpc>
              <a:buClr>
                <a:srgbClr val="0289AE"/>
              </a:buClr>
            </a:pPr>
            <a:r>
              <a:rPr lang="de-DE" altLang="de-DE" sz="1800" dirty="0">
                <a:solidFill>
                  <a:srgbClr val="262626"/>
                </a:solidFill>
                <a:latin typeface="Calibri" panose="020F0502020204030204" pitchFamily="34" charset="0"/>
                <a:cs typeface="Calibri" panose="020F0502020204030204" pitchFamily="34" charset="0"/>
              </a:rPr>
              <a:t>Boutique Hotel</a:t>
            </a:r>
          </a:p>
          <a:p>
            <a:pPr>
              <a:lnSpc>
                <a:spcPts val="1840"/>
              </a:lnSpc>
              <a:buClr>
                <a:srgbClr val="0289AE"/>
              </a:buClr>
            </a:pPr>
            <a:r>
              <a:rPr lang="de-DE" altLang="de-DE" sz="1800" dirty="0">
                <a:solidFill>
                  <a:srgbClr val="262626"/>
                </a:solidFill>
                <a:latin typeface="Calibri" panose="020F0502020204030204" pitchFamily="34" charset="0"/>
                <a:cs typeface="Calibri" panose="020F0502020204030204" pitchFamily="34" charset="0"/>
              </a:rPr>
              <a:t>B&amp;B</a:t>
            </a:r>
          </a:p>
          <a:p>
            <a:pPr>
              <a:lnSpc>
                <a:spcPts val="1840"/>
              </a:lnSpc>
              <a:buClr>
                <a:srgbClr val="0289AE"/>
              </a:buClr>
            </a:pPr>
            <a:r>
              <a:rPr lang="de-DE" altLang="de-DE" sz="1800" dirty="0">
                <a:solidFill>
                  <a:srgbClr val="262626"/>
                </a:solidFill>
                <a:latin typeface="Calibri" panose="020F0502020204030204" pitchFamily="34" charset="0"/>
                <a:cs typeface="Calibri" panose="020F0502020204030204" pitchFamily="34" charset="0"/>
              </a:rPr>
              <a:t>Café</a:t>
            </a:r>
          </a:p>
          <a:p>
            <a:pPr>
              <a:lnSpc>
                <a:spcPts val="1840"/>
              </a:lnSpc>
              <a:buClr>
                <a:srgbClr val="0289AE"/>
              </a:buClr>
            </a:pPr>
            <a:r>
              <a:rPr lang="de-DE" altLang="de-DE" sz="1800" dirty="0">
                <a:solidFill>
                  <a:srgbClr val="262626"/>
                </a:solidFill>
                <a:latin typeface="Calibri" panose="020F0502020204030204" pitchFamily="34" charset="0"/>
                <a:cs typeface="Calibri" panose="020F0502020204030204" pitchFamily="34" charset="0"/>
              </a:rPr>
              <a:t>Resort</a:t>
            </a:r>
          </a:p>
          <a:p>
            <a:pPr>
              <a:lnSpc>
                <a:spcPts val="1840"/>
              </a:lnSpc>
              <a:buClr>
                <a:srgbClr val="0289AE"/>
              </a:buClr>
            </a:pPr>
            <a:r>
              <a:rPr lang="de-DE" altLang="de-DE" sz="1800" dirty="0">
                <a:solidFill>
                  <a:srgbClr val="262626"/>
                </a:solidFill>
                <a:latin typeface="Calibri" panose="020F0502020204030204" pitchFamily="34" charset="0"/>
                <a:cs typeface="Calibri" panose="020F0502020204030204" pitchFamily="34" charset="0"/>
              </a:rPr>
              <a:t>Rural Guesthouse</a:t>
            </a:r>
          </a:p>
          <a:p>
            <a:pPr>
              <a:lnSpc>
                <a:spcPts val="1840"/>
              </a:lnSpc>
              <a:buClr>
                <a:srgbClr val="0289AE"/>
              </a:buClr>
            </a:pPr>
            <a:r>
              <a:rPr lang="de-DE" altLang="de-DE" sz="1800" dirty="0">
                <a:solidFill>
                  <a:srgbClr val="262626"/>
                </a:solidFill>
                <a:latin typeface="Calibri" panose="020F0502020204030204" pitchFamily="34" charset="0"/>
                <a:cs typeface="Calibri" panose="020F0502020204030204" pitchFamily="34" charset="0"/>
              </a:rPr>
              <a:t>Restaurant</a:t>
            </a:r>
          </a:p>
          <a:p>
            <a:pPr>
              <a:lnSpc>
                <a:spcPts val="1840"/>
              </a:lnSpc>
              <a:buClr>
                <a:srgbClr val="0289AE"/>
              </a:buClr>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5" name="TextBox 38">
            <a:extLst>
              <a:ext uri="{FF2B5EF4-FFF2-40B4-BE49-F238E27FC236}">
                <a16:creationId xmlns:a16="http://schemas.microsoft.com/office/drawing/2014/main" id="{3CC83070-0CEE-CB68-2083-956277018E09}"/>
              </a:ext>
            </a:extLst>
          </p:cNvPr>
          <p:cNvSpPr txBox="1"/>
          <p:nvPr/>
        </p:nvSpPr>
        <p:spPr>
          <a:xfrm>
            <a:off x="887763" y="4886727"/>
            <a:ext cx="2789319" cy="365356"/>
          </a:xfrm>
          <a:prstGeom prst="rect">
            <a:avLst/>
          </a:prstGeom>
          <a:noFill/>
        </p:spPr>
        <p:txBody>
          <a:bodyPr wrap="square">
            <a:spAutoFit/>
          </a:bodyPr>
          <a:lstStyle/>
          <a:p>
            <a:pPr>
              <a:lnSpc>
                <a:spcPts val="2120"/>
              </a:lnSpc>
              <a:defRPr/>
            </a:pPr>
            <a:r>
              <a:rPr lang="en-US" sz="2100" b="1" dirty="0">
                <a:solidFill>
                  <a:srgbClr val="0289AE"/>
                </a:solidFill>
                <a:latin typeface="Calibri" panose="020F0502020204030204" pitchFamily="34" charset="0"/>
                <a:ea typeface="Roboto Cn" pitchFamily="2" charset="0"/>
                <a:cs typeface="Calibri" panose="020F0502020204030204" pitchFamily="34" charset="0"/>
              </a:rPr>
              <a:t>Choose One Setting:</a:t>
            </a:r>
          </a:p>
        </p:txBody>
      </p:sp>
      <p:grpSp>
        <p:nvGrpSpPr>
          <p:cNvPr id="79" name="Group 78">
            <a:extLst>
              <a:ext uri="{FF2B5EF4-FFF2-40B4-BE49-F238E27FC236}">
                <a16:creationId xmlns:a16="http://schemas.microsoft.com/office/drawing/2014/main" id="{8DB5627C-A532-13C7-31D6-FA58A3D8B0E6}"/>
              </a:ext>
            </a:extLst>
          </p:cNvPr>
          <p:cNvGrpSpPr/>
          <p:nvPr/>
        </p:nvGrpSpPr>
        <p:grpSpPr>
          <a:xfrm>
            <a:off x="573495" y="2684450"/>
            <a:ext cx="10717798" cy="1956909"/>
            <a:chOff x="429116" y="2174281"/>
            <a:chExt cx="10717798" cy="2295377"/>
          </a:xfrm>
        </p:grpSpPr>
        <p:grpSp>
          <p:nvGrpSpPr>
            <p:cNvPr id="17" name="Gruppieren 30">
              <a:extLst>
                <a:ext uri="{FF2B5EF4-FFF2-40B4-BE49-F238E27FC236}">
                  <a16:creationId xmlns:a16="http://schemas.microsoft.com/office/drawing/2014/main" id="{C848B462-D44F-EF96-F043-4A4BC329FF6B}"/>
                </a:ext>
              </a:extLst>
            </p:cNvPr>
            <p:cNvGrpSpPr/>
            <p:nvPr/>
          </p:nvGrpSpPr>
          <p:grpSpPr>
            <a:xfrm rot="16200000">
              <a:off x="2051088" y="552309"/>
              <a:ext cx="2295377" cy="5539321"/>
              <a:chOff x="9515475" y="838200"/>
              <a:chExt cx="4584700" cy="12065000"/>
            </a:xfrm>
          </p:grpSpPr>
          <p:sp>
            <p:nvSpPr>
              <p:cNvPr id="19" name="Oval 10">
                <a:extLst>
                  <a:ext uri="{FF2B5EF4-FFF2-40B4-BE49-F238E27FC236}">
                    <a16:creationId xmlns:a16="http://schemas.microsoft.com/office/drawing/2014/main" id="{614C2C9F-96E6-B197-EDA4-E51F0248E464}"/>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2" name="Oval 14">
                <a:extLst>
                  <a:ext uri="{FF2B5EF4-FFF2-40B4-BE49-F238E27FC236}">
                    <a16:creationId xmlns:a16="http://schemas.microsoft.com/office/drawing/2014/main" id="{57025233-06FE-C238-249A-1964B11CFA8C}"/>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Oval 3">
                <a:extLst>
                  <a:ext uri="{FF2B5EF4-FFF2-40B4-BE49-F238E27FC236}">
                    <a16:creationId xmlns:a16="http://schemas.microsoft.com/office/drawing/2014/main" id="{123F9280-791F-5967-427C-B216BF0B45E5}"/>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4" name="Freeform: Shape 8">
                <a:extLst>
                  <a:ext uri="{FF2B5EF4-FFF2-40B4-BE49-F238E27FC236}">
                    <a16:creationId xmlns:a16="http://schemas.microsoft.com/office/drawing/2014/main" id="{3EB01C04-3E9B-28E4-23EE-2FC4FFEABF93}"/>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35" name="Freeform: Shape 11">
                <a:extLst>
                  <a:ext uri="{FF2B5EF4-FFF2-40B4-BE49-F238E27FC236}">
                    <a16:creationId xmlns:a16="http://schemas.microsoft.com/office/drawing/2014/main" id="{3B15D96E-8042-68F0-F484-1AAC4777783A}"/>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6" name="Oval 9">
                <a:extLst>
                  <a:ext uri="{FF2B5EF4-FFF2-40B4-BE49-F238E27FC236}">
                    <a16:creationId xmlns:a16="http://schemas.microsoft.com/office/drawing/2014/main" id="{B1E167B5-B3ED-FE44-86D8-D0875591D446}"/>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7" name="Freeform: Shape 15">
                <a:extLst>
                  <a:ext uri="{FF2B5EF4-FFF2-40B4-BE49-F238E27FC236}">
                    <a16:creationId xmlns:a16="http://schemas.microsoft.com/office/drawing/2014/main" id="{6B35429D-1C1F-56A6-5C51-B4051211DF0B}"/>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38" name="Oval 16">
                <a:extLst>
                  <a:ext uri="{FF2B5EF4-FFF2-40B4-BE49-F238E27FC236}">
                    <a16:creationId xmlns:a16="http://schemas.microsoft.com/office/drawing/2014/main" id="{11848341-88FC-3E88-AA0A-AEB55F551B14}"/>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9" name="Oval 12">
                <a:extLst>
                  <a:ext uri="{FF2B5EF4-FFF2-40B4-BE49-F238E27FC236}">
                    <a16:creationId xmlns:a16="http://schemas.microsoft.com/office/drawing/2014/main" id="{0DC6870F-82E9-F241-8367-5C56033DDC36}"/>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grpSp>
        <p:grpSp>
          <p:nvGrpSpPr>
            <p:cNvPr id="21" name="Gruppieren 30">
              <a:extLst>
                <a:ext uri="{FF2B5EF4-FFF2-40B4-BE49-F238E27FC236}">
                  <a16:creationId xmlns:a16="http://schemas.microsoft.com/office/drawing/2014/main" id="{27A651BE-B63D-62BC-9AD9-C982345BED85}"/>
                </a:ext>
              </a:extLst>
            </p:cNvPr>
            <p:cNvGrpSpPr/>
            <p:nvPr/>
          </p:nvGrpSpPr>
          <p:grpSpPr>
            <a:xfrm rot="5400000" flipV="1">
              <a:off x="7229565" y="552309"/>
              <a:ext cx="2295377" cy="5539321"/>
              <a:chOff x="9515475" y="838200"/>
              <a:chExt cx="4584700" cy="12065000"/>
            </a:xfrm>
          </p:grpSpPr>
          <p:sp>
            <p:nvSpPr>
              <p:cNvPr id="24" name="Oval 10">
                <a:extLst>
                  <a:ext uri="{FF2B5EF4-FFF2-40B4-BE49-F238E27FC236}">
                    <a16:creationId xmlns:a16="http://schemas.microsoft.com/office/drawing/2014/main" id="{199AF1B8-26E9-DDE4-DEA9-34E3BF9203C3}"/>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5" name="Oval 14">
                <a:extLst>
                  <a:ext uri="{FF2B5EF4-FFF2-40B4-BE49-F238E27FC236}">
                    <a16:creationId xmlns:a16="http://schemas.microsoft.com/office/drawing/2014/main" id="{4650757D-2F17-FD39-6BFC-EA457C6C9D00}"/>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6" name="Oval 3">
                <a:extLst>
                  <a:ext uri="{FF2B5EF4-FFF2-40B4-BE49-F238E27FC236}">
                    <a16:creationId xmlns:a16="http://schemas.microsoft.com/office/drawing/2014/main" id="{66407A3B-05E5-1F60-9B57-5CDBF146A095}"/>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7" name="Freeform: Shape 8">
                <a:extLst>
                  <a:ext uri="{FF2B5EF4-FFF2-40B4-BE49-F238E27FC236}">
                    <a16:creationId xmlns:a16="http://schemas.microsoft.com/office/drawing/2014/main" id="{BD95D565-2039-20FC-4666-07BFE771D2F5}"/>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8" name="Freeform: Shape 11">
                <a:extLst>
                  <a:ext uri="{FF2B5EF4-FFF2-40B4-BE49-F238E27FC236}">
                    <a16:creationId xmlns:a16="http://schemas.microsoft.com/office/drawing/2014/main" id="{FB4B930C-80F4-808C-D783-63A79FD4CA85}"/>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9" name="Oval 9">
                <a:extLst>
                  <a:ext uri="{FF2B5EF4-FFF2-40B4-BE49-F238E27FC236}">
                    <a16:creationId xmlns:a16="http://schemas.microsoft.com/office/drawing/2014/main" id="{CDD49525-3428-4706-7B8A-D35739D82D32}"/>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0" name="Freeform: Shape 15">
                <a:extLst>
                  <a:ext uri="{FF2B5EF4-FFF2-40B4-BE49-F238E27FC236}">
                    <a16:creationId xmlns:a16="http://schemas.microsoft.com/office/drawing/2014/main" id="{C9FFBB38-7DB9-BA9B-97AD-FAFD03C6B608}"/>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31" name="Oval 16">
                <a:extLst>
                  <a:ext uri="{FF2B5EF4-FFF2-40B4-BE49-F238E27FC236}">
                    <a16:creationId xmlns:a16="http://schemas.microsoft.com/office/drawing/2014/main" id="{E86B2AB7-0236-9A3F-AF3C-1F037D3E432A}"/>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3" name="Oval 12">
                <a:extLst>
                  <a:ext uri="{FF2B5EF4-FFF2-40B4-BE49-F238E27FC236}">
                    <a16:creationId xmlns:a16="http://schemas.microsoft.com/office/drawing/2014/main" id="{C123E820-9043-1D58-23B3-60621784C4A2}"/>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grpSp>
      </p:grpSp>
      <p:sp>
        <p:nvSpPr>
          <p:cNvPr id="51" name="TextBox 38">
            <a:extLst>
              <a:ext uri="{FF2B5EF4-FFF2-40B4-BE49-F238E27FC236}">
                <a16:creationId xmlns:a16="http://schemas.microsoft.com/office/drawing/2014/main" id="{EE502512-5F60-7E03-35C8-781947238D15}"/>
              </a:ext>
            </a:extLst>
          </p:cNvPr>
          <p:cNvSpPr txBox="1"/>
          <p:nvPr/>
        </p:nvSpPr>
        <p:spPr>
          <a:xfrm>
            <a:off x="1021905" y="3523407"/>
            <a:ext cx="1224138" cy="543354"/>
          </a:xfrm>
          <a:prstGeom prst="rect">
            <a:avLst/>
          </a:prstGeom>
          <a:noFill/>
        </p:spPr>
        <p:txBody>
          <a:bodyPr wrap="square">
            <a:spAutoFit/>
          </a:bodyPr>
          <a:lstStyle/>
          <a:p>
            <a:pPr algn="ctr">
              <a:lnSpc>
                <a:spcPts val="3020"/>
              </a:lnSpc>
              <a:defRPr/>
            </a:pPr>
            <a:r>
              <a:rPr lang="en-US" sz="4800" b="1" dirty="0">
                <a:solidFill>
                  <a:srgbClr val="0289AE"/>
                </a:solidFill>
                <a:latin typeface="Calibri" panose="020F0502020204030204" pitchFamily="34" charset="0"/>
                <a:ea typeface="Roboto Cn" pitchFamily="2" charset="0"/>
                <a:cs typeface="Calibri" panose="020F0502020204030204" pitchFamily="34" charset="0"/>
              </a:rPr>
              <a:t>01</a:t>
            </a:r>
          </a:p>
        </p:txBody>
      </p:sp>
      <p:sp>
        <p:nvSpPr>
          <p:cNvPr id="55" name="TextBox 38">
            <a:extLst>
              <a:ext uri="{FF2B5EF4-FFF2-40B4-BE49-F238E27FC236}">
                <a16:creationId xmlns:a16="http://schemas.microsoft.com/office/drawing/2014/main" id="{D0BEE8A8-3FFC-C671-308F-97CB8E38B23D}"/>
              </a:ext>
            </a:extLst>
          </p:cNvPr>
          <p:cNvSpPr txBox="1"/>
          <p:nvPr/>
        </p:nvSpPr>
        <p:spPr>
          <a:xfrm>
            <a:off x="4421355" y="4886727"/>
            <a:ext cx="2309619" cy="1023357"/>
          </a:xfrm>
          <a:prstGeom prst="rect">
            <a:avLst/>
          </a:prstGeom>
          <a:noFill/>
        </p:spPr>
        <p:txBody>
          <a:bodyPr wrap="square">
            <a:spAutoFit/>
          </a:bodyPr>
          <a:lstStyle/>
          <a:p>
            <a:pPr>
              <a:lnSpc>
                <a:spcPts val="2120"/>
              </a:lnSpc>
              <a:defRPr/>
            </a:pPr>
            <a:r>
              <a:rPr lang="en-US" sz="2100" b="1" dirty="0">
                <a:solidFill>
                  <a:srgbClr val="EABB22"/>
                </a:solidFill>
                <a:latin typeface="Calibri" panose="020F0502020204030204" pitchFamily="34" charset="0"/>
                <a:ea typeface="Roboto Cn" pitchFamily="2" charset="0"/>
                <a:cs typeface="Calibri" panose="020F0502020204030204" pitchFamily="34" charset="0"/>
              </a:rPr>
              <a:t>Map the six stages of the journey. </a:t>
            </a:r>
          </a:p>
          <a:p>
            <a:pPr>
              <a:defRPr/>
            </a:pPr>
            <a:endParaRPr lang="en-US" sz="800" b="1" dirty="0">
              <a:solidFill>
                <a:srgbClr val="EABB22"/>
              </a:solidFill>
              <a:latin typeface="Calibri" panose="020F0502020204030204" pitchFamily="34" charset="0"/>
              <a:ea typeface="Roboto Cn" pitchFamily="2" charset="0"/>
              <a:cs typeface="Calibri" panose="020F0502020204030204" pitchFamily="34" charset="0"/>
            </a:endParaRPr>
          </a:p>
          <a:p>
            <a:pPr>
              <a:lnSpc>
                <a:spcPts val="2120"/>
              </a:lnSpc>
              <a:defRPr/>
            </a:pPr>
            <a:r>
              <a:rPr lang="en-US" dirty="0">
                <a:solidFill>
                  <a:srgbClr val="262626"/>
                </a:solidFill>
                <a:latin typeface="Calibri" panose="020F0502020204030204" pitchFamily="34" charset="0"/>
                <a:ea typeface="Roboto Cn" pitchFamily="2" charset="0"/>
                <a:cs typeface="Calibri" panose="020F0502020204030204" pitchFamily="34" charset="0"/>
              </a:rPr>
              <a:t>(see Slide 24)</a:t>
            </a:r>
          </a:p>
        </p:txBody>
      </p:sp>
      <p:sp>
        <p:nvSpPr>
          <p:cNvPr id="58" name="TextBox 36">
            <a:extLst>
              <a:ext uri="{FF2B5EF4-FFF2-40B4-BE49-F238E27FC236}">
                <a16:creationId xmlns:a16="http://schemas.microsoft.com/office/drawing/2014/main" id="{99669686-D586-3D46-D36B-B9AE957E1CD4}"/>
              </a:ext>
            </a:extLst>
          </p:cNvPr>
          <p:cNvSpPr txBox="1"/>
          <p:nvPr/>
        </p:nvSpPr>
        <p:spPr>
          <a:xfrm>
            <a:off x="9812525" y="1041459"/>
            <a:ext cx="1975294" cy="1018869"/>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1840"/>
              </a:lnSpc>
              <a:buClr>
                <a:srgbClr val="0289AE"/>
              </a:buClr>
              <a:buNone/>
            </a:pPr>
            <a:r>
              <a:rPr lang="de-DE" altLang="de-DE" sz="1800" dirty="0">
                <a:solidFill>
                  <a:srgbClr val="262626"/>
                </a:solidFill>
                <a:latin typeface="Calibri" panose="020F0502020204030204" pitchFamily="34" charset="0"/>
                <a:cs typeface="Calibri" panose="020F0502020204030204" pitchFamily="34" charset="0"/>
              </a:rPr>
              <a:t>A first-draft </a:t>
            </a:r>
            <a:r>
              <a:rPr lang="de-DE" altLang="de-DE" sz="1800" dirty="0" err="1">
                <a:solidFill>
                  <a:srgbClr val="262626"/>
                </a:solidFill>
                <a:latin typeface="Calibri" panose="020F0502020204030204" pitchFamily="34" charset="0"/>
                <a:cs typeface="Calibri" panose="020F0502020204030204" pitchFamily="34" charset="0"/>
              </a:rPr>
              <a:t>journe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map</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fo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eam</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discussion</a:t>
            </a:r>
            <a:r>
              <a:rPr lang="de-DE" altLang="de-DE" sz="1800" dirty="0">
                <a:solidFill>
                  <a:srgbClr val="262626"/>
                </a:solidFill>
                <a:latin typeface="Calibri" panose="020F0502020204030204" pitchFamily="34" charset="0"/>
                <a:cs typeface="Calibri" panose="020F0502020204030204" pitchFamily="34" charset="0"/>
              </a:rPr>
              <a:t>.</a:t>
            </a:r>
          </a:p>
          <a:p>
            <a:pPr>
              <a:lnSpc>
                <a:spcPts val="1840"/>
              </a:lnSpc>
              <a:buClr>
                <a:srgbClr val="0289AE"/>
              </a:buClr>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61" name="TextBox 38">
            <a:extLst>
              <a:ext uri="{FF2B5EF4-FFF2-40B4-BE49-F238E27FC236}">
                <a16:creationId xmlns:a16="http://schemas.microsoft.com/office/drawing/2014/main" id="{771C737F-885F-C49A-58AD-85CF7ABF1654}"/>
              </a:ext>
            </a:extLst>
          </p:cNvPr>
          <p:cNvSpPr txBox="1"/>
          <p:nvPr/>
        </p:nvSpPr>
        <p:spPr>
          <a:xfrm>
            <a:off x="7886091" y="4886727"/>
            <a:ext cx="3085253" cy="903965"/>
          </a:xfrm>
          <a:prstGeom prst="rect">
            <a:avLst/>
          </a:prstGeom>
          <a:noFill/>
        </p:spPr>
        <p:txBody>
          <a:bodyPr wrap="square">
            <a:spAutoFit/>
          </a:bodyPr>
          <a:lstStyle/>
          <a:p>
            <a:pPr>
              <a:lnSpc>
                <a:spcPts val="2120"/>
              </a:lnSpc>
              <a:defRPr/>
            </a:pPr>
            <a:r>
              <a:rPr lang="en-US" sz="2100" b="1" dirty="0">
                <a:solidFill>
                  <a:srgbClr val="62A844"/>
                </a:solidFill>
                <a:latin typeface="Calibri" panose="020F0502020204030204" pitchFamily="34" charset="0"/>
                <a:ea typeface="Roboto Cn" pitchFamily="2" charset="0"/>
                <a:cs typeface="Calibri" panose="020F0502020204030204" pitchFamily="34" charset="0"/>
              </a:rPr>
              <a:t>Highlight the three most important improvement opportunities.</a:t>
            </a:r>
          </a:p>
        </p:txBody>
      </p:sp>
      <p:cxnSp>
        <p:nvCxnSpPr>
          <p:cNvPr id="63" name="Straight Connector 28">
            <a:extLst>
              <a:ext uri="{FF2B5EF4-FFF2-40B4-BE49-F238E27FC236}">
                <a16:creationId xmlns:a16="http://schemas.microsoft.com/office/drawing/2014/main" id="{5EC35EE5-1CD1-352D-1E11-090A3B9DBB71}"/>
              </a:ext>
            </a:extLst>
          </p:cNvPr>
          <p:cNvCxnSpPr>
            <a:cxnSpLocks/>
          </p:cNvCxnSpPr>
          <p:nvPr/>
        </p:nvCxnSpPr>
        <p:spPr>
          <a:xfrm>
            <a:off x="3762728" y="864168"/>
            <a:ext cx="0" cy="192683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28">
            <a:extLst>
              <a:ext uri="{FF2B5EF4-FFF2-40B4-BE49-F238E27FC236}">
                <a16:creationId xmlns:a16="http://schemas.microsoft.com/office/drawing/2014/main" id="{95CEA0F8-8F50-5002-5B30-31FD5B083423}"/>
              </a:ext>
            </a:extLst>
          </p:cNvPr>
          <p:cNvCxnSpPr>
            <a:cxnSpLocks/>
          </p:cNvCxnSpPr>
          <p:nvPr/>
        </p:nvCxnSpPr>
        <p:spPr>
          <a:xfrm>
            <a:off x="6070086" y="876528"/>
            <a:ext cx="0" cy="3359364"/>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28">
            <a:extLst>
              <a:ext uri="{FF2B5EF4-FFF2-40B4-BE49-F238E27FC236}">
                <a16:creationId xmlns:a16="http://schemas.microsoft.com/office/drawing/2014/main" id="{EE8BC495-01CB-E25E-89E9-1AEE3A33B8EB}"/>
              </a:ext>
            </a:extLst>
          </p:cNvPr>
          <p:cNvCxnSpPr>
            <a:cxnSpLocks/>
          </p:cNvCxnSpPr>
          <p:nvPr/>
        </p:nvCxnSpPr>
        <p:spPr>
          <a:xfrm>
            <a:off x="9752364" y="864168"/>
            <a:ext cx="0" cy="192683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68" name="TextBox 38">
            <a:extLst>
              <a:ext uri="{FF2B5EF4-FFF2-40B4-BE49-F238E27FC236}">
                <a16:creationId xmlns:a16="http://schemas.microsoft.com/office/drawing/2014/main" id="{4A52573C-5FA5-06F6-A241-3D23DE94115C}"/>
              </a:ext>
            </a:extLst>
          </p:cNvPr>
          <p:cNvSpPr txBox="1"/>
          <p:nvPr/>
        </p:nvSpPr>
        <p:spPr>
          <a:xfrm>
            <a:off x="3822887" y="607550"/>
            <a:ext cx="1789640" cy="1173270"/>
          </a:xfrm>
          <a:prstGeom prst="rect">
            <a:avLst/>
          </a:prstGeom>
          <a:noFill/>
        </p:spPr>
        <p:txBody>
          <a:bodyPr wrap="square">
            <a:spAutoFit/>
          </a:bodyPr>
          <a:lstStyle/>
          <a:p>
            <a:pPr>
              <a:lnSpc>
                <a:spcPts val="2120"/>
              </a:lnSpc>
              <a:defRPr/>
            </a:pPr>
            <a:r>
              <a:rPr lang="en-US" sz="2100" b="1" dirty="0">
                <a:solidFill>
                  <a:srgbClr val="62A844"/>
                </a:solidFill>
                <a:latin typeface="Calibri" panose="020F0502020204030204" pitchFamily="34" charset="0"/>
                <a:ea typeface="Roboto Cn" pitchFamily="2" charset="0"/>
                <a:cs typeface="Calibri" panose="020F0502020204030204" pitchFamily="34" charset="0"/>
              </a:rPr>
              <a:t>Define the guest and scenario.</a:t>
            </a:r>
          </a:p>
          <a:p>
            <a:pPr>
              <a:lnSpc>
                <a:spcPts val="2120"/>
              </a:lnSpc>
              <a:defRPr/>
            </a:pPr>
            <a:endParaRPr lang="en-US" sz="2100" b="1" dirty="0">
              <a:solidFill>
                <a:srgbClr val="0289AE"/>
              </a:solidFill>
              <a:latin typeface="Calibri" panose="020F0502020204030204" pitchFamily="34" charset="0"/>
              <a:ea typeface="Roboto Cn" pitchFamily="2" charset="0"/>
              <a:cs typeface="Calibri" panose="020F0502020204030204" pitchFamily="34" charset="0"/>
            </a:endParaRPr>
          </a:p>
        </p:txBody>
      </p:sp>
      <p:sp>
        <p:nvSpPr>
          <p:cNvPr id="69" name="TextBox 38">
            <a:extLst>
              <a:ext uri="{FF2B5EF4-FFF2-40B4-BE49-F238E27FC236}">
                <a16:creationId xmlns:a16="http://schemas.microsoft.com/office/drawing/2014/main" id="{B1A579F1-4FB5-1B64-55A6-A76BE01CE0B6}"/>
              </a:ext>
            </a:extLst>
          </p:cNvPr>
          <p:cNvSpPr txBox="1"/>
          <p:nvPr/>
        </p:nvSpPr>
        <p:spPr>
          <a:xfrm>
            <a:off x="6172608" y="631672"/>
            <a:ext cx="3170324" cy="365356"/>
          </a:xfrm>
          <a:prstGeom prst="rect">
            <a:avLst/>
          </a:prstGeom>
          <a:noFill/>
        </p:spPr>
        <p:txBody>
          <a:bodyPr wrap="square">
            <a:spAutoFit/>
          </a:bodyPr>
          <a:lstStyle/>
          <a:p>
            <a:pPr>
              <a:lnSpc>
                <a:spcPts val="2120"/>
              </a:lnSpc>
              <a:defRPr/>
            </a:pPr>
            <a:r>
              <a:rPr lang="en-US" sz="2100" b="1" dirty="0">
                <a:solidFill>
                  <a:srgbClr val="0289AE"/>
                </a:solidFill>
                <a:latin typeface="Calibri" panose="020F0502020204030204" pitchFamily="34" charset="0"/>
                <a:ea typeface="Roboto Cn" pitchFamily="2" charset="0"/>
                <a:cs typeface="Calibri" panose="020F0502020204030204" pitchFamily="34" charset="0"/>
              </a:rPr>
              <a:t>At each stage, identify:</a:t>
            </a:r>
          </a:p>
        </p:txBody>
      </p:sp>
      <p:sp>
        <p:nvSpPr>
          <p:cNvPr id="70" name="TextBox 38">
            <a:extLst>
              <a:ext uri="{FF2B5EF4-FFF2-40B4-BE49-F238E27FC236}">
                <a16:creationId xmlns:a16="http://schemas.microsoft.com/office/drawing/2014/main" id="{5C45A596-87F7-451B-07E4-E51E60128E67}"/>
              </a:ext>
            </a:extLst>
          </p:cNvPr>
          <p:cNvSpPr txBox="1"/>
          <p:nvPr/>
        </p:nvSpPr>
        <p:spPr>
          <a:xfrm>
            <a:off x="9812524" y="631672"/>
            <a:ext cx="2586849" cy="365356"/>
          </a:xfrm>
          <a:prstGeom prst="rect">
            <a:avLst/>
          </a:prstGeom>
          <a:noFill/>
        </p:spPr>
        <p:txBody>
          <a:bodyPr wrap="square">
            <a:spAutoFit/>
          </a:bodyPr>
          <a:lstStyle/>
          <a:p>
            <a:pPr>
              <a:lnSpc>
                <a:spcPts val="2120"/>
              </a:lnSpc>
              <a:defRPr/>
            </a:pPr>
            <a:r>
              <a:rPr lang="en-US" sz="2100" b="1" dirty="0">
                <a:solidFill>
                  <a:srgbClr val="EABB22"/>
                </a:solidFill>
                <a:latin typeface="Calibri" panose="020F0502020204030204" pitchFamily="34" charset="0"/>
                <a:ea typeface="Roboto Cn" pitchFamily="2" charset="0"/>
                <a:cs typeface="Calibri" panose="020F0502020204030204" pitchFamily="34" charset="0"/>
              </a:rPr>
              <a:t>Output:</a:t>
            </a:r>
          </a:p>
        </p:txBody>
      </p:sp>
      <p:sp>
        <p:nvSpPr>
          <p:cNvPr id="71" name="TextBox 38">
            <a:extLst>
              <a:ext uri="{FF2B5EF4-FFF2-40B4-BE49-F238E27FC236}">
                <a16:creationId xmlns:a16="http://schemas.microsoft.com/office/drawing/2014/main" id="{1B1EE8D4-8D52-4EA5-1133-CCE50D21CED0}"/>
              </a:ext>
            </a:extLst>
          </p:cNvPr>
          <p:cNvSpPr txBox="1"/>
          <p:nvPr/>
        </p:nvSpPr>
        <p:spPr>
          <a:xfrm>
            <a:off x="2716798" y="3523407"/>
            <a:ext cx="1224138" cy="543354"/>
          </a:xfrm>
          <a:prstGeom prst="rect">
            <a:avLst/>
          </a:prstGeom>
          <a:noFill/>
        </p:spPr>
        <p:txBody>
          <a:bodyPr wrap="square">
            <a:spAutoFit/>
          </a:bodyPr>
          <a:lstStyle/>
          <a:p>
            <a:pPr algn="ctr">
              <a:lnSpc>
                <a:spcPts val="3020"/>
              </a:lnSpc>
              <a:defRPr/>
            </a:pPr>
            <a:r>
              <a:rPr lang="en-US" sz="4800" b="1" dirty="0">
                <a:solidFill>
                  <a:srgbClr val="62A844"/>
                </a:solidFill>
                <a:latin typeface="Calibri" panose="020F0502020204030204" pitchFamily="34" charset="0"/>
                <a:ea typeface="Roboto Cn" pitchFamily="2" charset="0"/>
                <a:cs typeface="Calibri" panose="020F0502020204030204" pitchFamily="34" charset="0"/>
              </a:rPr>
              <a:t>02</a:t>
            </a:r>
          </a:p>
        </p:txBody>
      </p:sp>
      <p:sp>
        <p:nvSpPr>
          <p:cNvPr id="72" name="TextBox 38">
            <a:extLst>
              <a:ext uri="{FF2B5EF4-FFF2-40B4-BE49-F238E27FC236}">
                <a16:creationId xmlns:a16="http://schemas.microsoft.com/office/drawing/2014/main" id="{D9F7E8E7-04D5-F28F-0449-CB48FE1F3501}"/>
              </a:ext>
            </a:extLst>
          </p:cNvPr>
          <p:cNvSpPr txBox="1"/>
          <p:nvPr/>
        </p:nvSpPr>
        <p:spPr>
          <a:xfrm>
            <a:off x="4459818" y="3523407"/>
            <a:ext cx="1224138" cy="543354"/>
          </a:xfrm>
          <a:prstGeom prst="rect">
            <a:avLst/>
          </a:prstGeom>
          <a:noFill/>
        </p:spPr>
        <p:txBody>
          <a:bodyPr wrap="square">
            <a:spAutoFit/>
          </a:bodyPr>
          <a:lstStyle/>
          <a:p>
            <a:pPr algn="ctr">
              <a:lnSpc>
                <a:spcPts val="3020"/>
              </a:lnSpc>
              <a:defRPr/>
            </a:pPr>
            <a:r>
              <a:rPr lang="en-US" sz="4800" b="1" dirty="0">
                <a:solidFill>
                  <a:srgbClr val="EABB22"/>
                </a:solidFill>
                <a:latin typeface="Calibri" panose="020F0502020204030204" pitchFamily="34" charset="0"/>
                <a:ea typeface="Roboto Cn" pitchFamily="2" charset="0"/>
                <a:cs typeface="Calibri" panose="020F0502020204030204" pitchFamily="34" charset="0"/>
              </a:rPr>
              <a:t>03</a:t>
            </a:r>
          </a:p>
        </p:txBody>
      </p:sp>
      <p:sp>
        <p:nvSpPr>
          <p:cNvPr id="73" name="TextBox 38">
            <a:extLst>
              <a:ext uri="{FF2B5EF4-FFF2-40B4-BE49-F238E27FC236}">
                <a16:creationId xmlns:a16="http://schemas.microsoft.com/office/drawing/2014/main" id="{57C21432-2761-5A4B-431C-97B0BA62B623}"/>
              </a:ext>
            </a:extLst>
          </p:cNvPr>
          <p:cNvSpPr txBox="1"/>
          <p:nvPr/>
        </p:nvSpPr>
        <p:spPr>
          <a:xfrm>
            <a:off x="6190806" y="3523407"/>
            <a:ext cx="1224138" cy="543354"/>
          </a:xfrm>
          <a:prstGeom prst="rect">
            <a:avLst/>
          </a:prstGeom>
          <a:noFill/>
        </p:spPr>
        <p:txBody>
          <a:bodyPr wrap="square">
            <a:spAutoFit/>
          </a:bodyPr>
          <a:lstStyle/>
          <a:p>
            <a:pPr algn="ctr">
              <a:lnSpc>
                <a:spcPts val="3020"/>
              </a:lnSpc>
              <a:defRPr/>
            </a:pPr>
            <a:r>
              <a:rPr lang="en-US" sz="4800" b="1" dirty="0">
                <a:solidFill>
                  <a:srgbClr val="0289AE"/>
                </a:solidFill>
                <a:latin typeface="Calibri" panose="020F0502020204030204" pitchFamily="34" charset="0"/>
                <a:ea typeface="Roboto Cn" pitchFamily="2" charset="0"/>
                <a:cs typeface="Calibri" panose="020F0502020204030204" pitchFamily="34" charset="0"/>
              </a:rPr>
              <a:t>04</a:t>
            </a:r>
          </a:p>
        </p:txBody>
      </p:sp>
      <p:sp>
        <p:nvSpPr>
          <p:cNvPr id="74" name="TextBox 38">
            <a:extLst>
              <a:ext uri="{FF2B5EF4-FFF2-40B4-BE49-F238E27FC236}">
                <a16:creationId xmlns:a16="http://schemas.microsoft.com/office/drawing/2014/main" id="{DB7F65A4-A050-370C-912A-A947CF4DB782}"/>
              </a:ext>
            </a:extLst>
          </p:cNvPr>
          <p:cNvSpPr txBox="1"/>
          <p:nvPr/>
        </p:nvSpPr>
        <p:spPr>
          <a:xfrm>
            <a:off x="7933826" y="3523407"/>
            <a:ext cx="1224138" cy="543354"/>
          </a:xfrm>
          <a:prstGeom prst="rect">
            <a:avLst/>
          </a:prstGeom>
          <a:noFill/>
        </p:spPr>
        <p:txBody>
          <a:bodyPr wrap="square">
            <a:spAutoFit/>
          </a:bodyPr>
          <a:lstStyle/>
          <a:p>
            <a:pPr algn="ctr">
              <a:lnSpc>
                <a:spcPts val="3020"/>
              </a:lnSpc>
              <a:defRPr/>
            </a:pPr>
            <a:r>
              <a:rPr lang="en-US" sz="4800" b="1" dirty="0">
                <a:solidFill>
                  <a:srgbClr val="62A844"/>
                </a:solidFill>
                <a:latin typeface="Calibri" panose="020F0502020204030204" pitchFamily="34" charset="0"/>
                <a:ea typeface="Roboto Cn" pitchFamily="2" charset="0"/>
                <a:cs typeface="Calibri" panose="020F0502020204030204" pitchFamily="34" charset="0"/>
              </a:rPr>
              <a:t>05</a:t>
            </a:r>
          </a:p>
        </p:txBody>
      </p:sp>
      <p:sp>
        <p:nvSpPr>
          <p:cNvPr id="75" name="TextBox 38">
            <a:extLst>
              <a:ext uri="{FF2B5EF4-FFF2-40B4-BE49-F238E27FC236}">
                <a16:creationId xmlns:a16="http://schemas.microsoft.com/office/drawing/2014/main" id="{A6F1C5EC-51FD-ECC9-A4DC-00D49565A272}"/>
              </a:ext>
            </a:extLst>
          </p:cNvPr>
          <p:cNvSpPr txBox="1"/>
          <p:nvPr/>
        </p:nvSpPr>
        <p:spPr>
          <a:xfrm>
            <a:off x="9676845" y="3523407"/>
            <a:ext cx="1224138" cy="543354"/>
          </a:xfrm>
          <a:prstGeom prst="rect">
            <a:avLst/>
          </a:prstGeom>
          <a:noFill/>
        </p:spPr>
        <p:txBody>
          <a:bodyPr wrap="square">
            <a:spAutoFit/>
          </a:bodyPr>
          <a:lstStyle/>
          <a:p>
            <a:pPr algn="ctr">
              <a:lnSpc>
                <a:spcPts val="3020"/>
              </a:lnSpc>
              <a:defRPr/>
            </a:pPr>
            <a:r>
              <a:rPr lang="en-US" sz="4800" b="1" dirty="0">
                <a:solidFill>
                  <a:srgbClr val="EABB22"/>
                </a:solidFill>
                <a:latin typeface="Calibri" panose="020F0502020204030204" pitchFamily="34" charset="0"/>
                <a:ea typeface="Roboto Cn" pitchFamily="2" charset="0"/>
                <a:cs typeface="Calibri" panose="020F0502020204030204" pitchFamily="34" charset="0"/>
              </a:rPr>
              <a:t>06</a:t>
            </a:r>
          </a:p>
        </p:txBody>
      </p:sp>
      <p:sp>
        <p:nvSpPr>
          <p:cNvPr id="82" name="TextBox 36">
            <a:extLst>
              <a:ext uri="{FF2B5EF4-FFF2-40B4-BE49-F238E27FC236}">
                <a16:creationId xmlns:a16="http://schemas.microsoft.com/office/drawing/2014/main" id="{FB87FF4A-4947-8917-6489-AB4FB14765BF}"/>
              </a:ext>
            </a:extLst>
          </p:cNvPr>
          <p:cNvSpPr txBox="1"/>
          <p:nvPr/>
        </p:nvSpPr>
        <p:spPr>
          <a:xfrm>
            <a:off x="6207489" y="958547"/>
            <a:ext cx="3161056" cy="1480534"/>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8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On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ke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ouchpoint</a:t>
            </a:r>
            <a:endParaRPr lang="de-DE" altLang="de-DE" sz="1800" dirty="0">
              <a:solidFill>
                <a:srgbClr val="262626"/>
              </a:solidFill>
              <a:latin typeface="Calibri" panose="020F0502020204030204" pitchFamily="34" charset="0"/>
              <a:cs typeface="Calibri" panose="020F0502020204030204" pitchFamily="34" charset="0"/>
            </a:endParaRPr>
          </a:p>
          <a:p>
            <a:pPr>
              <a:lnSpc>
                <a:spcPts val="18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On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gues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need</a:t>
            </a:r>
            <a:endParaRPr lang="de-DE" altLang="de-DE" sz="1800" dirty="0">
              <a:solidFill>
                <a:srgbClr val="262626"/>
              </a:solidFill>
              <a:latin typeface="Calibri" panose="020F0502020204030204" pitchFamily="34" charset="0"/>
              <a:cs typeface="Calibri" panose="020F0502020204030204" pitchFamily="34" charset="0"/>
            </a:endParaRPr>
          </a:p>
          <a:p>
            <a:pPr>
              <a:lnSpc>
                <a:spcPts val="18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On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ustainabilit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opportunity</a:t>
            </a:r>
            <a:endParaRPr lang="de-DE" altLang="de-DE" sz="1800" dirty="0">
              <a:solidFill>
                <a:srgbClr val="262626"/>
              </a:solidFill>
              <a:latin typeface="Calibri" panose="020F0502020204030204" pitchFamily="34" charset="0"/>
              <a:cs typeface="Calibri" panose="020F0502020204030204" pitchFamily="34" charset="0"/>
            </a:endParaRPr>
          </a:p>
          <a:p>
            <a:pPr>
              <a:lnSpc>
                <a:spcPts val="18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One</a:t>
            </a:r>
            <a:r>
              <a:rPr lang="de-DE" altLang="de-DE" sz="1800" dirty="0">
                <a:solidFill>
                  <a:srgbClr val="262626"/>
                </a:solidFill>
                <a:latin typeface="Calibri" panose="020F0502020204030204" pitchFamily="34" charset="0"/>
                <a:cs typeface="Calibri" panose="020F0502020204030204" pitchFamily="34" charset="0"/>
              </a:rPr>
              <a:t> possible </a:t>
            </a:r>
            <a:r>
              <a:rPr lang="de-DE" altLang="de-DE" sz="1800" dirty="0" err="1">
                <a:solidFill>
                  <a:srgbClr val="262626"/>
                </a:solidFill>
                <a:latin typeface="Calibri" panose="020F0502020204030204" pitchFamily="34" charset="0"/>
                <a:cs typeface="Calibri" panose="020F0502020204030204" pitchFamily="34" charset="0"/>
              </a:rPr>
              <a:t>friction</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point</a:t>
            </a:r>
            <a:endParaRPr lang="de-DE" altLang="de-DE" sz="1800" dirty="0">
              <a:solidFill>
                <a:srgbClr val="262626"/>
              </a:solidFill>
              <a:latin typeface="Calibri" panose="020F0502020204030204" pitchFamily="34" charset="0"/>
              <a:cs typeface="Calibri" panose="020F0502020204030204" pitchFamily="34" charset="0"/>
            </a:endParaRPr>
          </a:p>
          <a:p>
            <a:pPr>
              <a:lnSpc>
                <a:spcPts val="1840"/>
              </a:lnSpc>
              <a:buClr>
                <a:srgbClr val="0289AE"/>
              </a:buClr>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98" name="Text Placeholder 11">
            <a:extLst>
              <a:ext uri="{FF2B5EF4-FFF2-40B4-BE49-F238E27FC236}">
                <a16:creationId xmlns:a16="http://schemas.microsoft.com/office/drawing/2014/main" id="{046F9BEE-3F6B-311D-5B24-6B4D09B03F9A}"/>
              </a:ext>
            </a:extLst>
          </p:cNvPr>
          <p:cNvSpPr txBox="1">
            <a:spLocks/>
          </p:cNvSpPr>
          <p:nvPr/>
        </p:nvSpPr>
        <p:spPr>
          <a:xfrm>
            <a:off x="403456" y="544329"/>
            <a:ext cx="381192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Activity: Map a Guest Journe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sp>
        <p:nvSpPr>
          <p:cNvPr id="99" name="Freeform 98">
            <a:extLst>
              <a:ext uri="{FF2B5EF4-FFF2-40B4-BE49-F238E27FC236}">
                <a16:creationId xmlns:a16="http://schemas.microsoft.com/office/drawing/2014/main" id="{95E32FDB-5637-A2A5-E13C-737A13F3B5B4}"/>
              </a:ext>
            </a:extLst>
          </p:cNvPr>
          <p:cNvSpPr/>
          <p:nvPr/>
        </p:nvSpPr>
        <p:spPr>
          <a:xfrm rot="1860512">
            <a:off x="2279733" y="1819953"/>
            <a:ext cx="926896" cy="526949"/>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sp>
        <p:nvSpPr>
          <p:cNvPr id="100" name="Oval 12">
            <a:extLst>
              <a:ext uri="{FF2B5EF4-FFF2-40B4-BE49-F238E27FC236}">
                <a16:creationId xmlns:a16="http://schemas.microsoft.com/office/drawing/2014/main" id="{EA2EAAC9-CC90-F1CB-35F4-42CBC4A2C22B}"/>
              </a:ext>
            </a:extLst>
          </p:cNvPr>
          <p:cNvSpPr>
            <a:spLocks noChangeAspect="1"/>
          </p:cNvSpPr>
          <p:nvPr/>
        </p:nvSpPr>
        <p:spPr>
          <a:xfrm rot="16200000" flipH="1">
            <a:off x="3678004" y="684168"/>
            <a:ext cx="180000" cy="180000"/>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1" name="Oval 12">
            <a:extLst>
              <a:ext uri="{FF2B5EF4-FFF2-40B4-BE49-F238E27FC236}">
                <a16:creationId xmlns:a16="http://schemas.microsoft.com/office/drawing/2014/main" id="{9F39E039-7EAB-96E2-058A-B0A5EC1322EE}"/>
              </a:ext>
            </a:extLst>
          </p:cNvPr>
          <p:cNvSpPr>
            <a:spLocks noChangeAspect="1"/>
          </p:cNvSpPr>
          <p:nvPr/>
        </p:nvSpPr>
        <p:spPr>
          <a:xfrm rot="16200000" flipH="1">
            <a:off x="7715440" y="4965628"/>
            <a:ext cx="180000" cy="180000"/>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2" name="Oval 12">
            <a:extLst>
              <a:ext uri="{FF2B5EF4-FFF2-40B4-BE49-F238E27FC236}">
                <a16:creationId xmlns:a16="http://schemas.microsoft.com/office/drawing/2014/main" id="{0A9F8FCA-8014-82CD-6605-33EC228E3F2B}"/>
              </a:ext>
            </a:extLst>
          </p:cNvPr>
          <p:cNvSpPr>
            <a:spLocks noChangeAspect="1"/>
          </p:cNvSpPr>
          <p:nvPr/>
        </p:nvSpPr>
        <p:spPr>
          <a:xfrm rot="16200000" flipH="1">
            <a:off x="5985490" y="684168"/>
            <a:ext cx="180000" cy="180000"/>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3" name="Oval 12">
            <a:extLst>
              <a:ext uri="{FF2B5EF4-FFF2-40B4-BE49-F238E27FC236}">
                <a16:creationId xmlns:a16="http://schemas.microsoft.com/office/drawing/2014/main" id="{FD8B08FC-4545-1F9F-0BA5-EAA103281FE6}"/>
              </a:ext>
            </a:extLst>
          </p:cNvPr>
          <p:cNvSpPr>
            <a:spLocks noChangeAspect="1"/>
          </p:cNvSpPr>
          <p:nvPr/>
        </p:nvSpPr>
        <p:spPr>
          <a:xfrm rot="16200000" flipH="1">
            <a:off x="671905" y="4965627"/>
            <a:ext cx="180000" cy="180000"/>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4" name="Oval 12">
            <a:extLst>
              <a:ext uri="{FF2B5EF4-FFF2-40B4-BE49-F238E27FC236}">
                <a16:creationId xmlns:a16="http://schemas.microsoft.com/office/drawing/2014/main" id="{A00BE405-61FA-15E9-ACE1-72448A525C96}"/>
              </a:ext>
            </a:extLst>
          </p:cNvPr>
          <p:cNvSpPr>
            <a:spLocks noChangeAspect="1"/>
          </p:cNvSpPr>
          <p:nvPr/>
        </p:nvSpPr>
        <p:spPr>
          <a:xfrm rot="16200000" flipH="1">
            <a:off x="4217165" y="4960068"/>
            <a:ext cx="180000" cy="180000"/>
          </a:xfrm>
          <a:prstGeom prst="ellipse">
            <a:avLst/>
          </a:prstGeom>
          <a:solidFill>
            <a:srgbClr val="EABB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105" name="Oval 12">
            <a:extLst>
              <a:ext uri="{FF2B5EF4-FFF2-40B4-BE49-F238E27FC236}">
                <a16:creationId xmlns:a16="http://schemas.microsoft.com/office/drawing/2014/main" id="{796CE19F-F955-88F6-915B-163AB9206810}"/>
              </a:ext>
            </a:extLst>
          </p:cNvPr>
          <p:cNvSpPr>
            <a:spLocks noChangeAspect="1"/>
          </p:cNvSpPr>
          <p:nvPr/>
        </p:nvSpPr>
        <p:spPr>
          <a:xfrm rot="16200000" flipH="1">
            <a:off x="9656349" y="684168"/>
            <a:ext cx="180000" cy="180000"/>
          </a:xfrm>
          <a:prstGeom prst="ellipse">
            <a:avLst/>
          </a:prstGeom>
          <a:solidFill>
            <a:srgbClr val="EABB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Tree>
    <p:extLst>
      <p:ext uri="{BB962C8B-B14F-4D97-AF65-F5344CB8AC3E}">
        <p14:creationId xmlns:p14="http://schemas.microsoft.com/office/powerpoint/2010/main" val="32842982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51BBB1-44D4-C818-548B-D9C2F2AFF57B}"/>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1C4B0266-178A-8FB5-CECB-D5DA89EFAB6E}"/>
              </a:ext>
            </a:extLst>
          </p:cNvPr>
          <p:cNvSpPr txBox="1">
            <a:spLocks/>
          </p:cNvSpPr>
          <p:nvPr/>
        </p:nvSpPr>
        <p:spPr>
          <a:xfrm>
            <a:off x="429115" y="421381"/>
            <a:ext cx="649254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Watch: Journey Management with Marc Stickdor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5DD01A2-F784-2288-69C9-C43BB74B4B6F}"/>
              </a:ext>
            </a:extLst>
          </p:cNvPr>
          <p:cNvCxnSpPr>
            <a:cxnSpLocks/>
          </p:cNvCxnSpPr>
          <p:nvPr/>
        </p:nvCxnSpPr>
        <p:spPr>
          <a:xfrm>
            <a:off x="0" y="1536819"/>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BAA8B897-D368-0D37-16EC-E5A7FE4C565C}"/>
              </a:ext>
            </a:extLst>
          </p:cNvPr>
          <p:cNvSpPr/>
          <p:nvPr/>
        </p:nvSpPr>
        <p:spPr>
          <a:xfrm flipH="1">
            <a:off x="586941" y="1838697"/>
            <a:ext cx="5761904" cy="3618939"/>
          </a:xfrm>
          <a:prstGeom prst="rect">
            <a:avLst/>
          </a:prstGeom>
        </p:spPr>
        <p:txBody>
          <a:bodyPr wrap="square">
            <a:spAutoFit/>
          </a:bodyPr>
          <a:lstStyle/>
          <a:p>
            <a:pPr>
              <a:lnSpc>
                <a:spcPts val="2200"/>
              </a:lnSpc>
              <a:buClr>
                <a:srgbClr val="62A844"/>
              </a:buClr>
            </a:pPr>
            <a:r>
              <a:rPr lang="en-US" sz="2000" dirty="0">
                <a:solidFill>
                  <a:srgbClr val="262626"/>
                </a:solidFill>
              </a:rPr>
              <a:t>Watch the </a:t>
            </a:r>
            <a:r>
              <a:rPr lang="en-US" sz="2000" b="1" dirty="0">
                <a:solidFill>
                  <a:srgbClr val="262626"/>
                </a:solidFill>
              </a:rPr>
              <a:t>Service Design Network</a:t>
            </a:r>
            <a:r>
              <a:rPr lang="en-US" sz="2000" dirty="0">
                <a:solidFill>
                  <a:srgbClr val="262626"/>
                </a:solidFill>
              </a:rPr>
              <a:t> webinar highlights on </a:t>
            </a:r>
            <a:r>
              <a:rPr lang="en-US" sz="2000" b="1" dirty="0">
                <a:solidFill>
                  <a:srgbClr val="262626"/>
                </a:solidFill>
              </a:rPr>
              <a:t>“The origins and future of Journey Management”</a:t>
            </a:r>
            <a:r>
              <a:rPr lang="en-US" sz="2000" dirty="0">
                <a:solidFill>
                  <a:srgbClr val="262626"/>
                </a:solidFill>
              </a:rPr>
              <a:t> with Marc Stickdorn.</a:t>
            </a:r>
          </a:p>
          <a:p>
            <a:pPr>
              <a:lnSpc>
                <a:spcPts val="1900"/>
              </a:lnSpc>
              <a:buClr>
                <a:srgbClr val="62A844"/>
              </a:buClr>
            </a:pPr>
            <a:endParaRPr lang="en-US" dirty="0">
              <a:solidFill>
                <a:srgbClr val="262626"/>
              </a:solidFill>
            </a:endParaRPr>
          </a:p>
          <a:p>
            <a:pPr>
              <a:lnSpc>
                <a:spcPts val="1900"/>
              </a:lnSpc>
              <a:buClr>
                <a:srgbClr val="62A844"/>
              </a:buClr>
            </a:pPr>
            <a:r>
              <a:rPr lang="en-US" sz="2000" b="1" dirty="0">
                <a:solidFill>
                  <a:srgbClr val="0289AE"/>
                </a:solidFill>
              </a:rPr>
              <a:t>Watch For:</a:t>
            </a:r>
          </a:p>
          <a:p>
            <a:pPr marL="285750" indent="-285750">
              <a:lnSpc>
                <a:spcPts val="1900"/>
              </a:lnSpc>
              <a:buClr>
                <a:srgbClr val="62A844"/>
              </a:buClr>
              <a:buFont typeface="Arial" panose="020B0604020202020204" pitchFamily="34" charset="0"/>
              <a:buChar char="•"/>
            </a:pPr>
            <a:r>
              <a:rPr lang="en-US" dirty="0">
                <a:solidFill>
                  <a:srgbClr val="262626"/>
                </a:solidFill>
              </a:rPr>
              <a:t>why journey maps are more than diagrams</a:t>
            </a:r>
          </a:p>
          <a:p>
            <a:pPr marL="285750" indent="-285750">
              <a:lnSpc>
                <a:spcPts val="1900"/>
              </a:lnSpc>
              <a:buClr>
                <a:srgbClr val="62A844"/>
              </a:buClr>
              <a:buFont typeface="Arial" panose="020B0604020202020204" pitchFamily="34" charset="0"/>
              <a:buChar char="•"/>
            </a:pPr>
            <a:r>
              <a:rPr lang="en-US" dirty="0">
                <a:solidFill>
                  <a:srgbClr val="262626"/>
                </a:solidFill>
              </a:rPr>
              <a:t>how </a:t>
            </a:r>
            <a:r>
              <a:rPr lang="en-US" dirty="0" err="1">
                <a:solidFill>
                  <a:srgbClr val="262626"/>
                </a:solidFill>
              </a:rPr>
              <a:t>organisations</a:t>
            </a:r>
            <a:r>
              <a:rPr lang="en-US" dirty="0">
                <a:solidFill>
                  <a:srgbClr val="262626"/>
                </a:solidFill>
              </a:rPr>
              <a:t> use journey thinking to improve services</a:t>
            </a:r>
          </a:p>
          <a:p>
            <a:pPr marL="285750" indent="-285750">
              <a:lnSpc>
                <a:spcPts val="1900"/>
              </a:lnSpc>
              <a:buClr>
                <a:srgbClr val="62A844"/>
              </a:buClr>
              <a:buFont typeface="Arial" panose="020B0604020202020204" pitchFamily="34" charset="0"/>
              <a:buChar char="•"/>
            </a:pPr>
            <a:r>
              <a:rPr lang="en-US" dirty="0">
                <a:solidFill>
                  <a:srgbClr val="262626"/>
                </a:solidFill>
              </a:rPr>
              <a:t>why implementation matters as much as mapping</a:t>
            </a:r>
          </a:p>
          <a:p>
            <a:pPr>
              <a:lnSpc>
                <a:spcPts val="1900"/>
              </a:lnSpc>
              <a:buClr>
                <a:srgbClr val="62A844"/>
              </a:buClr>
            </a:pPr>
            <a:endParaRPr lang="en-US" sz="2000" b="1" dirty="0">
              <a:solidFill>
                <a:srgbClr val="0289AE"/>
              </a:solidFill>
            </a:endParaRPr>
          </a:p>
          <a:p>
            <a:pPr>
              <a:lnSpc>
                <a:spcPts val="1900"/>
              </a:lnSpc>
              <a:buClr>
                <a:srgbClr val="62A844"/>
              </a:buClr>
            </a:pPr>
            <a:r>
              <a:rPr lang="en-US" sz="2000" b="1" dirty="0">
                <a:solidFill>
                  <a:srgbClr val="0289AE"/>
                </a:solidFill>
              </a:rPr>
              <a:t>Your task - Note:</a:t>
            </a:r>
          </a:p>
          <a:p>
            <a:pPr marL="285750" indent="-285750">
              <a:lnSpc>
                <a:spcPts val="1900"/>
              </a:lnSpc>
              <a:buClr>
                <a:srgbClr val="62A844"/>
              </a:buClr>
              <a:buFont typeface="Arial" panose="020B0604020202020204" pitchFamily="34" charset="0"/>
              <a:buChar char="•"/>
            </a:pPr>
            <a:r>
              <a:rPr lang="en-US" dirty="0">
                <a:solidFill>
                  <a:srgbClr val="262626"/>
                </a:solidFill>
              </a:rPr>
              <a:t>one idea that applies to hospitality</a:t>
            </a:r>
          </a:p>
          <a:p>
            <a:pPr marL="285750" indent="-285750">
              <a:lnSpc>
                <a:spcPts val="1900"/>
              </a:lnSpc>
              <a:buClr>
                <a:srgbClr val="62A844"/>
              </a:buClr>
              <a:buFont typeface="Arial" panose="020B0604020202020204" pitchFamily="34" charset="0"/>
              <a:buChar char="•"/>
            </a:pPr>
            <a:r>
              <a:rPr lang="en-US" dirty="0">
                <a:solidFill>
                  <a:srgbClr val="262626"/>
                </a:solidFill>
              </a:rPr>
              <a:t>one journey stage that is often ignored in your context</a:t>
            </a:r>
          </a:p>
          <a:p>
            <a:pPr marL="285750" indent="-285750">
              <a:lnSpc>
                <a:spcPts val="1900"/>
              </a:lnSpc>
              <a:buClr>
                <a:srgbClr val="62A844"/>
              </a:buClr>
              <a:buFont typeface="Arial" panose="020B0604020202020204" pitchFamily="34" charset="0"/>
              <a:buChar char="•"/>
            </a:pPr>
            <a:r>
              <a:rPr lang="en-US" dirty="0">
                <a:solidFill>
                  <a:srgbClr val="262626"/>
                </a:solidFill>
              </a:rPr>
              <a:t>one way to use mapping beyond the classroom</a:t>
            </a:r>
          </a:p>
        </p:txBody>
      </p:sp>
      <p:pic>
        <p:nvPicPr>
          <p:cNvPr id="15" name="Picture 14">
            <a:extLst>
              <a:ext uri="{FF2B5EF4-FFF2-40B4-BE49-F238E27FC236}">
                <a16:creationId xmlns:a16="http://schemas.microsoft.com/office/drawing/2014/main" id="{23967FC9-301E-892F-BDB6-831BCC7378F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61" t="12298" r="29196" b="16922"/>
          <a:stretch>
            <a:fillRect/>
          </a:stretch>
        </p:blipFill>
        <p:spPr>
          <a:xfrm>
            <a:off x="5834250" y="1096245"/>
            <a:ext cx="6347083" cy="4885527"/>
          </a:xfrm>
          <a:prstGeom prst="rect">
            <a:avLst/>
          </a:prstGeom>
        </p:spPr>
      </p:pic>
      <p:pic>
        <p:nvPicPr>
          <p:cNvPr id="7" name="Bildplatzhalter 5">
            <a:hlinkClick r:id="rId4"/>
            <a:extLst>
              <a:ext uri="{FF2B5EF4-FFF2-40B4-BE49-F238E27FC236}">
                <a16:creationId xmlns:a16="http://schemas.microsoft.com/office/drawing/2014/main" id="{FA675DD4-43A8-0108-DE7E-BEA8F5EBA38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485" r="30517"/>
          <a:stretch>
            <a:fillRect/>
          </a:stretch>
        </p:blipFill>
        <p:spPr>
          <a:xfrm>
            <a:off x="7425705" y="1472406"/>
            <a:ext cx="4743265" cy="3913188"/>
          </a:xfrm>
          <a:prstGeom prst="rect">
            <a:avLst/>
          </a:prstGeom>
          <a:solidFill>
            <a:srgbClr val="FFFFFF">
              <a:lumMod val="85000"/>
            </a:srgbClr>
          </a:solidFill>
        </p:spPr>
      </p:pic>
      <p:grpSp>
        <p:nvGrpSpPr>
          <p:cNvPr id="8" name="Group 7">
            <a:extLst>
              <a:ext uri="{FF2B5EF4-FFF2-40B4-BE49-F238E27FC236}">
                <a16:creationId xmlns:a16="http://schemas.microsoft.com/office/drawing/2014/main" id="{EFBB14B6-222F-B2AC-FB18-7E3F1B31BD63}"/>
              </a:ext>
            </a:extLst>
          </p:cNvPr>
          <p:cNvGrpSpPr/>
          <p:nvPr/>
        </p:nvGrpSpPr>
        <p:grpSpPr>
          <a:xfrm rot="21145702">
            <a:off x="6321010" y="3518800"/>
            <a:ext cx="1456095" cy="1406604"/>
            <a:chOff x="7777737" y="4274827"/>
            <a:chExt cx="1456095" cy="1406604"/>
          </a:xfrm>
        </p:grpSpPr>
        <p:sp>
          <p:nvSpPr>
            <p:cNvPr id="9" name="Oval 8">
              <a:extLst>
                <a:ext uri="{FF2B5EF4-FFF2-40B4-BE49-F238E27FC236}">
                  <a16:creationId xmlns:a16="http://schemas.microsoft.com/office/drawing/2014/main" id="{0C1ABAE9-436B-F0F6-C5B5-4A3FA694D660}"/>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E14AFAE0-6843-D99D-4855-FB8F73E8EC5C}"/>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4">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2994972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61253-69EE-6F29-A5A8-0601016F7721}"/>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BFF09D9D-978A-DEB3-6229-2E616F575C51}"/>
              </a:ext>
            </a:extLst>
          </p:cNvPr>
          <p:cNvSpPr/>
          <p:nvPr/>
        </p:nvSpPr>
        <p:spPr>
          <a:xfrm flipH="1">
            <a:off x="688773" y="1069584"/>
            <a:ext cx="3541678"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Guests experience one connected journey, not separate departments.</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C6D9A355-4501-129A-594D-B0CF4E7E02CA}"/>
              </a:ext>
            </a:extLst>
          </p:cNvPr>
          <p:cNvSpPr/>
          <p:nvPr/>
        </p:nvSpPr>
        <p:spPr>
          <a:xfrm flipH="1">
            <a:off x="688773" y="3063440"/>
            <a:ext cx="3063531"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Journey maps help teams see experience over time and across channels.</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400801C1-8FBE-8170-AC6A-01D80F22B9C2}"/>
              </a:ext>
            </a:extLst>
          </p:cNvPr>
          <p:cNvSpPr/>
          <p:nvPr/>
        </p:nvSpPr>
        <p:spPr>
          <a:xfrm flipH="1">
            <a:off x="688773" y="5394152"/>
            <a:ext cx="3168251"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Sustainable design opportunities exist before, during, and after the stay.</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2BDEA39F-86F6-542E-3771-47DFF02DF10A}"/>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940A500F-7017-B1CD-6D52-B55727C9B344}"/>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3E2F954D-9D70-7550-8862-E0E3B3CED291}"/>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9B75A18C-5429-589E-18F5-7E499841C13B}"/>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724EAC61-F8EE-B984-E045-8F0F25FCC2E3}"/>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5F73EE17-B87D-5F1F-BB12-860C2A9BBD0C}"/>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55C4C3DF-7C56-A461-5170-CEB4586A2930}"/>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69F44F5C-ED7A-F0FD-9755-D215300A2792}"/>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18B56060-23C9-89B1-70D6-815730AA8872}"/>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FE9CC243-8999-12E2-7B56-6A84521ED7ED}"/>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882617DC-A773-FC97-865D-B4AAD7C51363}"/>
              </a:ext>
            </a:extLst>
          </p:cNvPr>
          <p:cNvSpPr>
            <a:spLocks/>
          </p:cNvSpPr>
          <p:nvPr/>
        </p:nvSpPr>
        <p:spPr bwMode="auto">
          <a:xfrm>
            <a:off x="8280849" y="2335890"/>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91112D40-01C4-8606-A5AD-7329DC421B72}"/>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BED35947-53EF-789C-FACF-A6DEA62EEF53}"/>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5BF73303-A409-B25F-41F1-328000C68C79}"/>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45E78F27-9C3B-63E4-0374-267AB7E49E78}"/>
              </a:ext>
            </a:extLst>
          </p:cNvPr>
          <p:cNvSpPr>
            <a:spLocks noChangeArrowheads="1"/>
          </p:cNvSpPr>
          <p:nvPr/>
        </p:nvSpPr>
        <p:spPr bwMode="auto">
          <a:xfrm>
            <a:off x="8174160" y="1806372"/>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82EDDA4C-BA27-526E-E0E6-42B75543358D}"/>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C9975ED3-2240-A47D-09D6-990DFF3D57EE}"/>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4E72F8B4-15A3-FE1D-BA90-3ED28F4EB6CF}"/>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66F6186B-10BB-0262-F550-33E322878F36}"/>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2" name="Group 111">
            <a:extLst>
              <a:ext uri="{FF2B5EF4-FFF2-40B4-BE49-F238E27FC236}">
                <a16:creationId xmlns:a16="http://schemas.microsoft.com/office/drawing/2014/main" id="{0D74AFB2-1235-8F58-24D5-DC6EA2F5894F}"/>
              </a:ext>
            </a:extLst>
          </p:cNvPr>
          <p:cNvGrpSpPr/>
          <p:nvPr/>
        </p:nvGrpSpPr>
        <p:grpSpPr>
          <a:xfrm>
            <a:off x="9294438" y="3053102"/>
            <a:ext cx="507781" cy="509758"/>
            <a:chOff x="8859766" y="3475927"/>
            <a:chExt cx="507781" cy="509758"/>
          </a:xfrm>
        </p:grpSpPr>
        <p:sp>
          <p:nvSpPr>
            <p:cNvPr id="17" name="Oval 30">
              <a:extLst>
                <a:ext uri="{FF2B5EF4-FFF2-40B4-BE49-F238E27FC236}">
                  <a16:creationId xmlns:a16="http://schemas.microsoft.com/office/drawing/2014/main" id="{F52C23CD-46C6-3A35-5E5C-0ADF0450D8CC}"/>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Oval 39">
              <a:extLst>
                <a:ext uri="{FF2B5EF4-FFF2-40B4-BE49-F238E27FC236}">
                  <a16:creationId xmlns:a16="http://schemas.microsoft.com/office/drawing/2014/main" id="{575E722B-759D-BB28-36F5-A57446023190}"/>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9B423196-E37A-A26D-2D94-93EC3AA591A4}"/>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Freeform 32">
            <a:extLst>
              <a:ext uri="{FF2B5EF4-FFF2-40B4-BE49-F238E27FC236}">
                <a16:creationId xmlns:a16="http://schemas.microsoft.com/office/drawing/2014/main" id="{7208842E-EA43-A1FA-2EF4-8F6E93A513F6}"/>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E425F11D-F8BA-E508-3E93-01922C6A1011}"/>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59F8F93B-77A5-603C-F82E-8B18580E2F2C}"/>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44B59A27-5FBE-8516-884A-E8C010B89F9E}"/>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D956360F-5FCD-5C3D-08CA-B202B4D38701}"/>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9BB4486E-57F3-2498-521A-F2E442A97DBC}"/>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2700F0DE-8DB9-D08E-6FED-53E5FF095FA6}"/>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2AC9FC2C-158C-F1DC-AF4A-E7E867141F6C}"/>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9B71D558-7481-34AC-D865-078A0F064878}"/>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16BBD416-8337-AEB9-09AB-840695C5BBA7}"/>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E77B08F9-95FA-9392-1A91-E491C81F58F2}"/>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6982E9D-2390-6517-DD36-9DE6F40338B0}"/>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03DECE10-7ED0-A3BF-0165-28949ECFAF54}"/>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35E27B68-844F-2AD3-ECE2-F5918057120B}"/>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F91A29B1-56AC-1FA5-3136-8A088C871EBA}"/>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24D357E6-3AB5-09AD-D8B6-E9F4BF278558}"/>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CEF02745-354A-3F34-4368-08C06E54BA23}"/>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2902CC38-3028-A2E3-8ED6-37DB1D67B9D0}"/>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001612C1-8FC7-00D3-3CBE-3792DD550465}"/>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1" name="Group 110">
            <a:extLst>
              <a:ext uri="{FF2B5EF4-FFF2-40B4-BE49-F238E27FC236}">
                <a16:creationId xmlns:a16="http://schemas.microsoft.com/office/drawing/2014/main" id="{520BF796-9DC9-E6AE-DAE5-91F6C0A0B3A6}"/>
              </a:ext>
            </a:extLst>
          </p:cNvPr>
          <p:cNvGrpSpPr/>
          <p:nvPr/>
        </p:nvGrpSpPr>
        <p:grpSpPr>
          <a:xfrm>
            <a:off x="8721459" y="612987"/>
            <a:ext cx="509758" cy="507781"/>
            <a:chOff x="8760971" y="1116818"/>
            <a:chExt cx="509758" cy="507781"/>
          </a:xfrm>
        </p:grpSpPr>
        <p:sp>
          <p:nvSpPr>
            <p:cNvPr id="18" name="Oval 31">
              <a:extLst>
                <a:ext uri="{FF2B5EF4-FFF2-40B4-BE49-F238E27FC236}">
                  <a16:creationId xmlns:a16="http://schemas.microsoft.com/office/drawing/2014/main" id="{97459048-9FEB-6861-0D7D-71D93170FA88}"/>
                </a:ext>
              </a:extLst>
            </p:cNvPr>
            <p:cNvSpPr>
              <a:spLocks noChangeArrowheads="1"/>
            </p:cNvSpPr>
            <p:nvPr/>
          </p:nvSpPr>
          <p:spPr bwMode="auto">
            <a:xfrm>
              <a:off x="8760971" y="1116818"/>
              <a:ext cx="509758" cy="507781"/>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55AA35C6-D138-9FE0-3F1F-87B5A3788B18}"/>
                </a:ext>
              </a:extLst>
            </p:cNvPr>
            <p:cNvSpPr>
              <a:spLocks/>
            </p:cNvSpPr>
            <p:nvPr/>
          </p:nvSpPr>
          <p:spPr bwMode="auto">
            <a:xfrm>
              <a:off x="8893352" y="1257097"/>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0" name="Group 109">
            <a:extLst>
              <a:ext uri="{FF2B5EF4-FFF2-40B4-BE49-F238E27FC236}">
                <a16:creationId xmlns:a16="http://schemas.microsoft.com/office/drawing/2014/main" id="{80B8D110-8AFD-06D1-1EDA-CCADF887D1D4}"/>
              </a:ext>
            </a:extLst>
          </p:cNvPr>
          <p:cNvGrpSpPr/>
          <p:nvPr/>
        </p:nvGrpSpPr>
        <p:grpSpPr>
          <a:xfrm>
            <a:off x="3898517" y="510601"/>
            <a:ext cx="377378" cy="375403"/>
            <a:chOff x="3554727" y="1101010"/>
            <a:chExt cx="377378" cy="375403"/>
          </a:xfrm>
        </p:grpSpPr>
        <p:sp>
          <p:nvSpPr>
            <p:cNvPr id="22" name="Oval 35">
              <a:extLst>
                <a:ext uri="{FF2B5EF4-FFF2-40B4-BE49-F238E27FC236}">
                  <a16:creationId xmlns:a16="http://schemas.microsoft.com/office/drawing/2014/main" id="{E3C0A00E-7422-802E-FDC4-6901748C1820}"/>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0AADF43F-7911-F471-BCA6-C4F6F7DC0D7F}"/>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0E368338-B46E-BDAD-EC9C-4EC23878DB78}"/>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C84978F2-A91D-E659-B915-2109048C4700}"/>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21A46E58-46F7-B4D0-70DD-6073CB63F5A8}"/>
              </a:ext>
            </a:extLst>
          </p:cNvPr>
          <p:cNvGrpSpPr/>
          <p:nvPr/>
        </p:nvGrpSpPr>
        <p:grpSpPr>
          <a:xfrm>
            <a:off x="3262678" y="3885498"/>
            <a:ext cx="509758" cy="507781"/>
            <a:chOff x="3368999" y="3590525"/>
            <a:chExt cx="509758" cy="507781"/>
          </a:xfrm>
        </p:grpSpPr>
        <p:sp>
          <p:nvSpPr>
            <p:cNvPr id="19" name="Oval 32">
              <a:extLst>
                <a:ext uri="{FF2B5EF4-FFF2-40B4-BE49-F238E27FC236}">
                  <a16:creationId xmlns:a16="http://schemas.microsoft.com/office/drawing/2014/main" id="{C6D5492C-2BA3-3AC3-34DD-0293391ACAB3}"/>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EAF3224A-FD23-CD31-F2C5-EE4A6E1280CD}"/>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24D9EF1C-E535-8684-2E08-4C08D942E94E}"/>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D95A557-AACE-BCB8-E1E4-98B1B6BC3D92}"/>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42C0BC8F-344A-948C-8630-321DF3B81C76}"/>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59">
            <a:extLst>
              <a:ext uri="{FF2B5EF4-FFF2-40B4-BE49-F238E27FC236}">
                <a16:creationId xmlns:a16="http://schemas.microsoft.com/office/drawing/2014/main" id="{FEBB0F03-6E95-E97A-8D92-02A81B5F3869}"/>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88EB17CC-8EEF-479C-2C65-F4C038A1D642}"/>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30BAEABA-E477-3188-4842-F39D55C58B40}"/>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B277C718-D581-64B1-E20C-3B8D8795CA22}"/>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DC41F78F-92D3-A005-4C6B-51F66047203A}"/>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2AB50802-E4A2-24BF-D29A-854DEB51687A}"/>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2E015965-61D3-700E-95FE-A592E7B54CB8}"/>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F7BB9947-C110-DF5D-DBAE-D2296B149307}"/>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83B3D1C8-580C-DB03-BB9E-389570884CAC}"/>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5D2852A4-3ACA-31A7-1BC0-56929CCF1F65}"/>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03EE0BC7-4337-CD36-606D-B26AC6BC92AA}"/>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4B149046-9293-0A65-7F89-00CF57CC9CD5}"/>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8C4500C6-92E4-0BCA-59AE-CCF32B5D466D}"/>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BDE4AFA9-1D4A-B5BA-845A-B598295FE259}"/>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11B1469A-B33A-27DB-AFA4-2A6534FC605F}"/>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165A4DA2-922B-1E04-718A-44675803079A}"/>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9F057CCF-A824-23CB-F1C2-A20E447D8522}"/>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5EA27D82-7214-9006-F7D4-39FAE5C79641}"/>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A5C4A198-E46E-AF2B-2616-2186E875AC07}"/>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435AD36C-0CEA-EBB1-A9FE-6A92E1303D5B}"/>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FCE1BD68-36E5-B14B-9E2D-AEF1B2835AF1}"/>
              </a:ext>
            </a:extLst>
          </p:cNvPr>
          <p:cNvSpPr>
            <a:spLocks/>
          </p:cNvSpPr>
          <p:nvPr/>
        </p:nvSpPr>
        <p:spPr bwMode="auto">
          <a:xfrm>
            <a:off x="8583150" y="2491976"/>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F2CE5009-963F-3A2F-1AB8-690119081BF9}"/>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36710AA8-544C-99C9-26B7-9B19D24F892E}"/>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7FAF7697-A628-776F-537A-BB671F1F4916}"/>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7861D8AF-F60D-89FB-FD8C-B5ADE540C481}"/>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81F0303F-3CDF-0B17-D154-CC442344F997}"/>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774FEF1A-590B-A17D-0828-D56A23D79E48}"/>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5E14B76E-87DE-F48A-48C4-0203734ADD27}"/>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2C2A358D-56D4-6530-01FF-A7B0A83FA84A}"/>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F909795A-F922-9F4B-CC09-D71F136060E7}"/>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B978CDAB-CDBE-B938-D956-F5F3373DB679}"/>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A78D52F9-57B4-2095-9868-761FBCEE0D57}"/>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AAF0920D-18E5-2DE4-AEC4-B6AE3B1300B9}"/>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E62AD684-0F80-EEAF-A195-5BB7BA1AC033}"/>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AE64ACF7-20CD-04A4-EF0F-D7C2028E0606}"/>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EA75BBE9-3877-9B10-CBE5-B874A163C3FC}"/>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9D7B2A49-07B5-CE0D-9227-24EB340C18E3}"/>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75B4AA4C-E268-4C06-9C33-05C332FE1435}"/>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E6B40FB0-8BC9-664F-8CAA-9E7D1311F20A}"/>
              </a:ext>
            </a:extLst>
          </p:cNvPr>
          <p:cNvSpPr>
            <a:spLocks noEditPoints="1"/>
          </p:cNvSpPr>
          <p:nvPr/>
        </p:nvSpPr>
        <p:spPr bwMode="auto">
          <a:xfrm>
            <a:off x="8267021" y="1918993"/>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6ABC2D0E-5763-DB35-00A9-41652A26F41B}"/>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D6C3B128-AA1C-DC2D-435C-9065DA1237C0}"/>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9F7B376E-3C09-99D8-38E9-DEDAEF1512A1}"/>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7C7F40E6-474F-D908-929E-5A444ABE08E0}"/>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CE0AB0F6-F191-F7D3-D737-C9A042171526}"/>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737EB5D7-404E-4879-7D1B-B2770F494C66}"/>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1AD24BDE-429A-0AAF-312F-B38C19EC3BEA}"/>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1A2AED31-E56F-7C31-DC6A-391F81047955}"/>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53C6F8BC-D112-E72F-5D75-0DA0CAA481CC}"/>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CCA5550C-BDFD-C9A2-4800-F47D0772192C}"/>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18ADF079-2F20-58A2-E9A5-34E58639C06D}"/>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6C6E7B50-3C3E-4E5B-4E2C-414996630305}"/>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2156C049-98CB-B52C-D5FF-2DB44A124EA1}"/>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B6806FD6-A722-A3D2-09EE-CF190FB7A28A}"/>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Takeways</a:t>
              </a:r>
            </a:p>
          </p:txBody>
        </p:sp>
      </p:grpSp>
      <p:grpSp>
        <p:nvGrpSpPr>
          <p:cNvPr id="127" name="Group 126">
            <a:extLst>
              <a:ext uri="{FF2B5EF4-FFF2-40B4-BE49-F238E27FC236}">
                <a16:creationId xmlns:a16="http://schemas.microsoft.com/office/drawing/2014/main" id="{AE9DED60-52B3-E202-65CA-B46554E9E535}"/>
              </a:ext>
            </a:extLst>
          </p:cNvPr>
          <p:cNvGrpSpPr/>
          <p:nvPr/>
        </p:nvGrpSpPr>
        <p:grpSpPr>
          <a:xfrm>
            <a:off x="0" y="360008"/>
            <a:ext cx="1448894" cy="883507"/>
            <a:chOff x="0" y="582317"/>
            <a:chExt cx="1448894" cy="883507"/>
          </a:xfrm>
        </p:grpSpPr>
        <p:cxnSp>
          <p:nvCxnSpPr>
            <p:cNvPr id="120" name="Straight Connector 33">
              <a:extLst>
                <a:ext uri="{FF2B5EF4-FFF2-40B4-BE49-F238E27FC236}">
                  <a16:creationId xmlns:a16="http://schemas.microsoft.com/office/drawing/2014/main" id="{1AB97EFB-63F4-13A1-7EAB-451069CFA5BB}"/>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3E2899F2-BE61-0666-3D05-47567F42F9D5}"/>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28B6F1E0-CA47-263B-1CFE-98E90AAFCCDD}"/>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FBAB42B6-B500-78B2-826C-A69ADFF124D7}"/>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3D50E1E6-F00C-A851-9772-96FA16323ABD}"/>
              </a:ext>
            </a:extLst>
          </p:cNvPr>
          <p:cNvGrpSpPr/>
          <p:nvPr/>
        </p:nvGrpSpPr>
        <p:grpSpPr>
          <a:xfrm>
            <a:off x="0" y="2345332"/>
            <a:ext cx="1448894" cy="870102"/>
            <a:chOff x="0" y="582324"/>
            <a:chExt cx="1448894" cy="870102"/>
          </a:xfrm>
        </p:grpSpPr>
        <p:cxnSp>
          <p:nvCxnSpPr>
            <p:cNvPr id="129" name="Straight Connector 33">
              <a:extLst>
                <a:ext uri="{FF2B5EF4-FFF2-40B4-BE49-F238E27FC236}">
                  <a16:creationId xmlns:a16="http://schemas.microsoft.com/office/drawing/2014/main" id="{8F45398C-AB5F-AFBD-D5DD-EA1ABF3D24E6}"/>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2E17F69E-7FE7-8910-F837-39D5FB2AAB52}"/>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B1DEEA67-C0B6-4F5B-4720-B31CDFC4D875}"/>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D3F48845-29F8-8A74-3784-DB170E501E84}"/>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62D809F2-1A0E-518E-D54F-F1408B22F85A}"/>
              </a:ext>
            </a:extLst>
          </p:cNvPr>
          <p:cNvGrpSpPr/>
          <p:nvPr/>
        </p:nvGrpSpPr>
        <p:grpSpPr>
          <a:xfrm>
            <a:off x="0" y="4615379"/>
            <a:ext cx="1450818" cy="896308"/>
            <a:chOff x="0" y="582322"/>
            <a:chExt cx="1450818" cy="896308"/>
          </a:xfrm>
        </p:grpSpPr>
        <p:cxnSp>
          <p:nvCxnSpPr>
            <p:cNvPr id="134" name="Straight Connector 33">
              <a:extLst>
                <a:ext uri="{FF2B5EF4-FFF2-40B4-BE49-F238E27FC236}">
                  <a16:creationId xmlns:a16="http://schemas.microsoft.com/office/drawing/2014/main" id="{6DB276C2-6E5C-8EBA-2E82-2D9698A6A8B7}"/>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68F58C07-4A33-CD48-388D-AB99646BFF96}"/>
                </a:ext>
              </a:extLst>
            </p:cNvPr>
            <p:cNvGrpSpPr/>
            <p:nvPr/>
          </p:nvGrpSpPr>
          <p:grpSpPr>
            <a:xfrm>
              <a:off x="708800" y="582322"/>
              <a:ext cx="742018" cy="896308"/>
              <a:chOff x="4051865" y="5165558"/>
              <a:chExt cx="949315" cy="1146707"/>
            </a:xfrm>
          </p:grpSpPr>
          <p:sp>
            <p:nvSpPr>
              <p:cNvPr id="136" name="Oval 16">
                <a:extLst>
                  <a:ext uri="{FF2B5EF4-FFF2-40B4-BE49-F238E27FC236}">
                    <a16:creationId xmlns:a16="http://schemas.microsoft.com/office/drawing/2014/main" id="{351B7C0D-A889-97B5-0823-C8ABB6099808}"/>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865A544A-8443-26D9-28B1-9D9B68465E82}"/>
                  </a:ext>
                </a:extLst>
              </p:cNvPr>
              <p:cNvSpPr txBox="1"/>
              <p:nvPr/>
            </p:nvSpPr>
            <p:spPr bwMode="auto">
              <a:xfrm>
                <a:off x="4091914" y="5223190"/>
                <a:ext cx="909266"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F3E06455-C5E7-8C68-BCF7-800F166694BF}"/>
              </a:ext>
            </a:extLst>
          </p:cNvPr>
          <p:cNvSpPr/>
          <p:nvPr/>
        </p:nvSpPr>
        <p:spPr>
          <a:xfrm flipH="1">
            <a:off x="9215409" y="1166047"/>
            <a:ext cx="2287818" cy="1708545"/>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Mapping should include feelings, needs, friction points, and accessibility.</a:t>
            </a:r>
          </a:p>
          <a:p>
            <a:pPr algn="r">
              <a:lnSpc>
                <a:spcPts val="2100"/>
              </a:lnSpc>
            </a:pPr>
            <a:endParaRPr lang="en-US" sz="2000" dirty="0">
              <a:solidFill>
                <a:srgbClr val="262626"/>
              </a:solidFill>
              <a:cs typeface="Segoe UI Light" panose="020B0502040204020203" pitchFamily="34" charset="0"/>
            </a:endParaRPr>
          </a:p>
        </p:txBody>
      </p:sp>
      <p:sp>
        <p:nvSpPr>
          <p:cNvPr id="151" name="Rectangle 30">
            <a:extLst>
              <a:ext uri="{FF2B5EF4-FFF2-40B4-BE49-F238E27FC236}">
                <a16:creationId xmlns:a16="http://schemas.microsoft.com/office/drawing/2014/main" id="{33033D85-BD03-D50E-F0E5-214136D196E7}"/>
              </a:ext>
            </a:extLst>
          </p:cNvPr>
          <p:cNvSpPr/>
          <p:nvPr/>
        </p:nvSpPr>
        <p:spPr>
          <a:xfrm flipH="1">
            <a:off x="8908993" y="3859104"/>
            <a:ext cx="2594232" cy="1439240"/>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Better journeys create stronger memories and more credible sustainability.</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182D67A9-0673-79D7-F7EB-147918CBB899}"/>
              </a:ext>
            </a:extLst>
          </p:cNvPr>
          <p:cNvGrpSpPr/>
          <p:nvPr/>
        </p:nvGrpSpPr>
        <p:grpSpPr>
          <a:xfrm>
            <a:off x="10752228" y="428471"/>
            <a:ext cx="1501995" cy="883506"/>
            <a:chOff x="708799" y="582319"/>
            <a:chExt cx="1501995" cy="883506"/>
          </a:xfrm>
        </p:grpSpPr>
        <p:cxnSp>
          <p:nvCxnSpPr>
            <p:cNvPr id="153" name="Straight Connector 33">
              <a:extLst>
                <a:ext uri="{FF2B5EF4-FFF2-40B4-BE49-F238E27FC236}">
                  <a16:creationId xmlns:a16="http://schemas.microsoft.com/office/drawing/2014/main" id="{B1416204-C203-E79F-AAA8-CB3F01E0F9EE}"/>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1AD13CD9-2956-81E8-7898-C1F68F42EBB5}"/>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60B307E1-2827-B8D1-439D-6BE88E3CD570}"/>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BDB1FFE1-463E-16A6-4E78-1EE168E4088E}"/>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157" name="Group 156">
            <a:extLst>
              <a:ext uri="{FF2B5EF4-FFF2-40B4-BE49-F238E27FC236}">
                <a16:creationId xmlns:a16="http://schemas.microsoft.com/office/drawing/2014/main" id="{F88CE8CE-F9CD-C1E0-4835-94C91D83141A}"/>
              </a:ext>
            </a:extLst>
          </p:cNvPr>
          <p:cNvGrpSpPr/>
          <p:nvPr/>
        </p:nvGrpSpPr>
        <p:grpSpPr>
          <a:xfrm>
            <a:off x="10752228" y="3140997"/>
            <a:ext cx="1467271" cy="880235"/>
            <a:chOff x="708799" y="582325"/>
            <a:chExt cx="1467271" cy="880235"/>
          </a:xfrm>
        </p:grpSpPr>
        <p:cxnSp>
          <p:nvCxnSpPr>
            <p:cNvPr id="158" name="Straight Connector 33">
              <a:extLst>
                <a:ext uri="{FF2B5EF4-FFF2-40B4-BE49-F238E27FC236}">
                  <a16:creationId xmlns:a16="http://schemas.microsoft.com/office/drawing/2014/main" id="{9C0C855A-B79D-08FF-BEA4-34D865872AC3}"/>
                </a:ext>
              </a:extLst>
            </p:cNvPr>
            <p:cNvCxnSpPr>
              <a:cxnSpLocks/>
            </p:cNvCxnSpPr>
            <p:nvPr/>
          </p:nvCxnSpPr>
          <p:spPr>
            <a:xfrm flipH="1">
              <a:off x="1320800" y="951782"/>
              <a:ext cx="85527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3F6AA1BD-FB18-9DD7-0DF6-3C5AFEA8D1D0}"/>
                </a:ext>
              </a:extLst>
            </p:cNvPr>
            <p:cNvGrpSpPr/>
            <p:nvPr/>
          </p:nvGrpSpPr>
          <p:grpSpPr>
            <a:xfrm>
              <a:off x="708799" y="582325"/>
              <a:ext cx="740095" cy="880235"/>
              <a:chOff x="4051865" y="5165558"/>
              <a:chExt cx="946855" cy="1126143"/>
            </a:xfrm>
          </p:grpSpPr>
          <p:sp>
            <p:nvSpPr>
              <p:cNvPr id="160" name="Oval 16">
                <a:extLst>
                  <a:ext uri="{FF2B5EF4-FFF2-40B4-BE49-F238E27FC236}">
                    <a16:creationId xmlns:a16="http://schemas.microsoft.com/office/drawing/2014/main" id="{F5169310-2B49-630A-A60B-B5F2BCE9B0DB}"/>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61" name="TextBox 26">
                <a:extLst>
                  <a:ext uri="{FF2B5EF4-FFF2-40B4-BE49-F238E27FC236}">
                    <a16:creationId xmlns:a16="http://schemas.microsoft.com/office/drawing/2014/main" id="{030B29C3-3F99-DA33-EC8D-133B41B18F69}"/>
                  </a:ext>
                </a:extLst>
              </p:cNvPr>
              <p:cNvSpPr txBox="1"/>
              <p:nvPr/>
            </p:nvSpPr>
            <p:spPr bwMode="auto">
              <a:xfrm>
                <a:off x="4058978" y="5202626"/>
                <a:ext cx="909265"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sp>
        <p:nvSpPr>
          <p:cNvPr id="2" name="TextBox 28">
            <a:extLst>
              <a:ext uri="{FF2B5EF4-FFF2-40B4-BE49-F238E27FC236}">
                <a16:creationId xmlns:a16="http://schemas.microsoft.com/office/drawing/2014/main" id="{6FCF4110-35B6-896B-EA61-8F5C8F493871}"/>
              </a:ext>
            </a:extLst>
          </p:cNvPr>
          <p:cNvSpPr txBox="1"/>
          <p:nvPr/>
        </p:nvSpPr>
        <p:spPr>
          <a:xfrm>
            <a:off x="8583151" y="5394152"/>
            <a:ext cx="2865950" cy="1169936"/>
          </a:xfrm>
          <a:prstGeom prst="rect">
            <a:avLst/>
          </a:prstGeom>
          <a:noFill/>
        </p:spPr>
        <p:txBody>
          <a:bodyPr wrap="square">
            <a:spAutoFit/>
          </a:bodyPr>
          <a:lstStyle/>
          <a:p>
            <a:pPr algn="r">
              <a:lnSpc>
                <a:spcPts val="2100"/>
              </a:lnSpc>
            </a:pPr>
            <a:r>
              <a:rPr lang="en-US" sz="2000" b="1" dirty="0">
                <a:solidFill>
                  <a:srgbClr val="62A844"/>
                </a:solidFill>
              </a:rPr>
              <a:t>If you want to improve the experience, start by seeing it as a journey.</a:t>
            </a:r>
          </a:p>
          <a:p>
            <a:pPr algn="r">
              <a:lnSpc>
                <a:spcPts val="2100"/>
              </a:lnSpc>
            </a:pPr>
            <a:endParaRPr lang="en-US" sz="2000" dirty="0">
              <a:solidFill>
                <a:srgbClr val="62A844"/>
              </a:solidFill>
            </a:endParaRPr>
          </a:p>
        </p:txBody>
      </p:sp>
      <p:sp>
        <p:nvSpPr>
          <p:cNvPr id="113" name="TextBox 112">
            <a:extLst>
              <a:ext uri="{FF2B5EF4-FFF2-40B4-BE49-F238E27FC236}">
                <a16:creationId xmlns:a16="http://schemas.microsoft.com/office/drawing/2014/main" id="{217FBE12-9C7B-30D9-2943-6245928EA57F}"/>
              </a:ext>
            </a:extLst>
          </p:cNvPr>
          <p:cNvSpPr txBox="1"/>
          <p:nvPr/>
        </p:nvSpPr>
        <p:spPr>
          <a:xfrm>
            <a:off x="2866404" y="25992"/>
            <a:ext cx="6126480" cy="427553"/>
          </a:xfrm>
          <a:prstGeom prst="rect">
            <a:avLst/>
          </a:prstGeom>
          <a:noFill/>
        </p:spPr>
        <p:txBody>
          <a:bodyPr wrap="square">
            <a:spAutoFit/>
          </a:bodyPr>
          <a:lstStyle/>
          <a:p>
            <a:pPr algn="ctr">
              <a:lnSpc>
                <a:spcPts val="2480"/>
              </a:lnSpc>
            </a:pPr>
            <a:r>
              <a:rPr lang="en-US" sz="2800" b="1" dirty="0">
                <a:solidFill>
                  <a:srgbClr val="62A844"/>
                </a:solidFill>
              </a:rPr>
              <a:t>Key Takeways so far…</a:t>
            </a:r>
          </a:p>
        </p:txBody>
      </p:sp>
    </p:spTree>
    <p:extLst>
      <p:ext uri="{BB962C8B-B14F-4D97-AF65-F5344CB8AC3E}">
        <p14:creationId xmlns:p14="http://schemas.microsoft.com/office/powerpoint/2010/main" val="3251690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F7918E-5B98-2F8A-FC13-696377B56EDE}"/>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DE3C05D0-E2BA-16F1-355A-AF0972C5EDFC}"/>
              </a:ext>
            </a:extLst>
          </p:cNvPr>
          <p:cNvSpPr>
            <a:spLocks noGrp="1"/>
          </p:cNvSpPr>
          <p:nvPr>
            <p:ph type="body" sz="quarter" idx="16"/>
          </p:nvPr>
        </p:nvSpPr>
        <p:spPr>
          <a:xfrm>
            <a:off x="4223369" y="1073150"/>
            <a:ext cx="6669918" cy="4711700"/>
          </a:xfrm>
        </p:spPr>
        <p:txBody>
          <a:bodyPr>
            <a:normAutofit lnSpcReduction="10000"/>
          </a:bodyPr>
          <a:lstStyle/>
          <a:p>
            <a:pPr fontAlgn="t">
              <a:lnSpc>
                <a:spcPts val="4960"/>
              </a:lnSpc>
              <a:spcBef>
                <a:spcPts val="0"/>
              </a:spcBef>
            </a:pPr>
            <a:r>
              <a:rPr lang="en-IE" b="1" dirty="0"/>
              <a:t>Designing Sustainable Touchpoints and Nudges</a:t>
            </a:r>
          </a:p>
          <a:p>
            <a:pPr fontAlgn="t">
              <a:lnSpc>
                <a:spcPts val="4960"/>
              </a:lnSpc>
              <a:spcBef>
                <a:spcPts val="0"/>
              </a:spcBef>
            </a:pPr>
            <a:endParaRPr lang="en-IE" b="1" dirty="0"/>
          </a:p>
          <a:p>
            <a:endParaRPr lang="en-US" sz="2200" dirty="0">
              <a:cs typeface="Times New Roman" panose="02020603050405020304" pitchFamily="18" charset="0"/>
            </a:endParaRPr>
          </a:p>
          <a:p>
            <a:pPr>
              <a:lnSpc>
                <a:spcPts val="2580"/>
              </a:lnSpc>
              <a:spcBef>
                <a:spcPts val="0"/>
              </a:spcBef>
            </a:pPr>
            <a:r>
              <a:rPr lang="en-US" sz="2400" b="1" dirty="0"/>
              <a:t>Making the better choice easier, clearer, and more appealing. </a:t>
            </a:r>
          </a:p>
          <a:p>
            <a:pPr>
              <a:lnSpc>
                <a:spcPts val="2580"/>
              </a:lnSpc>
              <a:spcBef>
                <a:spcPts val="0"/>
              </a:spcBef>
            </a:pPr>
            <a:endParaRPr lang="en-US" sz="2400" b="1" dirty="0"/>
          </a:p>
          <a:p>
            <a:pPr>
              <a:lnSpc>
                <a:spcPts val="2580"/>
              </a:lnSpc>
              <a:spcBef>
                <a:spcPts val="0"/>
              </a:spcBef>
            </a:pPr>
            <a:r>
              <a:rPr lang="en-US" sz="2400" dirty="0"/>
              <a:t>To explore how hospitality businesses can use </a:t>
            </a:r>
            <a:r>
              <a:rPr lang="en-US" sz="2400" dirty="0" err="1"/>
              <a:t>behavioural</a:t>
            </a:r>
            <a:r>
              <a:rPr lang="en-US" sz="2400" dirty="0"/>
              <a:t> insights and design choices to support sustainable guest behaviour while protecting comfort and trust.</a:t>
            </a:r>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5F01294C-8071-751A-0056-158EB56B062D}"/>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3</a:t>
            </a:r>
          </a:p>
        </p:txBody>
      </p:sp>
    </p:spTree>
    <p:extLst>
      <p:ext uri="{BB962C8B-B14F-4D97-AF65-F5344CB8AC3E}">
        <p14:creationId xmlns:p14="http://schemas.microsoft.com/office/powerpoint/2010/main" val="15343685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5A8C6-8065-D4C5-447C-E4F9742FF296}"/>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70781566-C32E-4236-536F-7B5015BD98A3}"/>
              </a:ext>
            </a:extLst>
          </p:cNvPr>
          <p:cNvSpPr txBox="1">
            <a:spLocks/>
          </p:cNvSpPr>
          <p:nvPr/>
        </p:nvSpPr>
        <p:spPr>
          <a:xfrm>
            <a:off x="429115" y="421381"/>
            <a:ext cx="523775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Sustainable Choices Need Good Design</a:t>
            </a:r>
          </a:p>
          <a:p>
            <a:pPr marL="0" indent="0">
              <a:lnSpc>
                <a:spcPts val="3520"/>
              </a:lnSpc>
              <a:spcBef>
                <a:spcPts val="0"/>
              </a:spcBef>
              <a:buNone/>
            </a:pPr>
            <a:endParaRPr lang="en-US" sz="3400" b="1" dirty="0">
              <a:solidFill>
                <a:srgbClr val="262626"/>
              </a:solidFill>
              <a:cs typeface="Times New Roman" panose="02020603050405020304" pitchFamily="18" charset="0"/>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72899747-9FBD-A51C-CB97-F3EF3E098A02}"/>
              </a:ext>
            </a:extLst>
          </p:cNvPr>
          <p:cNvCxnSpPr>
            <a:cxnSpLocks/>
          </p:cNvCxnSpPr>
          <p:nvPr/>
        </p:nvCxnSpPr>
        <p:spPr>
          <a:xfrm>
            <a:off x="0" y="1536819"/>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5763E08A-7F23-73D8-41D5-598E8C9DE32B}"/>
              </a:ext>
            </a:extLst>
          </p:cNvPr>
          <p:cNvSpPr/>
          <p:nvPr/>
        </p:nvSpPr>
        <p:spPr>
          <a:xfrm flipH="1">
            <a:off x="586941" y="1838697"/>
            <a:ext cx="5761904" cy="3939540"/>
          </a:xfrm>
          <a:prstGeom prst="rect">
            <a:avLst/>
          </a:prstGeom>
        </p:spPr>
        <p:txBody>
          <a:bodyPr wrap="square">
            <a:spAutoFit/>
          </a:bodyPr>
          <a:lstStyle/>
          <a:p>
            <a:pPr>
              <a:lnSpc>
                <a:spcPts val="1960"/>
              </a:lnSpc>
            </a:pPr>
            <a:r>
              <a:rPr lang="en-US" dirty="0">
                <a:solidFill>
                  <a:srgbClr val="262626"/>
                </a:solidFill>
              </a:rPr>
              <a:t>Guests make decisions in real contexts: tired after travelling, distracted, in a hurry, unfamiliar with the space, focused on comfort, sometimes overwhelmed by information.  This means that sustainable behaviour cannot depend only on awareness or goodwill. It must also depend on design.</a:t>
            </a:r>
          </a:p>
          <a:p>
            <a:pPr>
              <a:lnSpc>
                <a:spcPts val="1960"/>
              </a:lnSpc>
            </a:pPr>
            <a:endParaRPr lang="en-US" sz="2000" b="1" dirty="0">
              <a:solidFill>
                <a:srgbClr val="0289AE"/>
              </a:solidFill>
            </a:endParaRPr>
          </a:p>
          <a:p>
            <a:pPr>
              <a:lnSpc>
                <a:spcPts val="1960"/>
              </a:lnSpc>
            </a:pPr>
            <a:r>
              <a:rPr lang="en-US" sz="2000" b="1" dirty="0">
                <a:solidFill>
                  <a:srgbClr val="0289AE"/>
                </a:solidFill>
              </a:rPr>
              <a:t>A well-designed touchpoint:</a:t>
            </a:r>
          </a:p>
          <a:p>
            <a:pPr marL="342900" indent="-342900">
              <a:lnSpc>
                <a:spcPts val="1960"/>
              </a:lnSpc>
              <a:buClr>
                <a:srgbClr val="62A844"/>
              </a:buClr>
              <a:buFont typeface="Arial" panose="020B0604020202020204" pitchFamily="34" charset="0"/>
              <a:buChar char="•"/>
            </a:pPr>
            <a:r>
              <a:rPr lang="en-US" dirty="0">
                <a:solidFill>
                  <a:srgbClr val="262626"/>
                </a:solidFill>
              </a:rPr>
              <a:t>Reduces friction</a:t>
            </a:r>
          </a:p>
          <a:p>
            <a:pPr marL="342900" indent="-342900">
              <a:lnSpc>
                <a:spcPts val="1960"/>
              </a:lnSpc>
              <a:buClr>
                <a:srgbClr val="62A844"/>
              </a:buClr>
              <a:buFont typeface="Arial" panose="020B0604020202020204" pitchFamily="34" charset="0"/>
              <a:buChar char="•"/>
            </a:pPr>
            <a:r>
              <a:rPr lang="en-US" dirty="0">
                <a:solidFill>
                  <a:srgbClr val="262626"/>
                </a:solidFill>
              </a:rPr>
              <a:t>Makes the preferred action easier</a:t>
            </a:r>
          </a:p>
          <a:p>
            <a:pPr marL="342900" indent="-342900">
              <a:lnSpc>
                <a:spcPts val="1960"/>
              </a:lnSpc>
              <a:buClr>
                <a:srgbClr val="62A844"/>
              </a:buClr>
              <a:buFont typeface="Arial" panose="020B0604020202020204" pitchFamily="34" charset="0"/>
              <a:buChar char="•"/>
            </a:pPr>
            <a:r>
              <a:rPr lang="en-US" dirty="0">
                <a:solidFill>
                  <a:srgbClr val="262626"/>
                </a:solidFill>
              </a:rPr>
              <a:t>Uses clear language</a:t>
            </a:r>
          </a:p>
          <a:p>
            <a:pPr marL="342900" indent="-342900">
              <a:lnSpc>
                <a:spcPts val="1960"/>
              </a:lnSpc>
              <a:buClr>
                <a:srgbClr val="62A844"/>
              </a:buClr>
              <a:buFont typeface="Arial" panose="020B0604020202020204" pitchFamily="34" charset="0"/>
              <a:buChar char="•"/>
            </a:pPr>
            <a:r>
              <a:rPr lang="en-US" dirty="0">
                <a:solidFill>
                  <a:srgbClr val="262626"/>
                </a:solidFill>
              </a:rPr>
              <a:t>Appears at the right moment</a:t>
            </a:r>
          </a:p>
          <a:p>
            <a:pPr marL="342900" indent="-342900">
              <a:lnSpc>
                <a:spcPts val="1960"/>
              </a:lnSpc>
              <a:buClr>
                <a:srgbClr val="62A844"/>
              </a:buClr>
              <a:buFont typeface="Arial" panose="020B0604020202020204" pitchFamily="34" charset="0"/>
              <a:buChar char="•"/>
            </a:pPr>
            <a:r>
              <a:rPr lang="en-US" dirty="0">
                <a:solidFill>
                  <a:srgbClr val="262626"/>
                </a:solidFill>
              </a:rPr>
              <a:t>Respects autonomy</a:t>
            </a:r>
          </a:p>
          <a:p>
            <a:pPr marL="342900" indent="-342900">
              <a:lnSpc>
                <a:spcPts val="1960"/>
              </a:lnSpc>
              <a:buClr>
                <a:srgbClr val="62A844"/>
              </a:buClr>
              <a:buFont typeface="Arial" panose="020B0604020202020204" pitchFamily="34" charset="0"/>
              <a:buChar char="•"/>
            </a:pPr>
            <a:r>
              <a:rPr lang="en-US" dirty="0">
                <a:solidFill>
                  <a:srgbClr val="262626"/>
                </a:solidFill>
              </a:rPr>
              <a:t>Avoids guilt-heavy messaging</a:t>
            </a:r>
          </a:p>
          <a:p>
            <a:pPr>
              <a:lnSpc>
                <a:spcPts val="1960"/>
              </a:lnSpc>
            </a:pPr>
            <a:endParaRPr lang="de-DE" dirty="0">
              <a:solidFill>
                <a:srgbClr val="262626"/>
              </a:solidFill>
            </a:endParaRPr>
          </a:p>
        </p:txBody>
      </p:sp>
      <p:pic>
        <p:nvPicPr>
          <p:cNvPr id="15" name="Picture 14">
            <a:extLst>
              <a:ext uri="{FF2B5EF4-FFF2-40B4-BE49-F238E27FC236}">
                <a16:creationId xmlns:a16="http://schemas.microsoft.com/office/drawing/2014/main" id="{9822E4BB-83B2-96CA-F25B-A73938B753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61" t="12298" r="29196" b="16922"/>
          <a:stretch>
            <a:fillRect/>
          </a:stretch>
        </p:blipFill>
        <p:spPr>
          <a:xfrm>
            <a:off x="5834250" y="651076"/>
            <a:ext cx="6347083" cy="4885527"/>
          </a:xfrm>
          <a:prstGeom prst="rect">
            <a:avLst/>
          </a:prstGeom>
        </p:spPr>
      </p:pic>
      <p:pic>
        <p:nvPicPr>
          <p:cNvPr id="5" name="Bildplatzhalter 8" descr="SUSTAINABLE TRAVEL.&#10;&#10;KI-generierte Inhalte können fehlerhaft sein.">
            <a:extLst>
              <a:ext uri="{FF2B5EF4-FFF2-40B4-BE49-F238E27FC236}">
                <a16:creationId xmlns:a16="http://schemas.microsoft.com/office/drawing/2014/main" id="{F9942C6D-A055-E42B-A056-551F34FECA2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6352" t="-1312" r="15225" b="1312"/>
          <a:stretch>
            <a:fillRect/>
          </a:stretch>
        </p:blipFill>
        <p:spPr>
          <a:xfrm>
            <a:off x="7269752" y="974557"/>
            <a:ext cx="4911581" cy="3850911"/>
          </a:xfrm>
          <a:prstGeom prst="rect">
            <a:avLst/>
          </a:prstGeom>
          <a:noFill/>
        </p:spPr>
      </p:pic>
      <p:sp>
        <p:nvSpPr>
          <p:cNvPr id="6" name="Rounded Rectangle 5">
            <a:extLst>
              <a:ext uri="{FF2B5EF4-FFF2-40B4-BE49-F238E27FC236}">
                <a16:creationId xmlns:a16="http://schemas.microsoft.com/office/drawing/2014/main" id="{4D18B24C-AFAE-BF00-7921-A3306CA6B738}"/>
              </a:ext>
            </a:extLst>
          </p:cNvPr>
          <p:cNvSpPr/>
          <p:nvPr/>
        </p:nvSpPr>
        <p:spPr>
          <a:xfrm>
            <a:off x="7124915" y="5928202"/>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B5DC0475-044D-C423-67CD-8DD1D8982373}"/>
              </a:ext>
            </a:extLst>
          </p:cNvPr>
          <p:cNvSpPr txBox="1"/>
          <p:nvPr/>
        </p:nvSpPr>
        <p:spPr>
          <a:xfrm>
            <a:off x="7250914" y="5991480"/>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2" name="TextBox 11">
            <a:extLst>
              <a:ext uri="{FF2B5EF4-FFF2-40B4-BE49-F238E27FC236}">
                <a16:creationId xmlns:a16="http://schemas.microsoft.com/office/drawing/2014/main" id="{A0BBCD29-5B45-4416-B496-24D071ED7D19}"/>
              </a:ext>
            </a:extLst>
          </p:cNvPr>
          <p:cNvSpPr txBox="1"/>
          <p:nvPr/>
        </p:nvSpPr>
        <p:spPr>
          <a:xfrm>
            <a:off x="8006915" y="5991480"/>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BFDC545A-9C66-2597-D0DD-25B3A5E6EDF4}"/>
              </a:ext>
            </a:extLst>
          </p:cNvPr>
          <p:cNvSpPr txBox="1"/>
          <p:nvPr/>
        </p:nvSpPr>
        <p:spPr>
          <a:xfrm>
            <a:off x="8600914" y="5991480"/>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
        <p:nvSpPr>
          <p:cNvPr id="14" name="TextBox 97">
            <a:extLst>
              <a:ext uri="{FF2B5EF4-FFF2-40B4-BE49-F238E27FC236}">
                <a16:creationId xmlns:a16="http://schemas.microsoft.com/office/drawing/2014/main" id="{8E792433-3F17-06F7-F844-719EB1232A61}"/>
              </a:ext>
            </a:extLst>
          </p:cNvPr>
          <p:cNvSpPr txBox="1"/>
          <p:nvPr/>
        </p:nvSpPr>
        <p:spPr>
          <a:xfrm>
            <a:off x="524767" y="5833402"/>
            <a:ext cx="5246484" cy="605294"/>
          </a:xfrm>
          <a:prstGeom prst="rect">
            <a:avLst/>
          </a:prstGeom>
          <a:noFill/>
        </p:spPr>
        <p:txBody>
          <a:bodyPr wrap="square">
            <a:spAutoFit/>
          </a:bodyPr>
          <a:lstStyle/>
          <a:p>
            <a:pPr>
              <a:lnSpc>
                <a:spcPts val="1960"/>
              </a:lnSpc>
            </a:pPr>
            <a:r>
              <a:rPr lang="en-GB" dirty="0"/>
              <a:t>Sustainable hospitality starts with making responsible actions easy to understand and follow</a:t>
            </a:r>
            <a:endParaRPr lang="en-US" dirty="0">
              <a:solidFill>
                <a:srgbClr val="62A844"/>
              </a:solidFill>
            </a:endParaRPr>
          </a:p>
        </p:txBody>
      </p:sp>
    </p:spTree>
    <p:extLst>
      <p:ext uri="{BB962C8B-B14F-4D97-AF65-F5344CB8AC3E}">
        <p14:creationId xmlns:p14="http://schemas.microsoft.com/office/powerpoint/2010/main" val="3960339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33597-17A7-6EFA-9463-E305EF5FF41D}"/>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3C8951C5-80D3-8EF5-559E-3B8C6E6C21B3}"/>
              </a:ext>
            </a:extLst>
          </p:cNvPr>
          <p:cNvSpPr/>
          <p:nvPr/>
        </p:nvSpPr>
        <p:spPr>
          <a:xfrm flipH="1" flipV="1">
            <a:off x="0" y="-11486"/>
            <a:ext cx="12185500" cy="1129023"/>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10" name="Text Placeholder 2">
            <a:extLst>
              <a:ext uri="{FF2B5EF4-FFF2-40B4-BE49-F238E27FC236}">
                <a16:creationId xmlns:a16="http://schemas.microsoft.com/office/drawing/2014/main" id="{8129A0DF-DA4E-4610-D9D3-4699A070C6EE}"/>
              </a:ext>
            </a:extLst>
          </p:cNvPr>
          <p:cNvSpPr txBox="1">
            <a:spLocks/>
          </p:cNvSpPr>
          <p:nvPr/>
        </p:nvSpPr>
        <p:spPr>
          <a:xfrm>
            <a:off x="579276" y="1563461"/>
            <a:ext cx="2508481"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00" b="1" dirty="0">
                <a:solidFill>
                  <a:srgbClr val="0289AE"/>
                </a:solidFill>
              </a:rPr>
              <a:t>By the end of this module, you will be able to:</a:t>
            </a:r>
          </a:p>
          <a:p>
            <a:pPr marL="0" indent="0">
              <a:buNone/>
            </a:pPr>
            <a:endParaRPr lang="en-US" sz="2500" b="1" dirty="0">
              <a:solidFill>
                <a:srgbClr val="0289AE"/>
              </a:solidFill>
            </a:endParaRPr>
          </a:p>
        </p:txBody>
      </p:sp>
      <p:sp>
        <p:nvSpPr>
          <p:cNvPr id="14" name="Graphic 4">
            <a:extLst>
              <a:ext uri="{FF2B5EF4-FFF2-40B4-BE49-F238E27FC236}">
                <a16:creationId xmlns:a16="http://schemas.microsoft.com/office/drawing/2014/main" id="{2F5F693F-1D36-7999-3A79-2FB84E8BEA9A}"/>
              </a:ext>
            </a:extLst>
          </p:cNvPr>
          <p:cNvSpPr/>
          <p:nvPr/>
        </p:nvSpPr>
        <p:spPr>
          <a:xfrm rot="5400000">
            <a:off x="1314218" y="276245"/>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1A8D13BD-4CEA-01D7-B9B1-5B109881C65E}"/>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553671"/>
            <a:ext cx="3531079" cy="1671210"/>
          </a:xfrm>
          <a:prstGeom prst="rect">
            <a:avLst/>
          </a:prstGeom>
        </p:spPr>
      </p:pic>
      <p:sp>
        <p:nvSpPr>
          <p:cNvPr id="16" name="Text Placeholder 11">
            <a:extLst>
              <a:ext uri="{FF2B5EF4-FFF2-40B4-BE49-F238E27FC236}">
                <a16:creationId xmlns:a16="http://schemas.microsoft.com/office/drawing/2014/main" id="{B44ED0CF-8901-584D-D8B6-323F9E11B180}"/>
              </a:ext>
            </a:extLst>
          </p:cNvPr>
          <p:cNvSpPr txBox="1">
            <a:spLocks/>
          </p:cNvSpPr>
          <p:nvPr/>
        </p:nvSpPr>
        <p:spPr>
          <a:xfrm>
            <a:off x="579276" y="281934"/>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Learning Objectives</a:t>
            </a:r>
          </a:p>
        </p:txBody>
      </p:sp>
      <p:sp>
        <p:nvSpPr>
          <p:cNvPr id="17" name="Text Placeholder 2">
            <a:extLst>
              <a:ext uri="{FF2B5EF4-FFF2-40B4-BE49-F238E27FC236}">
                <a16:creationId xmlns:a16="http://schemas.microsoft.com/office/drawing/2014/main" id="{E8664189-7583-9064-A80F-0D293C5970EC}"/>
              </a:ext>
            </a:extLst>
          </p:cNvPr>
          <p:cNvSpPr txBox="1">
            <a:spLocks/>
          </p:cNvSpPr>
          <p:nvPr/>
        </p:nvSpPr>
        <p:spPr>
          <a:xfrm>
            <a:off x="3275831" y="1563461"/>
            <a:ext cx="8336893"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0"/>
              </a:spcBef>
              <a:buClr>
                <a:srgbClr val="62A844"/>
              </a:buClr>
            </a:pPr>
            <a:r>
              <a:rPr lang="en-US" sz="2200" dirty="0">
                <a:solidFill>
                  <a:srgbClr val="262626"/>
                </a:solidFill>
              </a:rPr>
              <a:t>explain what sustainable customer experience design means in hospitality</a:t>
            </a:r>
          </a:p>
          <a:p>
            <a:pPr marL="342900" indent="-342900">
              <a:spcBef>
                <a:spcPts val="0"/>
              </a:spcBef>
              <a:buClr>
                <a:srgbClr val="62A844"/>
              </a:buClr>
            </a:pPr>
            <a:r>
              <a:rPr lang="en-US" sz="2200" dirty="0">
                <a:solidFill>
                  <a:srgbClr val="262626"/>
                </a:solidFill>
              </a:rPr>
              <a:t>identify guest-facing touchpoints where sustainability can improve experience quality</a:t>
            </a:r>
          </a:p>
          <a:p>
            <a:pPr marL="342900" indent="-342900">
              <a:spcBef>
                <a:spcPts val="0"/>
              </a:spcBef>
              <a:buClr>
                <a:srgbClr val="62A844"/>
              </a:buClr>
            </a:pPr>
            <a:r>
              <a:rPr lang="en-US" sz="2200" dirty="0">
                <a:solidFill>
                  <a:srgbClr val="262626"/>
                </a:solidFill>
              </a:rPr>
              <a:t>apply sustainable design principles, eco-label awareness, responsible tourism trends, and </a:t>
            </a:r>
            <a:r>
              <a:rPr lang="en-US" sz="2200" dirty="0" err="1">
                <a:solidFill>
                  <a:srgbClr val="262626"/>
                </a:solidFill>
              </a:rPr>
              <a:t>behavioural</a:t>
            </a:r>
            <a:r>
              <a:rPr lang="en-US" sz="2200" dirty="0">
                <a:solidFill>
                  <a:srgbClr val="262626"/>
                </a:solidFill>
              </a:rPr>
              <a:t> nudges in hospitality contexts</a:t>
            </a:r>
          </a:p>
          <a:p>
            <a:pPr marL="342900" indent="-342900">
              <a:spcBef>
                <a:spcPts val="0"/>
              </a:spcBef>
              <a:buClr>
                <a:srgbClr val="62A844"/>
              </a:buClr>
            </a:pPr>
            <a:r>
              <a:rPr lang="en-US" sz="2200" dirty="0">
                <a:solidFill>
                  <a:srgbClr val="262626"/>
                </a:solidFill>
              </a:rPr>
              <a:t>map a guest journey and identify sustainability-enhancing touchpoints</a:t>
            </a:r>
          </a:p>
          <a:p>
            <a:pPr marL="342900" indent="-342900">
              <a:spcBef>
                <a:spcPts val="0"/>
              </a:spcBef>
              <a:buClr>
                <a:srgbClr val="62A844"/>
              </a:buClr>
            </a:pPr>
            <a:r>
              <a:rPr lang="en-US" sz="2200" dirty="0">
                <a:solidFill>
                  <a:srgbClr val="262626"/>
                </a:solidFill>
              </a:rPr>
              <a:t>propose two experience design ideas that support sustainability and improve satisfaction</a:t>
            </a:r>
          </a:p>
          <a:p>
            <a:pPr marL="342900" indent="-342900">
              <a:spcBef>
                <a:spcPts val="0"/>
              </a:spcBef>
              <a:buClr>
                <a:srgbClr val="62A844"/>
              </a:buClr>
            </a:pPr>
            <a:r>
              <a:rPr lang="en-US" sz="2200" dirty="0">
                <a:solidFill>
                  <a:srgbClr val="262626"/>
                </a:solidFill>
              </a:rPr>
              <a:t>develop a guest communication strategy using storytelling, visual cues, and clear messaging</a:t>
            </a:r>
          </a:p>
          <a:p>
            <a:pPr marL="342900" indent="-342900">
              <a:spcBef>
                <a:spcPts val="0"/>
              </a:spcBef>
              <a:buClr>
                <a:srgbClr val="62A844"/>
              </a:buClr>
            </a:pPr>
            <a:r>
              <a:rPr lang="en-US" sz="2200" dirty="0">
                <a:solidFill>
                  <a:srgbClr val="262626"/>
                </a:solidFill>
              </a:rPr>
              <a:t>design guest-facing sustainability touchpoints that are inclusive, credible, and culturally respectful</a:t>
            </a:r>
          </a:p>
          <a:p>
            <a:pPr marL="342900" indent="-342900">
              <a:spcBef>
                <a:spcPts val="0"/>
              </a:spcBef>
              <a:buClr>
                <a:srgbClr val="62A844"/>
              </a:buClr>
            </a:pPr>
            <a:r>
              <a:rPr lang="en-US" sz="2200" dirty="0">
                <a:solidFill>
                  <a:srgbClr val="262626"/>
                </a:solidFill>
              </a:rPr>
              <a:t>distinguish between meaningful sustainability communication and greenwashing</a:t>
            </a:r>
          </a:p>
          <a:p>
            <a:pPr marL="342900" indent="-342900">
              <a:spcBef>
                <a:spcPts val="0"/>
              </a:spcBef>
              <a:buClr>
                <a:srgbClr val="62A844"/>
              </a:buClr>
            </a:pPr>
            <a:endParaRPr lang="en-US" sz="2200" dirty="0">
              <a:solidFill>
                <a:srgbClr val="262626"/>
              </a:solidFill>
            </a:endParaRPr>
          </a:p>
        </p:txBody>
      </p:sp>
      <p:sp>
        <p:nvSpPr>
          <p:cNvPr id="2" name="Freeform 1">
            <a:extLst>
              <a:ext uri="{FF2B5EF4-FFF2-40B4-BE49-F238E27FC236}">
                <a16:creationId xmlns:a16="http://schemas.microsoft.com/office/drawing/2014/main" id="{A2578FAE-62D8-717E-B68E-0FECCA34D4E3}"/>
              </a:ext>
            </a:extLst>
          </p:cNvPr>
          <p:cNvSpPr/>
          <p:nvPr/>
        </p:nvSpPr>
        <p:spPr>
          <a:xfrm>
            <a:off x="1633841" y="2772712"/>
            <a:ext cx="1154401" cy="656288"/>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Tree>
    <p:extLst>
      <p:ext uri="{BB962C8B-B14F-4D97-AF65-F5344CB8AC3E}">
        <p14:creationId xmlns:p14="http://schemas.microsoft.com/office/powerpoint/2010/main" val="1108210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18870C-4555-B3A7-A652-FDB721386CD9}"/>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1E98112F-8B31-624A-F489-0AEC9D9B230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7C27D366-55EF-2FCF-C9EC-86F9E0D0D5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1">
            <a:extLst>
              <a:ext uri="{FF2B5EF4-FFF2-40B4-BE49-F238E27FC236}">
                <a16:creationId xmlns:a16="http://schemas.microsoft.com/office/drawing/2014/main" id="{FA704562-63DF-60F0-D3AD-FD65205BF090}"/>
              </a:ext>
            </a:extLst>
          </p:cNvPr>
          <p:cNvSpPr txBox="1">
            <a:spLocks/>
          </p:cNvSpPr>
          <p:nvPr/>
        </p:nvSpPr>
        <p:spPr>
          <a:xfrm>
            <a:off x="429115" y="421381"/>
            <a:ext cx="579105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Concept: Choice Architecture and </a:t>
            </a:r>
            <a:r>
              <a:rPr lang="en-US" sz="3400" b="1" dirty="0" err="1">
                <a:solidFill>
                  <a:srgbClr val="06677F"/>
                </a:solidFill>
                <a:cs typeface="Times New Roman" panose="02020603050405020304" pitchFamily="18" charset="0"/>
              </a:rPr>
              <a:t>Behavioural</a:t>
            </a:r>
            <a:r>
              <a:rPr lang="en-US" sz="3400" b="1" dirty="0">
                <a:solidFill>
                  <a:srgbClr val="06677F"/>
                </a:solidFill>
                <a:cs typeface="Times New Roman" panose="02020603050405020304" pitchFamily="18" charset="0"/>
              </a:rPr>
              <a:t> Nudg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DD731ADF-D9ED-78B1-0AD0-A6BDCE35892F}"/>
              </a:ext>
            </a:extLst>
          </p:cNvPr>
          <p:cNvCxnSpPr>
            <a:cxnSpLocks/>
          </p:cNvCxnSpPr>
          <p:nvPr/>
        </p:nvCxnSpPr>
        <p:spPr>
          <a:xfrm>
            <a:off x="0" y="1536819"/>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095172D2-75A0-24BD-20F8-22CF1584267B}"/>
              </a:ext>
            </a:extLst>
          </p:cNvPr>
          <p:cNvSpPr/>
          <p:nvPr/>
        </p:nvSpPr>
        <p:spPr>
          <a:xfrm flipH="1">
            <a:off x="586941" y="1838697"/>
            <a:ext cx="5761904" cy="4514056"/>
          </a:xfrm>
          <a:prstGeom prst="rect">
            <a:avLst/>
          </a:prstGeom>
        </p:spPr>
        <p:txBody>
          <a:bodyPr wrap="square">
            <a:spAutoFit/>
          </a:bodyPr>
          <a:lstStyle/>
          <a:p>
            <a:pPr>
              <a:lnSpc>
                <a:spcPts val="1960"/>
              </a:lnSpc>
              <a:buClr>
                <a:srgbClr val="62A844"/>
              </a:buClr>
            </a:pPr>
            <a:r>
              <a:rPr lang="en-US" b="1" dirty="0">
                <a:solidFill>
                  <a:srgbClr val="262626"/>
                </a:solidFill>
              </a:rPr>
              <a:t>Choice architecture</a:t>
            </a:r>
            <a:r>
              <a:rPr lang="en-US" dirty="0">
                <a:solidFill>
                  <a:srgbClr val="262626"/>
                </a:solidFill>
              </a:rPr>
              <a:t> means the way choices are </a:t>
            </a:r>
            <a:r>
              <a:rPr lang="en-US" dirty="0" err="1">
                <a:solidFill>
                  <a:srgbClr val="262626"/>
                </a:solidFill>
              </a:rPr>
              <a:t>organised</a:t>
            </a:r>
            <a:r>
              <a:rPr lang="en-US" dirty="0">
                <a:solidFill>
                  <a:srgbClr val="262626"/>
                </a:solidFill>
              </a:rPr>
              <a:t> and presented. A nudge is a small design intervention that influences </a:t>
            </a:r>
            <a:r>
              <a:rPr lang="en-US" dirty="0" err="1">
                <a:solidFill>
                  <a:srgbClr val="262626"/>
                </a:solidFill>
              </a:rPr>
              <a:t>behaviour</a:t>
            </a:r>
            <a:r>
              <a:rPr lang="en-US" dirty="0">
                <a:solidFill>
                  <a:srgbClr val="262626"/>
                </a:solidFill>
              </a:rPr>
              <a:t> while keeping freedom of choice intact.</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pPr>
            <a:r>
              <a:rPr lang="en-US" sz="2000" b="1" dirty="0">
                <a:solidFill>
                  <a:srgbClr val="0289AE"/>
                </a:solidFill>
              </a:rPr>
              <a:t>Useful hospitality nudges include</a:t>
            </a:r>
            <a:r>
              <a:rPr lang="en-US" dirty="0">
                <a:solidFill>
                  <a:srgbClr val="262626"/>
                </a:solidFill>
              </a:rPr>
              <a:t>:</a:t>
            </a:r>
          </a:p>
          <a:p>
            <a:pPr marL="285750" indent="-285750">
              <a:lnSpc>
                <a:spcPts val="1960"/>
              </a:lnSpc>
              <a:buClr>
                <a:srgbClr val="62A844"/>
              </a:buClr>
              <a:buFont typeface="Arial" panose="020B0604020202020204" pitchFamily="34" charset="0"/>
              <a:buChar char="•"/>
            </a:pPr>
            <a:r>
              <a:rPr lang="en-US" dirty="0">
                <a:solidFill>
                  <a:srgbClr val="262626"/>
                </a:solidFill>
              </a:rPr>
              <a:t>better defaults</a:t>
            </a:r>
          </a:p>
          <a:p>
            <a:pPr marL="285750" indent="-285750">
              <a:lnSpc>
                <a:spcPts val="1960"/>
              </a:lnSpc>
              <a:buClr>
                <a:srgbClr val="62A844"/>
              </a:buClr>
              <a:buFont typeface="Arial" panose="020B0604020202020204" pitchFamily="34" charset="0"/>
              <a:buChar char="•"/>
            </a:pPr>
            <a:r>
              <a:rPr lang="en-US" dirty="0">
                <a:solidFill>
                  <a:srgbClr val="262626"/>
                </a:solidFill>
              </a:rPr>
              <a:t>clearer prompts</a:t>
            </a:r>
          </a:p>
          <a:p>
            <a:pPr marL="285750" indent="-285750">
              <a:lnSpc>
                <a:spcPts val="1960"/>
              </a:lnSpc>
              <a:buClr>
                <a:srgbClr val="62A844"/>
              </a:buClr>
              <a:buFont typeface="Arial" panose="020B0604020202020204" pitchFamily="34" charset="0"/>
              <a:buChar char="•"/>
            </a:pPr>
            <a:r>
              <a:rPr lang="en-US" dirty="0">
                <a:solidFill>
                  <a:srgbClr val="262626"/>
                </a:solidFill>
              </a:rPr>
              <a:t>timely reminders</a:t>
            </a:r>
          </a:p>
          <a:p>
            <a:pPr marL="285750" indent="-285750">
              <a:lnSpc>
                <a:spcPts val="1960"/>
              </a:lnSpc>
              <a:buClr>
                <a:srgbClr val="62A844"/>
              </a:buClr>
              <a:buFont typeface="Arial" panose="020B0604020202020204" pitchFamily="34" charset="0"/>
              <a:buChar char="•"/>
            </a:pPr>
            <a:r>
              <a:rPr lang="en-US" dirty="0">
                <a:solidFill>
                  <a:srgbClr val="262626"/>
                </a:solidFill>
              </a:rPr>
              <a:t>visible feedback</a:t>
            </a:r>
          </a:p>
          <a:p>
            <a:pPr marL="285750" indent="-285750">
              <a:lnSpc>
                <a:spcPts val="1960"/>
              </a:lnSpc>
              <a:buClr>
                <a:srgbClr val="62A844"/>
              </a:buClr>
              <a:buFont typeface="Arial" panose="020B0604020202020204" pitchFamily="34" charset="0"/>
              <a:buChar char="•"/>
            </a:pPr>
            <a:r>
              <a:rPr lang="en-US" dirty="0">
                <a:solidFill>
                  <a:srgbClr val="262626"/>
                </a:solidFill>
              </a:rPr>
              <a:t>social norm messages</a:t>
            </a:r>
          </a:p>
          <a:p>
            <a:pPr marL="285750" indent="-285750">
              <a:lnSpc>
                <a:spcPts val="1960"/>
              </a:lnSpc>
              <a:buClr>
                <a:srgbClr val="62A844"/>
              </a:buClr>
              <a:buFont typeface="Arial" panose="020B0604020202020204" pitchFamily="34" charset="0"/>
              <a:buChar char="•"/>
            </a:pPr>
            <a:r>
              <a:rPr lang="en-US" dirty="0">
                <a:solidFill>
                  <a:srgbClr val="262626"/>
                </a:solidFill>
              </a:rPr>
              <a:t>simpler option structures</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r>
              <a:rPr lang="en-US" sz="2000" b="1" dirty="0">
                <a:solidFill>
                  <a:srgbClr val="0289AE"/>
                </a:solidFill>
              </a:rPr>
              <a:t>Important Boundary:</a:t>
            </a:r>
          </a:p>
          <a:p>
            <a:pPr marL="285750" indent="-285750">
              <a:buClr>
                <a:srgbClr val="62A844"/>
              </a:buClr>
              <a:buFont typeface="Arial" panose="020B0604020202020204" pitchFamily="34" charset="0"/>
              <a:buChar char="•"/>
            </a:pPr>
            <a:r>
              <a:rPr lang="en-US" dirty="0">
                <a:solidFill>
                  <a:srgbClr val="262626"/>
                </a:solidFill>
              </a:rPr>
              <a:t>A good nudge supports better decisions.</a:t>
            </a:r>
          </a:p>
          <a:p>
            <a:pPr marL="285750" indent="-285750">
              <a:buClr>
                <a:srgbClr val="62A844"/>
              </a:buClr>
              <a:buFont typeface="Arial" panose="020B0604020202020204" pitchFamily="34" charset="0"/>
              <a:buChar char="•"/>
            </a:pPr>
            <a:r>
              <a:rPr lang="en-US" dirty="0">
                <a:solidFill>
                  <a:srgbClr val="262626"/>
                </a:solidFill>
              </a:rPr>
              <a:t>A bad nudge becomes manipulation.</a:t>
            </a:r>
          </a:p>
          <a:p>
            <a:pPr marL="285750" indent="-285750">
              <a:lnSpc>
                <a:spcPts val="1960"/>
              </a:lnSpc>
              <a:buClr>
                <a:srgbClr val="62A844"/>
              </a:buClr>
              <a:buFont typeface="Arial" panose="020B0604020202020204" pitchFamily="34" charset="0"/>
              <a:buChar char="•"/>
            </a:pPr>
            <a:endParaRPr lang="en-US" dirty="0">
              <a:solidFill>
                <a:srgbClr val="262626"/>
              </a:solidFill>
            </a:endParaRPr>
          </a:p>
        </p:txBody>
      </p:sp>
      <p:grpSp>
        <p:nvGrpSpPr>
          <p:cNvPr id="61" name="Group 60">
            <a:extLst>
              <a:ext uri="{FF2B5EF4-FFF2-40B4-BE49-F238E27FC236}">
                <a16:creationId xmlns:a16="http://schemas.microsoft.com/office/drawing/2014/main" id="{67391601-8FDB-959E-DD3F-C5206131D5C2}"/>
              </a:ext>
            </a:extLst>
          </p:cNvPr>
          <p:cNvGrpSpPr/>
          <p:nvPr/>
        </p:nvGrpSpPr>
        <p:grpSpPr>
          <a:xfrm>
            <a:off x="5698940" y="1094593"/>
            <a:ext cx="6063945" cy="5342026"/>
            <a:chOff x="4960756" y="1086127"/>
            <a:chExt cx="6063945" cy="5342026"/>
          </a:xfrm>
        </p:grpSpPr>
        <p:sp>
          <p:nvSpPr>
            <p:cNvPr id="63" name="Partial Circle 26">
              <a:extLst>
                <a:ext uri="{FF2B5EF4-FFF2-40B4-BE49-F238E27FC236}">
                  <a16:creationId xmlns:a16="http://schemas.microsoft.com/office/drawing/2014/main" id="{7A1F7AC0-EDBB-A6AB-1B54-2910C88D13C6}"/>
                </a:ext>
              </a:extLst>
            </p:cNvPr>
            <p:cNvSpPr/>
            <p:nvPr/>
          </p:nvSpPr>
          <p:spPr>
            <a:xfrm>
              <a:off x="6220168" y="1661620"/>
              <a:ext cx="4224452" cy="4191040"/>
            </a:xfrm>
            <a:prstGeom prst="pie">
              <a:avLst>
                <a:gd name="adj1" fmla="val 0"/>
                <a:gd name="adj2" fmla="val 5400000"/>
              </a:avLst>
            </a:prstGeom>
            <a:solidFill>
              <a:srgbClr val="0667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089" name="Partial Circle 27">
              <a:extLst>
                <a:ext uri="{FF2B5EF4-FFF2-40B4-BE49-F238E27FC236}">
                  <a16:creationId xmlns:a16="http://schemas.microsoft.com/office/drawing/2014/main" id="{4707237C-4D91-F0B5-7ABD-0EEDFB81E4D9}"/>
                </a:ext>
              </a:extLst>
            </p:cNvPr>
            <p:cNvSpPr/>
            <p:nvPr/>
          </p:nvSpPr>
          <p:spPr>
            <a:xfrm flipH="1" flipV="1">
              <a:off x="5270591" y="1705712"/>
              <a:ext cx="3564796" cy="4094047"/>
            </a:xfrm>
            <a:prstGeom prst="pie">
              <a:avLst>
                <a:gd name="adj1" fmla="val 0"/>
                <a:gd name="adj2" fmla="val 5400000"/>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090" name="Partial Circle 29">
              <a:extLst>
                <a:ext uri="{FF2B5EF4-FFF2-40B4-BE49-F238E27FC236}">
                  <a16:creationId xmlns:a16="http://schemas.microsoft.com/office/drawing/2014/main" id="{50E70911-8D62-C85D-65BC-C1BE3D250C9D}"/>
                </a:ext>
              </a:extLst>
            </p:cNvPr>
            <p:cNvSpPr/>
            <p:nvPr/>
          </p:nvSpPr>
          <p:spPr>
            <a:xfrm rot="5400000" flipH="1" flipV="1">
              <a:off x="4648082" y="1644914"/>
              <a:ext cx="4849800" cy="4224452"/>
            </a:xfrm>
            <a:prstGeom prst="pie">
              <a:avLst>
                <a:gd name="adj1" fmla="val 21324467"/>
                <a:gd name="adj2" fmla="val 5668591"/>
              </a:avLst>
            </a:prstGeom>
            <a:solidFill>
              <a:srgbClr val="62A844">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091" name="Partial Circle 30">
              <a:extLst>
                <a:ext uri="{FF2B5EF4-FFF2-40B4-BE49-F238E27FC236}">
                  <a16:creationId xmlns:a16="http://schemas.microsoft.com/office/drawing/2014/main" id="{93051205-7583-E2D9-FF9B-98F09506F7F3}"/>
                </a:ext>
              </a:extLst>
            </p:cNvPr>
            <p:cNvSpPr/>
            <p:nvPr/>
          </p:nvSpPr>
          <p:spPr>
            <a:xfrm rot="16200000" flipH="1" flipV="1">
              <a:off x="6436152" y="2075127"/>
              <a:ext cx="4191040" cy="4224452"/>
            </a:xfrm>
            <a:prstGeom prst="pie">
              <a:avLst>
                <a:gd name="adj1" fmla="val 19757559"/>
                <a:gd name="adj2" fmla="val 5668591"/>
              </a:avLst>
            </a:prstGeom>
            <a:solidFill>
              <a:srgbClr val="0289AE">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092" name="Partial Circle 31">
              <a:extLst>
                <a:ext uri="{FF2B5EF4-FFF2-40B4-BE49-F238E27FC236}">
                  <a16:creationId xmlns:a16="http://schemas.microsoft.com/office/drawing/2014/main" id="{0B6B6EC7-918C-DDDF-AD8D-F5AF00BFC4DB}"/>
                </a:ext>
              </a:extLst>
            </p:cNvPr>
            <p:cNvSpPr/>
            <p:nvPr/>
          </p:nvSpPr>
          <p:spPr>
            <a:xfrm flipV="1">
              <a:off x="5640088" y="1086127"/>
              <a:ext cx="5384613" cy="5342026"/>
            </a:xfrm>
            <a:prstGeom prst="pie">
              <a:avLst>
                <a:gd name="adj1" fmla="val 0"/>
                <a:gd name="adj2" fmla="val 5400000"/>
              </a:avLst>
            </a:prstGeom>
            <a:solidFill>
              <a:srgbClr val="3D8241"/>
            </a:solidFill>
            <a:ln>
              <a:noFill/>
            </a:ln>
            <a:effectLst>
              <a:outerShdw blurRad="279400" dist="381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093" name="Partial Circle 32">
              <a:extLst>
                <a:ext uri="{FF2B5EF4-FFF2-40B4-BE49-F238E27FC236}">
                  <a16:creationId xmlns:a16="http://schemas.microsoft.com/office/drawing/2014/main" id="{5A01DC38-7D62-4883-026B-E7102953FE10}"/>
                </a:ext>
              </a:extLst>
            </p:cNvPr>
            <p:cNvSpPr/>
            <p:nvPr/>
          </p:nvSpPr>
          <p:spPr>
            <a:xfrm rot="10800000" flipV="1">
              <a:off x="5640088" y="1086127"/>
              <a:ext cx="5384613" cy="5342026"/>
            </a:xfrm>
            <a:prstGeom prst="pie">
              <a:avLst>
                <a:gd name="adj1" fmla="val 0"/>
                <a:gd name="adj2" fmla="val 5400000"/>
              </a:avLst>
            </a:prstGeom>
            <a:solidFill>
              <a:srgbClr val="62A844"/>
            </a:solidFill>
            <a:ln>
              <a:noFill/>
            </a:ln>
            <a:effectLst>
              <a:outerShdw blurRad="393700" dist="38100" dir="189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094" name="Oval 34">
              <a:extLst>
                <a:ext uri="{FF2B5EF4-FFF2-40B4-BE49-F238E27FC236}">
                  <a16:creationId xmlns:a16="http://schemas.microsoft.com/office/drawing/2014/main" id="{05AB5F48-0EC9-DB81-C65E-B615287DD3F6}"/>
                </a:ext>
              </a:extLst>
            </p:cNvPr>
            <p:cNvSpPr/>
            <p:nvPr/>
          </p:nvSpPr>
          <p:spPr>
            <a:xfrm>
              <a:off x="7477415" y="2891870"/>
              <a:ext cx="1694409" cy="1681008"/>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095" name="TextBox 39">
              <a:extLst>
                <a:ext uri="{FF2B5EF4-FFF2-40B4-BE49-F238E27FC236}">
                  <a16:creationId xmlns:a16="http://schemas.microsoft.com/office/drawing/2014/main" id="{79E65BBC-8670-80C5-DBC7-D0958C490AB2}"/>
                </a:ext>
              </a:extLst>
            </p:cNvPr>
            <p:cNvSpPr txBox="1"/>
            <p:nvPr/>
          </p:nvSpPr>
          <p:spPr>
            <a:xfrm>
              <a:off x="7505855" y="3291557"/>
              <a:ext cx="1639050" cy="769441"/>
            </a:xfrm>
            <a:prstGeom prst="rect">
              <a:avLst/>
            </a:prstGeom>
            <a:noFill/>
          </p:spPr>
          <p:txBody>
            <a:bodyPr wrap="square">
              <a:spAutoFit/>
            </a:bodyPr>
            <a:lstStyle/>
            <a:p>
              <a:pPr algn="ctr">
                <a:defRPr/>
              </a:pPr>
              <a:r>
                <a:rPr lang="de-DE" sz="2200" dirty="0">
                  <a:solidFill>
                    <a:srgbClr val="262626"/>
                  </a:solidFill>
                  <a:latin typeface="Calibri" panose="020F0502020204030204" pitchFamily="34" charset="0"/>
                  <a:ea typeface="Calibri" panose="020F0502020204030204" pitchFamily="34" charset="0"/>
                  <a:cs typeface="Calibri" panose="020F0502020204030204" pitchFamily="34" charset="0"/>
                </a:rPr>
                <a:t>Choice Architecture</a:t>
              </a:r>
              <a:endParaRPr lang="en-US" sz="2200" b="1" baseline="30000" dirty="0">
                <a:solidFill>
                  <a:srgbClr val="262626"/>
                </a:solidFill>
                <a:latin typeface="Calibri" panose="020F0502020204030204" pitchFamily="34" charset="0"/>
                <a:ea typeface="Calibri" panose="020F0502020204030204" pitchFamily="34" charset="0"/>
                <a:cs typeface="Calibri" panose="020F0502020204030204" pitchFamily="34" charset="0"/>
              </a:endParaRPr>
            </a:p>
          </p:txBody>
        </p:sp>
        <p:sp>
          <p:nvSpPr>
            <p:cNvPr id="1096" name="TextBox 40">
              <a:extLst>
                <a:ext uri="{FF2B5EF4-FFF2-40B4-BE49-F238E27FC236}">
                  <a16:creationId xmlns:a16="http://schemas.microsoft.com/office/drawing/2014/main" id="{F14333F0-6346-DF5A-33E5-A99693B8BAD2}"/>
                </a:ext>
              </a:extLst>
            </p:cNvPr>
            <p:cNvSpPr txBox="1"/>
            <p:nvPr/>
          </p:nvSpPr>
          <p:spPr>
            <a:xfrm>
              <a:off x="9247108" y="2488182"/>
              <a:ext cx="1416281" cy="506292"/>
            </a:xfrm>
            <a:prstGeom prst="rect">
              <a:avLst/>
            </a:prstGeom>
            <a:noFill/>
          </p:spPr>
          <p:txBody>
            <a:bodyPr>
              <a:spAutoFit/>
            </a:bodyPr>
            <a:lstStyle/>
            <a:p>
              <a:pPr>
                <a:lnSpc>
                  <a:spcPct val="150000"/>
                </a:lnSpc>
                <a:spcBef>
                  <a:spcPts val="2400"/>
                </a:spcBef>
                <a:defRPr/>
              </a:pPr>
              <a:r>
                <a:rPr lang="de-DE" sz="2000" b="1" dirty="0">
                  <a:solidFill>
                    <a:schemeClr val="bg1"/>
                  </a:solidFill>
                  <a:latin typeface="Calibri" panose="020F0502020204030204" pitchFamily="34" charset="0"/>
                  <a:ea typeface="Calibri" panose="020F0502020204030204" pitchFamily="34" charset="0"/>
                  <a:cs typeface="Calibri" panose="020F0502020204030204" pitchFamily="34" charset="0"/>
                </a:rPr>
                <a:t>Timing</a:t>
              </a:r>
              <a:endParaRPr lang="en-US" sz="2000" b="1" baseline="300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097" name="TextBox 41">
              <a:extLst>
                <a:ext uri="{FF2B5EF4-FFF2-40B4-BE49-F238E27FC236}">
                  <a16:creationId xmlns:a16="http://schemas.microsoft.com/office/drawing/2014/main" id="{08095565-EF2C-EF93-769A-BEB83AF76FA2}"/>
                </a:ext>
              </a:extLst>
            </p:cNvPr>
            <p:cNvSpPr txBox="1"/>
            <p:nvPr/>
          </p:nvSpPr>
          <p:spPr>
            <a:xfrm>
              <a:off x="6253986" y="4456161"/>
              <a:ext cx="1417044" cy="506292"/>
            </a:xfrm>
            <a:prstGeom prst="rect">
              <a:avLst/>
            </a:prstGeom>
            <a:noFill/>
          </p:spPr>
          <p:txBody>
            <a:bodyPr>
              <a:spAutoFit/>
            </a:bodyPr>
            <a:lstStyle/>
            <a:p>
              <a:pPr>
                <a:lnSpc>
                  <a:spcPct val="150000"/>
                </a:lnSpc>
                <a:spcBef>
                  <a:spcPts val="2400"/>
                </a:spcBef>
                <a:defRPr/>
              </a:pPr>
              <a:r>
                <a:rPr lang="de-DE" sz="2000" b="1" dirty="0">
                  <a:solidFill>
                    <a:schemeClr val="bg1"/>
                  </a:solidFill>
                  <a:latin typeface="Calibri" panose="020F0502020204030204" pitchFamily="34" charset="0"/>
                  <a:ea typeface="Calibri" panose="020F0502020204030204" pitchFamily="34" charset="0"/>
                  <a:cs typeface="Calibri" panose="020F0502020204030204" pitchFamily="34" charset="0"/>
                </a:rPr>
                <a:t>Prompts</a:t>
              </a:r>
              <a:endParaRPr lang="en-US" sz="2000" b="1" baseline="300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pSp>
          <p:nvGrpSpPr>
            <p:cNvPr id="1098" name="Group 42">
              <a:extLst>
                <a:ext uri="{FF2B5EF4-FFF2-40B4-BE49-F238E27FC236}">
                  <a16:creationId xmlns:a16="http://schemas.microsoft.com/office/drawing/2014/main" id="{51BBCC69-6F3B-DC81-BC49-C6A903E74CD4}"/>
                </a:ext>
              </a:extLst>
            </p:cNvPr>
            <p:cNvGrpSpPr/>
            <p:nvPr/>
          </p:nvGrpSpPr>
          <p:grpSpPr>
            <a:xfrm>
              <a:off x="7403555" y="5290169"/>
              <a:ext cx="534948" cy="654612"/>
              <a:chOff x="14462125" y="8877300"/>
              <a:chExt cx="1366838" cy="1685925"/>
            </a:xfrm>
            <a:solidFill>
              <a:schemeClr val="bg1"/>
            </a:solidFill>
          </p:grpSpPr>
          <p:sp>
            <p:nvSpPr>
              <p:cNvPr id="1135" name="Freeform 114">
                <a:extLst>
                  <a:ext uri="{FF2B5EF4-FFF2-40B4-BE49-F238E27FC236}">
                    <a16:creationId xmlns:a16="http://schemas.microsoft.com/office/drawing/2014/main" id="{F8F073B3-F3B4-6447-37E6-1E658BE5E63E}"/>
                  </a:ext>
                </a:extLst>
              </p:cNvPr>
              <p:cNvSpPr>
                <a:spLocks noEditPoints="1"/>
              </p:cNvSpPr>
              <p:nvPr/>
            </p:nvSpPr>
            <p:spPr bwMode="auto">
              <a:xfrm>
                <a:off x="14462125" y="8877300"/>
                <a:ext cx="1366838" cy="1685925"/>
              </a:xfrm>
              <a:custGeom>
                <a:avLst/>
                <a:gdLst>
                  <a:gd name="T0" fmla="*/ 109 w 176"/>
                  <a:gd name="T1" fmla="*/ 17 h 217"/>
                  <a:gd name="T2" fmla="*/ 67 w 176"/>
                  <a:gd name="T3" fmla="*/ 17 h 217"/>
                  <a:gd name="T4" fmla="*/ 0 w 176"/>
                  <a:gd name="T5" fmla="*/ 28 h 217"/>
                  <a:gd name="T6" fmla="*/ 12 w 176"/>
                  <a:gd name="T7" fmla="*/ 160 h 217"/>
                  <a:gd name="T8" fmla="*/ 47 w 176"/>
                  <a:gd name="T9" fmla="*/ 211 h 217"/>
                  <a:gd name="T10" fmla="*/ 51 w 176"/>
                  <a:gd name="T11" fmla="*/ 217 h 217"/>
                  <a:gd name="T12" fmla="*/ 73 w 176"/>
                  <a:gd name="T13" fmla="*/ 160 h 217"/>
                  <a:gd name="T14" fmla="*/ 121 w 176"/>
                  <a:gd name="T15" fmla="*/ 214 h 217"/>
                  <a:gd name="T16" fmla="*/ 126 w 176"/>
                  <a:gd name="T17" fmla="*/ 217 h 217"/>
                  <a:gd name="T18" fmla="*/ 111 w 176"/>
                  <a:gd name="T19" fmla="*/ 160 h 217"/>
                  <a:gd name="T20" fmla="*/ 176 w 176"/>
                  <a:gd name="T21" fmla="*/ 149 h 217"/>
                  <a:gd name="T22" fmla="*/ 164 w 176"/>
                  <a:gd name="T23" fmla="*/ 17 h 217"/>
                  <a:gd name="T24" fmla="*/ 100 w 176"/>
                  <a:gd name="T25" fmla="*/ 17 h 217"/>
                  <a:gd name="T26" fmla="*/ 88 w 176"/>
                  <a:gd name="T27" fmla="*/ 8 h 217"/>
                  <a:gd name="T28" fmla="*/ 164 w 176"/>
                  <a:gd name="T29" fmla="*/ 152 h 217"/>
                  <a:gd name="T30" fmla="*/ 153 w 176"/>
                  <a:gd name="T31" fmla="*/ 91 h 217"/>
                  <a:gd name="T32" fmla="*/ 145 w 176"/>
                  <a:gd name="T33" fmla="*/ 91 h 217"/>
                  <a:gd name="T34" fmla="*/ 132 w 176"/>
                  <a:gd name="T35" fmla="*/ 152 h 217"/>
                  <a:gd name="T36" fmla="*/ 128 w 176"/>
                  <a:gd name="T37" fmla="*/ 100 h 217"/>
                  <a:gd name="T38" fmla="*/ 123 w 176"/>
                  <a:gd name="T39" fmla="*/ 152 h 217"/>
                  <a:gd name="T40" fmla="*/ 111 w 176"/>
                  <a:gd name="T41" fmla="*/ 118 h 217"/>
                  <a:gd name="T42" fmla="*/ 103 w 176"/>
                  <a:gd name="T43" fmla="*/ 118 h 217"/>
                  <a:gd name="T44" fmla="*/ 92 w 176"/>
                  <a:gd name="T45" fmla="*/ 152 h 217"/>
                  <a:gd name="T46" fmla="*/ 88 w 176"/>
                  <a:gd name="T47" fmla="*/ 103 h 217"/>
                  <a:gd name="T48" fmla="*/ 84 w 176"/>
                  <a:gd name="T49" fmla="*/ 152 h 217"/>
                  <a:gd name="T50" fmla="*/ 71 w 176"/>
                  <a:gd name="T51" fmla="*/ 128 h 217"/>
                  <a:gd name="T52" fmla="*/ 63 w 176"/>
                  <a:gd name="T53" fmla="*/ 128 h 217"/>
                  <a:gd name="T54" fmla="*/ 53 w 176"/>
                  <a:gd name="T55" fmla="*/ 152 h 217"/>
                  <a:gd name="T56" fmla="*/ 49 w 176"/>
                  <a:gd name="T57" fmla="*/ 126 h 217"/>
                  <a:gd name="T58" fmla="*/ 45 w 176"/>
                  <a:gd name="T59" fmla="*/ 152 h 217"/>
                  <a:gd name="T60" fmla="*/ 33 w 176"/>
                  <a:gd name="T61" fmla="*/ 135 h 217"/>
                  <a:gd name="T62" fmla="*/ 25 w 176"/>
                  <a:gd name="T63" fmla="*/ 135 h 217"/>
                  <a:gd name="T64" fmla="*/ 12 w 176"/>
                  <a:gd name="T65" fmla="*/ 152 h 217"/>
                  <a:gd name="T66" fmla="*/ 9 w 176"/>
                  <a:gd name="T67" fmla="*/ 28 h 217"/>
                  <a:gd name="T68" fmla="*/ 164 w 176"/>
                  <a:gd name="T69" fmla="*/ 25 h 217"/>
                  <a:gd name="T70" fmla="*/ 167 w 176"/>
                  <a:gd name="T71" fmla="*/ 149 h 217"/>
                  <a:gd name="T72" fmla="*/ 167 w 176"/>
                  <a:gd name="T73" fmla="*/ 14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6" h="217">
                    <a:moveTo>
                      <a:pt x="164" y="17"/>
                    </a:moveTo>
                    <a:cubicBezTo>
                      <a:pt x="109" y="17"/>
                      <a:pt x="109" y="17"/>
                      <a:pt x="109" y="17"/>
                    </a:cubicBezTo>
                    <a:cubicBezTo>
                      <a:pt x="107" y="7"/>
                      <a:pt x="98" y="0"/>
                      <a:pt x="88" y="0"/>
                    </a:cubicBezTo>
                    <a:cubicBezTo>
                      <a:pt x="78" y="0"/>
                      <a:pt x="69" y="7"/>
                      <a:pt x="67" y="17"/>
                    </a:cubicBezTo>
                    <a:cubicBezTo>
                      <a:pt x="12" y="17"/>
                      <a:pt x="12" y="17"/>
                      <a:pt x="12" y="17"/>
                    </a:cubicBezTo>
                    <a:cubicBezTo>
                      <a:pt x="5" y="17"/>
                      <a:pt x="0" y="22"/>
                      <a:pt x="0" y="28"/>
                    </a:cubicBezTo>
                    <a:cubicBezTo>
                      <a:pt x="0" y="149"/>
                      <a:pt x="0" y="149"/>
                      <a:pt x="0" y="149"/>
                    </a:cubicBezTo>
                    <a:cubicBezTo>
                      <a:pt x="0" y="155"/>
                      <a:pt x="5" y="160"/>
                      <a:pt x="12" y="160"/>
                    </a:cubicBezTo>
                    <a:cubicBezTo>
                      <a:pt x="65" y="160"/>
                      <a:pt x="65" y="160"/>
                      <a:pt x="65" y="160"/>
                    </a:cubicBezTo>
                    <a:cubicBezTo>
                      <a:pt x="47" y="211"/>
                      <a:pt x="47" y="211"/>
                      <a:pt x="47" y="211"/>
                    </a:cubicBezTo>
                    <a:cubicBezTo>
                      <a:pt x="47" y="214"/>
                      <a:pt x="48" y="216"/>
                      <a:pt x="50" y="217"/>
                    </a:cubicBezTo>
                    <a:cubicBezTo>
                      <a:pt x="50" y="217"/>
                      <a:pt x="51" y="217"/>
                      <a:pt x="51" y="217"/>
                    </a:cubicBezTo>
                    <a:cubicBezTo>
                      <a:pt x="53" y="217"/>
                      <a:pt x="55" y="216"/>
                      <a:pt x="55" y="214"/>
                    </a:cubicBezTo>
                    <a:cubicBezTo>
                      <a:pt x="73" y="160"/>
                      <a:pt x="73" y="160"/>
                      <a:pt x="73" y="160"/>
                    </a:cubicBezTo>
                    <a:cubicBezTo>
                      <a:pt x="102" y="160"/>
                      <a:pt x="102" y="160"/>
                      <a:pt x="102" y="160"/>
                    </a:cubicBezTo>
                    <a:cubicBezTo>
                      <a:pt x="121" y="214"/>
                      <a:pt x="121" y="214"/>
                      <a:pt x="121" y="214"/>
                    </a:cubicBezTo>
                    <a:cubicBezTo>
                      <a:pt x="121" y="216"/>
                      <a:pt x="123" y="217"/>
                      <a:pt x="125" y="217"/>
                    </a:cubicBezTo>
                    <a:cubicBezTo>
                      <a:pt x="125" y="217"/>
                      <a:pt x="126" y="217"/>
                      <a:pt x="126" y="217"/>
                    </a:cubicBezTo>
                    <a:cubicBezTo>
                      <a:pt x="128" y="216"/>
                      <a:pt x="129" y="214"/>
                      <a:pt x="129" y="211"/>
                    </a:cubicBezTo>
                    <a:cubicBezTo>
                      <a:pt x="111" y="160"/>
                      <a:pt x="111" y="160"/>
                      <a:pt x="111" y="160"/>
                    </a:cubicBezTo>
                    <a:cubicBezTo>
                      <a:pt x="164" y="160"/>
                      <a:pt x="164" y="160"/>
                      <a:pt x="164" y="160"/>
                    </a:cubicBezTo>
                    <a:cubicBezTo>
                      <a:pt x="171" y="160"/>
                      <a:pt x="176" y="155"/>
                      <a:pt x="176" y="149"/>
                    </a:cubicBezTo>
                    <a:cubicBezTo>
                      <a:pt x="176" y="28"/>
                      <a:pt x="176" y="28"/>
                      <a:pt x="176" y="28"/>
                    </a:cubicBezTo>
                    <a:cubicBezTo>
                      <a:pt x="176" y="22"/>
                      <a:pt x="171" y="17"/>
                      <a:pt x="164" y="17"/>
                    </a:cubicBezTo>
                    <a:close/>
                    <a:moveTo>
                      <a:pt x="88" y="8"/>
                    </a:moveTo>
                    <a:cubicBezTo>
                      <a:pt x="93" y="8"/>
                      <a:pt x="98" y="12"/>
                      <a:pt x="100" y="17"/>
                    </a:cubicBezTo>
                    <a:cubicBezTo>
                      <a:pt x="76" y="17"/>
                      <a:pt x="76" y="17"/>
                      <a:pt x="76" y="17"/>
                    </a:cubicBezTo>
                    <a:cubicBezTo>
                      <a:pt x="78" y="12"/>
                      <a:pt x="82" y="8"/>
                      <a:pt x="88" y="8"/>
                    </a:cubicBezTo>
                    <a:close/>
                    <a:moveTo>
                      <a:pt x="167" y="149"/>
                    </a:moveTo>
                    <a:cubicBezTo>
                      <a:pt x="167" y="150"/>
                      <a:pt x="166" y="152"/>
                      <a:pt x="164" y="152"/>
                    </a:cubicBezTo>
                    <a:cubicBezTo>
                      <a:pt x="153" y="152"/>
                      <a:pt x="153" y="152"/>
                      <a:pt x="153" y="152"/>
                    </a:cubicBezTo>
                    <a:cubicBezTo>
                      <a:pt x="153" y="91"/>
                      <a:pt x="153" y="91"/>
                      <a:pt x="153" y="91"/>
                    </a:cubicBezTo>
                    <a:cubicBezTo>
                      <a:pt x="153" y="89"/>
                      <a:pt x="151" y="87"/>
                      <a:pt x="149" y="87"/>
                    </a:cubicBezTo>
                    <a:cubicBezTo>
                      <a:pt x="147" y="87"/>
                      <a:pt x="145" y="89"/>
                      <a:pt x="145" y="91"/>
                    </a:cubicBezTo>
                    <a:cubicBezTo>
                      <a:pt x="145" y="152"/>
                      <a:pt x="145" y="152"/>
                      <a:pt x="145" y="152"/>
                    </a:cubicBezTo>
                    <a:cubicBezTo>
                      <a:pt x="132" y="152"/>
                      <a:pt x="132" y="152"/>
                      <a:pt x="132" y="152"/>
                    </a:cubicBezTo>
                    <a:cubicBezTo>
                      <a:pt x="132" y="104"/>
                      <a:pt x="132" y="104"/>
                      <a:pt x="132" y="104"/>
                    </a:cubicBezTo>
                    <a:cubicBezTo>
                      <a:pt x="132" y="102"/>
                      <a:pt x="130" y="100"/>
                      <a:pt x="128" y="100"/>
                    </a:cubicBezTo>
                    <a:cubicBezTo>
                      <a:pt x="125" y="100"/>
                      <a:pt x="123" y="102"/>
                      <a:pt x="123" y="104"/>
                    </a:cubicBezTo>
                    <a:cubicBezTo>
                      <a:pt x="123" y="152"/>
                      <a:pt x="123" y="152"/>
                      <a:pt x="123" y="152"/>
                    </a:cubicBezTo>
                    <a:cubicBezTo>
                      <a:pt x="111" y="152"/>
                      <a:pt x="111" y="152"/>
                      <a:pt x="111" y="152"/>
                    </a:cubicBezTo>
                    <a:cubicBezTo>
                      <a:pt x="111" y="118"/>
                      <a:pt x="111" y="118"/>
                      <a:pt x="111" y="118"/>
                    </a:cubicBezTo>
                    <a:cubicBezTo>
                      <a:pt x="111" y="116"/>
                      <a:pt x="110" y="114"/>
                      <a:pt x="107" y="114"/>
                    </a:cubicBezTo>
                    <a:cubicBezTo>
                      <a:pt x="105" y="114"/>
                      <a:pt x="103" y="116"/>
                      <a:pt x="103" y="118"/>
                    </a:cubicBezTo>
                    <a:cubicBezTo>
                      <a:pt x="103" y="152"/>
                      <a:pt x="103" y="152"/>
                      <a:pt x="103" y="152"/>
                    </a:cubicBezTo>
                    <a:cubicBezTo>
                      <a:pt x="92" y="152"/>
                      <a:pt x="92" y="152"/>
                      <a:pt x="92" y="152"/>
                    </a:cubicBezTo>
                    <a:cubicBezTo>
                      <a:pt x="92" y="107"/>
                      <a:pt x="92" y="107"/>
                      <a:pt x="92" y="107"/>
                    </a:cubicBezTo>
                    <a:cubicBezTo>
                      <a:pt x="92" y="105"/>
                      <a:pt x="90" y="103"/>
                      <a:pt x="88" y="103"/>
                    </a:cubicBezTo>
                    <a:cubicBezTo>
                      <a:pt x="86" y="103"/>
                      <a:pt x="84" y="105"/>
                      <a:pt x="84" y="107"/>
                    </a:cubicBezTo>
                    <a:cubicBezTo>
                      <a:pt x="84" y="152"/>
                      <a:pt x="84" y="152"/>
                      <a:pt x="84" y="152"/>
                    </a:cubicBezTo>
                    <a:cubicBezTo>
                      <a:pt x="71" y="152"/>
                      <a:pt x="71" y="152"/>
                      <a:pt x="71" y="152"/>
                    </a:cubicBezTo>
                    <a:cubicBezTo>
                      <a:pt x="71" y="128"/>
                      <a:pt x="71" y="128"/>
                      <a:pt x="71" y="128"/>
                    </a:cubicBezTo>
                    <a:cubicBezTo>
                      <a:pt x="71" y="126"/>
                      <a:pt x="70" y="124"/>
                      <a:pt x="67" y="124"/>
                    </a:cubicBezTo>
                    <a:cubicBezTo>
                      <a:pt x="65" y="124"/>
                      <a:pt x="63" y="126"/>
                      <a:pt x="63" y="128"/>
                    </a:cubicBezTo>
                    <a:cubicBezTo>
                      <a:pt x="63" y="152"/>
                      <a:pt x="63" y="152"/>
                      <a:pt x="63" y="152"/>
                    </a:cubicBezTo>
                    <a:cubicBezTo>
                      <a:pt x="53" y="152"/>
                      <a:pt x="53" y="152"/>
                      <a:pt x="53" y="152"/>
                    </a:cubicBezTo>
                    <a:cubicBezTo>
                      <a:pt x="53" y="130"/>
                      <a:pt x="53" y="130"/>
                      <a:pt x="53" y="130"/>
                    </a:cubicBezTo>
                    <a:cubicBezTo>
                      <a:pt x="53" y="128"/>
                      <a:pt x="51" y="126"/>
                      <a:pt x="49" y="126"/>
                    </a:cubicBezTo>
                    <a:cubicBezTo>
                      <a:pt x="47" y="126"/>
                      <a:pt x="45" y="128"/>
                      <a:pt x="45" y="130"/>
                    </a:cubicBezTo>
                    <a:cubicBezTo>
                      <a:pt x="45" y="152"/>
                      <a:pt x="45" y="152"/>
                      <a:pt x="45" y="152"/>
                    </a:cubicBezTo>
                    <a:cubicBezTo>
                      <a:pt x="33" y="152"/>
                      <a:pt x="33" y="152"/>
                      <a:pt x="33" y="152"/>
                    </a:cubicBezTo>
                    <a:cubicBezTo>
                      <a:pt x="33" y="135"/>
                      <a:pt x="33" y="135"/>
                      <a:pt x="33" y="135"/>
                    </a:cubicBezTo>
                    <a:cubicBezTo>
                      <a:pt x="33" y="133"/>
                      <a:pt x="31" y="131"/>
                      <a:pt x="29" y="131"/>
                    </a:cubicBezTo>
                    <a:cubicBezTo>
                      <a:pt x="27" y="131"/>
                      <a:pt x="25" y="133"/>
                      <a:pt x="25" y="135"/>
                    </a:cubicBezTo>
                    <a:cubicBezTo>
                      <a:pt x="25" y="152"/>
                      <a:pt x="25" y="152"/>
                      <a:pt x="25" y="152"/>
                    </a:cubicBezTo>
                    <a:cubicBezTo>
                      <a:pt x="12" y="152"/>
                      <a:pt x="12" y="152"/>
                      <a:pt x="12" y="152"/>
                    </a:cubicBezTo>
                    <a:cubicBezTo>
                      <a:pt x="10" y="152"/>
                      <a:pt x="9" y="150"/>
                      <a:pt x="9" y="149"/>
                    </a:cubicBezTo>
                    <a:cubicBezTo>
                      <a:pt x="9" y="28"/>
                      <a:pt x="9" y="28"/>
                      <a:pt x="9" y="28"/>
                    </a:cubicBezTo>
                    <a:cubicBezTo>
                      <a:pt x="9" y="27"/>
                      <a:pt x="10" y="25"/>
                      <a:pt x="12" y="25"/>
                    </a:cubicBezTo>
                    <a:cubicBezTo>
                      <a:pt x="164" y="25"/>
                      <a:pt x="164" y="25"/>
                      <a:pt x="164" y="25"/>
                    </a:cubicBezTo>
                    <a:cubicBezTo>
                      <a:pt x="166" y="25"/>
                      <a:pt x="167" y="27"/>
                      <a:pt x="167" y="28"/>
                    </a:cubicBezTo>
                    <a:lnTo>
                      <a:pt x="167" y="149"/>
                    </a:lnTo>
                    <a:close/>
                    <a:moveTo>
                      <a:pt x="167" y="149"/>
                    </a:moveTo>
                    <a:cubicBezTo>
                      <a:pt x="167" y="149"/>
                      <a:pt x="167" y="149"/>
                      <a:pt x="167" y="1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36" name="Freeform 115">
                <a:extLst>
                  <a:ext uri="{FF2B5EF4-FFF2-40B4-BE49-F238E27FC236}">
                    <a16:creationId xmlns:a16="http://schemas.microsoft.com/office/drawing/2014/main" id="{E4A3864E-B212-50F8-7DC6-831A13E2FF1A}"/>
                  </a:ext>
                </a:extLst>
              </p:cNvPr>
              <p:cNvSpPr>
                <a:spLocks noEditPoints="1"/>
              </p:cNvSpPr>
              <p:nvPr/>
            </p:nvSpPr>
            <p:spPr bwMode="auto">
              <a:xfrm>
                <a:off x="14665325" y="9196388"/>
                <a:ext cx="985838" cy="612775"/>
              </a:xfrm>
              <a:custGeom>
                <a:avLst/>
                <a:gdLst>
                  <a:gd name="T0" fmla="*/ 127 w 127"/>
                  <a:gd name="T1" fmla="*/ 4 h 79"/>
                  <a:gd name="T2" fmla="*/ 127 w 127"/>
                  <a:gd name="T3" fmla="*/ 4 h 79"/>
                  <a:gd name="T4" fmla="*/ 127 w 127"/>
                  <a:gd name="T5" fmla="*/ 4 h 79"/>
                  <a:gd name="T6" fmla="*/ 127 w 127"/>
                  <a:gd name="T7" fmla="*/ 4 h 79"/>
                  <a:gd name="T8" fmla="*/ 127 w 127"/>
                  <a:gd name="T9" fmla="*/ 3 h 79"/>
                  <a:gd name="T10" fmla="*/ 127 w 127"/>
                  <a:gd name="T11" fmla="*/ 3 h 79"/>
                  <a:gd name="T12" fmla="*/ 127 w 127"/>
                  <a:gd name="T13" fmla="*/ 3 h 79"/>
                  <a:gd name="T14" fmla="*/ 127 w 127"/>
                  <a:gd name="T15" fmla="*/ 3 h 79"/>
                  <a:gd name="T16" fmla="*/ 127 w 127"/>
                  <a:gd name="T17" fmla="*/ 3 h 79"/>
                  <a:gd name="T18" fmla="*/ 127 w 127"/>
                  <a:gd name="T19" fmla="*/ 3 h 79"/>
                  <a:gd name="T20" fmla="*/ 127 w 127"/>
                  <a:gd name="T21" fmla="*/ 2 h 79"/>
                  <a:gd name="T22" fmla="*/ 126 w 127"/>
                  <a:gd name="T23" fmla="*/ 2 h 79"/>
                  <a:gd name="T24" fmla="*/ 126 w 127"/>
                  <a:gd name="T25" fmla="*/ 2 h 79"/>
                  <a:gd name="T26" fmla="*/ 126 w 127"/>
                  <a:gd name="T27" fmla="*/ 2 h 79"/>
                  <a:gd name="T28" fmla="*/ 126 w 127"/>
                  <a:gd name="T29" fmla="*/ 2 h 79"/>
                  <a:gd name="T30" fmla="*/ 126 w 127"/>
                  <a:gd name="T31" fmla="*/ 2 h 79"/>
                  <a:gd name="T32" fmla="*/ 126 w 127"/>
                  <a:gd name="T33" fmla="*/ 1 h 79"/>
                  <a:gd name="T34" fmla="*/ 126 w 127"/>
                  <a:gd name="T35" fmla="*/ 1 h 79"/>
                  <a:gd name="T36" fmla="*/ 125 w 127"/>
                  <a:gd name="T37" fmla="*/ 1 h 79"/>
                  <a:gd name="T38" fmla="*/ 125 w 127"/>
                  <a:gd name="T39" fmla="*/ 1 h 79"/>
                  <a:gd name="T40" fmla="*/ 125 w 127"/>
                  <a:gd name="T41" fmla="*/ 1 h 79"/>
                  <a:gd name="T42" fmla="*/ 125 w 127"/>
                  <a:gd name="T43" fmla="*/ 1 h 79"/>
                  <a:gd name="T44" fmla="*/ 125 w 127"/>
                  <a:gd name="T45" fmla="*/ 1 h 79"/>
                  <a:gd name="T46" fmla="*/ 124 w 127"/>
                  <a:gd name="T47" fmla="*/ 1 h 79"/>
                  <a:gd name="T48" fmla="*/ 124 w 127"/>
                  <a:gd name="T49" fmla="*/ 1 h 79"/>
                  <a:gd name="T50" fmla="*/ 124 w 127"/>
                  <a:gd name="T51" fmla="*/ 1 h 79"/>
                  <a:gd name="T52" fmla="*/ 124 w 127"/>
                  <a:gd name="T53" fmla="*/ 1 h 79"/>
                  <a:gd name="T54" fmla="*/ 124 w 127"/>
                  <a:gd name="T55" fmla="*/ 1 h 79"/>
                  <a:gd name="T56" fmla="*/ 123 w 127"/>
                  <a:gd name="T57" fmla="*/ 0 h 79"/>
                  <a:gd name="T58" fmla="*/ 123 w 127"/>
                  <a:gd name="T59" fmla="*/ 0 h 79"/>
                  <a:gd name="T60" fmla="*/ 123 w 127"/>
                  <a:gd name="T61" fmla="*/ 0 h 79"/>
                  <a:gd name="T62" fmla="*/ 105 w 127"/>
                  <a:gd name="T63" fmla="*/ 0 h 79"/>
                  <a:gd name="T64" fmla="*/ 101 w 127"/>
                  <a:gd name="T65" fmla="*/ 5 h 79"/>
                  <a:gd name="T66" fmla="*/ 105 w 127"/>
                  <a:gd name="T67" fmla="*/ 9 h 79"/>
                  <a:gd name="T68" fmla="*/ 113 w 127"/>
                  <a:gd name="T69" fmla="*/ 9 h 79"/>
                  <a:gd name="T70" fmla="*/ 78 w 127"/>
                  <a:gd name="T71" fmla="*/ 44 h 79"/>
                  <a:gd name="T72" fmla="*/ 68 w 127"/>
                  <a:gd name="T73" fmla="*/ 35 h 79"/>
                  <a:gd name="T74" fmla="*/ 65 w 127"/>
                  <a:gd name="T75" fmla="*/ 34 h 79"/>
                  <a:gd name="T76" fmla="*/ 62 w 127"/>
                  <a:gd name="T77" fmla="*/ 35 h 79"/>
                  <a:gd name="T78" fmla="*/ 32 w 127"/>
                  <a:gd name="T79" fmla="*/ 65 h 79"/>
                  <a:gd name="T80" fmla="*/ 23 w 127"/>
                  <a:gd name="T81" fmla="*/ 56 h 79"/>
                  <a:gd name="T82" fmla="*/ 17 w 127"/>
                  <a:gd name="T83" fmla="*/ 56 h 79"/>
                  <a:gd name="T84" fmla="*/ 1 w 127"/>
                  <a:gd name="T85" fmla="*/ 72 h 79"/>
                  <a:gd name="T86" fmla="*/ 1 w 127"/>
                  <a:gd name="T87" fmla="*/ 78 h 79"/>
                  <a:gd name="T88" fmla="*/ 4 w 127"/>
                  <a:gd name="T89" fmla="*/ 79 h 79"/>
                  <a:gd name="T90" fmla="*/ 7 w 127"/>
                  <a:gd name="T91" fmla="*/ 78 h 79"/>
                  <a:gd name="T92" fmla="*/ 20 w 127"/>
                  <a:gd name="T93" fmla="*/ 65 h 79"/>
                  <a:gd name="T94" fmla="*/ 29 w 127"/>
                  <a:gd name="T95" fmla="*/ 74 h 79"/>
                  <a:gd name="T96" fmla="*/ 35 w 127"/>
                  <a:gd name="T97" fmla="*/ 74 h 79"/>
                  <a:gd name="T98" fmla="*/ 65 w 127"/>
                  <a:gd name="T99" fmla="*/ 44 h 79"/>
                  <a:gd name="T100" fmla="*/ 75 w 127"/>
                  <a:gd name="T101" fmla="*/ 53 h 79"/>
                  <a:gd name="T102" fmla="*/ 78 w 127"/>
                  <a:gd name="T103" fmla="*/ 54 h 79"/>
                  <a:gd name="T104" fmla="*/ 81 w 127"/>
                  <a:gd name="T105" fmla="*/ 53 h 79"/>
                  <a:gd name="T106" fmla="*/ 119 w 127"/>
                  <a:gd name="T107" fmla="*/ 15 h 79"/>
                  <a:gd name="T108" fmla="*/ 119 w 127"/>
                  <a:gd name="T109" fmla="*/ 23 h 79"/>
                  <a:gd name="T110" fmla="*/ 123 w 127"/>
                  <a:gd name="T111" fmla="*/ 27 h 79"/>
                  <a:gd name="T112" fmla="*/ 127 w 127"/>
                  <a:gd name="T113" fmla="*/ 23 h 79"/>
                  <a:gd name="T114" fmla="*/ 127 w 127"/>
                  <a:gd name="T115" fmla="*/ 5 h 79"/>
                  <a:gd name="T116" fmla="*/ 127 w 127"/>
                  <a:gd name="T117" fmla="*/ 4 h 79"/>
                  <a:gd name="T118" fmla="*/ 127 w 127"/>
                  <a:gd name="T119" fmla="*/ 4 h 79"/>
                  <a:gd name="T120" fmla="*/ 127 w 127"/>
                  <a:gd name="T121" fmla="*/ 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 h="79">
                    <a:moveTo>
                      <a:pt x="127" y="4"/>
                    </a:moveTo>
                    <a:cubicBezTo>
                      <a:pt x="127" y="4"/>
                      <a:pt x="127" y="4"/>
                      <a:pt x="127" y="4"/>
                    </a:cubicBezTo>
                    <a:cubicBezTo>
                      <a:pt x="127" y="4"/>
                      <a:pt x="127" y="4"/>
                      <a:pt x="127" y="4"/>
                    </a:cubicBezTo>
                    <a:cubicBezTo>
                      <a:pt x="127" y="4"/>
                      <a:pt x="127" y="4"/>
                      <a:pt x="127" y="4"/>
                    </a:cubicBezTo>
                    <a:cubicBezTo>
                      <a:pt x="127" y="4"/>
                      <a:pt x="127" y="4"/>
                      <a:pt x="127" y="3"/>
                    </a:cubicBezTo>
                    <a:cubicBezTo>
                      <a:pt x="127" y="3"/>
                      <a:pt x="127" y="3"/>
                      <a:pt x="127" y="3"/>
                    </a:cubicBezTo>
                    <a:cubicBezTo>
                      <a:pt x="127" y="3"/>
                      <a:pt x="127" y="3"/>
                      <a:pt x="127" y="3"/>
                    </a:cubicBezTo>
                    <a:cubicBezTo>
                      <a:pt x="127" y="3"/>
                      <a:pt x="127" y="3"/>
                      <a:pt x="127" y="3"/>
                    </a:cubicBezTo>
                    <a:cubicBezTo>
                      <a:pt x="127" y="3"/>
                      <a:pt x="127" y="3"/>
                      <a:pt x="127" y="3"/>
                    </a:cubicBezTo>
                    <a:cubicBezTo>
                      <a:pt x="127" y="3"/>
                      <a:pt x="127" y="3"/>
                      <a:pt x="127" y="3"/>
                    </a:cubicBezTo>
                    <a:cubicBezTo>
                      <a:pt x="127" y="2"/>
                      <a:pt x="127" y="2"/>
                      <a:pt x="127" y="2"/>
                    </a:cubicBezTo>
                    <a:cubicBezTo>
                      <a:pt x="127" y="2"/>
                      <a:pt x="126" y="2"/>
                      <a:pt x="126" y="2"/>
                    </a:cubicBezTo>
                    <a:cubicBezTo>
                      <a:pt x="126" y="2"/>
                      <a:pt x="126" y="2"/>
                      <a:pt x="126" y="2"/>
                    </a:cubicBezTo>
                    <a:cubicBezTo>
                      <a:pt x="126" y="2"/>
                      <a:pt x="126" y="2"/>
                      <a:pt x="126" y="2"/>
                    </a:cubicBezTo>
                    <a:cubicBezTo>
                      <a:pt x="126" y="2"/>
                      <a:pt x="126" y="2"/>
                      <a:pt x="126" y="2"/>
                    </a:cubicBezTo>
                    <a:cubicBezTo>
                      <a:pt x="126" y="2"/>
                      <a:pt x="126" y="2"/>
                      <a:pt x="126" y="2"/>
                    </a:cubicBezTo>
                    <a:cubicBezTo>
                      <a:pt x="126" y="2"/>
                      <a:pt x="126" y="1"/>
                      <a:pt x="126" y="1"/>
                    </a:cubicBezTo>
                    <a:cubicBezTo>
                      <a:pt x="126" y="1"/>
                      <a:pt x="126" y="1"/>
                      <a:pt x="126" y="1"/>
                    </a:cubicBezTo>
                    <a:cubicBezTo>
                      <a:pt x="126" y="1"/>
                      <a:pt x="125" y="1"/>
                      <a:pt x="125" y="1"/>
                    </a:cubicBezTo>
                    <a:cubicBezTo>
                      <a:pt x="125" y="1"/>
                      <a:pt x="125" y="1"/>
                      <a:pt x="125" y="1"/>
                    </a:cubicBezTo>
                    <a:cubicBezTo>
                      <a:pt x="125" y="1"/>
                      <a:pt x="125" y="1"/>
                      <a:pt x="125" y="1"/>
                    </a:cubicBezTo>
                    <a:cubicBezTo>
                      <a:pt x="125" y="1"/>
                      <a:pt x="125" y="1"/>
                      <a:pt x="125" y="1"/>
                    </a:cubicBezTo>
                    <a:cubicBezTo>
                      <a:pt x="125" y="1"/>
                      <a:pt x="125" y="1"/>
                      <a:pt x="125" y="1"/>
                    </a:cubicBezTo>
                    <a:cubicBezTo>
                      <a:pt x="125" y="1"/>
                      <a:pt x="125" y="1"/>
                      <a:pt x="124" y="1"/>
                    </a:cubicBezTo>
                    <a:cubicBezTo>
                      <a:pt x="124" y="1"/>
                      <a:pt x="124" y="1"/>
                      <a:pt x="124" y="1"/>
                    </a:cubicBezTo>
                    <a:cubicBezTo>
                      <a:pt x="124" y="1"/>
                      <a:pt x="124" y="1"/>
                      <a:pt x="124" y="1"/>
                    </a:cubicBezTo>
                    <a:cubicBezTo>
                      <a:pt x="124" y="1"/>
                      <a:pt x="124" y="1"/>
                      <a:pt x="124" y="1"/>
                    </a:cubicBezTo>
                    <a:cubicBezTo>
                      <a:pt x="124" y="1"/>
                      <a:pt x="124" y="1"/>
                      <a:pt x="124" y="1"/>
                    </a:cubicBezTo>
                    <a:cubicBezTo>
                      <a:pt x="124" y="0"/>
                      <a:pt x="124" y="0"/>
                      <a:pt x="123" y="0"/>
                    </a:cubicBezTo>
                    <a:cubicBezTo>
                      <a:pt x="123" y="0"/>
                      <a:pt x="123" y="0"/>
                      <a:pt x="123" y="0"/>
                    </a:cubicBezTo>
                    <a:cubicBezTo>
                      <a:pt x="123" y="0"/>
                      <a:pt x="123" y="0"/>
                      <a:pt x="123" y="0"/>
                    </a:cubicBezTo>
                    <a:cubicBezTo>
                      <a:pt x="105" y="0"/>
                      <a:pt x="105" y="0"/>
                      <a:pt x="105" y="0"/>
                    </a:cubicBezTo>
                    <a:cubicBezTo>
                      <a:pt x="102" y="0"/>
                      <a:pt x="101" y="2"/>
                      <a:pt x="101" y="5"/>
                    </a:cubicBezTo>
                    <a:cubicBezTo>
                      <a:pt x="101" y="7"/>
                      <a:pt x="102" y="9"/>
                      <a:pt x="105" y="9"/>
                    </a:cubicBezTo>
                    <a:cubicBezTo>
                      <a:pt x="113" y="9"/>
                      <a:pt x="113" y="9"/>
                      <a:pt x="113" y="9"/>
                    </a:cubicBezTo>
                    <a:cubicBezTo>
                      <a:pt x="78" y="44"/>
                      <a:pt x="78" y="44"/>
                      <a:pt x="78" y="44"/>
                    </a:cubicBezTo>
                    <a:cubicBezTo>
                      <a:pt x="68" y="35"/>
                      <a:pt x="68" y="35"/>
                      <a:pt x="68" y="35"/>
                    </a:cubicBezTo>
                    <a:cubicBezTo>
                      <a:pt x="68" y="34"/>
                      <a:pt x="67" y="34"/>
                      <a:pt x="65" y="34"/>
                    </a:cubicBezTo>
                    <a:cubicBezTo>
                      <a:pt x="64" y="34"/>
                      <a:pt x="63" y="34"/>
                      <a:pt x="62" y="35"/>
                    </a:cubicBezTo>
                    <a:cubicBezTo>
                      <a:pt x="32" y="65"/>
                      <a:pt x="32" y="65"/>
                      <a:pt x="32" y="65"/>
                    </a:cubicBezTo>
                    <a:cubicBezTo>
                      <a:pt x="23" y="56"/>
                      <a:pt x="23" y="56"/>
                      <a:pt x="23" y="56"/>
                    </a:cubicBezTo>
                    <a:cubicBezTo>
                      <a:pt x="21" y="55"/>
                      <a:pt x="18" y="55"/>
                      <a:pt x="17" y="56"/>
                    </a:cubicBezTo>
                    <a:cubicBezTo>
                      <a:pt x="1" y="72"/>
                      <a:pt x="1" y="72"/>
                      <a:pt x="1" y="72"/>
                    </a:cubicBezTo>
                    <a:cubicBezTo>
                      <a:pt x="0" y="73"/>
                      <a:pt x="0" y="76"/>
                      <a:pt x="1" y="78"/>
                    </a:cubicBezTo>
                    <a:cubicBezTo>
                      <a:pt x="2" y="79"/>
                      <a:pt x="3" y="79"/>
                      <a:pt x="4" y="79"/>
                    </a:cubicBezTo>
                    <a:cubicBezTo>
                      <a:pt x="5" y="79"/>
                      <a:pt x="6" y="79"/>
                      <a:pt x="7" y="78"/>
                    </a:cubicBezTo>
                    <a:cubicBezTo>
                      <a:pt x="20" y="65"/>
                      <a:pt x="20" y="65"/>
                      <a:pt x="20" y="65"/>
                    </a:cubicBezTo>
                    <a:cubicBezTo>
                      <a:pt x="29" y="74"/>
                      <a:pt x="29" y="74"/>
                      <a:pt x="29" y="74"/>
                    </a:cubicBezTo>
                    <a:cubicBezTo>
                      <a:pt x="30" y="76"/>
                      <a:pt x="33" y="76"/>
                      <a:pt x="35" y="74"/>
                    </a:cubicBezTo>
                    <a:cubicBezTo>
                      <a:pt x="65" y="44"/>
                      <a:pt x="65" y="44"/>
                      <a:pt x="65" y="44"/>
                    </a:cubicBezTo>
                    <a:cubicBezTo>
                      <a:pt x="75" y="53"/>
                      <a:pt x="75" y="53"/>
                      <a:pt x="75" y="53"/>
                    </a:cubicBezTo>
                    <a:cubicBezTo>
                      <a:pt x="75" y="54"/>
                      <a:pt x="77" y="54"/>
                      <a:pt x="78" y="54"/>
                    </a:cubicBezTo>
                    <a:cubicBezTo>
                      <a:pt x="79" y="54"/>
                      <a:pt x="80" y="54"/>
                      <a:pt x="81" y="53"/>
                    </a:cubicBezTo>
                    <a:cubicBezTo>
                      <a:pt x="119" y="15"/>
                      <a:pt x="119" y="15"/>
                      <a:pt x="119" y="15"/>
                    </a:cubicBezTo>
                    <a:cubicBezTo>
                      <a:pt x="119" y="23"/>
                      <a:pt x="119" y="23"/>
                      <a:pt x="119" y="23"/>
                    </a:cubicBezTo>
                    <a:cubicBezTo>
                      <a:pt x="119" y="25"/>
                      <a:pt x="121" y="27"/>
                      <a:pt x="123" y="27"/>
                    </a:cubicBezTo>
                    <a:cubicBezTo>
                      <a:pt x="125" y="27"/>
                      <a:pt x="127" y="25"/>
                      <a:pt x="127" y="23"/>
                    </a:cubicBezTo>
                    <a:cubicBezTo>
                      <a:pt x="127" y="5"/>
                      <a:pt x="127" y="5"/>
                      <a:pt x="127" y="5"/>
                    </a:cubicBezTo>
                    <a:cubicBezTo>
                      <a:pt x="127" y="5"/>
                      <a:pt x="127" y="4"/>
                      <a:pt x="127" y="4"/>
                    </a:cubicBezTo>
                    <a:close/>
                    <a:moveTo>
                      <a:pt x="127" y="4"/>
                    </a:moveTo>
                    <a:cubicBezTo>
                      <a:pt x="127" y="4"/>
                      <a:pt x="127" y="4"/>
                      <a:pt x="1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37" name="Freeform 116">
                <a:extLst>
                  <a:ext uri="{FF2B5EF4-FFF2-40B4-BE49-F238E27FC236}">
                    <a16:creationId xmlns:a16="http://schemas.microsoft.com/office/drawing/2014/main" id="{05DD3DE1-6401-7025-47F4-55800FC273C5}"/>
                  </a:ext>
                </a:extLst>
              </p:cNvPr>
              <p:cNvSpPr>
                <a:spLocks noEditPoints="1"/>
              </p:cNvSpPr>
              <p:nvPr/>
            </p:nvSpPr>
            <p:spPr bwMode="auto">
              <a:xfrm>
                <a:off x="14665325" y="9196388"/>
                <a:ext cx="61913" cy="69850"/>
              </a:xfrm>
              <a:custGeom>
                <a:avLst/>
                <a:gdLst>
                  <a:gd name="T0" fmla="*/ 8 w 8"/>
                  <a:gd name="T1" fmla="*/ 5 h 9"/>
                  <a:gd name="T2" fmla="*/ 4 w 8"/>
                  <a:gd name="T3" fmla="*/ 9 h 9"/>
                  <a:gd name="T4" fmla="*/ 0 w 8"/>
                  <a:gd name="T5" fmla="*/ 5 h 9"/>
                  <a:gd name="T6" fmla="*/ 4 w 8"/>
                  <a:gd name="T7" fmla="*/ 0 h 9"/>
                  <a:gd name="T8" fmla="*/ 8 w 8"/>
                  <a:gd name="T9" fmla="*/ 5 h 9"/>
                  <a:gd name="T10" fmla="*/ 8 w 8"/>
                  <a:gd name="T11" fmla="*/ 5 h 9"/>
                  <a:gd name="T12" fmla="*/ 8 w 8"/>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8" y="5"/>
                    </a:moveTo>
                    <a:cubicBezTo>
                      <a:pt x="8" y="7"/>
                      <a:pt x="7" y="9"/>
                      <a:pt x="4" y="9"/>
                    </a:cubicBezTo>
                    <a:cubicBezTo>
                      <a:pt x="2" y="9"/>
                      <a:pt x="0" y="7"/>
                      <a:pt x="0" y="5"/>
                    </a:cubicBezTo>
                    <a:cubicBezTo>
                      <a:pt x="0" y="2"/>
                      <a:pt x="2" y="0"/>
                      <a:pt x="4" y="0"/>
                    </a:cubicBezTo>
                    <a:cubicBezTo>
                      <a:pt x="7" y="0"/>
                      <a:pt x="8" y="2"/>
                      <a:pt x="8" y="5"/>
                    </a:cubicBezTo>
                    <a:close/>
                    <a:moveTo>
                      <a:pt x="8" y="5"/>
                    </a:moveTo>
                    <a:cubicBezTo>
                      <a:pt x="8" y="5"/>
                      <a:pt x="8" y="5"/>
                      <a:pt x="8"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38" name="Freeform 117">
                <a:extLst>
                  <a:ext uri="{FF2B5EF4-FFF2-40B4-BE49-F238E27FC236}">
                    <a16:creationId xmlns:a16="http://schemas.microsoft.com/office/drawing/2014/main" id="{79F5D325-E05B-7805-3F00-CD58C51E0782}"/>
                  </a:ext>
                </a:extLst>
              </p:cNvPr>
              <p:cNvSpPr>
                <a:spLocks noEditPoints="1"/>
              </p:cNvSpPr>
              <p:nvPr/>
            </p:nvSpPr>
            <p:spPr bwMode="auto">
              <a:xfrm>
                <a:off x="14665325" y="9336088"/>
                <a:ext cx="61913" cy="61913"/>
              </a:xfrm>
              <a:custGeom>
                <a:avLst/>
                <a:gdLst>
                  <a:gd name="T0" fmla="*/ 8 w 8"/>
                  <a:gd name="T1" fmla="*/ 4 h 8"/>
                  <a:gd name="T2" fmla="*/ 4 w 8"/>
                  <a:gd name="T3" fmla="*/ 8 h 8"/>
                  <a:gd name="T4" fmla="*/ 0 w 8"/>
                  <a:gd name="T5" fmla="*/ 4 h 8"/>
                  <a:gd name="T6" fmla="*/ 4 w 8"/>
                  <a:gd name="T7" fmla="*/ 0 h 8"/>
                  <a:gd name="T8" fmla="*/ 8 w 8"/>
                  <a:gd name="T9" fmla="*/ 4 h 8"/>
                  <a:gd name="T10" fmla="*/ 8 w 8"/>
                  <a:gd name="T11" fmla="*/ 4 h 8"/>
                  <a:gd name="T12" fmla="*/ 8 w 8"/>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4"/>
                    </a:moveTo>
                    <a:cubicBezTo>
                      <a:pt x="8" y="6"/>
                      <a:pt x="7" y="8"/>
                      <a:pt x="4" y="8"/>
                    </a:cubicBezTo>
                    <a:cubicBezTo>
                      <a:pt x="2" y="8"/>
                      <a:pt x="0" y="6"/>
                      <a:pt x="0" y="4"/>
                    </a:cubicBezTo>
                    <a:cubicBezTo>
                      <a:pt x="0" y="2"/>
                      <a:pt x="2" y="0"/>
                      <a:pt x="4" y="0"/>
                    </a:cubicBezTo>
                    <a:cubicBezTo>
                      <a:pt x="7" y="0"/>
                      <a:pt x="8" y="2"/>
                      <a:pt x="8" y="4"/>
                    </a:cubicBezTo>
                    <a:close/>
                    <a:moveTo>
                      <a:pt x="8" y="4"/>
                    </a:moveTo>
                    <a:cubicBezTo>
                      <a:pt x="8" y="4"/>
                      <a:pt x="8" y="4"/>
                      <a:pt x="8"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39" name="Freeform 118">
                <a:extLst>
                  <a:ext uri="{FF2B5EF4-FFF2-40B4-BE49-F238E27FC236}">
                    <a16:creationId xmlns:a16="http://schemas.microsoft.com/office/drawing/2014/main" id="{B54B6F87-337C-F4CF-EB7B-6215F396ED95}"/>
                  </a:ext>
                </a:extLst>
              </p:cNvPr>
              <p:cNvSpPr>
                <a:spLocks noEditPoints="1"/>
              </p:cNvSpPr>
              <p:nvPr/>
            </p:nvSpPr>
            <p:spPr bwMode="auto">
              <a:xfrm>
                <a:off x="14665325" y="9467850"/>
                <a:ext cx="61913" cy="61913"/>
              </a:xfrm>
              <a:custGeom>
                <a:avLst/>
                <a:gdLst>
                  <a:gd name="T0" fmla="*/ 8 w 8"/>
                  <a:gd name="T1" fmla="*/ 4 h 8"/>
                  <a:gd name="T2" fmla="*/ 4 w 8"/>
                  <a:gd name="T3" fmla="*/ 8 h 8"/>
                  <a:gd name="T4" fmla="*/ 0 w 8"/>
                  <a:gd name="T5" fmla="*/ 4 h 8"/>
                  <a:gd name="T6" fmla="*/ 4 w 8"/>
                  <a:gd name="T7" fmla="*/ 0 h 8"/>
                  <a:gd name="T8" fmla="*/ 8 w 8"/>
                  <a:gd name="T9" fmla="*/ 4 h 8"/>
                  <a:gd name="T10" fmla="*/ 8 w 8"/>
                  <a:gd name="T11" fmla="*/ 4 h 8"/>
                  <a:gd name="T12" fmla="*/ 8 w 8"/>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4"/>
                    </a:moveTo>
                    <a:cubicBezTo>
                      <a:pt x="8" y="7"/>
                      <a:pt x="7" y="8"/>
                      <a:pt x="4" y="8"/>
                    </a:cubicBezTo>
                    <a:cubicBezTo>
                      <a:pt x="2" y="8"/>
                      <a:pt x="0" y="7"/>
                      <a:pt x="0" y="4"/>
                    </a:cubicBezTo>
                    <a:cubicBezTo>
                      <a:pt x="0" y="2"/>
                      <a:pt x="2" y="0"/>
                      <a:pt x="4" y="0"/>
                    </a:cubicBezTo>
                    <a:cubicBezTo>
                      <a:pt x="7" y="0"/>
                      <a:pt x="8" y="2"/>
                      <a:pt x="8" y="4"/>
                    </a:cubicBezTo>
                    <a:close/>
                    <a:moveTo>
                      <a:pt x="8" y="4"/>
                    </a:moveTo>
                    <a:cubicBezTo>
                      <a:pt x="8" y="4"/>
                      <a:pt x="8" y="4"/>
                      <a:pt x="8"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grpSp>
        <p:grpSp>
          <p:nvGrpSpPr>
            <p:cNvPr id="1099" name="Group 48">
              <a:extLst>
                <a:ext uri="{FF2B5EF4-FFF2-40B4-BE49-F238E27FC236}">
                  <a16:creationId xmlns:a16="http://schemas.microsoft.com/office/drawing/2014/main" id="{5276B6FF-A1BB-627E-20E5-51AB8843D1DD}"/>
                </a:ext>
              </a:extLst>
            </p:cNvPr>
            <p:cNvGrpSpPr/>
            <p:nvPr/>
          </p:nvGrpSpPr>
          <p:grpSpPr>
            <a:xfrm>
              <a:off x="8987763" y="1880753"/>
              <a:ext cx="654159" cy="483989"/>
              <a:chOff x="12702241" y="3271584"/>
              <a:chExt cx="849286" cy="633366"/>
            </a:xfrm>
            <a:solidFill>
              <a:schemeClr val="bg1"/>
            </a:solidFill>
          </p:grpSpPr>
          <p:sp>
            <p:nvSpPr>
              <p:cNvPr id="1127" name="Freeform 89">
                <a:extLst>
                  <a:ext uri="{FF2B5EF4-FFF2-40B4-BE49-F238E27FC236}">
                    <a16:creationId xmlns:a16="http://schemas.microsoft.com/office/drawing/2014/main" id="{78CA6FE8-75AA-CF32-241A-FEC0972EC65E}"/>
                  </a:ext>
                </a:extLst>
              </p:cNvPr>
              <p:cNvSpPr>
                <a:spLocks noEditPoints="1"/>
              </p:cNvSpPr>
              <p:nvPr/>
            </p:nvSpPr>
            <p:spPr bwMode="auto">
              <a:xfrm>
                <a:off x="12925359" y="3549082"/>
                <a:ext cx="35187" cy="31189"/>
              </a:xfrm>
              <a:custGeom>
                <a:avLst/>
                <a:gdLst>
                  <a:gd name="T0" fmla="*/ 9 w 9"/>
                  <a:gd name="T1" fmla="*/ 4 h 8"/>
                  <a:gd name="T2" fmla="*/ 4 w 9"/>
                  <a:gd name="T3" fmla="*/ 8 h 8"/>
                  <a:gd name="T4" fmla="*/ 0 w 9"/>
                  <a:gd name="T5" fmla="*/ 4 h 8"/>
                  <a:gd name="T6" fmla="*/ 4 w 9"/>
                  <a:gd name="T7" fmla="*/ 0 h 8"/>
                  <a:gd name="T8" fmla="*/ 9 w 9"/>
                  <a:gd name="T9" fmla="*/ 4 h 8"/>
                  <a:gd name="T10" fmla="*/ 9 w 9"/>
                  <a:gd name="T11" fmla="*/ 4 h 8"/>
                  <a:gd name="T12" fmla="*/ 9 w 9"/>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9" y="4"/>
                    </a:moveTo>
                    <a:cubicBezTo>
                      <a:pt x="9" y="6"/>
                      <a:pt x="7" y="8"/>
                      <a:pt x="4" y="8"/>
                    </a:cubicBezTo>
                    <a:cubicBezTo>
                      <a:pt x="2" y="8"/>
                      <a:pt x="0" y="6"/>
                      <a:pt x="0" y="4"/>
                    </a:cubicBezTo>
                    <a:cubicBezTo>
                      <a:pt x="0" y="2"/>
                      <a:pt x="2" y="0"/>
                      <a:pt x="4" y="0"/>
                    </a:cubicBezTo>
                    <a:cubicBezTo>
                      <a:pt x="7" y="0"/>
                      <a:pt x="9" y="2"/>
                      <a:pt x="9" y="4"/>
                    </a:cubicBezTo>
                    <a:close/>
                    <a:moveTo>
                      <a:pt x="9" y="4"/>
                    </a:moveTo>
                    <a:cubicBezTo>
                      <a:pt x="9" y="4"/>
                      <a:pt x="9" y="4"/>
                      <a:pt x="9"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28" name="Freeform 90">
                <a:extLst>
                  <a:ext uri="{FF2B5EF4-FFF2-40B4-BE49-F238E27FC236}">
                    <a16:creationId xmlns:a16="http://schemas.microsoft.com/office/drawing/2014/main" id="{BAFB3066-0593-E01D-0599-E222DECC6B71}"/>
                  </a:ext>
                </a:extLst>
              </p:cNvPr>
              <p:cNvSpPr>
                <a:spLocks noEditPoints="1"/>
              </p:cNvSpPr>
              <p:nvPr/>
            </p:nvSpPr>
            <p:spPr bwMode="auto">
              <a:xfrm>
                <a:off x="13019724" y="3603462"/>
                <a:ext cx="35187" cy="31189"/>
              </a:xfrm>
              <a:custGeom>
                <a:avLst/>
                <a:gdLst>
                  <a:gd name="T0" fmla="*/ 9 w 9"/>
                  <a:gd name="T1" fmla="*/ 4 h 8"/>
                  <a:gd name="T2" fmla="*/ 5 w 9"/>
                  <a:gd name="T3" fmla="*/ 8 h 8"/>
                  <a:gd name="T4" fmla="*/ 0 w 9"/>
                  <a:gd name="T5" fmla="*/ 4 h 8"/>
                  <a:gd name="T6" fmla="*/ 5 w 9"/>
                  <a:gd name="T7" fmla="*/ 0 h 8"/>
                  <a:gd name="T8" fmla="*/ 9 w 9"/>
                  <a:gd name="T9" fmla="*/ 4 h 8"/>
                  <a:gd name="T10" fmla="*/ 9 w 9"/>
                  <a:gd name="T11" fmla="*/ 4 h 8"/>
                  <a:gd name="T12" fmla="*/ 9 w 9"/>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9" y="4"/>
                    </a:moveTo>
                    <a:cubicBezTo>
                      <a:pt x="9" y="6"/>
                      <a:pt x="7" y="8"/>
                      <a:pt x="5" y="8"/>
                    </a:cubicBezTo>
                    <a:cubicBezTo>
                      <a:pt x="2" y="8"/>
                      <a:pt x="0" y="6"/>
                      <a:pt x="0" y="4"/>
                    </a:cubicBezTo>
                    <a:cubicBezTo>
                      <a:pt x="0" y="2"/>
                      <a:pt x="2" y="0"/>
                      <a:pt x="5" y="0"/>
                    </a:cubicBezTo>
                    <a:cubicBezTo>
                      <a:pt x="7" y="0"/>
                      <a:pt x="9" y="2"/>
                      <a:pt x="9" y="4"/>
                    </a:cubicBezTo>
                    <a:close/>
                    <a:moveTo>
                      <a:pt x="9" y="4"/>
                    </a:moveTo>
                    <a:cubicBezTo>
                      <a:pt x="9" y="4"/>
                      <a:pt x="9" y="4"/>
                      <a:pt x="9"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29" name="Freeform 91">
                <a:extLst>
                  <a:ext uri="{FF2B5EF4-FFF2-40B4-BE49-F238E27FC236}">
                    <a16:creationId xmlns:a16="http://schemas.microsoft.com/office/drawing/2014/main" id="{640616B6-0C92-6509-D802-A61A91F0ACD0}"/>
                  </a:ext>
                </a:extLst>
              </p:cNvPr>
              <p:cNvSpPr>
                <a:spLocks noEditPoints="1"/>
              </p:cNvSpPr>
              <p:nvPr/>
            </p:nvSpPr>
            <p:spPr bwMode="auto">
              <a:xfrm>
                <a:off x="13113289" y="3501899"/>
                <a:ext cx="35187" cy="31189"/>
              </a:xfrm>
              <a:custGeom>
                <a:avLst/>
                <a:gdLst>
                  <a:gd name="T0" fmla="*/ 9 w 9"/>
                  <a:gd name="T1" fmla="*/ 4 h 8"/>
                  <a:gd name="T2" fmla="*/ 5 w 9"/>
                  <a:gd name="T3" fmla="*/ 8 h 8"/>
                  <a:gd name="T4" fmla="*/ 0 w 9"/>
                  <a:gd name="T5" fmla="*/ 4 h 8"/>
                  <a:gd name="T6" fmla="*/ 5 w 9"/>
                  <a:gd name="T7" fmla="*/ 0 h 8"/>
                  <a:gd name="T8" fmla="*/ 9 w 9"/>
                  <a:gd name="T9" fmla="*/ 4 h 8"/>
                  <a:gd name="T10" fmla="*/ 9 w 9"/>
                  <a:gd name="T11" fmla="*/ 4 h 8"/>
                  <a:gd name="T12" fmla="*/ 9 w 9"/>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9" y="4"/>
                    </a:moveTo>
                    <a:cubicBezTo>
                      <a:pt x="9" y="6"/>
                      <a:pt x="7" y="8"/>
                      <a:pt x="5" y="8"/>
                    </a:cubicBezTo>
                    <a:cubicBezTo>
                      <a:pt x="2" y="8"/>
                      <a:pt x="0" y="6"/>
                      <a:pt x="0" y="4"/>
                    </a:cubicBezTo>
                    <a:cubicBezTo>
                      <a:pt x="0" y="2"/>
                      <a:pt x="2" y="0"/>
                      <a:pt x="5" y="0"/>
                    </a:cubicBezTo>
                    <a:cubicBezTo>
                      <a:pt x="7" y="0"/>
                      <a:pt x="9" y="2"/>
                      <a:pt x="9" y="4"/>
                    </a:cubicBezTo>
                    <a:close/>
                    <a:moveTo>
                      <a:pt x="9" y="4"/>
                    </a:moveTo>
                    <a:cubicBezTo>
                      <a:pt x="9" y="4"/>
                      <a:pt x="9" y="4"/>
                      <a:pt x="9"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30" name="Freeform 92">
                <a:extLst>
                  <a:ext uri="{FF2B5EF4-FFF2-40B4-BE49-F238E27FC236}">
                    <a16:creationId xmlns:a16="http://schemas.microsoft.com/office/drawing/2014/main" id="{C36F6CF0-0291-3780-ECAA-330014685ABD}"/>
                  </a:ext>
                </a:extLst>
              </p:cNvPr>
              <p:cNvSpPr>
                <a:spLocks noEditPoints="1"/>
              </p:cNvSpPr>
              <p:nvPr/>
            </p:nvSpPr>
            <p:spPr bwMode="auto">
              <a:xfrm>
                <a:off x="13206855" y="3541085"/>
                <a:ext cx="35187" cy="35187"/>
              </a:xfrm>
              <a:custGeom>
                <a:avLst/>
                <a:gdLst>
                  <a:gd name="T0" fmla="*/ 9 w 9"/>
                  <a:gd name="T1" fmla="*/ 4 h 9"/>
                  <a:gd name="T2" fmla="*/ 4 w 9"/>
                  <a:gd name="T3" fmla="*/ 9 h 9"/>
                  <a:gd name="T4" fmla="*/ 0 w 9"/>
                  <a:gd name="T5" fmla="*/ 4 h 9"/>
                  <a:gd name="T6" fmla="*/ 4 w 9"/>
                  <a:gd name="T7" fmla="*/ 0 h 9"/>
                  <a:gd name="T8" fmla="*/ 9 w 9"/>
                  <a:gd name="T9" fmla="*/ 4 h 9"/>
                  <a:gd name="T10" fmla="*/ 9 w 9"/>
                  <a:gd name="T11" fmla="*/ 4 h 9"/>
                  <a:gd name="T12" fmla="*/ 9 w 9"/>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9" y="4"/>
                    </a:moveTo>
                    <a:cubicBezTo>
                      <a:pt x="9" y="4"/>
                      <a:pt x="9" y="4"/>
                      <a:pt x="9"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31" name="Freeform 93">
                <a:extLst>
                  <a:ext uri="{FF2B5EF4-FFF2-40B4-BE49-F238E27FC236}">
                    <a16:creationId xmlns:a16="http://schemas.microsoft.com/office/drawing/2014/main" id="{D04B5D26-1C4B-8DA2-B27C-FB9A7FEE8223}"/>
                  </a:ext>
                </a:extLst>
              </p:cNvPr>
              <p:cNvSpPr>
                <a:spLocks noEditPoints="1"/>
              </p:cNvSpPr>
              <p:nvPr/>
            </p:nvSpPr>
            <p:spPr bwMode="auto">
              <a:xfrm>
                <a:off x="13297221" y="3423528"/>
                <a:ext cx="35187" cy="35187"/>
              </a:xfrm>
              <a:custGeom>
                <a:avLst/>
                <a:gdLst>
                  <a:gd name="T0" fmla="*/ 9 w 9"/>
                  <a:gd name="T1" fmla="*/ 4 h 9"/>
                  <a:gd name="T2" fmla="*/ 5 w 9"/>
                  <a:gd name="T3" fmla="*/ 9 h 9"/>
                  <a:gd name="T4" fmla="*/ 0 w 9"/>
                  <a:gd name="T5" fmla="*/ 4 h 9"/>
                  <a:gd name="T6" fmla="*/ 5 w 9"/>
                  <a:gd name="T7" fmla="*/ 0 h 9"/>
                  <a:gd name="T8" fmla="*/ 9 w 9"/>
                  <a:gd name="T9" fmla="*/ 4 h 9"/>
                  <a:gd name="T10" fmla="*/ 9 w 9"/>
                  <a:gd name="T11" fmla="*/ 4 h 9"/>
                  <a:gd name="T12" fmla="*/ 9 w 9"/>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4"/>
                    </a:moveTo>
                    <a:cubicBezTo>
                      <a:pt x="9" y="7"/>
                      <a:pt x="7" y="9"/>
                      <a:pt x="5" y="9"/>
                    </a:cubicBezTo>
                    <a:cubicBezTo>
                      <a:pt x="2" y="9"/>
                      <a:pt x="0" y="7"/>
                      <a:pt x="0" y="4"/>
                    </a:cubicBezTo>
                    <a:cubicBezTo>
                      <a:pt x="0" y="2"/>
                      <a:pt x="2" y="0"/>
                      <a:pt x="5" y="0"/>
                    </a:cubicBezTo>
                    <a:cubicBezTo>
                      <a:pt x="7" y="0"/>
                      <a:pt x="9" y="2"/>
                      <a:pt x="9" y="4"/>
                    </a:cubicBezTo>
                    <a:close/>
                    <a:moveTo>
                      <a:pt x="9" y="4"/>
                    </a:moveTo>
                    <a:cubicBezTo>
                      <a:pt x="9" y="4"/>
                      <a:pt x="9" y="4"/>
                      <a:pt x="9"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32" name="Freeform 94">
                <a:extLst>
                  <a:ext uri="{FF2B5EF4-FFF2-40B4-BE49-F238E27FC236}">
                    <a16:creationId xmlns:a16="http://schemas.microsoft.com/office/drawing/2014/main" id="{F2182546-E7FE-971D-F4DB-AD5F91A5D848}"/>
                  </a:ext>
                </a:extLst>
              </p:cNvPr>
              <p:cNvSpPr>
                <a:spLocks noEditPoints="1"/>
              </p:cNvSpPr>
              <p:nvPr/>
            </p:nvSpPr>
            <p:spPr bwMode="auto">
              <a:xfrm>
                <a:off x="12702241" y="3271584"/>
                <a:ext cx="849286" cy="633366"/>
              </a:xfrm>
              <a:custGeom>
                <a:avLst/>
                <a:gdLst>
                  <a:gd name="T0" fmla="*/ 212 w 217"/>
                  <a:gd name="T1" fmla="*/ 127 h 162"/>
                  <a:gd name="T2" fmla="*/ 127 w 217"/>
                  <a:gd name="T3" fmla="*/ 127 h 162"/>
                  <a:gd name="T4" fmla="*/ 122 w 217"/>
                  <a:gd name="T5" fmla="*/ 131 h 162"/>
                  <a:gd name="T6" fmla="*/ 115 w 217"/>
                  <a:gd name="T7" fmla="*/ 138 h 162"/>
                  <a:gd name="T8" fmla="*/ 101 w 217"/>
                  <a:gd name="T9" fmla="*/ 138 h 162"/>
                  <a:gd name="T10" fmla="*/ 94 w 217"/>
                  <a:gd name="T11" fmla="*/ 131 h 162"/>
                  <a:gd name="T12" fmla="*/ 90 w 217"/>
                  <a:gd name="T13" fmla="*/ 127 h 162"/>
                  <a:gd name="T14" fmla="*/ 23 w 217"/>
                  <a:gd name="T15" fmla="*/ 127 h 162"/>
                  <a:gd name="T16" fmla="*/ 23 w 217"/>
                  <a:gd name="T17" fmla="*/ 17 h 162"/>
                  <a:gd name="T18" fmla="*/ 32 w 217"/>
                  <a:gd name="T19" fmla="*/ 8 h 162"/>
                  <a:gd name="T20" fmla="*/ 184 w 217"/>
                  <a:gd name="T21" fmla="*/ 8 h 162"/>
                  <a:gd name="T22" fmla="*/ 193 w 217"/>
                  <a:gd name="T23" fmla="*/ 17 h 162"/>
                  <a:gd name="T24" fmla="*/ 193 w 217"/>
                  <a:gd name="T25" fmla="*/ 99 h 162"/>
                  <a:gd name="T26" fmla="*/ 198 w 217"/>
                  <a:gd name="T27" fmla="*/ 103 h 162"/>
                  <a:gd name="T28" fmla="*/ 202 w 217"/>
                  <a:gd name="T29" fmla="*/ 99 h 162"/>
                  <a:gd name="T30" fmla="*/ 202 w 217"/>
                  <a:gd name="T31" fmla="*/ 17 h 162"/>
                  <a:gd name="T32" fmla="*/ 184 w 217"/>
                  <a:gd name="T33" fmla="*/ 0 h 162"/>
                  <a:gd name="T34" fmla="*/ 32 w 217"/>
                  <a:gd name="T35" fmla="*/ 0 h 162"/>
                  <a:gd name="T36" fmla="*/ 14 w 217"/>
                  <a:gd name="T37" fmla="*/ 17 h 162"/>
                  <a:gd name="T38" fmla="*/ 14 w 217"/>
                  <a:gd name="T39" fmla="*/ 127 h 162"/>
                  <a:gd name="T40" fmla="*/ 4 w 217"/>
                  <a:gd name="T41" fmla="*/ 127 h 162"/>
                  <a:gd name="T42" fmla="*/ 0 w 217"/>
                  <a:gd name="T43" fmla="*/ 131 h 162"/>
                  <a:gd name="T44" fmla="*/ 0 w 217"/>
                  <a:gd name="T45" fmla="*/ 138 h 162"/>
                  <a:gd name="T46" fmla="*/ 24 w 217"/>
                  <a:gd name="T47" fmla="*/ 162 h 162"/>
                  <a:gd name="T48" fmla="*/ 193 w 217"/>
                  <a:gd name="T49" fmla="*/ 162 h 162"/>
                  <a:gd name="T50" fmla="*/ 217 w 217"/>
                  <a:gd name="T51" fmla="*/ 138 h 162"/>
                  <a:gd name="T52" fmla="*/ 217 w 217"/>
                  <a:gd name="T53" fmla="*/ 131 h 162"/>
                  <a:gd name="T54" fmla="*/ 212 w 217"/>
                  <a:gd name="T55" fmla="*/ 127 h 162"/>
                  <a:gd name="T56" fmla="*/ 208 w 217"/>
                  <a:gd name="T57" fmla="*/ 138 h 162"/>
                  <a:gd name="T58" fmla="*/ 193 w 217"/>
                  <a:gd name="T59" fmla="*/ 154 h 162"/>
                  <a:gd name="T60" fmla="*/ 24 w 217"/>
                  <a:gd name="T61" fmla="*/ 154 h 162"/>
                  <a:gd name="T62" fmla="*/ 8 w 217"/>
                  <a:gd name="T63" fmla="*/ 138 h 162"/>
                  <a:gd name="T64" fmla="*/ 8 w 217"/>
                  <a:gd name="T65" fmla="*/ 135 h 162"/>
                  <a:gd name="T66" fmla="*/ 86 w 217"/>
                  <a:gd name="T67" fmla="*/ 135 h 162"/>
                  <a:gd name="T68" fmla="*/ 101 w 217"/>
                  <a:gd name="T69" fmla="*/ 147 h 162"/>
                  <a:gd name="T70" fmla="*/ 115 w 217"/>
                  <a:gd name="T71" fmla="*/ 147 h 162"/>
                  <a:gd name="T72" fmla="*/ 130 w 217"/>
                  <a:gd name="T73" fmla="*/ 135 h 162"/>
                  <a:gd name="T74" fmla="*/ 208 w 217"/>
                  <a:gd name="T75" fmla="*/ 135 h 162"/>
                  <a:gd name="T76" fmla="*/ 208 w 217"/>
                  <a:gd name="T77" fmla="*/ 138 h 162"/>
                  <a:gd name="T78" fmla="*/ 208 w 217"/>
                  <a:gd name="T79" fmla="*/ 138 h 162"/>
                  <a:gd name="T80" fmla="*/ 208 w 217"/>
                  <a:gd name="T81" fmla="*/ 13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162">
                    <a:moveTo>
                      <a:pt x="212" y="127"/>
                    </a:moveTo>
                    <a:cubicBezTo>
                      <a:pt x="127" y="127"/>
                      <a:pt x="127" y="127"/>
                      <a:pt x="127" y="127"/>
                    </a:cubicBezTo>
                    <a:cubicBezTo>
                      <a:pt x="124" y="127"/>
                      <a:pt x="122" y="129"/>
                      <a:pt x="122" y="131"/>
                    </a:cubicBezTo>
                    <a:cubicBezTo>
                      <a:pt x="122" y="135"/>
                      <a:pt x="119" y="138"/>
                      <a:pt x="115" y="138"/>
                    </a:cubicBezTo>
                    <a:cubicBezTo>
                      <a:pt x="101" y="138"/>
                      <a:pt x="101" y="138"/>
                      <a:pt x="101" y="138"/>
                    </a:cubicBezTo>
                    <a:cubicBezTo>
                      <a:pt x="97" y="138"/>
                      <a:pt x="94" y="135"/>
                      <a:pt x="94" y="131"/>
                    </a:cubicBezTo>
                    <a:cubicBezTo>
                      <a:pt x="94" y="129"/>
                      <a:pt x="92" y="127"/>
                      <a:pt x="90" y="127"/>
                    </a:cubicBezTo>
                    <a:cubicBezTo>
                      <a:pt x="23" y="127"/>
                      <a:pt x="23" y="127"/>
                      <a:pt x="23" y="127"/>
                    </a:cubicBezTo>
                    <a:cubicBezTo>
                      <a:pt x="23" y="17"/>
                      <a:pt x="23" y="17"/>
                      <a:pt x="23" y="17"/>
                    </a:cubicBezTo>
                    <a:cubicBezTo>
                      <a:pt x="23" y="12"/>
                      <a:pt x="27" y="8"/>
                      <a:pt x="32" y="8"/>
                    </a:cubicBezTo>
                    <a:cubicBezTo>
                      <a:pt x="184" y="8"/>
                      <a:pt x="184" y="8"/>
                      <a:pt x="184" y="8"/>
                    </a:cubicBezTo>
                    <a:cubicBezTo>
                      <a:pt x="189" y="8"/>
                      <a:pt x="193" y="12"/>
                      <a:pt x="193" y="17"/>
                    </a:cubicBezTo>
                    <a:cubicBezTo>
                      <a:pt x="193" y="99"/>
                      <a:pt x="193" y="99"/>
                      <a:pt x="193" y="99"/>
                    </a:cubicBezTo>
                    <a:cubicBezTo>
                      <a:pt x="193" y="101"/>
                      <a:pt x="195" y="103"/>
                      <a:pt x="198" y="103"/>
                    </a:cubicBezTo>
                    <a:cubicBezTo>
                      <a:pt x="200" y="103"/>
                      <a:pt x="202" y="101"/>
                      <a:pt x="202" y="99"/>
                    </a:cubicBezTo>
                    <a:cubicBezTo>
                      <a:pt x="202" y="17"/>
                      <a:pt x="202" y="17"/>
                      <a:pt x="202" y="17"/>
                    </a:cubicBezTo>
                    <a:cubicBezTo>
                      <a:pt x="202" y="8"/>
                      <a:pt x="194" y="0"/>
                      <a:pt x="184" y="0"/>
                    </a:cubicBezTo>
                    <a:cubicBezTo>
                      <a:pt x="32" y="0"/>
                      <a:pt x="32" y="0"/>
                      <a:pt x="32" y="0"/>
                    </a:cubicBezTo>
                    <a:cubicBezTo>
                      <a:pt x="22" y="0"/>
                      <a:pt x="14" y="8"/>
                      <a:pt x="14" y="17"/>
                    </a:cubicBezTo>
                    <a:cubicBezTo>
                      <a:pt x="14" y="127"/>
                      <a:pt x="14" y="127"/>
                      <a:pt x="14" y="127"/>
                    </a:cubicBezTo>
                    <a:cubicBezTo>
                      <a:pt x="4" y="127"/>
                      <a:pt x="4" y="127"/>
                      <a:pt x="4" y="127"/>
                    </a:cubicBezTo>
                    <a:cubicBezTo>
                      <a:pt x="2" y="127"/>
                      <a:pt x="0" y="129"/>
                      <a:pt x="0" y="131"/>
                    </a:cubicBezTo>
                    <a:cubicBezTo>
                      <a:pt x="0" y="138"/>
                      <a:pt x="0" y="138"/>
                      <a:pt x="0" y="138"/>
                    </a:cubicBezTo>
                    <a:cubicBezTo>
                      <a:pt x="0" y="151"/>
                      <a:pt x="11" y="162"/>
                      <a:pt x="24" y="162"/>
                    </a:cubicBezTo>
                    <a:cubicBezTo>
                      <a:pt x="193" y="162"/>
                      <a:pt x="193" y="162"/>
                      <a:pt x="193" y="162"/>
                    </a:cubicBezTo>
                    <a:cubicBezTo>
                      <a:pt x="206" y="162"/>
                      <a:pt x="217" y="151"/>
                      <a:pt x="217" y="138"/>
                    </a:cubicBezTo>
                    <a:cubicBezTo>
                      <a:pt x="217" y="131"/>
                      <a:pt x="217" y="131"/>
                      <a:pt x="217" y="131"/>
                    </a:cubicBezTo>
                    <a:cubicBezTo>
                      <a:pt x="217" y="129"/>
                      <a:pt x="215" y="127"/>
                      <a:pt x="212" y="127"/>
                    </a:cubicBezTo>
                    <a:close/>
                    <a:moveTo>
                      <a:pt x="208" y="138"/>
                    </a:moveTo>
                    <a:cubicBezTo>
                      <a:pt x="208" y="147"/>
                      <a:pt x="201" y="154"/>
                      <a:pt x="193" y="154"/>
                    </a:cubicBezTo>
                    <a:cubicBezTo>
                      <a:pt x="24" y="154"/>
                      <a:pt x="24" y="154"/>
                      <a:pt x="24" y="154"/>
                    </a:cubicBezTo>
                    <a:cubicBezTo>
                      <a:pt x="15" y="154"/>
                      <a:pt x="8" y="147"/>
                      <a:pt x="8" y="138"/>
                    </a:cubicBezTo>
                    <a:cubicBezTo>
                      <a:pt x="8" y="135"/>
                      <a:pt x="8" y="135"/>
                      <a:pt x="8" y="135"/>
                    </a:cubicBezTo>
                    <a:cubicBezTo>
                      <a:pt x="86" y="135"/>
                      <a:pt x="86" y="135"/>
                      <a:pt x="86" y="135"/>
                    </a:cubicBezTo>
                    <a:cubicBezTo>
                      <a:pt x="88" y="142"/>
                      <a:pt x="94" y="147"/>
                      <a:pt x="101" y="147"/>
                    </a:cubicBezTo>
                    <a:cubicBezTo>
                      <a:pt x="115" y="147"/>
                      <a:pt x="115" y="147"/>
                      <a:pt x="115" y="147"/>
                    </a:cubicBezTo>
                    <a:cubicBezTo>
                      <a:pt x="122" y="147"/>
                      <a:pt x="128" y="142"/>
                      <a:pt x="130" y="135"/>
                    </a:cubicBezTo>
                    <a:cubicBezTo>
                      <a:pt x="208" y="135"/>
                      <a:pt x="208" y="135"/>
                      <a:pt x="208" y="135"/>
                    </a:cubicBezTo>
                    <a:lnTo>
                      <a:pt x="208" y="138"/>
                    </a:lnTo>
                    <a:close/>
                    <a:moveTo>
                      <a:pt x="208" y="138"/>
                    </a:moveTo>
                    <a:cubicBezTo>
                      <a:pt x="208" y="138"/>
                      <a:pt x="208" y="138"/>
                      <a:pt x="208"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dirty="0">
                  <a:latin typeface="Calibri" panose="020F0502020204030204" pitchFamily="34" charset="0"/>
                  <a:ea typeface="Calibri" panose="020F0502020204030204" pitchFamily="34" charset="0"/>
                  <a:cs typeface="Calibri" panose="020F0502020204030204" pitchFamily="34" charset="0"/>
                </a:endParaRPr>
              </a:p>
            </p:txBody>
          </p:sp>
          <p:sp>
            <p:nvSpPr>
              <p:cNvPr id="1133" name="Freeform 95">
                <a:extLst>
                  <a:ext uri="{FF2B5EF4-FFF2-40B4-BE49-F238E27FC236}">
                    <a16:creationId xmlns:a16="http://schemas.microsoft.com/office/drawing/2014/main" id="{9CC8DC1D-7850-E8E7-2F22-BE4198DE006C}"/>
                  </a:ext>
                </a:extLst>
              </p:cNvPr>
              <p:cNvSpPr>
                <a:spLocks noEditPoints="1"/>
              </p:cNvSpPr>
              <p:nvPr/>
            </p:nvSpPr>
            <p:spPr bwMode="auto">
              <a:xfrm>
                <a:off x="12831793" y="3341958"/>
                <a:ext cx="594181" cy="391056"/>
              </a:xfrm>
              <a:custGeom>
                <a:avLst/>
                <a:gdLst>
                  <a:gd name="T0" fmla="*/ 147 w 152"/>
                  <a:gd name="T1" fmla="*/ 0 h 100"/>
                  <a:gd name="T2" fmla="*/ 4 w 152"/>
                  <a:gd name="T3" fmla="*/ 0 h 100"/>
                  <a:gd name="T4" fmla="*/ 0 w 152"/>
                  <a:gd name="T5" fmla="*/ 4 h 100"/>
                  <a:gd name="T6" fmla="*/ 0 w 152"/>
                  <a:gd name="T7" fmla="*/ 95 h 100"/>
                  <a:gd name="T8" fmla="*/ 4 w 152"/>
                  <a:gd name="T9" fmla="*/ 100 h 100"/>
                  <a:gd name="T10" fmla="*/ 147 w 152"/>
                  <a:gd name="T11" fmla="*/ 100 h 100"/>
                  <a:gd name="T12" fmla="*/ 152 w 152"/>
                  <a:gd name="T13" fmla="*/ 95 h 100"/>
                  <a:gd name="T14" fmla="*/ 152 w 152"/>
                  <a:gd name="T15" fmla="*/ 4 h 100"/>
                  <a:gd name="T16" fmla="*/ 147 w 152"/>
                  <a:gd name="T17" fmla="*/ 0 h 100"/>
                  <a:gd name="T18" fmla="*/ 143 w 152"/>
                  <a:gd name="T19" fmla="*/ 91 h 100"/>
                  <a:gd name="T20" fmla="*/ 128 w 152"/>
                  <a:gd name="T21" fmla="*/ 91 h 100"/>
                  <a:gd name="T22" fmla="*/ 128 w 152"/>
                  <a:gd name="T23" fmla="*/ 40 h 100"/>
                  <a:gd name="T24" fmla="*/ 124 w 152"/>
                  <a:gd name="T25" fmla="*/ 36 h 100"/>
                  <a:gd name="T26" fmla="*/ 119 w 152"/>
                  <a:gd name="T27" fmla="*/ 40 h 100"/>
                  <a:gd name="T28" fmla="*/ 119 w 152"/>
                  <a:gd name="T29" fmla="*/ 91 h 100"/>
                  <a:gd name="T30" fmla="*/ 104 w 152"/>
                  <a:gd name="T31" fmla="*/ 91 h 100"/>
                  <a:gd name="T32" fmla="*/ 104 w 152"/>
                  <a:gd name="T33" fmla="*/ 72 h 100"/>
                  <a:gd name="T34" fmla="*/ 100 w 152"/>
                  <a:gd name="T35" fmla="*/ 68 h 100"/>
                  <a:gd name="T36" fmla="*/ 96 w 152"/>
                  <a:gd name="T37" fmla="*/ 72 h 100"/>
                  <a:gd name="T38" fmla="*/ 96 w 152"/>
                  <a:gd name="T39" fmla="*/ 91 h 100"/>
                  <a:gd name="T40" fmla="*/ 80 w 152"/>
                  <a:gd name="T41" fmla="*/ 91 h 100"/>
                  <a:gd name="T42" fmla="*/ 80 w 152"/>
                  <a:gd name="T43" fmla="*/ 63 h 100"/>
                  <a:gd name="T44" fmla="*/ 76 w 152"/>
                  <a:gd name="T45" fmla="*/ 58 h 100"/>
                  <a:gd name="T46" fmla="*/ 72 w 152"/>
                  <a:gd name="T47" fmla="*/ 63 h 100"/>
                  <a:gd name="T48" fmla="*/ 72 w 152"/>
                  <a:gd name="T49" fmla="*/ 91 h 100"/>
                  <a:gd name="T50" fmla="*/ 56 w 152"/>
                  <a:gd name="T51" fmla="*/ 91 h 100"/>
                  <a:gd name="T52" fmla="*/ 56 w 152"/>
                  <a:gd name="T53" fmla="*/ 87 h 100"/>
                  <a:gd name="T54" fmla="*/ 52 w 152"/>
                  <a:gd name="T55" fmla="*/ 83 h 100"/>
                  <a:gd name="T56" fmla="*/ 48 w 152"/>
                  <a:gd name="T57" fmla="*/ 87 h 100"/>
                  <a:gd name="T58" fmla="*/ 48 w 152"/>
                  <a:gd name="T59" fmla="*/ 91 h 100"/>
                  <a:gd name="T60" fmla="*/ 33 w 152"/>
                  <a:gd name="T61" fmla="*/ 91 h 100"/>
                  <a:gd name="T62" fmla="*/ 33 w 152"/>
                  <a:gd name="T63" fmla="*/ 74 h 100"/>
                  <a:gd name="T64" fmla="*/ 28 w 152"/>
                  <a:gd name="T65" fmla="*/ 70 h 100"/>
                  <a:gd name="T66" fmla="*/ 24 w 152"/>
                  <a:gd name="T67" fmla="*/ 74 h 100"/>
                  <a:gd name="T68" fmla="*/ 24 w 152"/>
                  <a:gd name="T69" fmla="*/ 91 h 100"/>
                  <a:gd name="T70" fmla="*/ 9 w 152"/>
                  <a:gd name="T71" fmla="*/ 91 h 100"/>
                  <a:gd name="T72" fmla="*/ 9 w 152"/>
                  <a:gd name="T73" fmla="*/ 8 h 100"/>
                  <a:gd name="T74" fmla="*/ 143 w 152"/>
                  <a:gd name="T75" fmla="*/ 8 h 100"/>
                  <a:gd name="T76" fmla="*/ 143 w 152"/>
                  <a:gd name="T77" fmla="*/ 91 h 100"/>
                  <a:gd name="T78" fmla="*/ 143 w 152"/>
                  <a:gd name="T79" fmla="*/ 91 h 100"/>
                  <a:gd name="T80" fmla="*/ 143 w 152"/>
                  <a:gd name="T81" fmla="*/ 9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2" h="100">
                    <a:moveTo>
                      <a:pt x="147" y="0"/>
                    </a:moveTo>
                    <a:cubicBezTo>
                      <a:pt x="4" y="0"/>
                      <a:pt x="4" y="0"/>
                      <a:pt x="4" y="0"/>
                    </a:cubicBezTo>
                    <a:cubicBezTo>
                      <a:pt x="2" y="0"/>
                      <a:pt x="0" y="2"/>
                      <a:pt x="0" y="4"/>
                    </a:cubicBezTo>
                    <a:cubicBezTo>
                      <a:pt x="0" y="95"/>
                      <a:pt x="0" y="95"/>
                      <a:pt x="0" y="95"/>
                    </a:cubicBezTo>
                    <a:cubicBezTo>
                      <a:pt x="0" y="98"/>
                      <a:pt x="2" y="100"/>
                      <a:pt x="4" y="100"/>
                    </a:cubicBezTo>
                    <a:cubicBezTo>
                      <a:pt x="147" y="100"/>
                      <a:pt x="147" y="100"/>
                      <a:pt x="147" y="100"/>
                    </a:cubicBezTo>
                    <a:cubicBezTo>
                      <a:pt x="150" y="100"/>
                      <a:pt x="152" y="98"/>
                      <a:pt x="152" y="95"/>
                    </a:cubicBezTo>
                    <a:cubicBezTo>
                      <a:pt x="152" y="4"/>
                      <a:pt x="152" y="4"/>
                      <a:pt x="152" y="4"/>
                    </a:cubicBezTo>
                    <a:cubicBezTo>
                      <a:pt x="152" y="2"/>
                      <a:pt x="150" y="0"/>
                      <a:pt x="147" y="0"/>
                    </a:cubicBezTo>
                    <a:close/>
                    <a:moveTo>
                      <a:pt x="143" y="91"/>
                    </a:moveTo>
                    <a:cubicBezTo>
                      <a:pt x="128" y="91"/>
                      <a:pt x="128" y="91"/>
                      <a:pt x="128" y="91"/>
                    </a:cubicBezTo>
                    <a:cubicBezTo>
                      <a:pt x="128" y="40"/>
                      <a:pt x="128" y="40"/>
                      <a:pt x="128" y="40"/>
                    </a:cubicBezTo>
                    <a:cubicBezTo>
                      <a:pt x="128" y="38"/>
                      <a:pt x="126" y="36"/>
                      <a:pt x="124" y="36"/>
                    </a:cubicBezTo>
                    <a:cubicBezTo>
                      <a:pt x="121" y="36"/>
                      <a:pt x="119" y="38"/>
                      <a:pt x="119" y="40"/>
                    </a:cubicBezTo>
                    <a:cubicBezTo>
                      <a:pt x="119" y="91"/>
                      <a:pt x="119" y="91"/>
                      <a:pt x="119" y="91"/>
                    </a:cubicBezTo>
                    <a:cubicBezTo>
                      <a:pt x="104" y="91"/>
                      <a:pt x="104" y="91"/>
                      <a:pt x="104" y="91"/>
                    </a:cubicBezTo>
                    <a:cubicBezTo>
                      <a:pt x="104" y="72"/>
                      <a:pt x="104" y="72"/>
                      <a:pt x="104" y="72"/>
                    </a:cubicBezTo>
                    <a:cubicBezTo>
                      <a:pt x="104" y="70"/>
                      <a:pt x="102" y="68"/>
                      <a:pt x="100" y="68"/>
                    </a:cubicBezTo>
                    <a:cubicBezTo>
                      <a:pt x="97" y="68"/>
                      <a:pt x="96" y="70"/>
                      <a:pt x="96" y="72"/>
                    </a:cubicBezTo>
                    <a:cubicBezTo>
                      <a:pt x="96" y="91"/>
                      <a:pt x="96" y="91"/>
                      <a:pt x="96" y="91"/>
                    </a:cubicBezTo>
                    <a:cubicBezTo>
                      <a:pt x="80" y="91"/>
                      <a:pt x="80" y="91"/>
                      <a:pt x="80" y="91"/>
                    </a:cubicBezTo>
                    <a:cubicBezTo>
                      <a:pt x="80" y="63"/>
                      <a:pt x="80" y="63"/>
                      <a:pt x="80" y="63"/>
                    </a:cubicBezTo>
                    <a:cubicBezTo>
                      <a:pt x="80" y="60"/>
                      <a:pt x="78" y="58"/>
                      <a:pt x="76" y="58"/>
                    </a:cubicBezTo>
                    <a:cubicBezTo>
                      <a:pt x="74" y="58"/>
                      <a:pt x="72" y="60"/>
                      <a:pt x="72" y="63"/>
                    </a:cubicBezTo>
                    <a:cubicBezTo>
                      <a:pt x="72" y="91"/>
                      <a:pt x="72" y="91"/>
                      <a:pt x="72" y="91"/>
                    </a:cubicBezTo>
                    <a:cubicBezTo>
                      <a:pt x="56" y="91"/>
                      <a:pt x="56" y="91"/>
                      <a:pt x="56" y="91"/>
                    </a:cubicBezTo>
                    <a:cubicBezTo>
                      <a:pt x="56" y="87"/>
                      <a:pt x="56" y="87"/>
                      <a:pt x="56" y="87"/>
                    </a:cubicBezTo>
                    <a:cubicBezTo>
                      <a:pt x="56" y="85"/>
                      <a:pt x="55" y="83"/>
                      <a:pt x="52" y="83"/>
                    </a:cubicBezTo>
                    <a:cubicBezTo>
                      <a:pt x="50" y="83"/>
                      <a:pt x="48" y="85"/>
                      <a:pt x="48" y="87"/>
                    </a:cubicBezTo>
                    <a:cubicBezTo>
                      <a:pt x="48" y="91"/>
                      <a:pt x="48" y="91"/>
                      <a:pt x="48" y="91"/>
                    </a:cubicBezTo>
                    <a:cubicBezTo>
                      <a:pt x="33" y="91"/>
                      <a:pt x="33" y="91"/>
                      <a:pt x="33" y="91"/>
                    </a:cubicBezTo>
                    <a:cubicBezTo>
                      <a:pt x="33" y="74"/>
                      <a:pt x="33" y="74"/>
                      <a:pt x="33" y="74"/>
                    </a:cubicBezTo>
                    <a:cubicBezTo>
                      <a:pt x="33" y="72"/>
                      <a:pt x="31" y="70"/>
                      <a:pt x="28" y="70"/>
                    </a:cubicBezTo>
                    <a:cubicBezTo>
                      <a:pt x="26" y="70"/>
                      <a:pt x="24" y="72"/>
                      <a:pt x="24" y="74"/>
                    </a:cubicBezTo>
                    <a:cubicBezTo>
                      <a:pt x="24" y="91"/>
                      <a:pt x="24" y="91"/>
                      <a:pt x="24" y="91"/>
                    </a:cubicBezTo>
                    <a:cubicBezTo>
                      <a:pt x="9" y="91"/>
                      <a:pt x="9" y="91"/>
                      <a:pt x="9" y="91"/>
                    </a:cubicBezTo>
                    <a:cubicBezTo>
                      <a:pt x="9" y="8"/>
                      <a:pt x="9" y="8"/>
                      <a:pt x="9" y="8"/>
                    </a:cubicBezTo>
                    <a:cubicBezTo>
                      <a:pt x="143" y="8"/>
                      <a:pt x="143" y="8"/>
                      <a:pt x="143" y="8"/>
                    </a:cubicBezTo>
                    <a:lnTo>
                      <a:pt x="143" y="91"/>
                    </a:lnTo>
                    <a:close/>
                    <a:moveTo>
                      <a:pt x="143" y="91"/>
                    </a:moveTo>
                    <a:cubicBezTo>
                      <a:pt x="143" y="91"/>
                      <a:pt x="143" y="91"/>
                      <a:pt x="143"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dirty="0">
                  <a:latin typeface="Calibri" panose="020F0502020204030204" pitchFamily="34" charset="0"/>
                  <a:ea typeface="Calibri" panose="020F0502020204030204" pitchFamily="34" charset="0"/>
                  <a:cs typeface="Calibri" panose="020F0502020204030204" pitchFamily="34" charset="0"/>
                </a:endParaRPr>
              </a:p>
            </p:txBody>
          </p:sp>
          <p:sp>
            <p:nvSpPr>
              <p:cNvPr id="1134" name="Freeform 96">
                <a:extLst>
                  <a:ext uri="{FF2B5EF4-FFF2-40B4-BE49-F238E27FC236}">
                    <a16:creationId xmlns:a16="http://schemas.microsoft.com/office/drawing/2014/main" id="{6FAB3EED-146A-6E15-FEF3-8C1A4829A931}"/>
                  </a:ext>
                </a:extLst>
              </p:cNvPr>
              <p:cNvSpPr>
                <a:spLocks noEditPoints="1"/>
              </p:cNvSpPr>
              <p:nvPr/>
            </p:nvSpPr>
            <p:spPr bwMode="auto">
              <a:xfrm>
                <a:off x="13457162" y="3705024"/>
                <a:ext cx="31189" cy="35187"/>
              </a:xfrm>
              <a:custGeom>
                <a:avLst/>
                <a:gdLst>
                  <a:gd name="T0" fmla="*/ 8 w 8"/>
                  <a:gd name="T1" fmla="*/ 4 h 9"/>
                  <a:gd name="T2" fmla="*/ 4 w 8"/>
                  <a:gd name="T3" fmla="*/ 9 h 9"/>
                  <a:gd name="T4" fmla="*/ 0 w 8"/>
                  <a:gd name="T5" fmla="*/ 4 h 9"/>
                  <a:gd name="T6" fmla="*/ 4 w 8"/>
                  <a:gd name="T7" fmla="*/ 0 h 9"/>
                  <a:gd name="T8" fmla="*/ 8 w 8"/>
                  <a:gd name="T9" fmla="*/ 4 h 9"/>
                  <a:gd name="T10" fmla="*/ 8 w 8"/>
                  <a:gd name="T11" fmla="*/ 4 h 9"/>
                  <a:gd name="T12" fmla="*/ 8 w 8"/>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8" y="4"/>
                    </a:moveTo>
                    <a:cubicBezTo>
                      <a:pt x="8" y="7"/>
                      <a:pt x="7" y="9"/>
                      <a:pt x="4" y="9"/>
                    </a:cubicBezTo>
                    <a:cubicBezTo>
                      <a:pt x="2" y="9"/>
                      <a:pt x="0" y="7"/>
                      <a:pt x="0" y="4"/>
                    </a:cubicBezTo>
                    <a:cubicBezTo>
                      <a:pt x="0" y="2"/>
                      <a:pt x="2" y="0"/>
                      <a:pt x="4" y="0"/>
                    </a:cubicBezTo>
                    <a:cubicBezTo>
                      <a:pt x="7" y="0"/>
                      <a:pt x="8" y="2"/>
                      <a:pt x="8" y="4"/>
                    </a:cubicBezTo>
                    <a:close/>
                    <a:moveTo>
                      <a:pt x="8" y="4"/>
                    </a:moveTo>
                    <a:cubicBezTo>
                      <a:pt x="8" y="4"/>
                      <a:pt x="8" y="4"/>
                      <a:pt x="8"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grpSp>
        <p:grpSp>
          <p:nvGrpSpPr>
            <p:cNvPr id="1100" name="Group 70">
              <a:extLst>
                <a:ext uri="{FF2B5EF4-FFF2-40B4-BE49-F238E27FC236}">
                  <a16:creationId xmlns:a16="http://schemas.microsoft.com/office/drawing/2014/main" id="{BA886B8B-DC90-7157-A7EB-F61ED82A0613}"/>
                </a:ext>
              </a:extLst>
            </p:cNvPr>
            <p:cNvGrpSpPr/>
            <p:nvPr/>
          </p:nvGrpSpPr>
          <p:grpSpPr>
            <a:xfrm>
              <a:off x="6061545" y="2091832"/>
              <a:ext cx="707055" cy="767307"/>
              <a:chOff x="2319337" y="4162425"/>
              <a:chExt cx="1268414" cy="1387476"/>
            </a:xfrm>
            <a:solidFill>
              <a:schemeClr val="bg1"/>
            </a:solidFill>
          </p:grpSpPr>
          <p:sp>
            <p:nvSpPr>
              <p:cNvPr id="1117" name="Freeform 5">
                <a:extLst>
                  <a:ext uri="{FF2B5EF4-FFF2-40B4-BE49-F238E27FC236}">
                    <a16:creationId xmlns:a16="http://schemas.microsoft.com/office/drawing/2014/main" id="{15B3235A-43CA-3A81-9121-70B4CBC4EB18}"/>
                  </a:ext>
                </a:extLst>
              </p:cNvPr>
              <p:cNvSpPr>
                <a:spLocks noEditPoints="1"/>
              </p:cNvSpPr>
              <p:nvPr/>
            </p:nvSpPr>
            <p:spPr bwMode="auto">
              <a:xfrm>
                <a:off x="2513013" y="4162425"/>
                <a:ext cx="1074738" cy="1133475"/>
              </a:xfrm>
              <a:custGeom>
                <a:avLst/>
                <a:gdLst>
                  <a:gd name="T0" fmla="*/ 386 w 1115"/>
                  <a:gd name="T1" fmla="*/ 1187 h 1187"/>
                  <a:gd name="T2" fmla="*/ 372 w 1115"/>
                  <a:gd name="T3" fmla="*/ 1182 h 1187"/>
                  <a:gd name="T4" fmla="*/ 9 w 1115"/>
                  <a:gd name="T5" fmla="*/ 851 h 1187"/>
                  <a:gd name="T6" fmla="*/ 3 w 1115"/>
                  <a:gd name="T7" fmla="*/ 828 h 1187"/>
                  <a:gd name="T8" fmla="*/ 280 w 1115"/>
                  <a:gd name="T9" fmla="*/ 404 h 1187"/>
                  <a:gd name="T10" fmla="*/ 1092 w 1115"/>
                  <a:gd name="T11" fmla="*/ 1 h 1187"/>
                  <a:gd name="T12" fmla="*/ 1115 w 1115"/>
                  <a:gd name="T13" fmla="*/ 22 h 1187"/>
                  <a:gd name="T14" fmla="*/ 792 w 1115"/>
                  <a:gd name="T15" fmla="*/ 869 h 1187"/>
                  <a:gd name="T16" fmla="*/ 396 w 1115"/>
                  <a:gd name="T17" fmla="*/ 1185 h 1187"/>
                  <a:gd name="T18" fmla="*/ 386 w 1115"/>
                  <a:gd name="T19" fmla="*/ 1187 h 1187"/>
                  <a:gd name="T20" fmla="*/ 47 w 1115"/>
                  <a:gd name="T21" fmla="*/ 830 h 1187"/>
                  <a:gd name="T22" fmla="*/ 389 w 1115"/>
                  <a:gd name="T23" fmla="*/ 1141 h 1187"/>
                  <a:gd name="T24" fmla="*/ 761 w 1115"/>
                  <a:gd name="T25" fmla="*/ 841 h 1187"/>
                  <a:gd name="T26" fmla="*/ 1072 w 1115"/>
                  <a:gd name="T27" fmla="*/ 46 h 1187"/>
                  <a:gd name="T28" fmla="*/ 310 w 1115"/>
                  <a:gd name="T29" fmla="*/ 432 h 1187"/>
                  <a:gd name="T30" fmla="*/ 47 w 1115"/>
                  <a:gd name="T31" fmla="*/ 830 h 1187"/>
                  <a:gd name="T32" fmla="*/ 47 w 1115"/>
                  <a:gd name="T33" fmla="*/ 830 h 1187"/>
                  <a:gd name="T34" fmla="*/ 47 w 1115"/>
                  <a:gd name="T35" fmla="*/ 83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5" h="1187">
                    <a:moveTo>
                      <a:pt x="386" y="1187"/>
                    </a:moveTo>
                    <a:cubicBezTo>
                      <a:pt x="381" y="1187"/>
                      <a:pt x="376" y="1185"/>
                      <a:pt x="372" y="1182"/>
                    </a:cubicBezTo>
                    <a:cubicBezTo>
                      <a:pt x="9" y="851"/>
                      <a:pt x="9" y="851"/>
                      <a:pt x="9" y="851"/>
                    </a:cubicBezTo>
                    <a:cubicBezTo>
                      <a:pt x="2" y="846"/>
                      <a:pt x="0" y="836"/>
                      <a:pt x="3" y="828"/>
                    </a:cubicBezTo>
                    <a:cubicBezTo>
                      <a:pt x="70" y="672"/>
                      <a:pt x="164" y="528"/>
                      <a:pt x="280" y="404"/>
                    </a:cubicBezTo>
                    <a:cubicBezTo>
                      <a:pt x="597" y="54"/>
                      <a:pt x="1087" y="2"/>
                      <a:pt x="1092" y="1"/>
                    </a:cubicBezTo>
                    <a:cubicBezTo>
                      <a:pt x="1104" y="0"/>
                      <a:pt x="1115" y="10"/>
                      <a:pt x="1115" y="22"/>
                    </a:cubicBezTo>
                    <a:cubicBezTo>
                      <a:pt x="1115" y="27"/>
                      <a:pt x="1109" y="520"/>
                      <a:pt x="792" y="869"/>
                    </a:cubicBezTo>
                    <a:cubicBezTo>
                      <a:pt x="679" y="996"/>
                      <a:pt x="545" y="1103"/>
                      <a:pt x="396" y="1185"/>
                    </a:cubicBezTo>
                    <a:cubicBezTo>
                      <a:pt x="393" y="1186"/>
                      <a:pt x="389" y="1187"/>
                      <a:pt x="386" y="1187"/>
                    </a:cubicBezTo>
                    <a:close/>
                    <a:moveTo>
                      <a:pt x="47" y="830"/>
                    </a:moveTo>
                    <a:cubicBezTo>
                      <a:pt x="389" y="1141"/>
                      <a:pt x="389" y="1141"/>
                      <a:pt x="389" y="1141"/>
                    </a:cubicBezTo>
                    <a:cubicBezTo>
                      <a:pt x="529" y="1063"/>
                      <a:pt x="655" y="961"/>
                      <a:pt x="761" y="841"/>
                    </a:cubicBezTo>
                    <a:cubicBezTo>
                      <a:pt x="1028" y="547"/>
                      <a:pt x="1067" y="147"/>
                      <a:pt x="1072" y="46"/>
                    </a:cubicBezTo>
                    <a:cubicBezTo>
                      <a:pt x="972" y="61"/>
                      <a:pt x="577" y="138"/>
                      <a:pt x="310" y="432"/>
                    </a:cubicBezTo>
                    <a:cubicBezTo>
                      <a:pt x="201" y="549"/>
                      <a:pt x="112" y="684"/>
                      <a:pt x="47" y="830"/>
                    </a:cubicBezTo>
                    <a:close/>
                    <a:moveTo>
                      <a:pt x="47" y="830"/>
                    </a:moveTo>
                    <a:cubicBezTo>
                      <a:pt x="47" y="830"/>
                      <a:pt x="47" y="830"/>
                      <a:pt x="47" y="8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18" name="Freeform 6">
                <a:extLst>
                  <a:ext uri="{FF2B5EF4-FFF2-40B4-BE49-F238E27FC236}">
                    <a16:creationId xmlns:a16="http://schemas.microsoft.com/office/drawing/2014/main" id="{EF193E5E-F8D1-5470-0BAE-DC26B59959D7}"/>
                  </a:ext>
                </a:extLst>
              </p:cNvPr>
              <p:cNvSpPr>
                <a:spLocks noEditPoints="1"/>
              </p:cNvSpPr>
              <p:nvPr/>
            </p:nvSpPr>
            <p:spPr bwMode="auto">
              <a:xfrm>
                <a:off x="2463800" y="4970463"/>
                <a:ext cx="409575" cy="379413"/>
              </a:xfrm>
              <a:custGeom>
                <a:avLst/>
                <a:gdLst>
                  <a:gd name="T0" fmla="*/ 366 w 425"/>
                  <a:gd name="T1" fmla="*/ 398 h 398"/>
                  <a:gd name="T2" fmla="*/ 353 w 425"/>
                  <a:gd name="T3" fmla="*/ 393 h 398"/>
                  <a:gd name="T4" fmla="*/ 11 w 425"/>
                  <a:gd name="T5" fmla="*/ 82 h 398"/>
                  <a:gd name="T6" fmla="*/ 15 w 425"/>
                  <a:gd name="T7" fmla="*/ 48 h 398"/>
                  <a:gd name="T8" fmla="*/ 101 w 425"/>
                  <a:gd name="T9" fmla="*/ 4 h 398"/>
                  <a:gd name="T10" fmla="*/ 124 w 425"/>
                  <a:gd name="T11" fmla="*/ 7 h 398"/>
                  <a:gd name="T12" fmla="*/ 416 w 425"/>
                  <a:gd name="T13" fmla="*/ 272 h 398"/>
                  <a:gd name="T14" fmla="*/ 422 w 425"/>
                  <a:gd name="T15" fmla="*/ 295 h 398"/>
                  <a:gd name="T16" fmla="*/ 386 w 425"/>
                  <a:gd name="T17" fmla="*/ 385 h 398"/>
                  <a:gd name="T18" fmla="*/ 366 w 425"/>
                  <a:gd name="T19" fmla="*/ 398 h 398"/>
                  <a:gd name="T20" fmla="*/ 61 w 425"/>
                  <a:gd name="T21" fmla="*/ 72 h 398"/>
                  <a:gd name="T22" fmla="*/ 358 w 425"/>
                  <a:gd name="T23" fmla="*/ 342 h 398"/>
                  <a:gd name="T24" fmla="*/ 378 w 425"/>
                  <a:gd name="T25" fmla="*/ 293 h 398"/>
                  <a:gd name="T26" fmla="*/ 107 w 425"/>
                  <a:gd name="T27" fmla="*/ 48 h 398"/>
                  <a:gd name="T28" fmla="*/ 61 w 425"/>
                  <a:gd name="T29" fmla="*/ 72 h 398"/>
                  <a:gd name="T30" fmla="*/ 61 w 425"/>
                  <a:gd name="T31" fmla="*/ 72 h 398"/>
                  <a:gd name="T32" fmla="*/ 61 w 425"/>
                  <a:gd name="T33" fmla="*/ 7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398">
                    <a:moveTo>
                      <a:pt x="366" y="398"/>
                    </a:moveTo>
                    <a:cubicBezTo>
                      <a:pt x="361" y="398"/>
                      <a:pt x="356" y="396"/>
                      <a:pt x="353" y="393"/>
                    </a:cubicBezTo>
                    <a:cubicBezTo>
                      <a:pt x="11" y="82"/>
                      <a:pt x="11" y="82"/>
                      <a:pt x="11" y="82"/>
                    </a:cubicBezTo>
                    <a:cubicBezTo>
                      <a:pt x="0" y="72"/>
                      <a:pt x="2" y="55"/>
                      <a:pt x="15" y="48"/>
                    </a:cubicBezTo>
                    <a:cubicBezTo>
                      <a:pt x="101" y="4"/>
                      <a:pt x="101" y="4"/>
                      <a:pt x="101" y="4"/>
                    </a:cubicBezTo>
                    <a:cubicBezTo>
                      <a:pt x="109" y="0"/>
                      <a:pt x="118" y="1"/>
                      <a:pt x="124" y="7"/>
                    </a:cubicBezTo>
                    <a:cubicBezTo>
                      <a:pt x="416" y="272"/>
                      <a:pt x="416" y="272"/>
                      <a:pt x="416" y="272"/>
                    </a:cubicBezTo>
                    <a:cubicBezTo>
                      <a:pt x="423" y="278"/>
                      <a:pt x="425" y="287"/>
                      <a:pt x="422" y="295"/>
                    </a:cubicBezTo>
                    <a:cubicBezTo>
                      <a:pt x="386" y="385"/>
                      <a:pt x="386" y="385"/>
                      <a:pt x="386" y="385"/>
                    </a:cubicBezTo>
                    <a:cubicBezTo>
                      <a:pt x="383" y="393"/>
                      <a:pt x="375" y="398"/>
                      <a:pt x="366" y="398"/>
                    </a:cubicBezTo>
                    <a:close/>
                    <a:moveTo>
                      <a:pt x="61" y="72"/>
                    </a:moveTo>
                    <a:cubicBezTo>
                      <a:pt x="358" y="342"/>
                      <a:pt x="358" y="342"/>
                      <a:pt x="358" y="342"/>
                    </a:cubicBezTo>
                    <a:cubicBezTo>
                      <a:pt x="378" y="293"/>
                      <a:pt x="378" y="293"/>
                      <a:pt x="378" y="293"/>
                    </a:cubicBezTo>
                    <a:cubicBezTo>
                      <a:pt x="107" y="48"/>
                      <a:pt x="107" y="48"/>
                      <a:pt x="107" y="48"/>
                    </a:cubicBezTo>
                    <a:lnTo>
                      <a:pt x="61" y="72"/>
                    </a:lnTo>
                    <a:close/>
                    <a:moveTo>
                      <a:pt x="61" y="72"/>
                    </a:moveTo>
                    <a:cubicBezTo>
                      <a:pt x="61" y="72"/>
                      <a:pt x="61" y="72"/>
                      <a:pt x="61" y="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19" name="Freeform 7">
                <a:extLst>
                  <a:ext uri="{FF2B5EF4-FFF2-40B4-BE49-F238E27FC236}">
                    <a16:creationId xmlns:a16="http://schemas.microsoft.com/office/drawing/2014/main" id="{E5BC2429-AC2F-EB1A-1193-F995EAC9739D}"/>
                  </a:ext>
                </a:extLst>
              </p:cNvPr>
              <p:cNvSpPr>
                <a:spLocks noEditPoints="1"/>
              </p:cNvSpPr>
              <p:nvPr/>
            </p:nvSpPr>
            <p:spPr bwMode="auto">
              <a:xfrm>
                <a:off x="2319337" y="4552950"/>
                <a:ext cx="458788" cy="323850"/>
              </a:xfrm>
              <a:custGeom>
                <a:avLst/>
                <a:gdLst>
                  <a:gd name="T0" fmla="*/ 23 w 475"/>
                  <a:gd name="T1" fmla="*/ 340 h 340"/>
                  <a:gd name="T2" fmla="*/ 2 w 475"/>
                  <a:gd name="T3" fmla="*/ 316 h 340"/>
                  <a:gd name="T4" fmla="*/ 49 w 475"/>
                  <a:gd name="T5" fmla="*/ 199 h 340"/>
                  <a:gd name="T6" fmla="*/ 457 w 475"/>
                  <a:gd name="T7" fmla="*/ 40 h 340"/>
                  <a:gd name="T8" fmla="*/ 472 w 475"/>
                  <a:gd name="T9" fmla="*/ 65 h 340"/>
                  <a:gd name="T10" fmla="*/ 446 w 475"/>
                  <a:gd name="T11" fmla="*/ 80 h 340"/>
                  <a:gd name="T12" fmla="*/ 83 w 475"/>
                  <a:gd name="T13" fmla="*/ 222 h 340"/>
                  <a:gd name="T14" fmla="*/ 56 w 475"/>
                  <a:gd name="T15" fmla="*/ 277 h 340"/>
                  <a:gd name="T16" fmla="*/ 300 w 475"/>
                  <a:gd name="T17" fmla="*/ 264 h 340"/>
                  <a:gd name="T18" fmla="*/ 288 w 475"/>
                  <a:gd name="T19" fmla="*/ 303 h 340"/>
                  <a:gd name="T20" fmla="*/ 34 w 475"/>
                  <a:gd name="T21" fmla="*/ 337 h 340"/>
                  <a:gd name="T22" fmla="*/ 23 w 475"/>
                  <a:gd name="T23" fmla="*/ 340 h 340"/>
                  <a:gd name="T24" fmla="*/ 23 w 475"/>
                  <a:gd name="T25" fmla="*/ 340 h 340"/>
                  <a:gd name="T26" fmla="*/ 23 w 475"/>
                  <a:gd name="T27"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5" h="340">
                    <a:moveTo>
                      <a:pt x="23" y="340"/>
                    </a:moveTo>
                    <a:cubicBezTo>
                      <a:pt x="10" y="340"/>
                      <a:pt x="0" y="328"/>
                      <a:pt x="2" y="316"/>
                    </a:cubicBezTo>
                    <a:cubicBezTo>
                      <a:pt x="10" y="274"/>
                      <a:pt x="25" y="235"/>
                      <a:pt x="49" y="199"/>
                    </a:cubicBezTo>
                    <a:cubicBezTo>
                      <a:pt x="133" y="70"/>
                      <a:pt x="313" y="0"/>
                      <a:pt x="457" y="40"/>
                    </a:cubicBezTo>
                    <a:cubicBezTo>
                      <a:pt x="468" y="43"/>
                      <a:pt x="475" y="54"/>
                      <a:pt x="472" y="65"/>
                    </a:cubicBezTo>
                    <a:cubicBezTo>
                      <a:pt x="469" y="77"/>
                      <a:pt x="457" y="83"/>
                      <a:pt x="446" y="80"/>
                    </a:cubicBezTo>
                    <a:cubicBezTo>
                      <a:pt x="318" y="44"/>
                      <a:pt x="159" y="107"/>
                      <a:pt x="83" y="222"/>
                    </a:cubicBezTo>
                    <a:cubicBezTo>
                      <a:pt x="72" y="239"/>
                      <a:pt x="63" y="258"/>
                      <a:pt x="56" y="277"/>
                    </a:cubicBezTo>
                    <a:cubicBezTo>
                      <a:pt x="133" y="243"/>
                      <a:pt x="220" y="238"/>
                      <a:pt x="300" y="264"/>
                    </a:cubicBezTo>
                    <a:cubicBezTo>
                      <a:pt x="325" y="273"/>
                      <a:pt x="313" y="310"/>
                      <a:pt x="288" y="303"/>
                    </a:cubicBezTo>
                    <a:cubicBezTo>
                      <a:pt x="203" y="276"/>
                      <a:pt x="109" y="288"/>
                      <a:pt x="34" y="337"/>
                    </a:cubicBezTo>
                    <a:cubicBezTo>
                      <a:pt x="31" y="339"/>
                      <a:pt x="27" y="340"/>
                      <a:pt x="23" y="340"/>
                    </a:cubicBezTo>
                    <a:close/>
                    <a:moveTo>
                      <a:pt x="23" y="340"/>
                    </a:moveTo>
                    <a:cubicBezTo>
                      <a:pt x="23" y="340"/>
                      <a:pt x="23" y="340"/>
                      <a:pt x="23" y="3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20" name="Freeform 8">
                <a:extLst>
                  <a:ext uri="{FF2B5EF4-FFF2-40B4-BE49-F238E27FC236}">
                    <a16:creationId xmlns:a16="http://schemas.microsoft.com/office/drawing/2014/main" id="{C401ABFD-EC7E-245C-2680-941B0058AA4D}"/>
                  </a:ext>
                </a:extLst>
              </p:cNvPr>
              <p:cNvSpPr>
                <a:spLocks noEditPoints="1"/>
              </p:cNvSpPr>
              <p:nvPr/>
            </p:nvSpPr>
            <p:spPr bwMode="auto">
              <a:xfrm>
                <a:off x="2982913" y="5003800"/>
                <a:ext cx="303213" cy="473075"/>
              </a:xfrm>
              <a:custGeom>
                <a:avLst/>
                <a:gdLst>
                  <a:gd name="T0" fmla="*/ 26 w 316"/>
                  <a:gd name="T1" fmla="*/ 496 h 496"/>
                  <a:gd name="T2" fmla="*/ 7 w 316"/>
                  <a:gd name="T3" fmla="*/ 465 h 496"/>
                  <a:gd name="T4" fmla="*/ 16 w 316"/>
                  <a:gd name="T5" fmla="*/ 210 h 496"/>
                  <a:gd name="T6" fmla="*/ 54 w 316"/>
                  <a:gd name="T7" fmla="*/ 193 h 496"/>
                  <a:gd name="T8" fmla="*/ 64 w 316"/>
                  <a:gd name="T9" fmla="*/ 438 h 496"/>
                  <a:gd name="T10" fmla="*/ 116 w 316"/>
                  <a:gd name="T11" fmla="*/ 405 h 496"/>
                  <a:gd name="T12" fmla="*/ 223 w 316"/>
                  <a:gd name="T13" fmla="*/ 31 h 496"/>
                  <a:gd name="T14" fmla="*/ 235 w 316"/>
                  <a:gd name="T15" fmla="*/ 4 h 496"/>
                  <a:gd name="T16" fmla="*/ 262 w 316"/>
                  <a:gd name="T17" fmla="*/ 16 h 496"/>
                  <a:gd name="T18" fmla="*/ 143 w 316"/>
                  <a:gd name="T19" fmla="*/ 438 h 496"/>
                  <a:gd name="T20" fmla="*/ 31 w 316"/>
                  <a:gd name="T21" fmla="*/ 495 h 496"/>
                  <a:gd name="T22" fmla="*/ 26 w 316"/>
                  <a:gd name="T23" fmla="*/ 496 h 496"/>
                  <a:gd name="T24" fmla="*/ 26 w 316"/>
                  <a:gd name="T25" fmla="*/ 496 h 496"/>
                  <a:gd name="T26" fmla="*/ 26 w 316"/>
                  <a:gd name="T27" fmla="*/ 49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496">
                    <a:moveTo>
                      <a:pt x="26" y="496"/>
                    </a:moveTo>
                    <a:cubicBezTo>
                      <a:pt x="10" y="496"/>
                      <a:pt x="0" y="479"/>
                      <a:pt x="7" y="465"/>
                    </a:cubicBezTo>
                    <a:cubicBezTo>
                      <a:pt x="49" y="386"/>
                      <a:pt x="52" y="292"/>
                      <a:pt x="16" y="210"/>
                    </a:cubicBezTo>
                    <a:cubicBezTo>
                      <a:pt x="5" y="184"/>
                      <a:pt x="44" y="168"/>
                      <a:pt x="54" y="193"/>
                    </a:cubicBezTo>
                    <a:cubicBezTo>
                      <a:pt x="88" y="271"/>
                      <a:pt x="91" y="358"/>
                      <a:pt x="64" y="438"/>
                    </a:cubicBezTo>
                    <a:cubicBezTo>
                      <a:pt x="83" y="429"/>
                      <a:pt x="100" y="418"/>
                      <a:pt x="116" y="405"/>
                    </a:cubicBezTo>
                    <a:cubicBezTo>
                      <a:pt x="224" y="319"/>
                      <a:pt x="271" y="154"/>
                      <a:pt x="223" y="31"/>
                    </a:cubicBezTo>
                    <a:cubicBezTo>
                      <a:pt x="219" y="20"/>
                      <a:pt x="225" y="8"/>
                      <a:pt x="235" y="4"/>
                    </a:cubicBezTo>
                    <a:cubicBezTo>
                      <a:pt x="246" y="0"/>
                      <a:pt x="258" y="5"/>
                      <a:pt x="262" y="16"/>
                    </a:cubicBezTo>
                    <a:cubicBezTo>
                      <a:pt x="316" y="156"/>
                      <a:pt x="263" y="341"/>
                      <a:pt x="143" y="438"/>
                    </a:cubicBezTo>
                    <a:cubicBezTo>
                      <a:pt x="110" y="464"/>
                      <a:pt x="72" y="484"/>
                      <a:pt x="31" y="495"/>
                    </a:cubicBezTo>
                    <a:cubicBezTo>
                      <a:pt x="29" y="495"/>
                      <a:pt x="27" y="496"/>
                      <a:pt x="26" y="496"/>
                    </a:cubicBezTo>
                    <a:close/>
                    <a:moveTo>
                      <a:pt x="26" y="496"/>
                    </a:moveTo>
                    <a:cubicBezTo>
                      <a:pt x="26" y="496"/>
                      <a:pt x="26" y="496"/>
                      <a:pt x="26" y="4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21" name="Freeform 9">
                <a:extLst>
                  <a:ext uri="{FF2B5EF4-FFF2-40B4-BE49-F238E27FC236}">
                    <a16:creationId xmlns:a16="http://schemas.microsoft.com/office/drawing/2014/main" id="{DC907660-7C3A-414D-36F6-3227194C9433}"/>
                  </a:ext>
                </a:extLst>
              </p:cNvPr>
              <p:cNvSpPr>
                <a:spLocks noEditPoints="1"/>
              </p:cNvSpPr>
              <p:nvPr/>
            </p:nvSpPr>
            <p:spPr bwMode="auto">
              <a:xfrm>
                <a:off x="3267075" y="4225925"/>
                <a:ext cx="285750" cy="257175"/>
              </a:xfrm>
              <a:custGeom>
                <a:avLst/>
                <a:gdLst>
                  <a:gd name="T0" fmla="*/ 269 w 297"/>
                  <a:gd name="T1" fmla="*/ 268 h 268"/>
                  <a:gd name="T2" fmla="*/ 267 w 297"/>
                  <a:gd name="T3" fmla="*/ 268 h 268"/>
                  <a:gd name="T4" fmla="*/ 97 w 297"/>
                  <a:gd name="T5" fmla="*/ 190 h 268"/>
                  <a:gd name="T6" fmla="*/ 3 w 297"/>
                  <a:gd name="T7" fmla="*/ 29 h 268"/>
                  <a:gd name="T8" fmla="*/ 19 w 297"/>
                  <a:gd name="T9" fmla="*/ 3 h 268"/>
                  <a:gd name="T10" fmla="*/ 44 w 297"/>
                  <a:gd name="T11" fmla="*/ 20 h 268"/>
                  <a:gd name="T12" fmla="*/ 272 w 297"/>
                  <a:gd name="T13" fmla="*/ 227 h 268"/>
                  <a:gd name="T14" fmla="*/ 269 w 297"/>
                  <a:gd name="T15" fmla="*/ 268 h 268"/>
                  <a:gd name="T16" fmla="*/ 269 w 297"/>
                  <a:gd name="T17" fmla="*/ 268 h 268"/>
                  <a:gd name="T18" fmla="*/ 269 w 297"/>
                  <a:gd name="T19"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7" h="268">
                    <a:moveTo>
                      <a:pt x="269" y="268"/>
                    </a:moveTo>
                    <a:cubicBezTo>
                      <a:pt x="268" y="268"/>
                      <a:pt x="268" y="268"/>
                      <a:pt x="267" y="268"/>
                    </a:cubicBezTo>
                    <a:cubicBezTo>
                      <a:pt x="204" y="260"/>
                      <a:pt x="144" y="233"/>
                      <a:pt x="97" y="190"/>
                    </a:cubicBezTo>
                    <a:cubicBezTo>
                      <a:pt x="50" y="147"/>
                      <a:pt x="17" y="91"/>
                      <a:pt x="3" y="29"/>
                    </a:cubicBezTo>
                    <a:cubicBezTo>
                      <a:pt x="0" y="17"/>
                      <a:pt x="7" y="5"/>
                      <a:pt x="19" y="3"/>
                    </a:cubicBezTo>
                    <a:cubicBezTo>
                      <a:pt x="31" y="0"/>
                      <a:pt x="42" y="8"/>
                      <a:pt x="44" y="20"/>
                    </a:cubicBezTo>
                    <a:cubicBezTo>
                      <a:pt x="69" y="130"/>
                      <a:pt x="160" y="213"/>
                      <a:pt x="272" y="227"/>
                    </a:cubicBezTo>
                    <a:cubicBezTo>
                      <a:pt x="297" y="230"/>
                      <a:pt x="295" y="268"/>
                      <a:pt x="269" y="268"/>
                    </a:cubicBezTo>
                    <a:close/>
                    <a:moveTo>
                      <a:pt x="269" y="268"/>
                    </a:moveTo>
                    <a:cubicBezTo>
                      <a:pt x="269" y="268"/>
                      <a:pt x="269" y="268"/>
                      <a:pt x="269" y="2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22" name="Freeform 10">
                <a:extLst>
                  <a:ext uri="{FF2B5EF4-FFF2-40B4-BE49-F238E27FC236}">
                    <a16:creationId xmlns:a16="http://schemas.microsoft.com/office/drawing/2014/main" id="{9274166B-AC7C-10C8-06E9-08694434B67A}"/>
                  </a:ext>
                </a:extLst>
              </p:cNvPr>
              <p:cNvSpPr>
                <a:spLocks noEditPoints="1"/>
              </p:cNvSpPr>
              <p:nvPr/>
            </p:nvSpPr>
            <p:spPr bwMode="auto">
              <a:xfrm>
                <a:off x="3103563" y="4424363"/>
                <a:ext cx="254000" cy="250825"/>
              </a:xfrm>
              <a:custGeom>
                <a:avLst/>
                <a:gdLst>
                  <a:gd name="T0" fmla="*/ 132 w 265"/>
                  <a:gd name="T1" fmla="*/ 263 h 263"/>
                  <a:gd name="T2" fmla="*/ 1 w 265"/>
                  <a:gd name="T3" fmla="*/ 134 h 263"/>
                  <a:gd name="T4" fmla="*/ 128 w 265"/>
                  <a:gd name="T5" fmla="*/ 2 h 263"/>
                  <a:gd name="T6" fmla="*/ 262 w 265"/>
                  <a:gd name="T7" fmla="*/ 127 h 263"/>
                  <a:gd name="T8" fmla="*/ 138 w 265"/>
                  <a:gd name="T9" fmla="*/ 262 h 263"/>
                  <a:gd name="T10" fmla="*/ 132 w 265"/>
                  <a:gd name="T11" fmla="*/ 263 h 263"/>
                  <a:gd name="T12" fmla="*/ 132 w 265"/>
                  <a:gd name="T13" fmla="*/ 45 h 263"/>
                  <a:gd name="T14" fmla="*/ 67 w 265"/>
                  <a:gd name="T15" fmla="*/ 73 h 263"/>
                  <a:gd name="T16" fmla="*/ 61 w 265"/>
                  <a:gd name="T17" fmla="*/ 185 h 263"/>
                  <a:gd name="T18" fmla="*/ 168 w 265"/>
                  <a:gd name="T19" fmla="*/ 214 h 263"/>
                  <a:gd name="T20" fmla="*/ 219 w 265"/>
                  <a:gd name="T21" fmla="*/ 115 h 263"/>
                  <a:gd name="T22" fmla="*/ 132 w 265"/>
                  <a:gd name="T23" fmla="*/ 45 h 263"/>
                  <a:gd name="T24" fmla="*/ 132 w 265"/>
                  <a:gd name="T25" fmla="*/ 45 h 263"/>
                  <a:gd name="T26" fmla="*/ 132 w 265"/>
                  <a:gd name="T27" fmla="*/ 45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5" h="263">
                    <a:moveTo>
                      <a:pt x="132" y="263"/>
                    </a:moveTo>
                    <a:cubicBezTo>
                      <a:pt x="61" y="263"/>
                      <a:pt x="2" y="205"/>
                      <a:pt x="1" y="134"/>
                    </a:cubicBezTo>
                    <a:cubicBezTo>
                      <a:pt x="0" y="62"/>
                      <a:pt x="57" y="3"/>
                      <a:pt x="128" y="2"/>
                    </a:cubicBezTo>
                    <a:cubicBezTo>
                      <a:pt x="200" y="0"/>
                      <a:pt x="260" y="56"/>
                      <a:pt x="262" y="127"/>
                    </a:cubicBezTo>
                    <a:cubicBezTo>
                      <a:pt x="265" y="198"/>
                      <a:pt x="210" y="259"/>
                      <a:pt x="138" y="262"/>
                    </a:cubicBezTo>
                    <a:cubicBezTo>
                      <a:pt x="136" y="262"/>
                      <a:pt x="134" y="263"/>
                      <a:pt x="132" y="263"/>
                    </a:cubicBezTo>
                    <a:close/>
                    <a:moveTo>
                      <a:pt x="132" y="45"/>
                    </a:moveTo>
                    <a:cubicBezTo>
                      <a:pt x="107" y="45"/>
                      <a:pt x="84" y="55"/>
                      <a:pt x="67" y="73"/>
                    </a:cubicBezTo>
                    <a:cubicBezTo>
                      <a:pt x="39" y="104"/>
                      <a:pt x="36" y="151"/>
                      <a:pt x="61" y="185"/>
                    </a:cubicBezTo>
                    <a:cubicBezTo>
                      <a:pt x="85" y="218"/>
                      <a:pt x="130" y="231"/>
                      <a:pt x="168" y="214"/>
                    </a:cubicBezTo>
                    <a:cubicBezTo>
                      <a:pt x="206" y="197"/>
                      <a:pt x="227" y="156"/>
                      <a:pt x="219" y="115"/>
                    </a:cubicBezTo>
                    <a:cubicBezTo>
                      <a:pt x="210" y="74"/>
                      <a:pt x="174" y="45"/>
                      <a:pt x="132" y="45"/>
                    </a:cubicBezTo>
                    <a:close/>
                    <a:moveTo>
                      <a:pt x="132" y="45"/>
                    </a:moveTo>
                    <a:cubicBezTo>
                      <a:pt x="132" y="45"/>
                      <a:pt x="132" y="45"/>
                      <a:pt x="132"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23" name="Freeform 11">
                <a:extLst>
                  <a:ext uri="{FF2B5EF4-FFF2-40B4-BE49-F238E27FC236}">
                    <a16:creationId xmlns:a16="http://schemas.microsoft.com/office/drawing/2014/main" id="{39407B63-660E-2529-1F31-6304451CB6D2}"/>
                  </a:ext>
                </a:extLst>
              </p:cNvPr>
              <p:cNvSpPr>
                <a:spLocks noEditPoints="1"/>
              </p:cNvSpPr>
              <p:nvPr/>
            </p:nvSpPr>
            <p:spPr bwMode="auto">
              <a:xfrm>
                <a:off x="2703513" y="4721225"/>
                <a:ext cx="203200" cy="211138"/>
              </a:xfrm>
              <a:custGeom>
                <a:avLst/>
                <a:gdLst>
                  <a:gd name="T0" fmla="*/ 27 w 211"/>
                  <a:gd name="T1" fmla="*/ 221 h 221"/>
                  <a:gd name="T2" fmla="*/ 12 w 211"/>
                  <a:gd name="T3" fmla="*/ 186 h 221"/>
                  <a:gd name="T4" fmla="*/ 173 w 211"/>
                  <a:gd name="T5" fmla="*/ 9 h 221"/>
                  <a:gd name="T6" fmla="*/ 202 w 211"/>
                  <a:gd name="T7" fmla="*/ 8 h 221"/>
                  <a:gd name="T8" fmla="*/ 203 w 211"/>
                  <a:gd name="T9" fmla="*/ 37 h 221"/>
                  <a:gd name="T10" fmla="*/ 43 w 211"/>
                  <a:gd name="T11" fmla="*/ 214 h 221"/>
                  <a:gd name="T12" fmla="*/ 27 w 211"/>
                  <a:gd name="T13" fmla="*/ 221 h 221"/>
                  <a:gd name="T14" fmla="*/ 27 w 211"/>
                  <a:gd name="T15" fmla="*/ 221 h 221"/>
                  <a:gd name="T16" fmla="*/ 27 w 211"/>
                  <a:gd name="T17"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221">
                    <a:moveTo>
                      <a:pt x="27" y="221"/>
                    </a:moveTo>
                    <a:cubicBezTo>
                      <a:pt x="9" y="221"/>
                      <a:pt x="0" y="200"/>
                      <a:pt x="12" y="186"/>
                    </a:cubicBezTo>
                    <a:cubicBezTo>
                      <a:pt x="173" y="9"/>
                      <a:pt x="173" y="9"/>
                      <a:pt x="173" y="9"/>
                    </a:cubicBezTo>
                    <a:cubicBezTo>
                      <a:pt x="180" y="1"/>
                      <a:pt x="194" y="0"/>
                      <a:pt x="202" y="8"/>
                    </a:cubicBezTo>
                    <a:cubicBezTo>
                      <a:pt x="211" y="16"/>
                      <a:pt x="211" y="29"/>
                      <a:pt x="203" y="37"/>
                    </a:cubicBezTo>
                    <a:cubicBezTo>
                      <a:pt x="43" y="214"/>
                      <a:pt x="43" y="214"/>
                      <a:pt x="43" y="214"/>
                    </a:cubicBezTo>
                    <a:cubicBezTo>
                      <a:pt x="39" y="219"/>
                      <a:pt x="33" y="221"/>
                      <a:pt x="27" y="221"/>
                    </a:cubicBezTo>
                    <a:close/>
                    <a:moveTo>
                      <a:pt x="27" y="221"/>
                    </a:moveTo>
                    <a:cubicBezTo>
                      <a:pt x="27" y="221"/>
                      <a:pt x="27" y="221"/>
                      <a:pt x="27" y="2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24" name="Freeform 12">
                <a:extLst>
                  <a:ext uri="{FF2B5EF4-FFF2-40B4-BE49-F238E27FC236}">
                    <a16:creationId xmlns:a16="http://schemas.microsoft.com/office/drawing/2014/main" id="{36C01248-9069-B559-9DB4-606917F8AC92}"/>
                  </a:ext>
                </a:extLst>
              </p:cNvPr>
              <p:cNvSpPr>
                <a:spLocks noEditPoints="1"/>
              </p:cNvSpPr>
              <p:nvPr/>
            </p:nvSpPr>
            <p:spPr bwMode="auto">
              <a:xfrm>
                <a:off x="2887663" y="4889500"/>
                <a:ext cx="203200" cy="211138"/>
              </a:xfrm>
              <a:custGeom>
                <a:avLst/>
                <a:gdLst>
                  <a:gd name="T0" fmla="*/ 27 w 211"/>
                  <a:gd name="T1" fmla="*/ 221 h 221"/>
                  <a:gd name="T2" fmla="*/ 12 w 211"/>
                  <a:gd name="T3" fmla="*/ 186 h 221"/>
                  <a:gd name="T4" fmla="*/ 173 w 211"/>
                  <a:gd name="T5" fmla="*/ 9 h 221"/>
                  <a:gd name="T6" fmla="*/ 202 w 211"/>
                  <a:gd name="T7" fmla="*/ 7 h 221"/>
                  <a:gd name="T8" fmla="*/ 203 w 211"/>
                  <a:gd name="T9" fmla="*/ 37 h 221"/>
                  <a:gd name="T10" fmla="*/ 43 w 211"/>
                  <a:gd name="T11" fmla="*/ 214 h 221"/>
                  <a:gd name="T12" fmla="*/ 27 w 211"/>
                  <a:gd name="T13" fmla="*/ 221 h 221"/>
                  <a:gd name="T14" fmla="*/ 27 w 211"/>
                  <a:gd name="T15" fmla="*/ 221 h 221"/>
                  <a:gd name="T16" fmla="*/ 27 w 211"/>
                  <a:gd name="T17"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221">
                    <a:moveTo>
                      <a:pt x="27" y="221"/>
                    </a:moveTo>
                    <a:cubicBezTo>
                      <a:pt x="9" y="221"/>
                      <a:pt x="0" y="199"/>
                      <a:pt x="12" y="186"/>
                    </a:cubicBezTo>
                    <a:cubicBezTo>
                      <a:pt x="173" y="9"/>
                      <a:pt x="173" y="9"/>
                      <a:pt x="173" y="9"/>
                    </a:cubicBezTo>
                    <a:cubicBezTo>
                      <a:pt x="180" y="0"/>
                      <a:pt x="194" y="0"/>
                      <a:pt x="202" y="7"/>
                    </a:cubicBezTo>
                    <a:cubicBezTo>
                      <a:pt x="211" y="15"/>
                      <a:pt x="211" y="28"/>
                      <a:pt x="203" y="37"/>
                    </a:cubicBezTo>
                    <a:cubicBezTo>
                      <a:pt x="43" y="214"/>
                      <a:pt x="43" y="214"/>
                      <a:pt x="43" y="214"/>
                    </a:cubicBezTo>
                    <a:cubicBezTo>
                      <a:pt x="39" y="218"/>
                      <a:pt x="33" y="221"/>
                      <a:pt x="27" y="221"/>
                    </a:cubicBezTo>
                    <a:close/>
                    <a:moveTo>
                      <a:pt x="27" y="221"/>
                    </a:moveTo>
                    <a:cubicBezTo>
                      <a:pt x="27" y="221"/>
                      <a:pt x="27" y="221"/>
                      <a:pt x="27" y="2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25" name="Freeform 13">
                <a:extLst>
                  <a:ext uri="{FF2B5EF4-FFF2-40B4-BE49-F238E27FC236}">
                    <a16:creationId xmlns:a16="http://schemas.microsoft.com/office/drawing/2014/main" id="{C6642D0C-97DE-7FFE-A346-483D9FDF3424}"/>
                  </a:ext>
                </a:extLst>
              </p:cNvPr>
              <p:cNvSpPr>
                <a:spLocks noEditPoints="1"/>
              </p:cNvSpPr>
              <p:nvPr/>
            </p:nvSpPr>
            <p:spPr bwMode="auto">
              <a:xfrm>
                <a:off x="2833688" y="4762500"/>
                <a:ext cx="203200" cy="211138"/>
              </a:xfrm>
              <a:custGeom>
                <a:avLst/>
                <a:gdLst>
                  <a:gd name="T0" fmla="*/ 27 w 211"/>
                  <a:gd name="T1" fmla="*/ 221 h 221"/>
                  <a:gd name="T2" fmla="*/ 12 w 211"/>
                  <a:gd name="T3" fmla="*/ 186 h 221"/>
                  <a:gd name="T4" fmla="*/ 173 w 211"/>
                  <a:gd name="T5" fmla="*/ 10 h 221"/>
                  <a:gd name="T6" fmla="*/ 202 w 211"/>
                  <a:gd name="T7" fmla="*/ 8 h 221"/>
                  <a:gd name="T8" fmla="*/ 203 w 211"/>
                  <a:gd name="T9" fmla="*/ 37 h 221"/>
                  <a:gd name="T10" fmla="*/ 43 w 211"/>
                  <a:gd name="T11" fmla="*/ 214 h 221"/>
                  <a:gd name="T12" fmla="*/ 27 w 211"/>
                  <a:gd name="T13" fmla="*/ 221 h 221"/>
                  <a:gd name="T14" fmla="*/ 27 w 211"/>
                  <a:gd name="T15" fmla="*/ 221 h 221"/>
                  <a:gd name="T16" fmla="*/ 27 w 211"/>
                  <a:gd name="T17"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221">
                    <a:moveTo>
                      <a:pt x="27" y="221"/>
                    </a:moveTo>
                    <a:cubicBezTo>
                      <a:pt x="9" y="221"/>
                      <a:pt x="0" y="200"/>
                      <a:pt x="12" y="186"/>
                    </a:cubicBezTo>
                    <a:cubicBezTo>
                      <a:pt x="173" y="10"/>
                      <a:pt x="173" y="10"/>
                      <a:pt x="173" y="10"/>
                    </a:cubicBezTo>
                    <a:cubicBezTo>
                      <a:pt x="180" y="1"/>
                      <a:pt x="194" y="0"/>
                      <a:pt x="202" y="8"/>
                    </a:cubicBezTo>
                    <a:cubicBezTo>
                      <a:pt x="211" y="16"/>
                      <a:pt x="211" y="29"/>
                      <a:pt x="203" y="37"/>
                    </a:cubicBezTo>
                    <a:cubicBezTo>
                      <a:pt x="43" y="214"/>
                      <a:pt x="43" y="214"/>
                      <a:pt x="43" y="214"/>
                    </a:cubicBezTo>
                    <a:cubicBezTo>
                      <a:pt x="39" y="219"/>
                      <a:pt x="33" y="221"/>
                      <a:pt x="27" y="221"/>
                    </a:cubicBezTo>
                    <a:close/>
                    <a:moveTo>
                      <a:pt x="27" y="221"/>
                    </a:moveTo>
                    <a:cubicBezTo>
                      <a:pt x="27" y="221"/>
                      <a:pt x="27" y="221"/>
                      <a:pt x="27" y="2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26" name="Freeform 14">
                <a:extLst>
                  <a:ext uri="{FF2B5EF4-FFF2-40B4-BE49-F238E27FC236}">
                    <a16:creationId xmlns:a16="http://schemas.microsoft.com/office/drawing/2014/main" id="{80213A4F-9734-A41B-BBC7-14C14C752B16}"/>
                  </a:ext>
                </a:extLst>
              </p:cNvPr>
              <p:cNvSpPr>
                <a:spLocks noEditPoints="1"/>
              </p:cNvSpPr>
              <p:nvPr/>
            </p:nvSpPr>
            <p:spPr bwMode="auto">
              <a:xfrm>
                <a:off x="2328863" y="5053013"/>
                <a:ext cx="471488" cy="496888"/>
              </a:xfrm>
              <a:custGeom>
                <a:avLst/>
                <a:gdLst>
                  <a:gd name="T0" fmla="*/ 278 w 490"/>
                  <a:gd name="T1" fmla="*/ 521 h 521"/>
                  <a:gd name="T2" fmla="*/ 259 w 490"/>
                  <a:gd name="T3" fmla="*/ 510 h 521"/>
                  <a:gd name="T4" fmla="*/ 229 w 490"/>
                  <a:gd name="T5" fmla="*/ 383 h 521"/>
                  <a:gd name="T6" fmla="*/ 184 w 490"/>
                  <a:gd name="T7" fmla="*/ 390 h 521"/>
                  <a:gd name="T8" fmla="*/ 90 w 490"/>
                  <a:gd name="T9" fmla="*/ 498 h 521"/>
                  <a:gd name="T10" fmla="*/ 89 w 490"/>
                  <a:gd name="T11" fmla="*/ 500 h 521"/>
                  <a:gd name="T12" fmla="*/ 69 w 490"/>
                  <a:gd name="T13" fmla="*/ 513 h 521"/>
                  <a:gd name="T14" fmla="*/ 51 w 490"/>
                  <a:gd name="T15" fmla="*/ 499 h 521"/>
                  <a:gd name="T16" fmla="*/ 121 w 490"/>
                  <a:gd name="T17" fmla="*/ 266 h 521"/>
                  <a:gd name="T18" fmla="*/ 142 w 490"/>
                  <a:gd name="T19" fmla="*/ 233 h 521"/>
                  <a:gd name="T20" fmla="*/ 137 w 490"/>
                  <a:gd name="T21" fmla="*/ 231 h 521"/>
                  <a:gd name="T22" fmla="*/ 58 w 490"/>
                  <a:gd name="T23" fmla="*/ 255 h 521"/>
                  <a:gd name="T24" fmla="*/ 26 w 490"/>
                  <a:gd name="T25" fmla="*/ 234 h 521"/>
                  <a:gd name="T26" fmla="*/ 137 w 490"/>
                  <a:gd name="T27" fmla="*/ 47 h 521"/>
                  <a:gd name="T28" fmla="*/ 206 w 490"/>
                  <a:gd name="T29" fmla="*/ 4 h 521"/>
                  <a:gd name="T30" fmla="*/ 232 w 490"/>
                  <a:gd name="T31" fmla="*/ 16 h 521"/>
                  <a:gd name="T32" fmla="*/ 220 w 490"/>
                  <a:gd name="T33" fmla="*/ 43 h 521"/>
                  <a:gd name="T34" fmla="*/ 165 w 490"/>
                  <a:gd name="T35" fmla="*/ 77 h 521"/>
                  <a:gd name="T36" fmla="*/ 83 w 490"/>
                  <a:gd name="T37" fmla="*/ 198 h 521"/>
                  <a:gd name="T38" fmla="*/ 147 w 490"/>
                  <a:gd name="T39" fmla="*/ 190 h 521"/>
                  <a:gd name="T40" fmla="*/ 179 w 490"/>
                  <a:gd name="T41" fmla="*/ 215 h 521"/>
                  <a:gd name="T42" fmla="*/ 181 w 490"/>
                  <a:gd name="T43" fmla="*/ 218 h 521"/>
                  <a:gd name="T44" fmla="*/ 140 w 490"/>
                  <a:gd name="T45" fmla="*/ 303 h 521"/>
                  <a:gd name="T46" fmla="*/ 81 w 490"/>
                  <a:gd name="T47" fmla="*/ 423 h 521"/>
                  <a:gd name="T48" fmla="*/ 183 w 490"/>
                  <a:gd name="T49" fmla="*/ 349 h 521"/>
                  <a:gd name="T50" fmla="*/ 249 w 490"/>
                  <a:gd name="T51" fmla="*/ 329 h 521"/>
                  <a:gd name="T52" fmla="*/ 277 w 490"/>
                  <a:gd name="T53" fmla="*/ 359 h 521"/>
                  <a:gd name="T54" fmla="*/ 276 w 490"/>
                  <a:gd name="T55" fmla="*/ 429 h 521"/>
                  <a:gd name="T56" fmla="*/ 349 w 490"/>
                  <a:gd name="T57" fmla="*/ 362 h 521"/>
                  <a:gd name="T58" fmla="*/ 353 w 490"/>
                  <a:gd name="T59" fmla="*/ 360 h 521"/>
                  <a:gd name="T60" fmla="*/ 447 w 490"/>
                  <a:gd name="T61" fmla="*/ 250 h 521"/>
                  <a:gd name="T62" fmla="*/ 473 w 490"/>
                  <a:gd name="T63" fmla="*/ 235 h 521"/>
                  <a:gd name="T64" fmla="*/ 487 w 490"/>
                  <a:gd name="T65" fmla="*/ 260 h 521"/>
                  <a:gd name="T66" fmla="*/ 370 w 490"/>
                  <a:gd name="T67" fmla="*/ 398 h 521"/>
                  <a:gd name="T68" fmla="*/ 366 w 490"/>
                  <a:gd name="T69" fmla="*/ 400 h 521"/>
                  <a:gd name="T70" fmla="*/ 298 w 490"/>
                  <a:gd name="T71" fmla="*/ 500 h 521"/>
                  <a:gd name="T72" fmla="*/ 278 w 490"/>
                  <a:gd name="T73" fmla="*/ 521 h 521"/>
                  <a:gd name="T74" fmla="*/ 278 w 490"/>
                  <a:gd name="T75" fmla="*/ 521 h 521"/>
                  <a:gd name="T76" fmla="*/ 278 w 490"/>
                  <a:gd name="T77"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0" h="521">
                    <a:moveTo>
                      <a:pt x="278" y="521"/>
                    </a:moveTo>
                    <a:cubicBezTo>
                      <a:pt x="270" y="521"/>
                      <a:pt x="263" y="517"/>
                      <a:pt x="259" y="510"/>
                    </a:cubicBezTo>
                    <a:cubicBezTo>
                      <a:pt x="242" y="470"/>
                      <a:pt x="232" y="427"/>
                      <a:pt x="229" y="383"/>
                    </a:cubicBezTo>
                    <a:cubicBezTo>
                      <a:pt x="215" y="388"/>
                      <a:pt x="199" y="390"/>
                      <a:pt x="184" y="390"/>
                    </a:cubicBezTo>
                    <a:cubicBezTo>
                      <a:pt x="145" y="392"/>
                      <a:pt x="110" y="447"/>
                      <a:pt x="90" y="498"/>
                    </a:cubicBezTo>
                    <a:cubicBezTo>
                      <a:pt x="90" y="498"/>
                      <a:pt x="89" y="500"/>
                      <a:pt x="89" y="500"/>
                    </a:cubicBezTo>
                    <a:cubicBezTo>
                      <a:pt x="86" y="508"/>
                      <a:pt x="78" y="513"/>
                      <a:pt x="69" y="513"/>
                    </a:cubicBezTo>
                    <a:cubicBezTo>
                      <a:pt x="61" y="512"/>
                      <a:pt x="53" y="507"/>
                      <a:pt x="51" y="499"/>
                    </a:cubicBezTo>
                    <a:cubicBezTo>
                      <a:pt x="50" y="497"/>
                      <a:pt x="0" y="325"/>
                      <a:pt x="121" y="266"/>
                    </a:cubicBezTo>
                    <a:cubicBezTo>
                      <a:pt x="121" y="265"/>
                      <a:pt x="146" y="252"/>
                      <a:pt x="142" y="233"/>
                    </a:cubicBezTo>
                    <a:cubicBezTo>
                      <a:pt x="141" y="232"/>
                      <a:pt x="139" y="231"/>
                      <a:pt x="137" y="231"/>
                    </a:cubicBezTo>
                    <a:cubicBezTo>
                      <a:pt x="118" y="226"/>
                      <a:pt x="75" y="244"/>
                      <a:pt x="58" y="255"/>
                    </a:cubicBezTo>
                    <a:cubicBezTo>
                      <a:pt x="43" y="264"/>
                      <a:pt x="24" y="251"/>
                      <a:pt x="26" y="234"/>
                    </a:cubicBezTo>
                    <a:cubicBezTo>
                      <a:pt x="45" y="163"/>
                      <a:pt x="84" y="98"/>
                      <a:pt x="137" y="47"/>
                    </a:cubicBezTo>
                    <a:cubicBezTo>
                      <a:pt x="157" y="28"/>
                      <a:pt x="180" y="14"/>
                      <a:pt x="206" y="4"/>
                    </a:cubicBezTo>
                    <a:cubicBezTo>
                      <a:pt x="216" y="0"/>
                      <a:pt x="228" y="6"/>
                      <a:pt x="232" y="16"/>
                    </a:cubicBezTo>
                    <a:cubicBezTo>
                      <a:pt x="236" y="27"/>
                      <a:pt x="231" y="39"/>
                      <a:pt x="220" y="43"/>
                    </a:cubicBezTo>
                    <a:cubicBezTo>
                      <a:pt x="200" y="51"/>
                      <a:pt x="181" y="62"/>
                      <a:pt x="165" y="77"/>
                    </a:cubicBezTo>
                    <a:cubicBezTo>
                      <a:pt x="130" y="111"/>
                      <a:pt x="102" y="152"/>
                      <a:pt x="83" y="198"/>
                    </a:cubicBezTo>
                    <a:cubicBezTo>
                      <a:pt x="103" y="189"/>
                      <a:pt x="125" y="187"/>
                      <a:pt x="147" y="190"/>
                    </a:cubicBezTo>
                    <a:cubicBezTo>
                      <a:pt x="161" y="194"/>
                      <a:pt x="173" y="203"/>
                      <a:pt x="179" y="215"/>
                    </a:cubicBezTo>
                    <a:cubicBezTo>
                      <a:pt x="180" y="216"/>
                      <a:pt x="180" y="217"/>
                      <a:pt x="181" y="218"/>
                    </a:cubicBezTo>
                    <a:cubicBezTo>
                      <a:pt x="195" y="260"/>
                      <a:pt x="160" y="292"/>
                      <a:pt x="140" y="303"/>
                    </a:cubicBezTo>
                    <a:cubicBezTo>
                      <a:pt x="90" y="327"/>
                      <a:pt x="80" y="380"/>
                      <a:pt x="81" y="423"/>
                    </a:cubicBezTo>
                    <a:cubicBezTo>
                      <a:pt x="104" y="386"/>
                      <a:pt x="138" y="351"/>
                      <a:pt x="183" y="349"/>
                    </a:cubicBezTo>
                    <a:cubicBezTo>
                      <a:pt x="206" y="349"/>
                      <a:pt x="229" y="342"/>
                      <a:pt x="249" y="329"/>
                    </a:cubicBezTo>
                    <a:cubicBezTo>
                      <a:pt x="268" y="318"/>
                      <a:pt x="289" y="340"/>
                      <a:pt x="277" y="359"/>
                    </a:cubicBezTo>
                    <a:cubicBezTo>
                      <a:pt x="267" y="372"/>
                      <a:pt x="270" y="401"/>
                      <a:pt x="276" y="429"/>
                    </a:cubicBezTo>
                    <a:cubicBezTo>
                      <a:pt x="292" y="399"/>
                      <a:pt x="318" y="375"/>
                      <a:pt x="349" y="362"/>
                    </a:cubicBezTo>
                    <a:cubicBezTo>
                      <a:pt x="353" y="360"/>
                      <a:pt x="353" y="360"/>
                      <a:pt x="353" y="360"/>
                    </a:cubicBezTo>
                    <a:cubicBezTo>
                      <a:pt x="399" y="340"/>
                      <a:pt x="434" y="299"/>
                      <a:pt x="447" y="250"/>
                    </a:cubicBezTo>
                    <a:cubicBezTo>
                      <a:pt x="450" y="239"/>
                      <a:pt x="462" y="232"/>
                      <a:pt x="473" y="235"/>
                    </a:cubicBezTo>
                    <a:cubicBezTo>
                      <a:pt x="484" y="238"/>
                      <a:pt x="490" y="249"/>
                      <a:pt x="487" y="260"/>
                    </a:cubicBezTo>
                    <a:cubicBezTo>
                      <a:pt x="471" y="322"/>
                      <a:pt x="428" y="372"/>
                      <a:pt x="370" y="398"/>
                    </a:cubicBezTo>
                    <a:cubicBezTo>
                      <a:pt x="366" y="400"/>
                      <a:pt x="366" y="400"/>
                      <a:pt x="366" y="400"/>
                    </a:cubicBezTo>
                    <a:cubicBezTo>
                      <a:pt x="326" y="418"/>
                      <a:pt x="300" y="457"/>
                      <a:pt x="298" y="500"/>
                    </a:cubicBezTo>
                    <a:cubicBezTo>
                      <a:pt x="298" y="512"/>
                      <a:pt x="289" y="521"/>
                      <a:pt x="278" y="521"/>
                    </a:cubicBezTo>
                    <a:close/>
                    <a:moveTo>
                      <a:pt x="278" y="521"/>
                    </a:moveTo>
                    <a:cubicBezTo>
                      <a:pt x="278" y="521"/>
                      <a:pt x="278" y="521"/>
                      <a:pt x="278" y="5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grpSp>
        <p:grpSp>
          <p:nvGrpSpPr>
            <p:cNvPr id="1101" name="Group 84">
              <a:extLst>
                <a:ext uri="{FF2B5EF4-FFF2-40B4-BE49-F238E27FC236}">
                  <a16:creationId xmlns:a16="http://schemas.microsoft.com/office/drawing/2014/main" id="{5C1A1262-96FD-8CAA-A2E1-5997506F2A32}"/>
                </a:ext>
              </a:extLst>
            </p:cNvPr>
            <p:cNvGrpSpPr/>
            <p:nvPr/>
          </p:nvGrpSpPr>
          <p:grpSpPr>
            <a:xfrm>
              <a:off x="8650591" y="4528621"/>
              <a:ext cx="826396" cy="800557"/>
              <a:chOff x="20280313" y="2420938"/>
              <a:chExt cx="1416050" cy="1382712"/>
            </a:xfrm>
            <a:solidFill>
              <a:schemeClr val="bg1"/>
            </a:solidFill>
          </p:grpSpPr>
          <p:sp>
            <p:nvSpPr>
              <p:cNvPr id="1107" name="Freeform 18">
                <a:extLst>
                  <a:ext uri="{FF2B5EF4-FFF2-40B4-BE49-F238E27FC236}">
                    <a16:creationId xmlns:a16="http://schemas.microsoft.com/office/drawing/2014/main" id="{EC24C815-14E3-B0D5-93B0-68E2FB1FF085}"/>
                  </a:ext>
                </a:extLst>
              </p:cNvPr>
              <p:cNvSpPr>
                <a:spLocks noEditPoints="1"/>
              </p:cNvSpPr>
              <p:nvPr/>
            </p:nvSpPr>
            <p:spPr bwMode="auto">
              <a:xfrm>
                <a:off x="20731163" y="2498725"/>
                <a:ext cx="965200" cy="388938"/>
              </a:xfrm>
              <a:custGeom>
                <a:avLst/>
                <a:gdLst>
                  <a:gd name="T0" fmla="*/ 698 w 995"/>
                  <a:gd name="T1" fmla="*/ 404 h 404"/>
                  <a:gd name="T2" fmla="*/ 21 w 995"/>
                  <a:gd name="T3" fmla="*/ 404 h 404"/>
                  <a:gd name="T4" fmla="*/ 0 w 995"/>
                  <a:gd name="T5" fmla="*/ 383 h 404"/>
                  <a:gd name="T6" fmla="*/ 0 w 995"/>
                  <a:gd name="T7" fmla="*/ 21 h 404"/>
                  <a:gd name="T8" fmla="*/ 21 w 995"/>
                  <a:gd name="T9" fmla="*/ 0 h 404"/>
                  <a:gd name="T10" fmla="*/ 698 w 995"/>
                  <a:gd name="T11" fmla="*/ 0 h 404"/>
                  <a:gd name="T12" fmla="*/ 710 w 995"/>
                  <a:gd name="T13" fmla="*/ 4 h 404"/>
                  <a:gd name="T14" fmla="*/ 982 w 995"/>
                  <a:gd name="T15" fmla="*/ 185 h 404"/>
                  <a:gd name="T16" fmla="*/ 982 w 995"/>
                  <a:gd name="T17" fmla="*/ 219 h 404"/>
                  <a:gd name="T18" fmla="*/ 710 w 995"/>
                  <a:gd name="T19" fmla="*/ 400 h 404"/>
                  <a:gd name="T20" fmla="*/ 698 w 995"/>
                  <a:gd name="T21" fmla="*/ 404 h 404"/>
                  <a:gd name="T22" fmla="*/ 41 w 995"/>
                  <a:gd name="T23" fmla="*/ 362 h 404"/>
                  <a:gd name="T24" fmla="*/ 692 w 995"/>
                  <a:gd name="T25" fmla="*/ 362 h 404"/>
                  <a:gd name="T26" fmla="*/ 933 w 995"/>
                  <a:gd name="T27" fmla="*/ 202 h 404"/>
                  <a:gd name="T28" fmla="*/ 692 w 995"/>
                  <a:gd name="T29" fmla="*/ 42 h 404"/>
                  <a:gd name="T30" fmla="*/ 41 w 995"/>
                  <a:gd name="T31" fmla="*/ 42 h 404"/>
                  <a:gd name="T32" fmla="*/ 41 w 995"/>
                  <a:gd name="T33" fmla="*/ 362 h 404"/>
                  <a:gd name="T34" fmla="*/ 41 w 995"/>
                  <a:gd name="T35" fmla="*/ 362 h 404"/>
                  <a:gd name="T36" fmla="*/ 41 w 995"/>
                  <a:gd name="T37" fmla="*/ 36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95" h="404">
                    <a:moveTo>
                      <a:pt x="698" y="404"/>
                    </a:moveTo>
                    <a:cubicBezTo>
                      <a:pt x="21" y="404"/>
                      <a:pt x="21" y="404"/>
                      <a:pt x="21" y="404"/>
                    </a:cubicBezTo>
                    <a:cubicBezTo>
                      <a:pt x="9" y="404"/>
                      <a:pt x="0" y="394"/>
                      <a:pt x="0" y="383"/>
                    </a:cubicBezTo>
                    <a:cubicBezTo>
                      <a:pt x="0" y="21"/>
                      <a:pt x="0" y="21"/>
                      <a:pt x="0" y="21"/>
                    </a:cubicBezTo>
                    <a:cubicBezTo>
                      <a:pt x="0" y="10"/>
                      <a:pt x="9" y="0"/>
                      <a:pt x="21" y="0"/>
                    </a:cubicBezTo>
                    <a:cubicBezTo>
                      <a:pt x="698" y="0"/>
                      <a:pt x="698" y="0"/>
                      <a:pt x="698" y="0"/>
                    </a:cubicBezTo>
                    <a:cubicBezTo>
                      <a:pt x="702" y="0"/>
                      <a:pt x="706" y="2"/>
                      <a:pt x="710" y="4"/>
                    </a:cubicBezTo>
                    <a:cubicBezTo>
                      <a:pt x="982" y="185"/>
                      <a:pt x="982" y="185"/>
                      <a:pt x="982" y="185"/>
                    </a:cubicBezTo>
                    <a:cubicBezTo>
                      <a:pt x="995" y="193"/>
                      <a:pt x="995" y="211"/>
                      <a:pt x="982" y="219"/>
                    </a:cubicBezTo>
                    <a:cubicBezTo>
                      <a:pt x="710" y="400"/>
                      <a:pt x="710" y="400"/>
                      <a:pt x="710" y="400"/>
                    </a:cubicBezTo>
                    <a:cubicBezTo>
                      <a:pt x="706" y="402"/>
                      <a:pt x="702" y="404"/>
                      <a:pt x="698" y="404"/>
                    </a:cubicBezTo>
                    <a:close/>
                    <a:moveTo>
                      <a:pt x="41" y="362"/>
                    </a:moveTo>
                    <a:cubicBezTo>
                      <a:pt x="692" y="362"/>
                      <a:pt x="692" y="362"/>
                      <a:pt x="692" y="362"/>
                    </a:cubicBezTo>
                    <a:cubicBezTo>
                      <a:pt x="933" y="202"/>
                      <a:pt x="933" y="202"/>
                      <a:pt x="933" y="202"/>
                    </a:cubicBezTo>
                    <a:cubicBezTo>
                      <a:pt x="692" y="42"/>
                      <a:pt x="692" y="42"/>
                      <a:pt x="692" y="42"/>
                    </a:cubicBezTo>
                    <a:cubicBezTo>
                      <a:pt x="41" y="42"/>
                      <a:pt x="41" y="42"/>
                      <a:pt x="41" y="42"/>
                    </a:cubicBezTo>
                    <a:lnTo>
                      <a:pt x="41" y="362"/>
                    </a:lnTo>
                    <a:close/>
                    <a:moveTo>
                      <a:pt x="41" y="362"/>
                    </a:moveTo>
                    <a:cubicBezTo>
                      <a:pt x="41" y="362"/>
                      <a:pt x="41" y="362"/>
                      <a:pt x="41" y="3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08" name="Freeform 19">
                <a:extLst>
                  <a:ext uri="{FF2B5EF4-FFF2-40B4-BE49-F238E27FC236}">
                    <a16:creationId xmlns:a16="http://schemas.microsoft.com/office/drawing/2014/main" id="{6A9AB995-B90F-7AC2-4825-011D4D0DC553}"/>
                  </a:ext>
                </a:extLst>
              </p:cNvPr>
              <p:cNvSpPr>
                <a:spLocks noEditPoints="1"/>
              </p:cNvSpPr>
              <p:nvPr/>
            </p:nvSpPr>
            <p:spPr bwMode="auto">
              <a:xfrm>
                <a:off x="20280313" y="2924175"/>
                <a:ext cx="965200" cy="388938"/>
              </a:xfrm>
              <a:custGeom>
                <a:avLst/>
                <a:gdLst>
                  <a:gd name="T0" fmla="*/ 974 w 995"/>
                  <a:gd name="T1" fmla="*/ 403 h 403"/>
                  <a:gd name="T2" fmla="*/ 297 w 995"/>
                  <a:gd name="T3" fmla="*/ 403 h 403"/>
                  <a:gd name="T4" fmla="*/ 285 w 995"/>
                  <a:gd name="T5" fmla="*/ 400 h 403"/>
                  <a:gd name="T6" fmla="*/ 13 w 995"/>
                  <a:gd name="T7" fmla="*/ 219 h 403"/>
                  <a:gd name="T8" fmla="*/ 13 w 995"/>
                  <a:gd name="T9" fmla="*/ 184 h 403"/>
                  <a:gd name="T10" fmla="*/ 285 w 995"/>
                  <a:gd name="T11" fmla="*/ 3 h 403"/>
                  <a:gd name="T12" fmla="*/ 297 w 995"/>
                  <a:gd name="T13" fmla="*/ 0 h 403"/>
                  <a:gd name="T14" fmla="*/ 974 w 995"/>
                  <a:gd name="T15" fmla="*/ 0 h 403"/>
                  <a:gd name="T16" fmla="*/ 995 w 995"/>
                  <a:gd name="T17" fmla="*/ 21 h 403"/>
                  <a:gd name="T18" fmla="*/ 995 w 995"/>
                  <a:gd name="T19" fmla="*/ 382 h 403"/>
                  <a:gd name="T20" fmla="*/ 974 w 995"/>
                  <a:gd name="T21" fmla="*/ 403 h 403"/>
                  <a:gd name="T22" fmla="*/ 303 w 995"/>
                  <a:gd name="T23" fmla="*/ 362 h 403"/>
                  <a:gd name="T24" fmla="*/ 954 w 995"/>
                  <a:gd name="T25" fmla="*/ 362 h 403"/>
                  <a:gd name="T26" fmla="*/ 954 w 995"/>
                  <a:gd name="T27" fmla="*/ 42 h 403"/>
                  <a:gd name="T28" fmla="*/ 303 w 995"/>
                  <a:gd name="T29" fmla="*/ 42 h 403"/>
                  <a:gd name="T30" fmla="*/ 62 w 995"/>
                  <a:gd name="T31" fmla="*/ 202 h 403"/>
                  <a:gd name="T32" fmla="*/ 303 w 995"/>
                  <a:gd name="T33" fmla="*/ 362 h 403"/>
                  <a:gd name="T34" fmla="*/ 303 w 995"/>
                  <a:gd name="T35" fmla="*/ 362 h 403"/>
                  <a:gd name="T36" fmla="*/ 303 w 995"/>
                  <a:gd name="T37" fmla="*/ 362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95" h="403">
                    <a:moveTo>
                      <a:pt x="974" y="403"/>
                    </a:moveTo>
                    <a:cubicBezTo>
                      <a:pt x="297" y="403"/>
                      <a:pt x="297" y="403"/>
                      <a:pt x="297" y="403"/>
                    </a:cubicBezTo>
                    <a:cubicBezTo>
                      <a:pt x="293" y="403"/>
                      <a:pt x="289" y="402"/>
                      <a:pt x="285" y="400"/>
                    </a:cubicBezTo>
                    <a:cubicBezTo>
                      <a:pt x="13" y="219"/>
                      <a:pt x="13" y="219"/>
                      <a:pt x="13" y="219"/>
                    </a:cubicBezTo>
                    <a:cubicBezTo>
                      <a:pt x="0" y="211"/>
                      <a:pt x="0" y="193"/>
                      <a:pt x="13" y="184"/>
                    </a:cubicBezTo>
                    <a:cubicBezTo>
                      <a:pt x="285" y="3"/>
                      <a:pt x="285" y="3"/>
                      <a:pt x="285" y="3"/>
                    </a:cubicBezTo>
                    <a:cubicBezTo>
                      <a:pt x="289" y="1"/>
                      <a:pt x="293" y="0"/>
                      <a:pt x="297" y="0"/>
                    </a:cubicBezTo>
                    <a:cubicBezTo>
                      <a:pt x="974" y="0"/>
                      <a:pt x="974" y="0"/>
                      <a:pt x="974" y="0"/>
                    </a:cubicBezTo>
                    <a:cubicBezTo>
                      <a:pt x="986" y="0"/>
                      <a:pt x="995" y="9"/>
                      <a:pt x="995" y="21"/>
                    </a:cubicBezTo>
                    <a:cubicBezTo>
                      <a:pt x="995" y="382"/>
                      <a:pt x="995" y="382"/>
                      <a:pt x="995" y="382"/>
                    </a:cubicBezTo>
                    <a:cubicBezTo>
                      <a:pt x="995" y="394"/>
                      <a:pt x="986" y="403"/>
                      <a:pt x="974" y="403"/>
                    </a:cubicBezTo>
                    <a:close/>
                    <a:moveTo>
                      <a:pt x="303" y="362"/>
                    </a:moveTo>
                    <a:cubicBezTo>
                      <a:pt x="954" y="362"/>
                      <a:pt x="954" y="362"/>
                      <a:pt x="954" y="362"/>
                    </a:cubicBezTo>
                    <a:cubicBezTo>
                      <a:pt x="954" y="42"/>
                      <a:pt x="954" y="42"/>
                      <a:pt x="954" y="42"/>
                    </a:cubicBezTo>
                    <a:cubicBezTo>
                      <a:pt x="303" y="42"/>
                      <a:pt x="303" y="42"/>
                      <a:pt x="303" y="42"/>
                    </a:cubicBezTo>
                    <a:cubicBezTo>
                      <a:pt x="62" y="202"/>
                      <a:pt x="62" y="202"/>
                      <a:pt x="62" y="202"/>
                    </a:cubicBezTo>
                    <a:lnTo>
                      <a:pt x="303" y="362"/>
                    </a:lnTo>
                    <a:close/>
                    <a:moveTo>
                      <a:pt x="303" y="362"/>
                    </a:moveTo>
                    <a:cubicBezTo>
                      <a:pt x="303" y="362"/>
                      <a:pt x="303" y="362"/>
                      <a:pt x="303" y="3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09" name="Freeform 20">
                <a:extLst>
                  <a:ext uri="{FF2B5EF4-FFF2-40B4-BE49-F238E27FC236}">
                    <a16:creationId xmlns:a16="http://schemas.microsoft.com/office/drawing/2014/main" id="{4D6AA7A9-F71F-F073-7F9B-5907267ED927}"/>
                  </a:ext>
                </a:extLst>
              </p:cNvPr>
              <p:cNvSpPr>
                <a:spLocks noEditPoints="1"/>
              </p:cNvSpPr>
              <p:nvPr/>
            </p:nvSpPr>
            <p:spPr bwMode="auto">
              <a:xfrm>
                <a:off x="20907375" y="2420938"/>
                <a:ext cx="161925" cy="117475"/>
              </a:xfrm>
              <a:custGeom>
                <a:avLst/>
                <a:gdLst>
                  <a:gd name="T0" fmla="*/ 148 w 168"/>
                  <a:gd name="T1" fmla="*/ 122 h 122"/>
                  <a:gd name="T2" fmla="*/ 20 w 168"/>
                  <a:gd name="T3" fmla="*/ 122 h 122"/>
                  <a:gd name="T4" fmla="*/ 0 w 168"/>
                  <a:gd name="T5" fmla="*/ 101 h 122"/>
                  <a:gd name="T6" fmla="*/ 0 w 168"/>
                  <a:gd name="T7" fmla="*/ 21 h 122"/>
                  <a:gd name="T8" fmla="*/ 20 w 168"/>
                  <a:gd name="T9" fmla="*/ 0 h 122"/>
                  <a:gd name="T10" fmla="*/ 148 w 168"/>
                  <a:gd name="T11" fmla="*/ 0 h 122"/>
                  <a:gd name="T12" fmla="*/ 168 w 168"/>
                  <a:gd name="T13" fmla="*/ 21 h 122"/>
                  <a:gd name="T14" fmla="*/ 168 w 168"/>
                  <a:gd name="T15" fmla="*/ 101 h 122"/>
                  <a:gd name="T16" fmla="*/ 148 w 168"/>
                  <a:gd name="T17" fmla="*/ 122 h 122"/>
                  <a:gd name="T18" fmla="*/ 41 w 168"/>
                  <a:gd name="T19" fmla="*/ 80 h 122"/>
                  <a:gd name="T20" fmla="*/ 127 w 168"/>
                  <a:gd name="T21" fmla="*/ 80 h 122"/>
                  <a:gd name="T22" fmla="*/ 127 w 168"/>
                  <a:gd name="T23" fmla="*/ 42 h 122"/>
                  <a:gd name="T24" fmla="*/ 41 w 168"/>
                  <a:gd name="T25" fmla="*/ 42 h 122"/>
                  <a:gd name="T26" fmla="*/ 41 w 168"/>
                  <a:gd name="T27" fmla="*/ 80 h 122"/>
                  <a:gd name="T28" fmla="*/ 41 w 168"/>
                  <a:gd name="T29" fmla="*/ 80 h 122"/>
                  <a:gd name="T30" fmla="*/ 41 w 168"/>
                  <a:gd name="T31" fmla="*/ 8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22">
                    <a:moveTo>
                      <a:pt x="148" y="122"/>
                    </a:moveTo>
                    <a:cubicBezTo>
                      <a:pt x="20" y="122"/>
                      <a:pt x="20" y="122"/>
                      <a:pt x="20" y="122"/>
                    </a:cubicBezTo>
                    <a:cubicBezTo>
                      <a:pt x="9" y="122"/>
                      <a:pt x="0" y="113"/>
                      <a:pt x="0" y="101"/>
                    </a:cubicBezTo>
                    <a:cubicBezTo>
                      <a:pt x="0" y="21"/>
                      <a:pt x="0" y="21"/>
                      <a:pt x="0" y="21"/>
                    </a:cubicBezTo>
                    <a:cubicBezTo>
                      <a:pt x="0" y="9"/>
                      <a:pt x="9" y="0"/>
                      <a:pt x="20" y="0"/>
                    </a:cubicBezTo>
                    <a:cubicBezTo>
                      <a:pt x="148" y="0"/>
                      <a:pt x="148" y="0"/>
                      <a:pt x="148" y="0"/>
                    </a:cubicBezTo>
                    <a:cubicBezTo>
                      <a:pt x="159" y="0"/>
                      <a:pt x="168" y="9"/>
                      <a:pt x="168" y="21"/>
                    </a:cubicBezTo>
                    <a:cubicBezTo>
                      <a:pt x="168" y="101"/>
                      <a:pt x="168" y="101"/>
                      <a:pt x="168" y="101"/>
                    </a:cubicBezTo>
                    <a:cubicBezTo>
                      <a:pt x="168" y="113"/>
                      <a:pt x="159" y="122"/>
                      <a:pt x="148" y="122"/>
                    </a:cubicBezTo>
                    <a:close/>
                    <a:moveTo>
                      <a:pt x="41" y="80"/>
                    </a:moveTo>
                    <a:cubicBezTo>
                      <a:pt x="127" y="80"/>
                      <a:pt x="127" y="80"/>
                      <a:pt x="127" y="80"/>
                    </a:cubicBezTo>
                    <a:cubicBezTo>
                      <a:pt x="127" y="42"/>
                      <a:pt x="127" y="42"/>
                      <a:pt x="127" y="42"/>
                    </a:cubicBezTo>
                    <a:cubicBezTo>
                      <a:pt x="41" y="42"/>
                      <a:pt x="41" y="42"/>
                      <a:pt x="41" y="42"/>
                    </a:cubicBezTo>
                    <a:lnTo>
                      <a:pt x="41" y="80"/>
                    </a:lnTo>
                    <a:close/>
                    <a:moveTo>
                      <a:pt x="41" y="80"/>
                    </a:moveTo>
                    <a:cubicBezTo>
                      <a:pt x="41" y="80"/>
                      <a:pt x="41" y="80"/>
                      <a:pt x="41" y="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10" name="Freeform 21">
                <a:extLst>
                  <a:ext uri="{FF2B5EF4-FFF2-40B4-BE49-F238E27FC236}">
                    <a16:creationId xmlns:a16="http://schemas.microsoft.com/office/drawing/2014/main" id="{D448C88B-E724-B87F-3FBE-A620FEC29405}"/>
                  </a:ext>
                </a:extLst>
              </p:cNvPr>
              <p:cNvSpPr>
                <a:spLocks noEditPoints="1"/>
              </p:cNvSpPr>
              <p:nvPr/>
            </p:nvSpPr>
            <p:spPr bwMode="auto">
              <a:xfrm>
                <a:off x="20907375" y="2846388"/>
                <a:ext cx="161925" cy="119063"/>
              </a:xfrm>
              <a:custGeom>
                <a:avLst/>
                <a:gdLst>
                  <a:gd name="T0" fmla="*/ 148 w 168"/>
                  <a:gd name="T1" fmla="*/ 123 h 123"/>
                  <a:gd name="T2" fmla="*/ 20 w 168"/>
                  <a:gd name="T3" fmla="*/ 123 h 123"/>
                  <a:gd name="T4" fmla="*/ 0 w 168"/>
                  <a:gd name="T5" fmla="*/ 102 h 123"/>
                  <a:gd name="T6" fmla="*/ 0 w 168"/>
                  <a:gd name="T7" fmla="*/ 21 h 123"/>
                  <a:gd name="T8" fmla="*/ 20 w 168"/>
                  <a:gd name="T9" fmla="*/ 0 h 123"/>
                  <a:gd name="T10" fmla="*/ 148 w 168"/>
                  <a:gd name="T11" fmla="*/ 0 h 123"/>
                  <a:gd name="T12" fmla="*/ 168 w 168"/>
                  <a:gd name="T13" fmla="*/ 21 h 123"/>
                  <a:gd name="T14" fmla="*/ 168 w 168"/>
                  <a:gd name="T15" fmla="*/ 102 h 123"/>
                  <a:gd name="T16" fmla="*/ 148 w 168"/>
                  <a:gd name="T17" fmla="*/ 123 h 123"/>
                  <a:gd name="T18" fmla="*/ 41 w 168"/>
                  <a:gd name="T19" fmla="*/ 81 h 123"/>
                  <a:gd name="T20" fmla="*/ 127 w 168"/>
                  <a:gd name="T21" fmla="*/ 81 h 123"/>
                  <a:gd name="T22" fmla="*/ 127 w 168"/>
                  <a:gd name="T23" fmla="*/ 42 h 123"/>
                  <a:gd name="T24" fmla="*/ 41 w 168"/>
                  <a:gd name="T25" fmla="*/ 42 h 123"/>
                  <a:gd name="T26" fmla="*/ 41 w 168"/>
                  <a:gd name="T27" fmla="*/ 81 h 123"/>
                  <a:gd name="T28" fmla="*/ 41 w 168"/>
                  <a:gd name="T29" fmla="*/ 81 h 123"/>
                  <a:gd name="T30" fmla="*/ 41 w 168"/>
                  <a:gd name="T31" fmla="*/ 8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23">
                    <a:moveTo>
                      <a:pt x="148" y="123"/>
                    </a:moveTo>
                    <a:cubicBezTo>
                      <a:pt x="20" y="123"/>
                      <a:pt x="20" y="123"/>
                      <a:pt x="20" y="123"/>
                    </a:cubicBezTo>
                    <a:cubicBezTo>
                      <a:pt x="9" y="123"/>
                      <a:pt x="0" y="113"/>
                      <a:pt x="0" y="102"/>
                    </a:cubicBezTo>
                    <a:cubicBezTo>
                      <a:pt x="0" y="21"/>
                      <a:pt x="0" y="21"/>
                      <a:pt x="0" y="21"/>
                    </a:cubicBezTo>
                    <a:cubicBezTo>
                      <a:pt x="0" y="9"/>
                      <a:pt x="9" y="0"/>
                      <a:pt x="20" y="0"/>
                    </a:cubicBezTo>
                    <a:cubicBezTo>
                      <a:pt x="148" y="0"/>
                      <a:pt x="148" y="0"/>
                      <a:pt x="148" y="0"/>
                    </a:cubicBezTo>
                    <a:cubicBezTo>
                      <a:pt x="159" y="0"/>
                      <a:pt x="168" y="9"/>
                      <a:pt x="168" y="21"/>
                    </a:cubicBezTo>
                    <a:cubicBezTo>
                      <a:pt x="168" y="102"/>
                      <a:pt x="168" y="102"/>
                      <a:pt x="168" y="102"/>
                    </a:cubicBezTo>
                    <a:cubicBezTo>
                      <a:pt x="168" y="113"/>
                      <a:pt x="159" y="123"/>
                      <a:pt x="148" y="123"/>
                    </a:cubicBezTo>
                    <a:close/>
                    <a:moveTo>
                      <a:pt x="41" y="81"/>
                    </a:moveTo>
                    <a:cubicBezTo>
                      <a:pt x="127" y="81"/>
                      <a:pt x="127" y="81"/>
                      <a:pt x="127" y="81"/>
                    </a:cubicBezTo>
                    <a:cubicBezTo>
                      <a:pt x="127" y="42"/>
                      <a:pt x="127" y="42"/>
                      <a:pt x="127" y="42"/>
                    </a:cubicBezTo>
                    <a:cubicBezTo>
                      <a:pt x="41" y="42"/>
                      <a:pt x="41" y="42"/>
                      <a:pt x="41" y="42"/>
                    </a:cubicBezTo>
                    <a:lnTo>
                      <a:pt x="41" y="81"/>
                    </a:lnTo>
                    <a:close/>
                    <a:moveTo>
                      <a:pt x="41" y="81"/>
                    </a:moveTo>
                    <a:cubicBezTo>
                      <a:pt x="41" y="81"/>
                      <a:pt x="41" y="81"/>
                      <a:pt x="41" y="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11" name="Freeform 22">
                <a:extLst>
                  <a:ext uri="{FF2B5EF4-FFF2-40B4-BE49-F238E27FC236}">
                    <a16:creationId xmlns:a16="http://schemas.microsoft.com/office/drawing/2014/main" id="{A20B6548-B98A-02B8-9CF5-08BA5AEF7CAE}"/>
                  </a:ext>
                </a:extLst>
              </p:cNvPr>
              <p:cNvSpPr>
                <a:spLocks noEditPoints="1"/>
              </p:cNvSpPr>
              <p:nvPr/>
            </p:nvSpPr>
            <p:spPr bwMode="auto">
              <a:xfrm>
                <a:off x="20907375" y="3273425"/>
                <a:ext cx="161925" cy="382588"/>
              </a:xfrm>
              <a:custGeom>
                <a:avLst/>
                <a:gdLst>
                  <a:gd name="T0" fmla="*/ 148 w 168"/>
                  <a:gd name="T1" fmla="*/ 398 h 398"/>
                  <a:gd name="T2" fmla="*/ 20 w 168"/>
                  <a:gd name="T3" fmla="*/ 398 h 398"/>
                  <a:gd name="T4" fmla="*/ 0 w 168"/>
                  <a:gd name="T5" fmla="*/ 377 h 398"/>
                  <a:gd name="T6" fmla="*/ 0 w 168"/>
                  <a:gd name="T7" fmla="*/ 20 h 398"/>
                  <a:gd name="T8" fmla="*/ 20 w 168"/>
                  <a:gd name="T9" fmla="*/ 0 h 398"/>
                  <a:gd name="T10" fmla="*/ 148 w 168"/>
                  <a:gd name="T11" fmla="*/ 0 h 398"/>
                  <a:gd name="T12" fmla="*/ 168 w 168"/>
                  <a:gd name="T13" fmla="*/ 20 h 398"/>
                  <a:gd name="T14" fmla="*/ 168 w 168"/>
                  <a:gd name="T15" fmla="*/ 377 h 398"/>
                  <a:gd name="T16" fmla="*/ 148 w 168"/>
                  <a:gd name="T17" fmla="*/ 398 h 398"/>
                  <a:gd name="T18" fmla="*/ 41 w 168"/>
                  <a:gd name="T19" fmla="*/ 356 h 398"/>
                  <a:gd name="T20" fmla="*/ 127 w 168"/>
                  <a:gd name="T21" fmla="*/ 356 h 398"/>
                  <a:gd name="T22" fmla="*/ 127 w 168"/>
                  <a:gd name="T23" fmla="*/ 41 h 398"/>
                  <a:gd name="T24" fmla="*/ 41 w 168"/>
                  <a:gd name="T25" fmla="*/ 41 h 398"/>
                  <a:gd name="T26" fmla="*/ 41 w 168"/>
                  <a:gd name="T27" fmla="*/ 356 h 398"/>
                  <a:gd name="T28" fmla="*/ 41 w 168"/>
                  <a:gd name="T29" fmla="*/ 356 h 398"/>
                  <a:gd name="T30" fmla="*/ 41 w 168"/>
                  <a:gd name="T31" fmla="*/ 35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398">
                    <a:moveTo>
                      <a:pt x="148" y="398"/>
                    </a:moveTo>
                    <a:cubicBezTo>
                      <a:pt x="20" y="398"/>
                      <a:pt x="20" y="398"/>
                      <a:pt x="20" y="398"/>
                    </a:cubicBezTo>
                    <a:cubicBezTo>
                      <a:pt x="9" y="398"/>
                      <a:pt x="0" y="389"/>
                      <a:pt x="0" y="377"/>
                    </a:cubicBezTo>
                    <a:cubicBezTo>
                      <a:pt x="0" y="20"/>
                      <a:pt x="0" y="20"/>
                      <a:pt x="0" y="20"/>
                    </a:cubicBezTo>
                    <a:cubicBezTo>
                      <a:pt x="0" y="9"/>
                      <a:pt x="9" y="0"/>
                      <a:pt x="20" y="0"/>
                    </a:cubicBezTo>
                    <a:cubicBezTo>
                      <a:pt x="148" y="0"/>
                      <a:pt x="148" y="0"/>
                      <a:pt x="148" y="0"/>
                    </a:cubicBezTo>
                    <a:cubicBezTo>
                      <a:pt x="159" y="0"/>
                      <a:pt x="168" y="9"/>
                      <a:pt x="168" y="20"/>
                    </a:cubicBezTo>
                    <a:cubicBezTo>
                      <a:pt x="168" y="377"/>
                      <a:pt x="168" y="377"/>
                      <a:pt x="168" y="377"/>
                    </a:cubicBezTo>
                    <a:cubicBezTo>
                      <a:pt x="168" y="389"/>
                      <a:pt x="159" y="398"/>
                      <a:pt x="148" y="398"/>
                    </a:cubicBezTo>
                    <a:close/>
                    <a:moveTo>
                      <a:pt x="41" y="356"/>
                    </a:moveTo>
                    <a:cubicBezTo>
                      <a:pt x="127" y="356"/>
                      <a:pt x="127" y="356"/>
                      <a:pt x="127" y="356"/>
                    </a:cubicBezTo>
                    <a:cubicBezTo>
                      <a:pt x="127" y="41"/>
                      <a:pt x="127" y="41"/>
                      <a:pt x="127" y="41"/>
                    </a:cubicBezTo>
                    <a:cubicBezTo>
                      <a:pt x="41" y="41"/>
                      <a:pt x="41" y="41"/>
                      <a:pt x="41" y="41"/>
                    </a:cubicBezTo>
                    <a:lnTo>
                      <a:pt x="41" y="356"/>
                    </a:lnTo>
                    <a:close/>
                    <a:moveTo>
                      <a:pt x="41" y="356"/>
                    </a:moveTo>
                    <a:cubicBezTo>
                      <a:pt x="41" y="356"/>
                      <a:pt x="41" y="356"/>
                      <a:pt x="41" y="3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12" name="Freeform 23">
                <a:extLst>
                  <a:ext uri="{FF2B5EF4-FFF2-40B4-BE49-F238E27FC236}">
                    <a16:creationId xmlns:a16="http://schemas.microsoft.com/office/drawing/2014/main" id="{18829BA8-E4D9-6FB1-8356-5324C2285AAA}"/>
                  </a:ext>
                </a:extLst>
              </p:cNvPr>
              <p:cNvSpPr>
                <a:spLocks noEditPoints="1"/>
              </p:cNvSpPr>
              <p:nvPr/>
            </p:nvSpPr>
            <p:spPr bwMode="auto">
              <a:xfrm>
                <a:off x="20664488" y="3616325"/>
                <a:ext cx="647700" cy="187325"/>
              </a:xfrm>
              <a:custGeom>
                <a:avLst/>
                <a:gdLst>
                  <a:gd name="T0" fmla="*/ 647 w 670"/>
                  <a:gd name="T1" fmla="*/ 195 h 195"/>
                  <a:gd name="T2" fmla="*/ 23 w 670"/>
                  <a:gd name="T3" fmla="*/ 195 h 195"/>
                  <a:gd name="T4" fmla="*/ 2 w 670"/>
                  <a:gd name="T5" fmla="*/ 174 h 195"/>
                  <a:gd name="T6" fmla="*/ 2 w 670"/>
                  <a:gd name="T7" fmla="*/ 156 h 195"/>
                  <a:gd name="T8" fmla="*/ 44 w 670"/>
                  <a:gd name="T9" fmla="*/ 46 h 195"/>
                  <a:gd name="T10" fmla="*/ 154 w 670"/>
                  <a:gd name="T11" fmla="*/ 0 h 195"/>
                  <a:gd name="T12" fmla="*/ 516 w 670"/>
                  <a:gd name="T13" fmla="*/ 0 h 195"/>
                  <a:gd name="T14" fmla="*/ 626 w 670"/>
                  <a:gd name="T15" fmla="*/ 46 h 195"/>
                  <a:gd name="T16" fmla="*/ 668 w 670"/>
                  <a:gd name="T17" fmla="*/ 156 h 195"/>
                  <a:gd name="T18" fmla="*/ 668 w 670"/>
                  <a:gd name="T19" fmla="*/ 174 h 195"/>
                  <a:gd name="T20" fmla="*/ 647 w 670"/>
                  <a:gd name="T21" fmla="*/ 195 h 195"/>
                  <a:gd name="T22" fmla="*/ 44 w 670"/>
                  <a:gd name="T23" fmla="*/ 153 h 195"/>
                  <a:gd name="T24" fmla="*/ 626 w 670"/>
                  <a:gd name="T25" fmla="*/ 153 h 195"/>
                  <a:gd name="T26" fmla="*/ 595 w 670"/>
                  <a:gd name="T27" fmla="*/ 74 h 195"/>
                  <a:gd name="T28" fmla="*/ 516 w 670"/>
                  <a:gd name="T29" fmla="*/ 42 h 195"/>
                  <a:gd name="T30" fmla="*/ 154 w 670"/>
                  <a:gd name="T31" fmla="*/ 42 h 195"/>
                  <a:gd name="T32" fmla="*/ 75 w 670"/>
                  <a:gd name="T33" fmla="*/ 74 h 195"/>
                  <a:gd name="T34" fmla="*/ 44 w 670"/>
                  <a:gd name="T35" fmla="*/ 153 h 195"/>
                  <a:gd name="T36" fmla="*/ 44 w 670"/>
                  <a:gd name="T37" fmla="*/ 153 h 195"/>
                  <a:gd name="T38" fmla="*/ 44 w 670"/>
                  <a:gd name="T39" fmla="*/ 15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0" h="195">
                    <a:moveTo>
                      <a:pt x="647" y="195"/>
                    </a:moveTo>
                    <a:cubicBezTo>
                      <a:pt x="23" y="195"/>
                      <a:pt x="23" y="195"/>
                      <a:pt x="23" y="195"/>
                    </a:cubicBezTo>
                    <a:cubicBezTo>
                      <a:pt x="11" y="195"/>
                      <a:pt x="2" y="186"/>
                      <a:pt x="2" y="174"/>
                    </a:cubicBezTo>
                    <a:cubicBezTo>
                      <a:pt x="2" y="156"/>
                      <a:pt x="2" y="156"/>
                      <a:pt x="2" y="156"/>
                    </a:cubicBezTo>
                    <a:cubicBezTo>
                      <a:pt x="0" y="115"/>
                      <a:pt x="16" y="75"/>
                      <a:pt x="44" y="46"/>
                    </a:cubicBezTo>
                    <a:cubicBezTo>
                      <a:pt x="73" y="16"/>
                      <a:pt x="113" y="0"/>
                      <a:pt x="154" y="0"/>
                    </a:cubicBezTo>
                    <a:cubicBezTo>
                      <a:pt x="516" y="0"/>
                      <a:pt x="516" y="0"/>
                      <a:pt x="516" y="0"/>
                    </a:cubicBezTo>
                    <a:cubicBezTo>
                      <a:pt x="557" y="0"/>
                      <a:pt x="597" y="16"/>
                      <a:pt x="626" y="46"/>
                    </a:cubicBezTo>
                    <a:cubicBezTo>
                      <a:pt x="654" y="75"/>
                      <a:pt x="670" y="115"/>
                      <a:pt x="668" y="156"/>
                    </a:cubicBezTo>
                    <a:cubicBezTo>
                      <a:pt x="668" y="174"/>
                      <a:pt x="668" y="174"/>
                      <a:pt x="668" y="174"/>
                    </a:cubicBezTo>
                    <a:cubicBezTo>
                      <a:pt x="668" y="186"/>
                      <a:pt x="659" y="195"/>
                      <a:pt x="647" y="195"/>
                    </a:cubicBezTo>
                    <a:close/>
                    <a:moveTo>
                      <a:pt x="44" y="153"/>
                    </a:moveTo>
                    <a:cubicBezTo>
                      <a:pt x="626" y="153"/>
                      <a:pt x="626" y="153"/>
                      <a:pt x="626" y="153"/>
                    </a:cubicBezTo>
                    <a:cubicBezTo>
                      <a:pt x="627" y="124"/>
                      <a:pt x="616" y="95"/>
                      <a:pt x="595" y="74"/>
                    </a:cubicBezTo>
                    <a:cubicBezTo>
                      <a:pt x="574" y="53"/>
                      <a:pt x="546" y="42"/>
                      <a:pt x="516" y="42"/>
                    </a:cubicBezTo>
                    <a:cubicBezTo>
                      <a:pt x="154" y="42"/>
                      <a:pt x="154" y="42"/>
                      <a:pt x="154" y="42"/>
                    </a:cubicBezTo>
                    <a:cubicBezTo>
                      <a:pt x="124" y="42"/>
                      <a:pt x="96" y="53"/>
                      <a:pt x="75" y="74"/>
                    </a:cubicBezTo>
                    <a:cubicBezTo>
                      <a:pt x="54" y="95"/>
                      <a:pt x="43" y="124"/>
                      <a:pt x="44" y="153"/>
                    </a:cubicBezTo>
                    <a:close/>
                    <a:moveTo>
                      <a:pt x="44" y="153"/>
                    </a:moveTo>
                    <a:cubicBezTo>
                      <a:pt x="44" y="153"/>
                      <a:pt x="44" y="153"/>
                      <a:pt x="44" y="1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13" name="Freeform 24">
                <a:extLst>
                  <a:ext uri="{FF2B5EF4-FFF2-40B4-BE49-F238E27FC236}">
                    <a16:creationId xmlns:a16="http://schemas.microsoft.com/office/drawing/2014/main" id="{AF29AB2C-81FB-3C0F-7CB9-4BBCD95FBD42}"/>
                  </a:ext>
                </a:extLst>
              </p:cNvPr>
              <p:cNvSpPr>
                <a:spLocks noEditPoints="1"/>
              </p:cNvSpPr>
              <p:nvPr/>
            </p:nvSpPr>
            <p:spPr bwMode="auto">
              <a:xfrm>
                <a:off x="20888325" y="2611438"/>
                <a:ext cx="430213" cy="39688"/>
              </a:xfrm>
              <a:custGeom>
                <a:avLst/>
                <a:gdLst>
                  <a:gd name="T0" fmla="*/ 415 w 443"/>
                  <a:gd name="T1" fmla="*/ 41 h 41"/>
                  <a:gd name="T2" fmla="*/ 28 w 443"/>
                  <a:gd name="T3" fmla="*/ 41 h 41"/>
                  <a:gd name="T4" fmla="*/ 28 w 443"/>
                  <a:gd name="T5" fmla="*/ 0 h 41"/>
                  <a:gd name="T6" fmla="*/ 415 w 443"/>
                  <a:gd name="T7" fmla="*/ 0 h 41"/>
                  <a:gd name="T8" fmla="*/ 415 w 443"/>
                  <a:gd name="T9" fmla="*/ 41 h 41"/>
                  <a:gd name="T10" fmla="*/ 415 w 443"/>
                  <a:gd name="T11" fmla="*/ 41 h 41"/>
                  <a:gd name="T12" fmla="*/ 415 w 443"/>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43" h="41">
                    <a:moveTo>
                      <a:pt x="415" y="41"/>
                    </a:moveTo>
                    <a:cubicBezTo>
                      <a:pt x="28" y="41"/>
                      <a:pt x="28" y="41"/>
                      <a:pt x="28" y="41"/>
                    </a:cubicBezTo>
                    <a:cubicBezTo>
                      <a:pt x="0" y="41"/>
                      <a:pt x="0" y="0"/>
                      <a:pt x="28" y="0"/>
                    </a:cubicBezTo>
                    <a:cubicBezTo>
                      <a:pt x="415" y="0"/>
                      <a:pt x="415" y="0"/>
                      <a:pt x="415" y="0"/>
                    </a:cubicBezTo>
                    <a:cubicBezTo>
                      <a:pt x="443" y="0"/>
                      <a:pt x="443" y="41"/>
                      <a:pt x="415" y="41"/>
                    </a:cubicBezTo>
                    <a:close/>
                    <a:moveTo>
                      <a:pt x="415" y="41"/>
                    </a:moveTo>
                    <a:cubicBezTo>
                      <a:pt x="415" y="41"/>
                      <a:pt x="415" y="41"/>
                      <a:pt x="415"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14" name="Freeform 25">
                <a:extLst>
                  <a:ext uri="{FF2B5EF4-FFF2-40B4-BE49-F238E27FC236}">
                    <a16:creationId xmlns:a16="http://schemas.microsoft.com/office/drawing/2014/main" id="{47FC1A2C-04E8-FBF4-C9AE-94513CE69E4B}"/>
                  </a:ext>
                </a:extLst>
              </p:cNvPr>
              <p:cNvSpPr>
                <a:spLocks noEditPoints="1"/>
              </p:cNvSpPr>
              <p:nvPr/>
            </p:nvSpPr>
            <p:spPr bwMode="auto">
              <a:xfrm>
                <a:off x="20888325" y="2733675"/>
                <a:ext cx="430213" cy="39688"/>
              </a:xfrm>
              <a:custGeom>
                <a:avLst/>
                <a:gdLst>
                  <a:gd name="T0" fmla="*/ 415 w 443"/>
                  <a:gd name="T1" fmla="*/ 41 h 41"/>
                  <a:gd name="T2" fmla="*/ 28 w 443"/>
                  <a:gd name="T3" fmla="*/ 41 h 41"/>
                  <a:gd name="T4" fmla="*/ 28 w 443"/>
                  <a:gd name="T5" fmla="*/ 0 h 41"/>
                  <a:gd name="T6" fmla="*/ 415 w 443"/>
                  <a:gd name="T7" fmla="*/ 0 h 41"/>
                  <a:gd name="T8" fmla="*/ 415 w 443"/>
                  <a:gd name="T9" fmla="*/ 41 h 41"/>
                  <a:gd name="T10" fmla="*/ 415 w 443"/>
                  <a:gd name="T11" fmla="*/ 41 h 41"/>
                  <a:gd name="T12" fmla="*/ 415 w 443"/>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43" h="41">
                    <a:moveTo>
                      <a:pt x="415" y="41"/>
                    </a:moveTo>
                    <a:cubicBezTo>
                      <a:pt x="28" y="41"/>
                      <a:pt x="28" y="41"/>
                      <a:pt x="28" y="41"/>
                    </a:cubicBezTo>
                    <a:cubicBezTo>
                      <a:pt x="0" y="41"/>
                      <a:pt x="0" y="0"/>
                      <a:pt x="28" y="0"/>
                    </a:cubicBezTo>
                    <a:cubicBezTo>
                      <a:pt x="415" y="0"/>
                      <a:pt x="415" y="0"/>
                      <a:pt x="415" y="0"/>
                    </a:cubicBezTo>
                    <a:cubicBezTo>
                      <a:pt x="443" y="0"/>
                      <a:pt x="443" y="41"/>
                      <a:pt x="415" y="41"/>
                    </a:cubicBezTo>
                    <a:close/>
                    <a:moveTo>
                      <a:pt x="415" y="41"/>
                    </a:moveTo>
                    <a:cubicBezTo>
                      <a:pt x="415" y="41"/>
                      <a:pt x="415" y="41"/>
                      <a:pt x="415"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15" name="Freeform 26">
                <a:extLst>
                  <a:ext uri="{FF2B5EF4-FFF2-40B4-BE49-F238E27FC236}">
                    <a16:creationId xmlns:a16="http://schemas.microsoft.com/office/drawing/2014/main" id="{BBCF2FA9-B559-3488-3D5F-6AC589F147A6}"/>
                  </a:ext>
                </a:extLst>
              </p:cNvPr>
              <p:cNvSpPr>
                <a:spLocks noEditPoints="1"/>
              </p:cNvSpPr>
              <p:nvPr/>
            </p:nvSpPr>
            <p:spPr bwMode="auto">
              <a:xfrm>
                <a:off x="20669250" y="3036888"/>
                <a:ext cx="430213" cy="41275"/>
              </a:xfrm>
              <a:custGeom>
                <a:avLst/>
                <a:gdLst>
                  <a:gd name="T0" fmla="*/ 416 w 443"/>
                  <a:gd name="T1" fmla="*/ 42 h 42"/>
                  <a:gd name="T2" fmla="*/ 28 w 443"/>
                  <a:gd name="T3" fmla="*/ 42 h 42"/>
                  <a:gd name="T4" fmla="*/ 28 w 443"/>
                  <a:gd name="T5" fmla="*/ 0 h 42"/>
                  <a:gd name="T6" fmla="*/ 416 w 443"/>
                  <a:gd name="T7" fmla="*/ 0 h 42"/>
                  <a:gd name="T8" fmla="*/ 416 w 443"/>
                  <a:gd name="T9" fmla="*/ 42 h 42"/>
                  <a:gd name="T10" fmla="*/ 416 w 443"/>
                  <a:gd name="T11" fmla="*/ 42 h 42"/>
                  <a:gd name="T12" fmla="*/ 416 w 443"/>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43" h="42">
                    <a:moveTo>
                      <a:pt x="416" y="42"/>
                    </a:moveTo>
                    <a:cubicBezTo>
                      <a:pt x="28" y="42"/>
                      <a:pt x="28" y="42"/>
                      <a:pt x="28" y="42"/>
                    </a:cubicBezTo>
                    <a:cubicBezTo>
                      <a:pt x="0" y="42"/>
                      <a:pt x="0" y="0"/>
                      <a:pt x="28" y="0"/>
                    </a:cubicBezTo>
                    <a:cubicBezTo>
                      <a:pt x="416" y="0"/>
                      <a:pt x="416" y="0"/>
                      <a:pt x="416" y="0"/>
                    </a:cubicBezTo>
                    <a:cubicBezTo>
                      <a:pt x="443" y="0"/>
                      <a:pt x="443" y="42"/>
                      <a:pt x="416" y="42"/>
                    </a:cubicBezTo>
                    <a:close/>
                    <a:moveTo>
                      <a:pt x="416" y="42"/>
                    </a:moveTo>
                    <a:cubicBezTo>
                      <a:pt x="416" y="42"/>
                      <a:pt x="416" y="42"/>
                      <a:pt x="416" y="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sp>
            <p:nvSpPr>
              <p:cNvPr id="1116" name="Freeform 27">
                <a:extLst>
                  <a:ext uri="{FF2B5EF4-FFF2-40B4-BE49-F238E27FC236}">
                    <a16:creationId xmlns:a16="http://schemas.microsoft.com/office/drawing/2014/main" id="{01102D86-5611-BD38-BDAA-A98BA2250955}"/>
                  </a:ext>
                </a:extLst>
              </p:cNvPr>
              <p:cNvSpPr>
                <a:spLocks noEditPoints="1"/>
              </p:cNvSpPr>
              <p:nvPr/>
            </p:nvSpPr>
            <p:spPr bwMode="auto">
              <a:xfrm>
                <a:off x="20669250" y="3159125"/>
                <a:ext cx="430213" cy="41275"/>
              </a:xfrm>
              <a:custGeom>
                <a:avLst/>
                <a:gdLst>
                  <a:gd name="T0" fmla="*/ 416 w 443"/>
                  <a:gd name="T1" fmla="*/ 42 h 42"/>
                  <a:gd name="T2" fmla="*/ 28 w 443"/>
                  <a:gd name="T3" fmla="*/ 42 h 42"/>
                  <a:gd name="T4" fmla="*/ 28 w 443"/>
                  <a:gd name="T5" fmla="*/ 0 h 42"/>
                  <a:gd name="T6" fmla="*/ 416 w 443"/>
                  <a:gd name="T7" fmla="*/ 0 h 42"/>
                  <a:gd name="T8" fmla="*/ 416 w 443"/>
                  <a:gd name="T9" fmla="*/ 42 h 42"/>
                  <a:gd name="T10" fmla="*/ 416 w 443"/>
                  <a:gd name="T11" fmla="*/ 42 h 42"/>
                  <a:gd name="T12" fmla="*/ 416 w 443"/>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43" h="42">
                    <a:moveTo>
                      <a:pt x="416" y="42"/>
                    </a:moveTo>
                    <a:cubicBezTo>
                      <a:pt x="28" y="42"/>
                      <a:pt x="28" y="42"/>
                      <a:pt x="28" y="42"/>
                    </a:cubicBezTo>
                    <a:cubicBezTo>
                      <a:pt x="0" y="42"/>
                      <a:pt x="0" y="0"/>
                      <a:pt x="28" y="0"/>
                    </a:cubicBezTo>
                    <a:cubicBezTo>
                      <a:pt x="416" y="0"/>
                      <a:pt x="416" y="0"/>
                      <a:pt x="416" y="0"/>
                    </a:cubicBezTo>
                    <a:cubicBezTo>
                      <a:pt x="443" y="0"/>
                      <a:pt x="443" y="42"/>
                      <a:pt x="416" y="42"/>
                    </a:cubicBezTo>
                    <a:close/>
                    <a:moveTo>
                      <a:pt x="416" y="42"/>
                    </a:moveTo>
                    <a:cubicBezTo>
                      <a:pt x="416" y="42"/>
                      <a:pt x="416" y="42"/>
                      <a:pt x="416" y="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ru-RU" sz="1000">
                  <a:latin typeface="Calibri" panose="020F0502020204030204" pitchFamily="34" charset="0"/>
                  <a:ea typeface="Calibri" panose="020F0502020204030204" pitchFamily="34" charset="0"/>
                  <a:cs typeface="Calibri" panose="020F0502020204030204" pitchFamily="34" charset="0"/>
                </a:endParaRPr>
              </a:p>
            </p:txBody>
          </p:sp>
        </p:grpSp>
        <p:sp>
          <p:nvSpPr>
            <p:cNvPr id="1102" name="TextBox 88">
              <a:extLst>
                <a:ext uri="{FF2B5EF4-FFF2-40B4-BE49-F238E27FC236}">
                  <a16:creationId xmlns:a16="http://schemas.microsoft.com/office/drawing/2014/main" id="{DE2E4EE1-2903-6A85-D6BE-0B9773842FD0}"/>
                </a:ext>
              </a:extLst>
            </p:cNvPr>
            <p:cNvSpPr txBox="1"/>
            <p:nvPr/>
          </p:nvSpPr>
          <p:spPr>
            <a:xfrm>
              <a:off x="8285714" y="5796801"/>
              <a:ext cx="1417043" cy="506292"/>
            </a:xfrm>
            <a:prstGeom prst="rect">
              <a:avLst/>
            </a:prstGeom>
            <a:noFill/>
          </p:spPr>
          <p:txBody>
            <a:bodyPr>
              <a:spAutoFit/>
            </a:bodyPr>
            <a:lstStyle/>
            <a:p>
              <a:pPr algn="r">
                <a:lnSpc>
                  <a:spcPct val="150000"/>
                </a:lnSpc>
                <a:spcBef>
                  <a:spcPts val="2400"/>
                </a:spcBef>
                <a:defRPr/>
              </a:pPr>
              <a:r>
                <a:rPr lang="de-DE" sz="2000" b="1" dirty="0">
                  <a:solidFill>
                    <a:srgbClr val="06677F"/>
                  </a:solidFill>
                  <a:latin typeface="Calibri" panose="020F0502020204030204" pitchFamily="34" charset="0"/>
                  <a:ea typeface="Calibri" panose="020F0502020204030204" pitchFamily="34" charset="0"/>
                  <a:cs typeface="Calibri" panose="020F0502020204030204" pitchFamily="34" charset="0"/>
                </a:rPr>
                <a:t>Feedback</a:t>
              </a:r>
              <a:endParaRPr lang="en-US" sz="2000" b="1" baseline="30000" dirty="0">
                <a:solidFill>
                  <a:srgbClr val="06677F"/>
                </a:solidFill>
                <a:latin typeface="Calibri" panose="020F0502020204030204" pitchFamily="34" charset="0"/>
                <a:ea typeface="Calibri" panose="020F0502020204030204" pitchFamily="34" charset="0"/>
                <a:cs typeface="Calibri" panose="020F0502020204030204" pitchFamily="34" charset="0"/>
              </a:endParaRPr>
            </a:p>
          </p:txBody>
        </p:sp>
        <p:sp>
          <p:nvSpPr>
            <p:cNvPr id="1103" name="TextBox 90">
              <a:extLst>
                <a:ext uri="{FF2B5EF4-FFF2-40B4-BE49-F238E27FC236}">
                  <a16:creationId xmlns:a16="http://schemas.microsoft.com/office/drawing/2014/main" id="{2E1EAF54-DC9A-34F6-380B-053A6E55D457}"/>
                </a:ext>
              </a:extLst>
            </p:cNvPr>
            <p:cNvSpPr txBox="1"/>
            <p:nvPr/>
          </p:nvSpPr>
          <p:spPr>
            <a:xfrm>
              <a:off x="5557933" y="3013510"/>
              <a:ext cx="1417043" cy="506292"/>
            </a:xfrm>
            <a:prstGeom prst="rect">
              <a:avLst/>
            </a:prstGeom>
            <a:noFill/>
          </p:spPr>
          <p:txBody>
            <a:bodyPr>
              <a:spAutoFit/>
            </a:bodyPr>
            <a:lstStyle/>
            <a:p>
              <a:pPr>
                <a:lnSpc>
                  <a:spcPct val="150000"/>
                </a:lnSpc>
                <a:spcBef>
                  <a:spcPts val="2400"/>
                </a:spcBef>
                <a:defRPr/>
              </a:pPr>
              <a:r>
                <a:rPr lang="de-DE" sz="2000" b="1" dirty="0">
                  <a:solidFill>
                    <a:schemeClr val="bg1"/>
                  </a:solidFill>
                  <a:latin typeface="Calibri" panose="020F0502020204030204" pitchFamily="34" charset="0"/>
                  <a:ea typeface="Calibri" panose="020F0502020204030204" pitchFamily="34" charset="0"/>
                  <a:cs typeface="Calibri" panose="020F0502020204030204" pitchFamily="34" charset="0"/>
                </a:rPr>
                <a:t>Defaults</a:t>
              </a:r>
              <a:endParaRPr lang="en-US" sz="2000" b="1" baseline="300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104" name="TextBox 88">
              <a:extLst>
                <a:ext uri="{FF2B5EF4-FFF2-40B4-BE49-F238E27FC236}">
                  <a16:creationId xmlns:a16="http://schemas.microsoft.com/office/drawing/2014/main" id="{7ABB9E2C-9AD9-CCD0-1756-6FC63A7E855E}"/>
                </a:ext>
              </a:extLst>
            </p:cNvPr>
            <p:cNvSpPr txBox="1"/>
            <p:nvPr/>
          </p:nvSpPr>
          <p:spPr>
            <a:xfrm>
              <a:off x="8740818" y="3763446"/>
              <a:ext cx="1417043" cy="506292"/>
            </a:xfrm>
            <a:prstGeom prst="rect">
              <a:avLst/>
            </a:prstGeom>
            <a:noFill/>
          </p:spPr>
          <p:txBody>
            <a:bodyPr>
              <a:spAutoFit/>
            </a:bodyPr>
            <a:lstStyle/>
            <a:p>
              <a:pPr algn="r">
                <a:lnSpc>
                  <a:spcPct val="150000"/>
                </a:lnSpc>
                <a:spcBef>
                  <a:spcPts val="2400"/>
                </a:spcBef>
                <a:defRPr/>
              </a:pPr>
              <a:r>
                <a:rPr lang="de-DE" sz="2000" b="1" dirty="0" err="1">
                  <a:solidFill>
                    <a:schemeClr val="bg1"/>
                  </a:solidFill>
                  <a:latin typeface="Calibri" panose="020F0502020204030204" pitchFamily="34" charset="0"/>
                  <a:ea typeface="Calibri" panose="020F0502020204030204" pitchFamily="34" charset="0"/>
                  <a:cs typeface="Calibri" panose="020F0502020204030204" pitchFamily="34" charset="0"/>
                </a:rPr>
                <a:t>Norms</a:t>
              </a:r>
              <a:endParaRPr lang="en-US" sz="2000" b="1" baseline="300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105" name="TextBox 90">
              <a:extLst>
                <a:ext uri="{FF2B5EF4-FFF2-40B4-BE49-F238E27FC236}">
                  <a16:creationId xmlns:a16="http://schemas.microsoft.com/office/drawing/2014/main" id="{A3D2D4F8-5A20-EB71-9873-D7C52E365046}"/>
                </a:ext>
              </a:extLst>
            </p:cNvPr>
            <p:cNvSpPr txBox="1"/>
            <p:nvPr/>
          </p:nvSpPr>
          <p:spPr>
            <a:xfrm>
              <a:off x="7046078" y="1815727"/>
              <a:ext cx="1417043" cy="506292"/>
            </a:xfrm>
            <a:prstGeom prst="rect">
              <a:avLst/>
            </a:prstGeom>
            <a:noFill/>
          </p:spPr>
          <p:txBody>
            <a:bodyPr>
              <a:spAutoFit/>
            </a:bodyPr>
            <a:lstStyle/>
            <a:p>
              <a:pPr>
                <a:lnSpc>
                  <a:spcPct val="150000"/>
                </a:lnSpc>
                <a:spcBef>
                  <a:spcPts val="2400"/>
                </a:spcBef>
                <a:defRPr/>
              </a:pPr>
              <a:r>
                <a:rPr lang="de-DE" sz="2000" b="1" dirty="0" err="1">
                  <a:solidFill>
                    <a:srgbClr val="3D8241"/>
                  </a:solidFill>
                  <a:latin typeface="Calibri" panose="020F0502020204030204" pitchFamily="34" charset="0"/>
                  <a:ea typeface="Calibri" panose="020F0502020204030204" pitchFamily="34" charset="0"/>
                  <a:cs typeface="Calibri" panose="020F0502020204030204" pitchFamily="34" charset="0"/>
                </a:rPr>
                <a:t>Simplicity</a:t>
              </a:r>
              <a:endParaRPr lang="en-US" sz="2000" b="1" baseline="30000" dirty="0">
                <a:solidFill>
                  <a:srgbClr val="3D8241"/>
                </a:solidFill>
                <a:latin typeface="Calibri" panose="020F0502020204030204" pitchFamily="34" charset="0"/>
                <a:ea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4706256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1B571-91BA-FF9C-AE80-7C085F04B482}"/>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BED53857-B326-BB34-3840-C4A54362EE4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54" imgH="456" progId="TCLayout.ActiveDocument.1">
                  <p:embed/>
                </p:oleObj>
              </mc:Choice>
              <mc:Fallback>
                <p:oleObj name="think-cell Folie" r:id="rId4" imgW="454" imgH="456" progId="TCLayout.ActiveDocument.1">
                  <p:embed/>
                  <p:pic>
                    <p:nvPicPr>
                      <p:cNvPr id="59" name="think-cell data - do not delete" hidden="1">
                        <a:extLst>
                          <a:ext uri="{FF2B5EF4-FFF2-40B4-BE49-F238E27FC236}">
                            <a16:creationId xmlns:a16="http://schemas.microsoft.com/office/drawing/2014/main" id="{1E98112F-8B31-624A-F489-0AEC9D9B2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8632BE86-A245-E48B-05B3-54A845BD989F}"/>
              </a:ext>
            </a:extLst>
          </p:cNvPr>
          <p:cNvSpPr txBox="1">
            <a:spLocks/>
          </p:cNvSpPr>
          <p:nvPr/>
        </p:nvSpPr>
        <p:spPr>
          <a:xfrm>
            <a:off x="429115" y="421381"/>
            <a:ext cx="447976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Concept: Choice Architecture and </a:t>
            </a:r>
            <a:r>
              <a:rPr lang="en-US" sz="3400" b="1" dirty="0" err="1">
                <a:solidFill>
                  <a:srgbClr val="06677F"/>
                </a:solidFill>
                <a:cs typeface="Times New Roman" panose="02020603050405020304" pitchFamily="18" charset="0"/>
              </a:rPr>
              <a:t>Behavioural</a:t>
            </a:r>
            <a:r>
              <a:rPr lang="en-US" sz="3400" b="1" dirty="0">
                <a:solidFill>
                  <a:srgbClr val="06677F"/>
                </a:solidFill>
                <a:cs typeface="Times New Roman" panose="02020603050405020304" pitchFamily="18" charset="0"/>
              </a:rPr>
              <a:t> Nudg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6" name="Straight Connector 5">
            <a:extLst>
              <a:ext uri="{FF2B5EF4-FFF2-40B4-BE49-F238E27FC236}">
                <a16:creationId xmlns:a16="http://schemas.microsoft.com/office/drawing/2014/main" id="{95563208-D6FD-874D-7E7C-A4764DFC3CED}"/>
              </a:ext>
            </a:extLst>
          </p:cNvPr>
          <p:cNvCxnSpPr>
            <a:cxnSpLocks/>
          </p:cNvCxnSpPr>
          <p:nvPr/>
        </p:nvCxnSpPr>
        <p:spPr>
          <a:xfrm>
            <a:off x="0" y="2054177"/>
            <a:ext cx="535405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7" name="Rectangle 30">
            <a:extLst>
              <a:ext uri="{FF2B5EF4-FFF2-40B4-BE49-F238E27FC236}">
                <a16:creationId xmlns:a16="http://schemas.microsoft.com/office/drawing/2014/main" id="{1FBE8B67-7C1F-CEBE-EFE6-B73B3A5DD378}"/>
              </a:ext>
            </a:extLst>
          </p:cNvPr>
          <p:cNvSpPr/>
          <p:nvPr/>
        </p:nvSpPr>
        <p:spPr>
          <a:xfrm flipH="1">
            <a:off x="458264" y="2571536"/>
            <a:ext cx="4119751" cy="1785104"/>
          </a:xfrm>
          <a:prstGeom prst="rect">
            <a:avLst/>
          </a:prstGeom>
        </p:spPr>
        <p:txBody>
          <a:bodyPr wrap="square">
            <a:spAutoFit/>
          </a:bodyPr>
          <a:lstStyle/>
          <a:p>
            <a:r>
              <a:rPr lang="en-US" sz="2000" b="1" dirty="0">
                <a:solidFill>
                  <a:srgbClr val="0289AE"/>
                </a:solidFill>
              </a:rPr>
              <a:t>Examples</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digital receipts as default </a:t>
            </a:r>
          </a:p>
          <a:p>
            <a:pPr marL="285750" indent="-285750">
              <a:buClr>
                <a:srgbClr val="62A844"/>
              </a:buClr>
              <a:buFont typeface="Arial" panose="020B0604020202020204" pitchFamily="34" charset="0"/>
              <a:buChar char="•"/>
            </a:pPr>
            <a:r>
              <a:rPr lang="en-US" dirty="0">
                <a:solidFill>
                  <a:srgbClr val="262626"/>
                </a:solidFill>
              </a:rPr>
              <a:t>opt-in housekeeping frequency</a:t>
            </a:r>
          </a:p>
          <a:p>
            <a:pPr marL="285750" indent="-285750">
              <a:buClr>
                <a:srgbClr val="62A844"/>
              </a:buClr>
              <a:buFont typeface="Arial" panose="020B0604020202020204" pitchFamily="34" charset="0"/>
              <a:buChar char="•"/>
            </a:pPr>
            <a:r>
              <a:rPr lang="en-US" dirty="0">
                <a:solidFill>
                  <a:srgbClr val="262626"/>
                </a:solidFill>
              </a:rPr>
              <a:t>signage near refill points </a:t>
            </a:r>
          </a:p>
          <a:p>
            <a:pPr marL="285750" indent="-285750">
              <a:buClr>
                <a:srgbClr val="62A844"/>
              </a:buClr>
              <a:buFont typeface="Arial" panose="020B0604020202020204" pitchFamily="34" charset="0"/>
              <a:buChar char="•"/>
            </a:pPr>
            <a:r>
              <a:rPr lang="en-US" dirty="0">
                <a:solidFill>
                  <a:srgbClr val="262626"/>
                </a:solidFill>
              </a:rPr>
              <a:t>“most guests in this room type…”</a:t>
            </a:r>
          </a:p>
          <a:p>
            <a:pPr marL="285750" indent="-285750">
              <a:buClr>
                <a:srgbClr val="62A844"/>
              </a:buClr>
              <a:buFont typeface="Arial" panose="020B0604020202020204" pitchFamily="34" charset="0"/>
              <a:buChar char="•"/>
            </a:pPr>
            <a:r>
              <a:rPr lang="en-US" dirty="0">
                <a:solidFill>
                  <a:srgbClr val="262626"/>
                </a:solidFill>
              </a:rPr>
              <a:t> eco-challenge or local reward system</a:t>
            </a:r>
          </a:p>
        </p:txBody>
      </p:sp>
      <p:sp>
        <p:nvSpPr>
          <p:cNvPr id="9" name="Google Shape;382;p20">
            <a:extLst>
              <a:ext uri="{FF2B5EF4-FFF2-40B4-BE49-F238E27FC236}">
                <a16:creationId xmlns:a16="http://schemas.microsoft.com/office/drawing/2014/main" id="{8005F2F2-0EF4-953B-451E-34B48D597D03}"/>
              </a:ext>
            </a:extLst>
          </p:cNvPr>
          <p:cNvSpPr txBox="1"/>
          <p:nvPr/>
        </p:nvSpPr>
        <p:spPr>
          <a:xfrm>
            <a:off x="8353312" y="421381"/>
            <a:ext cx="2509676" cy="438551"/>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de-DE" sz="2400" b="1" dirty="0">
                <a:solidFill>
                  <a:srgbClr val="62A844"/>
                </a:solidFill>
                <a:latin typeface="Calibri" panose="020F0502020204030204" pitchFamily="34" charset="0"/>
                <a:ea typeface="Mulish"/>
                <a:cs typeface="Calibri" panose="020F0502020204030204" pitchFamily="34" charset="0"/>
                <a:sym typeface="Mulish"/>
              </a:rPr>
              <a:t>Defaults</a:t>
            </a:r>
            <a:endParaRPr sz="2400" b="1" dirty="0">
              <a:solidFill>
                <a:srgbClr val="62A844"/>
              </a:solidFill>
              <a:latin typeface="Calibri" panose="020F0502020204030204" pitchFamily="34" charset="0"/>
              <a:ea typeface="Mulish"/>
              <a:cs typeface="Calibri" panose="020F0502020204030204" pitchFamily="34" charset="0"/>
              <a:sym typeface="Mulish"/>
            </a:endParaRPr>
          </a:p>
        </p:txBody>
      </p:sp>
      <p:sp>
        <p:nvSpPr>
          <p:cNvPr id="10" name="Google Shape;368;p20">
            <a:extLst>
              <a:ext uri="{FF2B5EF4-FFF2-40B4-BE49-F238E27FC236}">
                <a16:creationId xmlns:a16="http://schemas.microsoft.com/office/drawing/2014/main" id="{6EFA4D57-4C3C-BDEC-6D73-E28EBFD5E349}"/>
              </a:ext>
            </a:extLst>
          </p:cNvPr>
          <p:cNvSpPr txBox="1"/>
          <p:nvPr/>
        </p:nvSpPr>
        <p:spPr>
          <a:xfrm>
            <a:off x="8353312" y="783596"/>
            <a:ext cx="2788844" cy="723245"/>
          </a:xfrm>
          <a:prstGeom prst="rect">
            <a:avLst/>
          </a:prstGeom>
          <a:noFill/>
          <a:ln>
            <a:noFill/>
          </a:ln>
        </p:spPr>
        <p:txBody>
          <a:bodyPr spcFirstLastPara="1" wrap="square" lIns="68575" tIns="34275" rIns="68575" bIns="34275" anchor="t" anchorCtr="0">
            <a:spAutoFit/>
          </a:bodyPr>
          <a:lstStyle/>
          <a:p>
            <a:pPr marL="0" marR="0" lvl="0" indent="0" algn="l" rtl="0">
              <a:lnSpc>
                <a:spcPts val="1720"/>
              </a:lnSpc>
              <a:spcBef>
                <a:spcPts val="0"/>
              </a:spcBef>
              <a:spcAft>
                <a:spcPts val="0"/>
              </a:spcAft>
              <a:buNone/>
            </a:pPr>
            <a:r>
              <a:rPr lang="en-US" sz="1600" dirty="0">
                <a:solidFill>
                  <a:srgbClr val="262626"/>
                </a:solidFill>
                <a:latin typeface="Calibri" panose="020F0502020204030204" pitchFamily="34" charset="0"/>
                <a:ea typeface="Open Sans"/>
                <a:cs typeface="Calibri" panose="020F0502020204030204" pitchFamily="34" charset="0"/>
                <a:sym typeface="Open Sans"/>
              </a:rPr>
              <a:t>Offer the preferred option as the standard choice where appropriate.</a:t>
            </a:r>
            <a:endParaRPr sz="1600" dirty="0">
              <a:solidFill>
                <a:srgbClr val="262626"/>
              </a:solidFill>
              <a:latin typeface="Calibri" panose="020F0502020204030204" pitchFamily="34" charset="0"/>
              <a:ea typeface="Open Sans"/>
              <a:cs typeface="Calibri" panose="020F0502020204030204" pitchFamily="34" charset="0"/>
              <a:sym typeface="Open Sans"/>
            </a:endParaRPr>
          </a:p>
        </p:txBody>
      </p:sp>
      <p:sp>
        <p:nvSpPr>
          <p:cNvPr id="11" name="Google Shape;368;p20">
            <a:extLst>
              <a:ext uri="{FF2B5EF4-FFF2-40B4-BE49-F238E27FC236}">
                <a16:creationId xmlns:a16="http://schemas.microsoft.com/office/drawing/2014/main" id="{30131129-AF2D-DC0F-236C-C7BE15B52815}"/>
              </a:ext>
            </a:extLst>
          </p:cNvPr>
          <p:cNvSpPr txBox="1"/>
          <p:nvPr/>
        </p:nvSpPr>
        <p:spPr>
          <a:xfrm>
            <a:off x="8353312" y="1997426"/>
            <a:ext cx="2788845" cy="505236"/>
          </a:xfrm>
          <a:prstGeom prst="rect">
            <a:avLst/>
          </a:prstGeom>
          <a:noFill/>
          <a:ln>
            <a:noFill/>
          </a:ln>
        </p:spPr>
        <p:txBody>
          <a:bodyPr spcFirstLastPara="1" wrap="square" lIns="68575" tIns="34275" rIns="68575" bIns="34275" anchor="t" anchorCtr="0">
            <a:spAutoFit/>
          </a:bodyPr>
          <a:lstStyle/>
          <a:p>
            <a:pPr marL="0" marR="0" lvl="0" indent="0" algn="l" rtl="0">
              <a:lnSpc>
                <a:spcPts val="1720"/>
              </a:lnSpc>
              <a:spcBef>
                <a:spcPts val="0"/>
              </a:spcBef>
              <a:spcAft>
                <a:spcPts val="0"/>
              </a:spcAft>
              <a:buNone/>
            </a:pPr>
            <a:r>
              <a:rPr lang="en-US" sz="1600" dirty="0">
                <a:solidFill>
                  <a:srgbClr val="262626"/>
                </a:solidFill>
                <a:latin typeface="Calibri" panose="020F0502020204030204" pitchFamily="34" charset="0"/>
                <a:ea typeface="Open Sans"/>
                <a:cs typeface="Calibri" panose="020F0502020204030204" pitchFamily="34" charset="0"/>
                <a:sym typeface="Open Sans"/>
              </a:rPr>
              <a:t>Use short, visible reminders at the moment of action.</a:t>
            </a:r>
            <a:endParaRPr sz="1600" dirty="0">
              <a:solidFill>
                <a:srgbClr val="262626"/>
              </a:solidFill>
              <a:latin typeface="Calibri" panose="020F0502020204030204" pitchFamily="34" charset="0"/>
              <a:ea typeface="Open Sans"/>
              <a:cs typeface="Calibri" panose="020F0502020204030204" pitchFamily="34" charset="0"/>
              <a:sym typeface="Open Sans"/>
            </a:endParaRPr>
          </a:p>
        </p:txBody>
      </p:sp>
      <p:sp>
        <p:nvSpPr>
          <p:cNvPr id="12" name="Google Shape;373;p20">
            <a:extLst>
              <a:ext uri="{FF2B5EF4-FFF2-40B4-BE49-F238E27FC236}">
                <a16:creationId xmlns:a16="http://schemas.microsoft.com/office/drawing/2014/main" id="{55C6F556-2FB7-8F65-F285-03905717EA7F}"/>
              </a:ext>
            </a:extLst>
          </p:cNvPr>
          <p:cNvSpPr txBox="1"/>
          <p:nvPr/>
        </p:nvSpPr>
        <p:spPr>
          <a:xfrm>
            <a:off x="8353312" y="1631413"/>
            <a:ext cx="2523468" cy="438551"/>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de-DE" sz="2400" b="1" dirty="0">
                <a:solidFill>
                  <a:srgbClr val="3D8241"/>
                </a:solidFill>
                <a:latin typeface="Calibri" panose="020F0502020204030204" pitchFamily="34" charset="0"/>
                <a:ea typeface="Mulish"/>
                <a:cs typeface="Calibri" panose="020F0502020204030204" pitchFamily="34" charset="0"/>
                <a:sym typeface="Mulish"/>
              </a:rPr>
              <a:t>Prompts</a:t>
            </a:r>
            <a:endParaRPr sz="2400" b="1" dirty="0">
              <a:solidFill>
                <a:srgbClr val="3D8241"/>
              </a:solidFill>
              <a:latin typeface="Calibri" panose="020F0502020204030204" pitchFamily="34" charset="0"/>
              <a:ea typeface="Mulish"/>
              <a:cs typeface="Calibri" panose="020F0502020204030204" pitchFamily="34" charset="0"/>
              <a:sym typeface="Mulish"/>
            </a:endParaRPr>
          </a:p>
        </p:txBody>
      </p:sp>
      <p:sp>
        <p:nvSpPr>
          <p:cNvPr id="14" name="Google Shape;387;p20">
            <a:extLst>
              <a:ext uri="{FF2B5EF4-FFF2-40B4-BE49-F238E27FC236}">
                <a16:creationId xmlns:a16="http://schemas.microsoft.com/office/drawing/2014/main" id="{ABBE5744-010A-B18A-83EC-6DCFEC9D5EEE}"/>
              </a:ext>
            </a:extLst>
          </p:cNvPr>
          <p:cNvSpPr txBox="1"/>
          <p:nvPr/>
        </p:nvSpPr>
        <p:spPr>
          <a:xfrm>
            <a:off x="8353312" y="3288245"/>
            <a:ext cx="2775053" cy="505236"/>
          </a:xfrm>
          <a:prstGeom prst="rect">
            <a:avLst/>
          </a:prstGeom>
          <a:noFill/>
          <a:ln>
            <a:noFill/>
          </a:ln>
        </p:spPr>
        <p:txBody>
          <a:bodyPr spcFirstLastPara="1" wrap="square" lIns="68575" tIns="34275" rIns="68575" bIns="34275" anchor="t" anchorCtr="0">
            <a:spAutoFit/>
          </a:bodyPr>
          <a:lstStyle/>
          <a:p>
            <a:pPr lvl="0">
              <a:lnSpc>
                <a:spcPts val="1720"/>
              </a:lnSpc>
            </a:pPr>
            <a:r>
              <a:rPr lang="en-US" sz="1600" dirty="0">
                <a:solidFill>
                  <a:srgbClr val="262626"/>
                </a:solidFill>
                <a:latin typeface="Calibri" panose="020F0502020204030204" pitchFamily="34" charset="0"/>
                <a:cs typeface="Calibri" panose="020F0502020204030204" pitchFamily="34" charset="0"/>
              </a:rPr>
              <a:t>Show guests the effect of a choice in simple terms.</a:t>
            </a:r>
            <a:endParaRPr sz="1600" dirty="0">
              <a:solidFill>
                <a:srgbClr val="262626"/>
              </a:solidFill>
              <a:latin typeface="Calibri" panose="020F0502020204030204" pitchFamily="34" charset="0"/>
              <a:ea typeface="Open Sans"/>
              <a:cs typeface="Calibri" panose="020F0502020204030204" pitchFamily="34" charset="0"/>
              <a:sym typeface="Open Sans"/>
            </a:endParaRPr>
          </a:p>
        </p:txBody>
      </p:sp>
      <p:sp>
        <p:nvSpPr>
          <p:cNvPr id="15" name="Google Shape;392;p20">
            <a:extLst>
              <a:ext uri="{FF2B5EF4-FFF2-40B4-BE49-F238E27FC236}">
                <a16:creationId xmlns:a16="http://schemas.microsoft.com/office/drawing/2014/main" id="{619C921E-DB16-F03B-19D2-FEAE1E8F21A3}"/>
              </a:ext>
            </a:extLst>
          </p:cNvPr>
          <p:cNvSpPr txBox="1"/>
          <p:nvPr/>
        </p:nvSpPr>
        <p:spPr>
          <a:xfrm>
            <a:off x="8353312" y="2884815"/>
            <a:ext cx="2537261" cy="438551"/>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de-DE" sz="2400" b="1" dirty="0">
                <a:solidFill>
                  <a:srgbClr val="0289AE"/>
                </a:solidFill>
                <a:latin typeface="Calibri" panose="020F0502020204030204" pitchFamily="34" charset="0"/>
                <a:ea typeface="Mulish"/>
                <a:cs typeface="Calibri" panose="020F0502020204030204" pitchFamily="34" charset="0"/>
                <a:sym typeface="Mulish"/>
              </a:rPr>
              <a:t>Feedback</a:t>
            </a:r>
            <a:endParaRPr sz="2400" b="1" dirty="0">
              <a:solidFill>
                <a:srgbClr val="0289AE"/>
              </a:solidFill>
              <a:latin typeface="Calibri" panose="020F0502020204030204" pitchFamily="34" charset="0"/>
              <a:ea typeface="Mulish"/>
              <a:cs typeface="Calibri" panose="020F0502020204030204" pitchFamily="34" charset="0"/>
              <a:sym typeface="Mulish"/>
            </a:endParaRPr>
          </a:p>
        </p:txBody>
      </p:sp>
      <p:sp>
        <p:nvSpPr>
          <p:cNvPr id="16" name="Google Shape;397;p20">
            <a:extLst>
              <a:ext uri="{FF2B5EF4-FFF2-40B4-BE49-F238E27FC236}">
                <a16:creationId xmlns:a16="http://schemas.microsoft.com/office/drawing/2014/main" id="{327E6A76-61C3-7F51-7A06-9BEF9983DD5F}"/>
              </a:ext>
            </a:extLst>
          </p:cNvPr>
          <p:cNvSpPr txBox="1"/>
          <p:nvPr/>
        </p:nvSpPr>
        <p:spPr>
          <a:xfrm>
            <a:off x="8353312" y="4557186"/>
            <a:ext cx="2788846" cy="505236"/>
          </a:xfrm>
          <a:prstGeom prst="rect">
            <a:avLst/>
          </a:prstGeom>
          <a:noFill/>
          <a:ln>
            <a:noFill/>
          </a:ln>
        </p:spPr>
        <p:txBody>
          <a:bodyPr spcFirstLastPara="1" wrap="square" lIns="68575" tIns="34275" rIns="68575" bIns="34275" anchor="t" anchorCtr="0">
            <a:spAutoFit/>
          </a:bodyPr>
          <a:lstStyle/>
          <a:p>
            <a:pPr lvl="0">
              <a:lnSpc>
                <a:spcPts val="1720"/>
              </a:lnSpc>
            </a:pPr>
            <a:r>
              <a:rPr lang="en-US" sz="1600" dirty="0">
                <a:solidFill>
                  <a:srgbClr val="262626"/>
                </a:solidFill>
                <a:latin typeface="Calibri" panose="020F0502020204030204" pitchFamily="34" charset="0"/>
                <a:cs typeface="Calibri" panose="020F0502020204030204" pitchFamily="34" charset="0"/>
              </a:rPr>
              <a:t>Signal what many guests already do.</a:t>
            </a:r>
            <a:endParaRPr sz="1600" dirty="0">
              <a:solidFill>
                <a:srgbClr val="262626"/>
              </a:solidFill>
              <a:latin typeface="Calibri" panose="020F0502020204030204" pitchFamily="34" charset="0"/>
              <a:ea typeface="Open Sans"/>
              <a:cs typeface="Calibri" panose="020F0502020204030204" pitchFamily="34" charset="0"/>
              <a:sym typeface="Open Sans"/>
            </a:endParaRPr>
          </a:p>
        </p:txBody>
      </p:sp>
      <p:sp>
        <p:nvSpPr>
          <p:cNvPr id="17" name="Google Shape;402;p20">
            <a:extLst>
              <a:ext uri="{FF2B5EF4-FFF2-40B4-BE49-F238E27FC236}">
                <a16:creationId xmlns:a16="http://schemas.microsoft.com/office/drawing/2014/main" id="{9CFC682A-00FC-D2DA-9650-CBDDE211CD35}"/>
              </a:ext>
            </a:extLst>
          </p:cNvPr>
          <p:cNvSpPr txBox="1"/>
          <p:nvPr/>
        </p:nvSpPr>
        <p:spPr>
          <a:xfrm>
            <a:off x="8353312" y="4094571"/>
            <a:ext cx="2523468" cy="438551"/>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de-DE" sz="2400" b="1" dirty="0" err="1">
                <a:solidFill>
                  <a:srgbClr val="06677F"/>
                </a:solidFill>
                <a:latin typeface="Calibri" panose="020F0502020204030204" pitchFamily="34" charset="0"/>
                <a:ea typeface="Mulish"/>
                <a:cs typeface="Calibri" panose="020F0502020204030204" pitchFamily="34" charset="0"/>
                <a:sym typeface="Mulish"/>
              </a:rPr>
              <a:t>Social</a:t>
            </a:r>
            <a:r>
              <a:rPr lang="de-DE" sz="2400" b="1" dirty="0">
                <a:solidFill>
                  <a:srgbClr val="06677F"/>
                </a:solidFill>
                <a:latin typeface="Calibri" panose="020F0502020204030204" pitchFamily="34" charset="0"/>
                <a:ea typeface="Mulish"/>
                <a:cs typeface="Calibri" panose="020F0502020204030204" pitchFamily="34" charset="0"/>
                <a:sym typeface="Mulish"/>
              </a:rPr>
              <a:t> </a:t>
            </a:r>
            <a:r>
              <a:rPr lang="de-DE" sz="2400" b="1" dirty="0" err="1">
                <a:solidFill>
                  <a:srgbClr val="06677F"/>
                </a:solidFill>
                <a:latin typeface="Calibri" panose="020F0502020204030204" pitchFamily="34" charset="0"/>
                <a:ea typeface="Mulish"/>
                <a:cs typeface="Calibri" panose="020F0502020204030204" pitchFamily="34" charset="0"/>
                <a:sym typeface="Mulish"/>
              </a:rPr>
              <a:t>Norms</a:t>
            </a:r>
            <a:endParaRPr lang="de-DE" sz="2400" b="1" dirty="0">
              <a:solidFill>
                <a:srgbClr val="06677F"/>
              </a:solidFill>
              <a:latin typeface="Calibri" panose="020F0502020204030204" pitchFamily="34" charset="0"/>
              <a:ea typeface="Mulish"/>
              <a:cs typeface="Calibri" panose="020F0502020204030204" pitchFamily="34" charset="0"/>
              <a:sym typeface="Mulish"/>
            </a:endParaRPr>
          </a:p>
        </p:txBody>
      </p:sp>
      <p:sp>
        <p:nvSpPr>
          <p:cNvPr id="18" name="Google Shape;387;p20">
            <a:extLst>
              <a:ext uri="{FF2B5EF4-FFF2-40B4-BE49-F238E27FC236}">
                <a16:creationId xmlns:a16="http://schemas.microsoft.com/office/drawing/2014/main" id="{7A856281-0F7E-9BDC-49B5-8B77E7CB71F1}"/>
              </a:ext>
            </a:extLst>
          </p:cNvPr>
          <p:cNvSpPr txBox="1"/>
          <p:nvPr/>
        </p:nvSpPr>
        <p:spPr>
          <a:xfrm>
            <a:off x="8353312" y="5980032"/>
            <a:ext cx="2775054" cy="505236"/>
          </a:xfrm>
          <a:prstGeom prst="rect">
            <a:avLst/>
          </a:prstGeom>
          <a:noFill/>
          <a:ln>
            <a:noFill/>
          </a:ln>
        </p:spPr>
        <p:txBody>
          <a:bodyPr spcFirstLastPara="1" wrap="square" lIns="68575" tIns="34275" rIns="68575" bIns="34275" anchor="t" anchorCtr="0">
            <a:spAutoFit/>
          </a:bodyPr>
          <a:lstStyle/>
          <a:p>
            <a:pPr lvl="0">
              <a:lnSpc>
                <a:spcPts val="1720"/>
              </a:lnSpc>
            </a:pPr>
            <a:r>
              <a:rPr lang="en-US" sz="1600" dirty="0">
                <a:solidFill>
                  <a:srgbClr val="262626"/>
                </a:solidFill>
                <a:latin typeface="Calibri" panose="020F0502020204030204" pitchFamily="34" charset="0"/>
                <a:cs typeface="Calibri" panose="020F0502020204030204" pitchFamily="34" charset="0"/>
              </a:rPr>
              <a:t>Use small, positive reinforcement where suitable.</a:t>
            </a:r>
            <a:endParaRPr sz="1600" dirty="0">
              <a:solidFill>
                <a:srgbClr val="262626"/>
              </a:solidFill>
              <a:latin typeface="Calibri" panose="020F0502020204030204" pitchFamily="34" charset="0"/>
              <a:ea typeface="Open Sans"/>
              <a:cs typeface="Calibri" panose="020F0502020204030204" pitchFamily="34" charset="0"/>
              <a:sym typeface="Open Sans"/>
            </a:endParaRPr>
          </a:p>
        </p:txBody>
      </p:sp>
      <p:sp>
        <p:nvSpPr>
          <p:cNvPr id="19" name="Google Shape;392;p20">
            <a:extLst>
              <a:ext uri="{FF2B5EF4-FFF2-40B4-BE49-F238E27FC236}">
                <a16:creationId xmlns:a16="http://schemas.microsoft.com/office/drawing/2014/main" id="{EC1B40F5-EEEF-1D75-0CC6-0DE207C08300}"/>
              </a:ext>
            </a:extLst>
          </p:cNvPr>
          <p:cNvSpPr txBox="1"/>
          <p:nvPr/>
        </p:nvSpPr>
        <p:spPr>
          <a:xfrm>
            <a:off x="8353312" y="5517417"/>
            <a:ext cx="2537261" cy="438551"/>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de-DE" sz="2400" b="1" dirty="0" err="1">
                <a:solidFill>
                  <a:srgbClr val="EABB22"/>
                </a:solidFill>
                <a:latin typeface="Calibri" panose="020F0502020204030204" pitchFamily="34" charset="0"/>
                <a:ea typeface="Mulish"/>
                <a:cs typeface="Calibri" panose="020F0502020204030204" pitchFamily="34" charset="0"/>
                <a:sym typeface="Mulish"/>
              </a:rPr>
              <a:t>Rewards</a:t>
            </a:r>
            <a:endParaRPr sz="2400" b="1" dirty="0">
              <a:solidFill>
                <a:srgbClr val="EABB22"/>
              </a:solidFill>
              <a:latin typeface="Calibri" panose="020F0502020204030204" pitchFamily="34" charset="0"/>
              <a:ea typeface="Mulish"/>
              <a:cs typeface="Calibri" panose="020F0502020204030204" pitchFamily="34" charset="0"/>
              <a:sym typeface="Mulish"/>
            </a:endParaRPr>
          </a:p>
        </p:txBody>
      </p:sp>
      <p:grpSp>
        <p:nvGrpSpPr>
          <p:cNvPr id="20" name="Group 19">
            <a:extLst>
              <a:ext uri="{FF2B5EF4-FFF2-40B4-BE49-F238E27FC236}">
                <a16:creationId xmlns:a16="http://schemas.microsoft.com/office/drawing/2014/main" id="{D4611E6E-194F-3675-B347-58B307A96705}"/>
              </a:ext>
            </a:extLst>
          </p:cNvPr>
          <p:cNvGrpSpPr/>
          <p:nvPr/>
        </p:nvGrpSpPr>
        <p:grpSpPr>
          <a:xfrm>
            <a:off x="4908884" y="404886"/>
            <a:ext cx="3336145" cy="5732437"/>
            <a:chOff x="5188208" y="1118938"/>
            <a:chExt cx="2874775" cy="4939674"/>
          </a:xfrm>
        </p:grpSpPr>
        <p:grpSp>
          <p:nvGrpSpPr>
            <p:cNvPr id="21" name="Google Shape;339;p20">
              <a:extLst>
                <a:ext uri="{FF2B5EF4-FFF2-40B4-BE49-F238E27FC236}">
                  <a16:creationId xmlns:a16="http://schemas.microsoft.com/office/drawing/2014/main" id="{007CCEC5-7BA2-4D91-BD1A-666756ACF9A7}"/>
                </a:ext>
              </a:extLst>
            </p:cNvPr>
            <p:cNvGrpSpPr/>
            <p:nvPr/>
          </p:nvGrpSpPr>
          <p:grpSpPr>
            <a:xfrm>
              <a:off x="5188208" y="1118938"/>
              <a:ext cx="2411162" cy="4939674"/>
              <a:chOff x="5090790" y="920280"/>
              <a:chExt cx="2480818" cy="5082374"/>
            </a:xfrm>
          </p:grpSpPr>
          <p:sp>
            <p:nvSpPr>
              <p:cNvPr id="30" name="Google Shape;340;p20">
                <a:extLst>
                  <a:ext uri="{FF2B5EF4-FFF2-40B4-BE49-F238E27FC236}">
                    <a16:creationId xmlns:a16="http://schemas.microsoft.com/office/drawing/2014/main" id="{7BBE1914-F72B-A632-3335-EC69DBD47BA8}"/>
                  </a:ext>
                </a:extLst>
              </p:cNvPr>
              <p:cNvSpPr/>
              <p:nvPr/>
            </p:nvSpPr>
            <p:spPr>
              <a:xfrm>
                <a:off x="5090790" y="3925034"/>
                <a:ext cx="691446" cy="1391976"/>
              </a:xfrm>
              <a:custGeom>
                <a:avLst/>
                <a:gdLst/>
                <a:ahLst/>
                <a:cxnLst/>
                <a:rect l="l" t="t" r="r" b="b"/>
                <a:pathLst>
                  <a:path w="691446" h="1391976" extrusionOk="0">
                    <a:moveTo>
                      <a:pt x="458258" y="0"/>
                    </a:moveTo>
                    <a:cubicBezTo>
                      <a:pt x="458258" y="0"/>
                      <a:pt x="524026" y="535719"/>
                      <a:pt x="691446" y="996860"/>
                    </a:cubicBezTo>
                    <a:lnTo>
                      <a:pt x="86383" y="1391977"/>
                    </a:lnTo>
                    <a:cubicBezTo>
                      <a:pt x="-150253" y="839656"/>
                      <a:pt x="140913" y="341353"/>
                      <a:pt x="458258" y="0"/>
                    </a:cubicBezTo>
                    <a:close/>
                  </a:path>
                </a:pathLst>
              </a:custGeom>
              <a:solidFill>
                <a:srgbClr val="06677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2000">
                  <a:solidFill>
                    <a:schemeClr val="dk1"/>
                  </a:solidFill>
                  <a:latin typeface="Calibri" panose="020F0502020204030204" pitchFamily="34" charset="0"/>
                  <a:ea typeface="Open Sans"/>
                  <a:cs typeface="Calibri" panose="020F0502020204030204" pitchFamily="34" charset="0"/>
                  <a:sym typeface="Open Sans"/>
                </a:endParaRPr>
              </a:p>
            </p:txBody>
          </p:sp>
          <p:sp>
            <p:nvSpPr>
              <p:cNvPr id="31" name="Google Shape;341;p20">
                <a:extLst>
                  <a:ext uri="{FF2B5EF4-FFF2-40B4-BE49-F238E27FC236}">
                    <a16:creationId xmlns:a16="http://schemas.microsoft.com/office/drawing/2014/main" id="{71009BBD-7DD2-F877-00B9-49608352905C}"/>
                  </a:ext>
                </a:extLst>
              </p:cNvPr>
              <p:cNvSpPr/>
              <p:nvPr/>
            </p:nvSpPr>
            <p:spPr>
              <a:xfrm>
                <a:off x="6880108" y="3925034"/>
                <a:ext cx="691500" cy="1391848"/>
              </a:xfrm>
              <a:custGeom>
                <a:avLst/>
                <a:gdLst/>
                <a:ahLst/>
                <a:cxnLst/>
                <a:rect l="l" t="t" r="r" b="b"/>
                <a:pathLst>
                  <a:path w="691500" h="1391848" extrusionOk="0">
                    <a:moveTo>
                      <a:pt x="233188" y="0"/>
                    </a:moveTo>
                    <a:cubicBezTo>
                      <a:pt x="233188" y="0"/>
                      <a:pt x="167420" y="535719"/>
                      <a:pt x="0" y="996860"/>
                    </a:cubicBezTo>
                    <a:lnTo>
                      <a:pt x="605063" y="1391849"/>
                    </a:lnTo>
                    <a:cubicBezTo>
                      <a:pt x="841827" y="839656"/>
                      <a:pt x="550533" y="341353"/>
                      <a:pt x="233188" y="0"/>
                    </a:cubicBezTo>
                    <a:close/>
                  </a:path>
                </a:pathLst>
              </a:custGeom>
              <a:solidFill>
                <a:srgbClr val="06677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2000">
                  <a:solidFill>
                    <a:schemeClr val="dk1"/>
                  </a:solidFill>
                  <a:latin typeface="Calibri" panose="020F0502020204030204" pitchFamily="34" charset="0"/>
                  <a:ea typeface="Open Sans"/>
                  <a:cs typeface="Calibri" panose="020F0502020204030204" pitchFamily="34" charset="0"/>
                  <a:sym typeface="Open Sans"/>
                </a:endParaRPr>
              </a:p>
            </p:txBody>
          </p:sp>
          <p:grpSp>
            <p:nvGrpSpPr>
              <p:cNvPr id="32" name="Google Shape;342;p20">
                <a:extLst>
                  <a:ext uri="{FF2B5EF4-FFF2-40B4-BE49-F238E27FC236}">
                    <a16:creationId xmlns:a16="http://schemas.microsoft.com/office/drawing/2014/main" id="{91936DC9-B16C-9572-D7B1-23ABE47955E2}"/>
                  </a:ext>
                </a:extLst>
              </p:cNvPr>
              <p:cNvGrpSpPr/>
              <p:nvPr/>
            </p:nvGrpSpPr>
            <p:grpSpPr>
              <a:xfrm>
                <a:off x="5473109" y="920280"/>
                <a:ext cx="1717017" cy="5082374"/>
                <a:chOff x="5473109" y="920280"/>
                <a:chExt cx="1717017" cy="5082374"/>
              </a:xfrm>
            </p:grpSpPr>
            <p:grpSp>
              <p:nvGrpSpPr>
                <p:cNvPr id="33" name="Google Shape;343;p20">
                  <a:extLst>
                    <a:ext uri="{FF2B5EF4-FFF2-40B4-BE49-F238E27FC236}">
                      <a16:creationId xmlns:a16="http://schemas.microsoft.com/office/drawing/2014/main" id="{D73B473B-2CCB-FE5A-F6B1-8E4663DA3189}"/>
                    </a:ext>
                  </a:extLst>
                </p:cNvPr>
                <p:cNvGrpSpPr/>
                <p:nvPr/>
              </p:nvGrpSpPr>
              <p:grpSpPr>
                <a:xfrm>
                  <a:off x="5473109" y="920280"/>
                  <a:ext cx="1717017" cy="5082374"/>
                  <a:chOff x="5473109" y="920280"/>
                  <a:chExt cx="1717017" cy="5082374"/>
                </a:xfrm>
              </p:grpSpPr>
              <p:grpSp>
                <p:nvGrpSpPr>
                  <p:cNvPr id="35" name="Google Shape;344;p20">
                    <a:extLst>
                      <a:ext uri="{FF2B5EF4-FFF2-40B4-BE49-F238E27FC236}">
                        <a16:creationId xmlns:a16="http://schemas.microsoft.com/office/drawing/2014/main" id="{D1619878-2012-7619-C0F7-C15BB046B293}"/>
                      </a:ext>
                    </a:extLst>
                  </p:cNvPr>
                  <p:cNvGrpSpPr/>
                  <p:nvPr/>
                </p:nvGrpSpPr>
                <p:grpSpPr>
                  <a:xfrm>
                    <a:off x="5473109" y="920280"/>
                    <a:ext cx="1717016" cy="5082374"/>
                    <a:chOff x="5473109" y="920280"/>
                    <a:chExt cx="1717016" cy="5082374"/>
                  </a:xfrm>
                </p:grpSpPr>
                <p:sp>
                  <p:nvSpPr>
                    <p:cNvPr id="37" name="Google Shape;345;p20">
                      <a:extLst>
                        <a:ext uri="{FF2B5EF4-FFF2-40B4-BE49-F238E27FC236}">
                          <a16:creationId xmlns:a16="http://schemas.microsoft.com/office/drawing/2014/main" id="{61F0A63A-060A-5D7F-FAF8-179063F7B995}"/>
                        </a:ext>
                      </a:extLst>
                    </p:cNvPr>
                    <p:cNvSpPr/>
                    <p:nvPr/>
                  </p:nvSpPr>
                  <p:spPr>
                    <a:xfrm>
                      <a:off x="5473109" y="920280"/>
                      <a:ext cx="1717016" cy="4063805"/>
                    </a:xfrm>
                    <a:custGeom>
                      <a:avLst/>
                      <a:gdLst/>
                      <a:ahLst/>
                      <a:cxnLst/>
                      <a:rect l="l" t="t" r="r" b="b"/>
                      <a:pathLst>
                        <a:path w="1717016" h="4063805" extrusionOk="0">
                          <a:moveTo>
                            <a:pt x="1688459" y="3048046"/>
                          </a:moveTo>
                          <a:cubicBezTo>
                            <a:pt x="1654617" y="3366029"/>
                            <a:pt x="1588977" y="3705084"/>
                            <a:pt x="1482216" y="4063805"/>
                          </a:cubicBezTo>
                          <a:lnTo>
                            <a:pt x="234800" y="4063805"/>
                          </a:lnTo>
                          <a:cubicBezTo>
                            <a:pt x="128040" y="3705084"/>
                            <a:pt x="62400" y="3366029"/>
                            <a:pt x="28558" y="3048046"/>
                          </a:cubicBezTo>
                          <a:cubicBezTo>
                            <a:pt x="-10647" y="2680385"/>
                            <a:pt x="-7199" y="2340947"/>
                            <a:pt x="24982" y="2032541"/>
                          </a:cubicBezTo>
                          <a:cubicBezTo>
                            <a:pt x="65464" y="1642021"/>
                            <a:pt x="152048" y="1301179"/>
                            <a:pt x="256127" y="1014994"/>
                          </a:cubicBezTo>
                          <a:cubicBezTo>
                            <a:pt x="461476" y="450285"/>
                            <a:pt x="735018" y="98588"/>
                            <a:pt x="858508" y="0"/>
                          </a:cubicBezTo>
                          <a:cubicBezTo>
                            <a:pt x="981998" y="98588"/>
                            <a:pt x="1255541" y="450285"/>
                            <a:pt x="1460890" y="1014994"/>
                          </a:cubicBezTo>
                          <a:cubicBezTo>
                            <a:pt x="1564969" y="1301179"/>
                            <a:pt x="1651552" y="1642021"/>
                            <a:pt x="1692035" y="2032541"/>
                          </a:cubicBezTo>
                          <a:cubicBezTo>
                            <a:pt x="1724216" y="2341075"/>
                            <a:pt x="1727664" y="2680385"/>
                            <a:pt x="1688459" y="3048046"/>
                          </a:cubicBezTo>
                          <a:close/>
                        </a:path>
                      </a:pathLst>
                    </a:custGeom>
                    <a:solidFill>
                      <a:srgbClr val="06677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2000">
                        <a:solidFill>
                          <a:schemeClr val="dk1"/>
                        </a:solidFill>
                        <a:latin typeface="Calibri" panose="020F0502020204030204" pitchFamily="34" charset="0"/>
                        <a:ea typeface="Open Sans"/>
                        <a:cs typeface="Calibri" panose="020F0502020204030204" pitchFamily="34" charset="0"/>
                        <a:sym typeface="Open Sans"/>
                      </a:endParaRPr>
                    </a:p>
                  </p:txBody>
                </p:sp>
                <p:sp>
                  <p:nvSpPr>
                    <p:cNvPr id="38" name="Google Shape;346;p20">
                      <a:extLst>
                        <a:ext uri="{FF2B5EF4-FFF2-40B4-BE49-F238E27FC236}">
                          <a16:creationId xmlns:a16="http://schemas.microsoft.com/office/drawing/2014/main" id="{8F6D6591-34A5-3F15-3CCA-02FBBCC5C4E2}"/>
                        </a:ext>
                      </a:extLst>
                    </p:cNvPr>
                    <p:cNvSpPr/>
                    <p:nvPr/>
                  </p:nvSpPr>
                  <p:spPr>
                    <a:xfrm>
                      <a:off x="5811863" y="5096848"/>
                      <a:ext cx="1051006" cy="905806"/>
                    </a:xfrm>
                    <a:custGeom>
                      <a:avLst/>
                      <a:gdLst/>
                      <a:ahLst/>
                      <a:cxnLst/>
                      <a:rect l="l" t="t" r="r" b="b"/>
                      <a:pathLst>
                        <a:path w="1051006" h="905806" extrusionOk="0">
                          <a:moveTo>
                            <a:pt x="0" y="0"/>
                          </a:moveTo>
                          <a:lnTo>
                            <a:pt x="1051007" y="0"/>
                          </a:lnTo>
                          <a:cubicBezTo>
                            <a:pt x="983834" y="352081"/>
                            <a:pt x="840805" y="705311"/>
                            <a:pt x="550150" y="897250"/>
                          </a:cubicBezTo>
                          <a:cubicBezTo>
                            <a:pt x="550150" y="897250"/>
                            <a:pt x="549639" y="897633"/>
                            <a:pt x="548873" y="898400"/>
                          </a:cubicBezTo>
                          <a:cubicBezTo>
                            <a:pt x="544659" y="901337"/>
                            <a:pt x="539806" y="903508"/>
                            <a:pt x="534698" y="904530"/>
                          </a:cubicBezTo>
                          <a:cubicBezTo>
                            <a:pt x="531633" y="905296"/>
                            <a:pt x="528441" y="905806"/>
                            <a:pt x="525120" y="905806"/>
                          </a:cubicBezTo>
                          <a:cubicBezTo>
                            <a:pt x="516564" y="905806"/>
                            <a:pt x="508263" y="903252"/>
                            <a:pt x="501495" y="898527"/>
                          </a:cubicBezTo>
                          <a:cubicBezTo>
                            <a:pt x="210712" y="706460"/>
                            <a:pt x="67556" y="352592"/>
                            <a:pt x="0" y="0"/>
                          </a:cubicBezTo>
                          <a:close/>
                        </a:path>
                      </a:pathLst>
                    </a:custGeom>
                    <a:solidFill>
                      <a:srgbClr val="EABB2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2000">
                        <a:solidFill>
                          <a:schemeClr val="dk1"/>
                        </a:solidFill>
                        <a:latin typeface="Calibri" panose="020F0502020204030204" pitchFamily="34" charset="0"/>
                        <a:ea typeface="Open Sans"/>
                        <a:cs typeface="Calibri" panose="020F0502020204030204" pitchFamily="34" charset="0"/>
                        <a:sym typeface="Open Sans"/>
                      </a:endParaRPr>
                    </a:p>
                  </p:txBody>
                </p:sp>
                <p:sp>
                  <p:nvSpPr>
                    <p:cNvPr id="39" name="Google Shape;347;p20">
                      <a:extLst>
                        <a:ext uri="{FF2B5EF4-FFF2-40B4-BE49-F238E27FC236}">
                          <a16:creationId xmlns:a16="http://schemas.microsoft.com/office/drawing/2014/main" id="{E009BAA2-5577-D870-D12F-08737910D5D1}"/>
                        </a:ext>
                      </a:extLst>
                    </p:cNvPr>
                    <p:cNvSpPr/>
                    <p:nvPr/>
                  </p:nvSpPr>
                  <p:spPr>
                    <a:xfrm>
                      <a:off x="5729236" y="920280"/>
                      <a:ext cx="1204762" cy="1014993"/>
                    </a:xfrm>
                    <a:custGeom>
                      <a:avLst/>
                      <a:gdLst/>
                      <a:ahLst/>
                      <a:cxnLst/>
                      <a:rect l="l" t="t" r="r" b="b"/>
                      <a:pathLst>
                        <a:path w="1204762" h="1014993" extrusionOk="0">
                          <a:moveTo>
                            <a:pt x="1204763" y="1014994"/>
                          </a:moveTo>
                          <a:lnTo>
                            <a:pt x="0" y="1014994"/>
                          </a:lnTo>
                          <a:cubicBezTo>
                            <a:pt x="205349" y="450285"/>
                            <a:pt x="478891" y="98588"/>
                            <a:pt x="602381" y="0"/>
                          </a:cubicBezTo>
                          <a:cubicBezTo>
                            <a:pt x="725871" y="98588"/>
                            <a:pt x="999414" y="450285"/>
                            <a:pt x="1204763" y="1014994"/>
                          </a:cubicBezTo>
                          <a:close/>
                        </a:path>
                      </a:pathLst>
                    </a:custGeom>
                    <a:solidFill>
                      <a:srgbClr val="62A844"/>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2000" dirty="0">
                        <a:solidFill>
                          <a:schemeClr val="dk1"/>
                        </a:solidFill>
                        <a:latin typeface="Calibri" panose="020F0502020204030204" pitchFamily="34" charset="0"/>
                        <a:ea typeface="Open Sans"/>
                        <a:cs typeface="Calibri" panose="020F0502020204030204" pitchFamily="34" charset="0"/>
                        <a:sym typeface="Open Sans"/>
                      </a:endParaRPr>
                    </a:p>
                  </p:txBody>
                </p:sp>
                <p:sp>
                  <p:nvSpPr>
                    <p:cNvPr id="40" name="Google Shape;348;p20">
                      <a:extLst>
                        <a:ext uri="{FF2B5EF4-FFF2-40B4-BE49-F238E27FC236}">
                          <a16:creationId xmlns:a16="http://schemas.microsoft.com/office/drawing/2014/main" id="{75B2385E-7903-3B67-360D-1A891AD8782F}"/>
                        </a:ext>
                      </a:extLst>
                    </p:cNvPr>
                    <p:cNvSpPr/>
                    <p:nvPr/>
                  </p:nvSpPr>
                  <p:spPr>
                    <a:xfrm>
                      <a:off x="5498091" y="1935274"/>
                      <a:ext cx="1667052" cy="1017547"/>
                    </a:xfrm>
                    <a:custGeom>
                      <a:avLst/>
                      <a:gdLst/>
                      <a:ahLst/>
                      <a:cxnLst/>
                      <a:rect l="l" t="t" r="r" b="b"/>
                      <a:pathLst>
                        <a:path w="1667052" h="1017547" extrusionOk="0">
                          <a:moveTo>
                            <a:pt x="1667052" y="1017548"/>
                          </a:moveTo>
                          <a:lnTo>
                            <a:pt x="0" y="1017548"/>
                          </a:lnTo>
                          <a:cubicBezTo>
                            <a:pt x="40482" y="627028"/>
                            <a:pt x="127066" y="286185"/>
                            <a:pt x="231145" y="0"/>
                          </a:cubicBezTo>
                          <a:lnTo>
                            <a:pt x="1435907" y="0"/>
                          </a:lnTo>
                          <a:cubicBezTo>
                            <a:pt x="1539986" y="286185"/>
                            <a:pt x="1626570" y="627028"/>
                            <a:pt x="1667052" y="1017548"/>
                          </a:cubicBezTo>
                          <a:close/>
                        </a:path>
                      </a:pathLst>
                    </a:custGeom>
                    <a:solidFill>
                      <a:srgbClr val="3D824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2000">
                        <a:solidFill>
                          <a:schemeClr val="dk1"/>
                        </a:solidFill>
                        <a:latin typeface="Calibri" panose="020F0502020204030204" pitchFamily="34" charset="0"/>
                        <a:ea typeface="Open Sans"/>
                        <a:cs typeface="Calibri" panose="020F0502020204030204" pitchFamily="34" charset="0"/>
                        <a:sym typeface="Open Sans"/>
                      </a:endParaRPr>
                    </a:p>
                  </p:txBody>
                </p:sp>
              </p:grpSp>
              <p:sp>
                <p:nvSpPr>
                  <p:cNvPr id="36" name="Google Shape;349;p20">
                    <a:extLst>
                      <a:ext uri="{FF2B5EF4-FFF2-40B4-BE49-F238E27FC236}">
                        <a16:creationId xmlns:a16="http://schemas.microsoft.com/office/drawing/2014/main" id="{F9360C15-20F3-9FF3-36D1-E0546B29D51F}"/>
                      </a:ext>
                    </a:extLst>
                  </p:cNvPr>
                  <p:cNvSpPr/>
                  <p:nvPr/>
                </p:nvSpPr>
                <p:spPr>
                  <a:xfrm>
                    <a:off x="5473110" y="2952821"/>
                    <a:ext cx="1717016" cy="1015504"/>
                  </a:xfrm>
                  <a:custGeom>
                    <a:avLst/>
                    <a:gdLst/>
                    <a:ahLst/>
                    <a:cxnLst/>
                    <a:rect l="l" t="t" r="r" b="b"/>
                    <a:pathLst>
                      <a:path w="1717016" h="1015504" extrusionOk="0">
                        <a:moveTo>
                          <a:pt x="1688459" y="1015504"/>
                        </a:moveTo>
                        <a:lnTo>
                          <a:pt x="28558" y="1015504"/>
                        </a:lnTo>
                        <a:cubicBezTo>
                          <a:pt x="-10647" y="647844"/>
                          <a:pt x="-7199" y="308406"/>
                          <a:pt x="24982" y="0"/>
                        </a:cubicBezTo>
                        <a:lnTo>
                          <a:pt x="1692035" y="0"/>
                        </a:lnTo>
                        <a:cubicBezTo>
                          <a:pt x="1724216" y="308534"/>
                          <a:pt x="1727664" y="647844"/>
                          <a:pt x="1688459" y="1015504"/>
                        </a:cubicBezTo>
                        <a:close/>
                      </a:path>
                    </a:pathLst>
                  </a:custGeom>
                  <a:solidFill>
                    <a:srgbClr val="0289AE"/>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2000">
                      <a:solidFill>
                        <a:schemeClr val="dk1"/>
                      </a:solidFill>
                      <a:latin typeface="Calibri" panose="020F0502020204030204" pitchFamily="34" charset="0"/>
                      <a:ea typeface="Open Sans"/>
                      <a:cs typeface="Calibri" panose="020F0502020204030204" pitchFamily="34" charset="0"/>
                      <a:sym typeface="Open Sans"/>
                    </a:endParaRPr>
                  </a:p>
                </p:txBody>
              </p:sp>
            </p:grpSp>
            <p:sp>
              <p:nvSpPr>
                <p:cNvPr id="34" name="Google Shape;350;p20">
                  <a:extLst>
                    <a:ext uri="{FF2B5EF4-FFF2-40B4-BE49-F238E27FC236}">
                      <a16:creationId xmlns:a16="http://schemas.microsoft.com/office/drawing/2014/main" id="{2B1EEE32-85A2-5F9F-8BBA-89C539CE1B5C}"/>
                    </a:ext>
                  </a:extLst>
                </p:cNvPr>
                <p:cNvSpPr/>
                <p:nvPr/>
              </p:nvSpPr>
              <p:spPr>
                <a:xfrm>
                  <a:off x="5707911" y="4984086"/>
                  <a:ext cx="1247415" cy="112762"/>
                </a:xfrm>
                <a:custGeom>
                  <a:avLst/>
                  <a:gdLst/>
                  <a:ahLst/>
                  <a:cxnLst/>
                  <a:rect l="l" t="t" r="r" b="b"/>
                  <a:pathLst>
                    <a:path w="1247415" h="112762" extrusionOk="0">
                      <a:moveTo>
                        <a:pt x="1247416" y="0"/>
                      </a:moveTo>
                      <a:cubicBezTo>
                        <a:pt x="1238987" y="28861"/>
                        <a:pt x="1224046" y="74579"/>
                        <a:pt x="1211659" y="112763"/>
                      </a:cubicBezTo>
                      <a:lnTo>
                        <a:pt x="37290" y="112763"/>
                      </a:lnTo>
                      <a:cubicBezTo>
                        <a:pt x="24902" y="75856"/>
                        <a:pt x="9322" y="31415"/>
                        <a:pt x="0" y="0"/>
                      </a:cubicBezTo>
                      <a:lnTo>
                        <a:pt x="1247416" y="0"/>
                      </a:lnTo>
                      <a:close/>
                    </a:path>
                  </a:pathLst>
                </a:custGeom>
                <a:solidFill>
                  <a:srgbClr val="EABB2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2000">
                    <a:solidFill>
                      <a:schemeClr val="dk1"/>
                    </a:solidFill>
                    <a:latin typeface="Calibri" panose="020F0502020204030204" pitchFamily="34" charset="0"/>
                    <a:ea typeface="Open Sans"/>
                    <a:cs typeface="Calibri" panose="020F0502020204030204" pitchFamily="34" charset="0"/>
                    <a:sym typeface="Open Sans"/>
                  </a:endParaRPr>
                </a:p>
              </p:txBody>
            </p:sp>
          </p:grpSp>
        </p:grpSp>
        <p:sp>
          <p:nvSpPr>
            <p:cNvPr id="22" name="Google Shape;351;p20">
              <a:extLst>
                <a:ext uri="{FF2B5EF4-FFF2-40B4-BE49-F238E27FC236}">
                  <a16:creationId xmlns:a16="http://schemas.microsoft.com/office/drawing/2014/main" id="{EFD8BBB6-559C-8A6E-39D8-8D118A17D0F5}"/>
                </a:ext>
              </a:extLst>
            </p:cNvPr>
            <p:cNvSpPr/>
            <p:nvPr/>
          </p:nvSpPr>
          <p:spPr>
            <a:xfrm>
              <a:off x="6154091" y="1542158"/>
              <a:ext cx="479395" cy="479395"/>
            </a:xfrm>
            <a:prstGeom prst="ellipse">
              <a:avLst/>
            </a:prstGeom>
            <a:solidFill>
              <a:schemeClr val="lt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2000">
                <a:solidFill>
                  <a:schemeClr val="lt1"/>
                </a:solidFill>
                <a:latin typeface="Calibri" panose="020F0502020204030204" pitchFamily="34" charset="0"/>
                <a:ea typeface="Open Sans"/>
                <a:cs typeface="Calibri" panose="020F0502020204030204" pitchFamily="34" charset="0"/>
                <a:sym typeface="Open Sans"/>
              </a:endParaRPr>
            </a:p>
          </p:txBody>
        </p:sp>
        <p:sp>
          <p:nvSpPr>
            <p:cNvPr id="23" name="Google Shape;352;p20">
              <a:extLst>
                <a:ext uri="{FF2B5EF4-FFF2-40B4-BE49-F238E27FC236}">
                  <a16:creationId xmlns:a16="http://schemas.microsoft.com/office/drawing/2014/main" id="{3185DE49-5488-4A70-D848-367A0635F8C8}"/>
                </a:ext>
              </a:extLst>
            </p:cNvPr>
            <p:cNvSpPr/>
            <p:nvPr/>
          </p:nvSpPr>
          <p:spPr>
            <a:xfrm>
              <a:off x="6154091" y="2456349"/>
              <a:ext cx="479395" cy="479395"/>
            </a:xfrm>
            <a:prstGeom prst="ellipse">
              <a:avLst/>
            </a:prstGeom>
            <a:solidFill>
              <a:schemeClr val="lt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2000">
                <a:solidFill>
                  <a:schemeClr val="lt1"/>
                </a:solidFill>
                <a:latin typeface="Calibri" panose="020F0502020204030204" pitchFamily="34" charset="0"/>
                <a:ea typeface="Open Sans"/>
                <a:cs typeface="Calibri" panose="020F0502020204030204" pitchFamily="34" charset="0"/>
                <a:sym typeface="Open Sans"/>
              </a:endParaRPr>
            </a:p>
          </p:txBody>
        </p:sp>
        <p:sp>
          <p:nvSpPr>
            <p:cNvPr id="24" name="Google Shape;353;p20">
              <a:extLst>
                <a:ext uri="{FF2B5EF4-FFF2-40B4-BE49-F238E27FC236}">
                  <a16:creationId xmlns:a16="http://schemas.microsoft.com/office/drawing/2014/main" id="{D937E0D8-C170-70C5-6D14-387492426FE0}"/>
                </a:ext>
              </a:extLst>
            </p:cNvPr>
            <p:cNvSpPr/>
            <p:nvPr/>
          </p:nvSpPr>
          <p:spPr>
            <a:xfrm>
              <a:off x="6154091" y="3370539"/>
              <a:ext cx="479395" cy="479395"/>
            </a:xfrm>
            <a:prstGeom prst="ellipse">
              <a:avLst/>
            </a:prstGeom>
            <a:solidFill>
              <a:schemeClr val="lt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2000">
                <a:solidFill>
                  <a:schemeClr val="lt1"/>
                </a:solidFill>
                <a:latin typeface="Calibri" panose="020F0502020204030204" pitchFamily="34" charset="0"/>
                <a:ea typeface="Open Sans"/>
                <a:cs typeface="Calibri" panose="020F0502020204030204" pitchFamily="34" charset="0"/>
                <a:sym typeface="Open Sans"/>
              </a:endParaRPr>
            </a:p>
          </p:txBody>
        </p:sp>
        <p:cxnSp>
          <p:nvCxnSpPr>
            <p:cNvPr id="25" name="Google Shape;359;p20">
              <a:extLst>
                <a:ext uri="{FF2B5EF4-FFF2-40B4-BE49-F238E27FC236}">
                  <a16:creationId xmlns:a16="http://schemas.microsoft.com/office/drawing/2014/main" id="{C0940E0A-7F84-46FF-88AF-AD167201AA5D}"/>
                </a:ext>
              </a:extLst>
            </p:cNvPr>
            <p:cNvCxnSpPr>
              <a:cxnSpLocks/>
            </p:cNvCxnSpPr>
            <p:nvPr/>
          </p:nvCxnSpPr>
          <p:spPr>
            <a:xfrm>
              <a:off x="6262983" y="1316849"/>
              <a:ext cx="1800000" cy="0"/>
            </a:xfrm>
            <a:prstGeom prst="straightConnector1">
              <a:avLst/>
            </a:prstGeom>
            <a:noFill/>
            <a:ln w="12700" cap="flat" cmpd="sng">
              <a:solidFill>
                <a:srgbClr val="62A844"/>
              </a:solidFill>
              <a:prstDash val="solid"/>
              <a:miter lim="800000"/>
              <a:headEnd type="none" w="sm" len="sm"/>
              <a:tailEnd type="oval" w="med" len="med"/>
            </a:ln>
          </p:spPr>
        </p:cxnSp>
        <p:cxnSp>
          <p:nvCxnSpPr>
            <p:cNvPr id="26" name="Google Shape;359;p20">
              <a:extLst>
                <a:ext uri="{FF2B5EF4-FFF2-40B4-BE49-F238E27FC236}">
                  <a16:creationId xmlns:a16="http://schemas.microsoft.com/office/drawing/2014/main" id="{3FEF6423-8AA6-3671-C21B-55CF07A14C64}"/>
                </a:ext>
              </a:extLst>
            </p:cNvPr>
            <p:cNvCxnSpPr>
              <a:cxnSpLocks/>
            </p:cNvCxnSpPr>
            <p:nvPr/>
          </p:nvCxnSpPr>
          <p:spPr>
            <a:xfrm>
              <a:off x="6262983" y="2364795"/>
              <a:ext cx="1800000" cy="0"/>
            </a:xfrm>
            <a:prstGeom prst="straightConnector1">
              <a:avLst/>
            </a:prstGeom>
            <a:noFill/>
            <a:ln w="12700" cap="flat" cmpd="sng">
              <a:solidFill>
                <a:srgbClr val="3D8241"/>
              </a:solidFill>
              <a:prstDash val="solid"/>
              <a:miter lim="800000"/>
              <a:headEnd type="none" w="sm" len="sm"/>
              <a:tailEnd type="oval" w="med" len="med"/>
            </a:ln>
          </p:spPr>
        </p:cxnSp>
        <p:cxnSp>
          <p:nvCxnSpPr>
            <p:cNvPr id="27" name="Google Shape;359;p20">
              <a:extLst>
                <a:ext uri="{FF2B5EF4-FFF2-40B4-BE49-F238E27FC236}">
                  <a16:creationId xmlns:a16="http://schemas.microsoft.com/office/drawing/2014/main" id="{31DF708D-4876-663E-FA67-E15B3F5D92BE}"/>
                </a:ext>
              </a:extLst>
            </p:cNvPr>
            <p:cNvCxnSpPr>
              <a:cxnSpLocks/>
            </p:cNvCxnSpPr>
            <p:nvPr/>
          </p:nvCxnSpPr>
          <p:spPr>
            <a:xfrm>
              <a:off x="6633487" y="3455948"/>
              <a:ext cx="1429496" cy="0"/>
            </a:xfrm>
            <a:prstGeom prst="straightConnector1">
              <a:avLst/>
            </a:prstGeom>
            <a:noFill/>
            <a:ln w="12700" cap="flat" cmpd="sng">
              <a:solidFill>
                <a:srgbClr val="0289AE"/>
              </a:solidFill>
              <a:prstDash val="solid"/>
              <a:miter lim="800000"/>
              <a:headEnd type="none" w="sm" len="sm"/>
              <a:tailEnd type="oval" w="med" len="med"/>
            </a:ln>
          </p:spPr>
        </p:cxnSp>
        <p:cxnSp>
          <p:nvCxnSpPr>
            <p:cNvPr id="28" name="Google Shape;359;p20">
              <a:extLst>
                <a:ext uri="{FF2B5EF4-FFF2-40B4-BE49-F238E27FC236}">
                  <a16:creationId xmlns:a16="http://schemas.microsoft.com/office/drawing/2014/main" id="{4ED8C2BF-C77E-D932-2F1C-A2293CF637DC}"/>
                </a:ext>
              </a:extLst>
            </p:cNvPr>
            <p:cNvCxnSpPr>
              <a:cxnSpLocks/>
            </p:cNvCxnSpPr>
            <p:nvPr/>
          </p:nvCxnSpPr>
          <p:spPr>
            <a:xfrm>
              <a:off x="6262983" y="4503894"/>
              <a:ext cx="1800000" cy="0"/>
            </a:xfrm>
            <a:prstGeom prst="straightConnector1">
              <a:avLst/>
            </a:prstGeom>
            <a:noFill/>
            <a:ln w="12700" cap="flat" cmpd="sng">
              <a:solidFill>
                <a:srgbClr val="06677F"/>
              </a:solidFill>
              <a:prstDash val="solid"/>
              <a:miter lim="800000"/>
              <a:headEnd type="none" w="sm" len="sm"/>
              <a:tailEnd type="oval" w="med" len="med"/>
            </a:ln>
          </p:spPr>
        </p:cxnSp>
        <p:cxnSp>
          <p:nvCxnSpPr>
            <p:cNvPr id="29" name="Google Shape;359;p20">
              <a:extLst>
                <a:ext uri="{FF2B5EF4-FFF2-40B4-BE49-F238E27FC236}">
                  <a16:creationId xmlns:a16="http://schemas.microsoft.com/office/drawing/2014/main" id="{963C4164-B353-419C-DA3A-3B2700831791}"/>
                </a:ext>
              </a:extLst>
            </p:cNvPr>
            <p:cNvCxnSpPr>
              <a:cxnSpLocks/>
            </p:cNvCxnSpPr>
            <p:nvPr/>
          </p:nvCxnSpPr>
          <p:spPr>
            <a:xfrm>
              <a:off x="6262983" y="5731559"/>
              <a:ext cx="1800000" cy="0"/>
            </a:xfrm>
            <a:prstGeom prst="straightConnector1">
              <a:avLst/>
            </a:prstGeom>
            <a:noFill/>
            <a:ln w="12700" cap="flat" cmpd="sng">
              <a:solidFill>
                <a:srgbClr val="EABB22"/>
              </a:solidFill>
              <a:prstDash val="solid"/>
              <a:miter lim="800000"/>
              <a:headEnd type="none" w="sm" len="sm"/>
              <a:tailEnd type="oval" w="med" len="med"/>
            </a:ln>
          </p:spPr>
        </p:cxnSp>
      </p:grpSp>
    </p:spTree>
    <p:extLst>
      <p:ext uri="{BB962C8B-B14F-4D97-AF65-F5344CB8AC3E}">
        <p14:creationId xmlns:p14="http://schemas.microsoft.com/office/powerpoint/2010/main" val="18887547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A9498B-B801-94C6-C953-0C23BB84A545}"/>
            </a:ext>
          </a:extLst>
        </p:cNvPr>
        <p:cNvGrpSpPr/>
        <p:nvPr/>
      </p:nvGrpSpPr>
      <p:grpSpPr>
        <a:xfrm>
          <a:off x="0" y="0"/>
          <a:ext cx="0" cy="0"/>
          <a:chOff x="0" y="0"/>
          <a:chExt cx="0" cy="0"/>
        </a:xfrm>
      </p:grpSpPr>
      <p:sp>
        <p:nvSpPr>
          <p:cNvPr id="13" name="Freeform 12">
            <a:extLst>
              <a:ext uri="{FF2B5EF4-FFF2-40B4-BE49-F238E27FC236}">
                <a16:creationId xmlns:a16="http://schemas.microsoft.com/office/drawing/2014/main" id="{3A3056F8-79BB-D001-B0B8-F18A79E143C0}"/>
              </a:ext>
            </a:extLst>
          </p:cNvPr>
          <p:cNvSpPr/>
          <p:nvPr/>
        </p:nvSpPr>
        <p:spPr>
          <a:xfrm>
            <a:off x="0" y="1337196"/>
            <a:ext cx="12192000" cy="918882"/>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7" name="TextBox 16">
            <a:extLst>
              <a:ext uri="{FF2B5EF4-FFF2-40B4-BE49-F238E27FC236}">
                <a16:creationId xmlns:a16="http://schemas.microsoft.com/office/drawing/2014/main" id="{D8585CA1-9908-10D7-E9D0-0AB67648C33E}"/>
              </a:ext>
            </a:extLst>
          </p:cNvPr>
          <p:cNvSpPr txBox="1"/>
          <p:nvPr/>
        </p:nvSpPr>
        <p:spPr>
          <a:xfrm>
            <a:off x="711412" y="2819997"/>
            <a:ext cx="7278946" cy="4229171"/>
          </a:xfrm>
          <a:prstGeom prst="rect">
            <a:avLst/>
          </a:prstGeom>
          <a:noFill/>
        </p:spPr>
        <p:txBody>
          <a:bodyPr wrap="square" lIns="91440" tIns="45720" rIns="91440" bIns="45720" rtlCol="0" anchor="t">
            <a:spAutoFit/>
          </a:bodyPr>
          <a:lstStyle/>
          <a:p>
            <a:pPr>
              <a:lnSpc>
                <a:spcPts val="2280"/>
              </a:lnSpc>
            </a:pPr>
            <a:r>
              <a:rPr lang="en-US" sz="2400" dirty="0">
                <a:solidFill>
                  <a:srgbClr val="262626"/>
                </a:solidFill>
              </a:rPr>
              <a:t>OECD and EU </a:t>
            </a:r>
            <a:r>
              <a:rPr lang="en-US" sz="2400" dirty="0" err="1">
                <a:solidFill>
                  <a:srgbClr val="262626"/>
                </a:solidFill>
              </a:rPr>
              <a:t>behavioural</a:t>
            </a:r>
            <a:r>
              <a:rPr lang="en-US" sz="2400" dirty="0">
                <a:solidFill>
                  <a:srgbClr val="262626"/>
                </a:solidFill>
              </a:rPr>
              <a:t> insights resources both highlight the importance of framing, defaults, salience, and social context in greener decision-making.</a:t>
            </a:r>
          </a:p>
          <a:p>
            <a:pPr>
              <a:lnSpc>
                <a:spcPts val="2280"/>
              </a:lnSpc>
            </a:pPr>
            <a:endParaRPr lang="en-US" sz="2400" dirty="0">
              <a:solidFill>
                <a:srgbClr val="262626"/>
              </a:solidFill>
            </a:endParaRPr>
          </a:p>
          <a:p>
            <a:pPr>
              <a:lnSpc>
                <a:spcPts val="2280"/>
              </a:lnSpc>
            </a:pPr>
            <a:r>
              <a:rPr lang="en-US" sz="2400" dirty="0">
                <a:solidFill>
                  <a:srgbClr val="262626"/>
                </a:solidFill>
                <a:hlinkClick r:id="rId3">
                  <a:extLst>
                    <a:ext uri="{A12FA001-AC4F-418D-AE19-62706E023703}">
                      <ahyp:hlinkClr xmlns:ahyp="http://schemas.microsoft.com/office/drawing/2018/hyperlinkcolor" val="tx"/>
                    </a:ext>
                  </a:extLst>
                </a:hlinkClick>
              </a:rPr>
              <a:t>https://www.oecd.org/en/publications/behavioural-science-for-sustainable-tourism_c2ec4fcf-en.html</a:t>
            </a:r>
            <a:endParaRPr lang="en-US" sz="2400" dirty="0">
              <a:solidFill>
                <a:srgbClr val="262626"/>
              </a:solidFill>
            </a:endParaRPr>
          </a:p>
          <a:p>
            <a:pPr>
              <a:lnSpc>
                <a:spcPts val="2280"/>
              </a:lnSpc>
            </a:pPr>
            <a:endParaRPr lang="en-US" sz="2400" dirty="0">
              <a:solidFill>
                <a:srgbClr val="262626"/>
              </a:solidFill>
            </a:endParaRPr>
          </a:p>
          <a:p>
            <a:pPr>
              <a:lnSpc>
                <a:spcPts val="2280"/>
              </a:lnSpc>
            </a:pPr>
            <a:r>
              <a:rPr lang="en-US" sz="2400" dirty="0">
                <a:solidFill>
                  <a:srgbClr val="262626"/>
                </a:solidFill>
                <a:hlinkClick r:id="rId4">
                  <a:extLst>
                    <a:ext uri="{A12FA001-AC4F-418D-AE19-62706E023703}">
                      <ahyp:hlinkClr xmlns:ahyp="http://schemas.microsoft.com/office/drawing/2018/hyperlinkcolor" val="tx"/>
                    </a:ext>
                  </a:extLst>
                </a:hlinkClick>
              </a:rPr>
              <a:t>https://knowledge4policy.ec.europa.eu/behavioural-insights/topic/behavioural-insights-climate-environment_en</a:t>
            </a:r>
            <a:endParaRPr lang="en-US" sz="2400" dirty="0">
              <a:solidFill>
                <a:srgbClr val="262626"/>
              </a:solidFill>
            </a:endParaRPr>
          </a:p>
          <a:p>
            <a:pPr>
              <a:lnSpc>
                <a:spcPts val="2280"/>
              </a:lnSpc>
            </a:pPr>
            <a:endParaRPr lang="en-US" sz="2400" dirty="0">
              <a:solidFill>
                <a:srgbClr val="262626"/>
              </a:solidFill>
            </a:endParaRPr>
          </a:p>
          <a:p>
            <a:pPr>
              <a:lnSpc>
                <a:spcPts val="2280"/>
              </a:lnSpc>
            </a:pPr>
            <a:endParaRPr lang="en-US" sz="2400" dirty="0">
              <a:solidFill>
                <a:srgbClr val="262626"/>
              </a:solidFill>
            </a:endParaRPr>
          </a:p>
          <a:p>
            <a:pPr>
              <a:lnSpc>
                <a:spcPts val="2280"/>
              </a:lnSpc>
            </a:pPr>
            <a:endParaRPr lang="en-US" sz="2400" dirty="0">
              <a:solidFill>
                <a:srgbClr val="262626"/>
              </a:solidFill>
            </a:endParaRPr>
          </a:p>
          <a:p>
            <a:pPr>
              <a:lnSpc>
                <a:spcPts val="2280"/>
              </a:lnSpc>
            </a:pPr>
            <a:endParaRPr lang="de-DE" sz="2400" dirty="0">
              <a:solidFill>
                <a:srgbClr val="262626"/>
              </a:solidFill>
            </a:endParaRPr>
          </a:p>
        </p:txBody>
      </p:sp>
      <p:sp>
        <p:nvSpPr>
          <p:cNvPr id="18" name="TextBox 17">
            <a:extLst>
              <a:ext uri="{FF2B5EF4-FFF2-40B4-BE49-F238E27FC236}">
                <a16:creationId xmlns:a16="http://schemas.microsoft.com/office/drawing/2014/main" id="{2DC767AE-C430-8F1A-C33D-1A89D9097061}"/>
              </a:ext>
            </a:extLst>
          </p:cNvPr>
          <p:cNvSpPr txBox="1"/>
          <p:nvPr/>
        </p:nvSpPr>
        <p:spPr>
          <a:xfrm>
            <a:off x="711412" y="1501363"/>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9" name="Graphic 4">
            <a:extLst>
              <a:ext uri="{FF2B5EF4-FFF2-40B4-BE49-F238E27FC236}">
                <a16:creationId xmlns:a16="http://schemas.microsoft.com/office/drawing/2014/main" id="{DFDA4157-0435-618E-1E33-C749B7FE942B}"/>
              </a:ext>
            </a:extLst>
          </p:cNvPr>
          <p:cNvSpPr/>
          <p:nvPr/>
        </p:nvSpPr>
        <p:spPr>
          <a:xfrm rot="5400000">
            <a:off x="1314218" y="1425507"/>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0" name="Graphic 19">
            <a:extLst>
              <a:ext uri="{FF2B5EF4-FFF2-40B4-BE49-F238E27FC236}">
                <a16:creationId xmlns:a16="http://schemas.microsoft.com/office/drawing/2014/main" id="{1734F00D-B94C-0663-58C5-CD276C67BF85}"/>
              </a:ext>
            </a:extLst>
          </p:cNvPr>
          <p:cNvPicPr>
            <a:picLocks noChangeAspect="1"/>
          </p:cNvPicPr>
          <p:nvPr/>
        </p:nvPicPr>
        <p:blipFill>
          <a:blip>
            <a:extLst>
              <a:ext uri="{96DAC541-7B7A-43D3-8B79-37D633B846F1}">
                <asvg:svgBlip xmlns:asvg="http://schemas.microsoft.com/office/drawing/2016/SVG/main" r:embed="rId5"/>
              </a:ext>
            </a:extLst>
          </a:blip>
          <a:srcRect l="32264" t="48938" r="39869" b="41747"/>
          <a:stretch>
            <a:fillRect/>
          </a:stretch>
        </p:blipFill>
        <p:spPr>
          <a:xfrm>
            <a:off x="5445710" y="0"/>
            <a:ext cx="6754568" cy="3196842"/>
          </a:xfrm>
          <a:prstGeom prst="rect">
            <a:avLst/>
          </a:prstGeom>
        </p:spPr>
      </p:pic>
      <p:pic>
        <p:nvPicPr>
          <p:cNvPr id="21" name="Picture 20" descr="iPhone6_mockup_front_white.png">
            <a:extLst>
              <a:ext uri="{FF2B5EF4-FFF2-40B4-BE49-F238E27FC236}">
                <a16:creationId xmlns:a16="http://schemas.microsoft.com/office/drawing/2014/main" id="{B76F6E3B-5619-267F-0C95-04A99E153B9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90358" y="-208031"/>
            <a:ext cx="4094254" cy="6404164"/>
          </a:xfrm>
          <a:prstGeom prst="rect">
            <a:avLst/>
          </a:prstGeom>
        </p:spPr>
      </p:pic>
      <p:pic>
        <p:nvPicPr>
          <p:cNvPr id="2" name="Bildplatzhalter 5">
            <a:extLst>
              <a:ext uri="{FF2B5EF4-FFF2-40B4-BE49-F238E27FC236}">
                <a16:creationId xmlns:a16="http://schemas.microsoft.com/office/drawing/2014/main" id="{EE034A84-FCEE-C4FB-4586-D64737F9E9C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34" t="2801" r="234" b="9659"/>
          <a:stretch>
            <a:fillRect/>
          </a:stretch>
        </p:blipFill>
        <p:spPr>
          <a:xfrm>
            <a:off x="8781247" y="768096"/>
            <a:ext cx="2476509" cy="4394449"/>
          </a:xfrm>
          <a:prstGeom prst="rect">
            <a:avLst/>
          </a:prstGeom>
          <a:solidFill>
            <a:srgbClr val="FFFFFF">
              <a:lumMod val="85000"/>
            </a:srgbClr>
          </a:solidFill>
        </p:spPr>
      </p:pic>
      <p:sp>
        <p:nvSpPr>
          <p:cNvPr id="3" name="Rounded Rectangle 2">
            <a:extLst>
              <a:ext uri="{FF2B5EF4-FFF2-40B4-BE49-F238E27FC236}">
                <a16:creationId xmlns:a16="http://schemas.microsoft.com/office/drawing/2014/main" id="{EFD7CA1C-4BDB-FB2C-5F51-C0BF4691EBD4}"/>
              </a:ext>
            </a:extLst>
          </p:cNvPr>
          <p:cNvSpPr/>
          <p:nvPr/>
        </p:nvSpPr>
        <p:spPr>
          <a:xfrm>
            <a:off x="7124915" y="6002285"/>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0F65E24D-42F7-35B7-DCE4-14C993B0BA6B}"/>
              </a:ext>
            </a:extLst>
          </p:cNvPr>
          <p:cNvSpPr txBox="1"/>
          <p:nvPr/>
        </p:nvSpPr>
        <p:spPr>
          <a:xfrm>
            <a:off x="7250914" y="6065563"/>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5" name="TextBox 4">
            <a:extLst>
              <a:ext uri="{FF2B5EF4-FFF2-40B4-BE49-F238E27FC236}">
                <a16:creationId xmlns:a16="http://schemas.microsoft.com/office/drawing/2014/main" id="{7A41C813-19A1-3841-1AF6-F97A167AC34B}"/>
              </a:ext>
            </a:extLst>
          </p:cNvPr>
          <p:cNvSpPr txBox="1"/>
          <p:nvPr/>
        </p:nvSpPr>
        <p:spPr>
          <a:xfrm>
            <a:off x="8006915" y="6065563"/>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28F84F88-6837-7655-CD62-37D171D4D87D}"/>
              </a:ext>
            </a:extLst>
          </p:cNvPr>
          <p:cNvSpPr txBox="1"/>
          <p:nvPr/>
        </p:nvSpPr>
        <p:spPr>
          <a:xfrm>
            <a:off x="8600914" y="6065563"/>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Tree>
    <p:extLst>
      <p:ext uri="{BB962C8B-B14F-4D97-AF65-F5344CB8AC3E}">
        <p14:creationId xmlns:p14="http://schemas.microsoft.com/office/powerpoint/2010/main" val="3613056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28D7A-8018-DAE5-223A-7C4EB3350F14}"/>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4CF048B9-2012-676D-69A0-C7EE20A374C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5731" y="672885"/>
            <a:ext cx="4755467" cy="5081447"/>
          </a:xfrm>
          <a:prstGeom prst="rect">
            <a:avLst/>
          </a:prstGeom>
        </p:spPr>
      </p:pic>
      <p:sp>
        <p:nvSpPr>
          <p:cNvPr id="2" name="Text Placeholder 11">
            <a:extLst>
              <a:ext uri="{FF2B5EF4-FFF2-40B4-BE49-F238E27FC236}">
                <a16:creationId xmlns:a16="http://schemas.microsoft.com/office/drawing/2014/main" id="{6279AA81-9B18-96A6-6F7E-37A5CA03F1C6}"/>
              </a:ext>
            </a:extLst>
          </p:cNvPr>
          <p:cNvSpPr txBox="1">
            <a:spLocks/>
          </p:cNvSpPr>
          <p:nvPr/>
        </p:nvSpPr>
        <p:spPr>
          <a:xfrm>
            <a:off x="429115" y="354068"/>
            <a:ext cx="699025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Designing the Housekeeping Choice</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D3AD8D58-5FB7-FC30-C658-12A2950C2A12}"/>
              </a:ext>
            </a:extLst>
          </p:cNvPr>
          <p:cNvCxnSpPr>
            <a:cxnSpLocks/>
          </p:cNvCxnSpPr>
          <p:nvPr/>
        </p:nvCxnSpPr>
        <p:spPr>
          <a:xfrm>
            <a:off x="0" y="1041242"/>
            <a:ext cx="741937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39620AC1-0D43-7663-0319-63F1F8E85E5D}"/>
              </a:ext>
            </a:extLst>
          </p:cNvPr>
          <p:cNvSpPr/>
          <p:nvPr/>
        </p:nvSpPr>
        <p:spPr>
          <a:xfrm flipH="1">
            <a:off x="586946" y="1257448"/>
            <a:ext cx="6050106" cy="4452501"/>
          </a:xfrm>
          <a:prstGeom prst="rect">
            <a:avLst/>
          </a:prstGeom>
        </p:spPr>
        <p:txBody>
          <a:bodyPr wrap="square">
            <a:spAutoFit/>
          </a:bodyPr>
          <a:lstStyle/>
          <a:p>
            <a:pPr>
              <a:lnSpc>
                <a:spcPts val="1960"/>
              </a:lnSpc>
              <a:buNone/>
            </a:pPr>
            <a:r>
              <a:rPr lang="en-US" dirty="0">
                <a:solidFill>
                  <a:srgbClr val="262626"/>
                </a:solidFill>
              </a:rPr>
              <a:t>A housekeeping-frequency choice is more than an operational tool. It is a guest experience design challenge.</a:t>
            </a:r>
          </a:p>
          <a:p>
            <a:pPr marL="285750" indent="-285750">
              <a:lnSpc>
                <a:spcPts val="1960"/>
              </a:lnSpc>
              <a:buFont typeface="Arial" panose="020B0604020202020204" pitchFamily="34" charset="0"/>
              <a:buChar char="•"/>
            </a:pPr>
            <a:endParaRPr lang="en-US" dirty="0">
              <a:solidFill>
                <a:srgbClr val="262626"/>
              </a:solidFill>
            </a:endParaRPr>
          </a:p>
          <a:p>
            <a:pPr marL="285750" indent="-285750">
              <a:lnSpc>
                <a:spcPts val="1960"/>
              </a:lnSpc>
              <a:buFont typeface="Arial" panose="020B0604020202020204" pitchFamily="34" charset="0"/>
              <a:buChar char="•"/>
            </a:pPr>
            <a:endParaRPr lang="en-US" dirty="0">
              <a:solidFill>
                <a:srgbClr val="262626"/>
              </a:solidFill>
            </a:endParaRPr>
          </a:p>
          <a:p>
            <a:pPr marL="285750" indent="-285750">
              <a:lnSpc>
                <a:spcPts val="1960"/>
              </a:lnSpc>
              <a:buFont typeface="Arial" panose="020B0604020202020204" pitchFamily="34" charset="0"/>
              <a:buChar char="•"/>
            </a:pPr>
            <a:endParaRPr lang="en-US" dirty="0">
              <a:solidFill>
                <a:srgbClr val="262626"/>
              </a:solidFill>
            </a:endParaRPr>
          </a:p>
          <a:p>
            <a:pPr marL="285750" indent="-285750">
              <a:lnSpc>
                <a:spcPts val="1960"/>
              </a:lnSpc>
              <a:buFont typeface="Arial" panose="020B0604020202020204" pitchFamily="34" charset="0"/>
              <a:buChar char="•"/>
            </a:pPr>
            <a:endParaRPr lang="en-US" dirty="0">
              <a:solidFill>
                <a:srgbClr val="262626"/>
              </a:solidFill>
            </a:endParaRPr>
          </a:p>
          <a:p>
            <a:pPr marL="285750" indent="-285750">
              <a:lnSpc>
                <a:spcPts val="1960"/>
              </a:lnSpc>
              <a:buFont typeface="Arial" panose="020B0604020202020204" pitchFamily="34" charset="0"/>
              <a:buChar char="•"/>
            </a:pPr>
            <a:endParaRPr lang="en-US" dirty="0">
              <a:solidFill>
                <a:srgbClr val="262626"/>
              </a:solidFill>
            </a:endParaRPr>
          </a:p>
          <a:p>
            <a:pPr marL="285750" indent="-285750">
              <a:lnSpc>
                <a:spcPts val="1960"/>
              </a:lnSpc>
              <a:buFont typeface="Arial" panose="020B0604020202020204" pitchFamily="34" charset="0"/>
              <a:buChar char="•"/>
            </a:pPr>
            <a:endParaRPr lang="en-US" dirty="0">
              <a:solidFill>
                <a:srgbClr val="262626"/>
              </a:solidFill>
            </a:endParaRPr>
          </a:p>
          <a:p>
            <a:pPr marL="285750" indent="-285750">
              <a:lnSpc>
                <a:spcPts val="1960"/>
              </a:lnSpc>
              <a:buFont typeface="Arial" panose="020B0604020202020204" pitchFamily="34" charset="0"/>
              <a:buChar char="•"/>
            </a:pPr>
            <a:endParaRPr lang="en-US" dirty="0">
              <a:solidFill>
                <a:srgbClr val="262626"/>
              </a:solidFill>
            </a:endParaRPr>
          </a:p>
          <a:p>
            <a:pPr marL="285750" indent="-285750">
              <a:lnSpc>
                <a:spcPts val="1960"/>
              </a:lnSpc>
              <a:buFont typeface="Arial" panose="020B0604020202020204" pitchFamily="34" charset="0"/>
              <a:buChar char="•"/>
            </a:pPr>
            <a:endParaRPr lang="en-US" dirty="0">
              <a:solidFill>
                <a:srgbClr val="262626"/>
              </a:solidFill>
            </a:endParaRPr>
          </a:p>
          <a:p>
            <a:pPr marL="285750" indent="-285750">
              <a:lnSpc>
                <a:spcPts val="1960"/>
              </a:lnSpc>
              <a:buFont typeface="Arial" panose="020B0604020202020204" pitchFamily="34" charset="0"/>
              <a:buChar char="•"/>
            </a:pPr>
            <a:endParaRPr lang="en-US" dirty="0">
              <a:solidFill>
                <a:srgbClr val="262626"/>
              </a:solidFill>
            </a:endParaRPr>
          </a:p>
          <a:p>
            <a:pPr>
              <a:lnSpc>
                <a:spcPts val="1960"/>
              </a:lnSpc>
            </a:pPr>
            <a:endParaRPr lang="en-US" dirty="0">
              <a:solidFill>
                <a:srgbClr val="262626"/>
              </a:solidFill>
            </a:endParaRPr>
          </a:p>
          <a:p>
            <a:pPr marL="285750" indent="-285750">
              <a:lnSpc>
                <a:spcPts val="1960"/>
              </a:lnSpc>
              <a:buFont typeface="Arial" panose="020B0604020202020204" pitchFamily="34" charset="0"/>
              <a:buChar char="•"/>
            </a:pPr>
            <a:endParaRPr lang="en-US" dirty="0">
              <a:solidFill>
                <a:srgbClr val="262626"/>
              </a:solidFill>
            </a:endParaRPr>
          </a:p>
          <a:p>
            <a:pPr>
              <a:lnSpc>
                <a:spcPts val="1960"/>
              </a:lnSpc>
              <a:buNone/>
            </a:pPr>
            <a:r>
              <a:rPr lang="en-US" sz="2000" b="1" dirty="0">
                <a:solidFill>
                  <a:srgbClr val="0289AE"/>
                </a:solidFill>
              </a:rPr>
              <a:t>Example:</a:t>
            </a:r>
            <a:br>
              <a:rPr lang="en-US" dirty="0">
                <a:solidFill>
                  <a:srgbClr val="262626"/>
                </a:solidFill>
              </a:rPr>
            </a:br>
            <a:r>
              <a:rPr lang="en-US" dirty="0">
                <a:solidFill>
                  <a:srgbClr val="262626"/>
                </a:solidFill>
              </a:rPr>
              <a:t>“You can choose daily housekeeping or a lighter service during your stay. Selecting a lighter service helps reduce water, energy and laundry impacts while maintaining comfort.”</a:t>
            </a:r>
          </a:p>
        </p:txBody>
      </p:sp>
      <p:pic>
        <p:nvPicPr>
          <p:cNvPr id="22" name="Picture 21">
            <a:extLst>
              <a:ext uri="{FF2B5EF4-FFF2-40B4-BE49-F238E27FC236}">
                <a16:creationId xmlns:a16="http://schemas.microsoft.com/office/drawing/2014/main" id="{146461A5-DF8C-4501-89C8-24E1BA70F071}"/>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7565817" y="3952667"/>
            <a:ext cx="705320" cy="427311"/>
          </a:xfrm>
          <a:prstGeom prst="rect">
            <a:avLst/>
          </a:prstGeom>
        </p:spPr>
      </p:pic>
      <p:sp>
        <p:nvSpPr>
          <p:cNvPr id="11" name="Rounded Rectangle 10">
            <a:extLst>
              <a:ext uri="{FF2B5EF4-FFF2-40B4-BE49-F238E27FC236}">
                <a16:creationId xmlns:a16="http://schemas.microsoft.com/office/drawing/2014/main" id="{30F0C50F-C700-0EFA-73D3-A5822703C292}"/>
              </a:ext>
            </a:extLst>
          </p:cNvPr>
          <p:cNvSpPr/>
          <p:nvPr/>
        </p:nvSpPr>
        <p:spPr>
          <a:xfrm>
            <a:off x="6637054" y="5879115"/>
            <a:ext cx="4755468"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A8871936-F8E8-93B8-B756-AA2D553D591A}"/>
              </a:ext>
            </a:extLst>
          </p:cNvPr>
          <p:cNvSpPr txBox="1"/>
          <p:nvPr/>
        </p:nvSpPr>
        <p:spPr>
          <a:xfrm>
            <a:off x="6763053" y="5942393"/>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3" name="TextBox 12">
            <a:extLst>
              <a:ext uri="{FF2B5EF4-FFF2-40B4-BE49-F238E27FC236}">
                <a16:creationId xmlns:a16="http://schemas.microsoft.com/office/drawing/2014/main" id="{8AA27572-A86E-8380-9634-166807AFFAF9}"/>
              </a:ext>
            </a:extLst>
          </p:cNvPr>
          <p:cNvSpPr txBox="1"/>
          <p:nvPr/>
        </p:nvSpPr>
        <p:spPr>
          <a:xfrm>
            <a:off x="7519054" y="5942393"/>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936CD950-AC8C-E243-AD96-15B3F5CD1FE5}"/>
              </a:ext>
            </a:extLst>
          </p:cNvPr>
          <p:cNvSpPr txBox="1"/>
          <p:nvPr/>
        </p:nvSpPr>
        <p:spPr>
          <a:xfrm>
            <a:off x="8113053" y="5942393"/>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Circular Economy and Resource Efficiency</a:t>
            </a:r>
          </a:p>
        </p:txBody>
      </p:sp>
      <p:sp>
        <p:nvSpPr>
          <p:cNvPr id="6" name="Rectangle 30">
            <a:extLst>
              <a:ext uri="{FF2B5EF4-FFF2-40B4-BE49-F238E27FC236}">
                <a16:creationId xmlns:a16="http://schemas.microsoft.com/office/drawing/2014/main" id="{04FCB337-6BB0-0C4C-7753-340FBEB9FBC4}"/>
              </a:ext>
            </a:extLst>
          </p:cNvPr>
          <p:cNvSpPr/>
          <p:nvPr/>
        </p:nvSpPr>
        <p:spPr>
          <a:xfrm flipH="1">
            <a:off x="586946" y="2327200"/>
            <a:ext cx="6050106" cy="1887696"/>
          </a:xfrm>
          <a:prstGeom prst="rect">
            <a:avLst/>
          </a:prstGeom>
        </p:spPr>
        <p:txBody>
          <a:bodyPr wrap="square" numCol="2">
            <a:spAutoFit/>
          </a:bodyPr>
          <a:lstStyle/>
          <a:p>
            <a:pPr>
              <a:lnSpc>
                <a:spcPts val="1960"/>
              </a:lnSpc>
              <a:buClr>
                <a:srgbClr val="62A844"/>
              </a:buClr>
              <a:buNone/>
            </a:pPr>
            <a:r>
              <a:rPr lang="en-US" sz="2000" b="1" dirty="0">
                <a:solidFill>
                  <a:srgbClr val="0289AE"/>
                </a:solidFill>
              </a:rPr>
              <a:t>Weak Version</a:t>
            </a:r>
          </a:p>
          <a:p>
            <a:pPr marL="285750" indent="-285750">
              <a:lnSpc>
                <a:spcPts val="1960"/>
              </a:lnSpc>
              <a:buClr>
                <a:srgbClr val="62A844"/>
              </a:buClr>
              <a:buFont typeface="Arial" panose="020B0604020202020204" pitchFamily="34" charset="0"/>
              <a:buChar char="•"/>
            </a:pPr>
            <a:r>
              <a:rPr lang="en-US" dirty="0">
                <a:solidFill>
                  <a:srgbClr val="262626"/>
                </a:solidFill>
              </a:rPr>
              <a:t>too much text</a:t>
            </a:r>
          </a:p>
          <a:p>
            <a:pPr marL="285750" indent="-285750">
              <a:lnSpc>
                <a:spcPts val="1960"/>
              </a:lnSpc>
              <a:buClr>
                <a:srgbClr val="62A844"/>
              </a:buClr>
              <a:buFont typeface="Arial" panose="020B0604020202020204" pitchFamily="34" charset="0"/>
              <a:buChar char="•"/>
            </a:pPr>
            <a:r>
              <a:rPr lang="en-US" dirty="0">
                <a:solidFill>
                  <a:srgbClr val="262626"/>
                </a:solidFill>
              </a:rPr>
              <a:t>unclear benefit</a:t>
            </a:r>
          </a:p>
          <a:p>
            <a:pPr marL="285750" indent="-285750">
              <a:lnSpc>
                <a:spcPts val="1960"/>
              </a:lnSpc>
              <a:buClr>
                <a:srgbClr val="62A844"/>
              </a:buClr>
              <a:buFont typeface="Arial" panose="020B0604020202020204" pitchFamily="34" charset="0"/>
              <a:buChar char="•"/>
            </a:pPr>
            <a:r>
              <a:rPr lang="en-US" dirty="0">
                <a:solidFill>
                  <a:srgbClr val="262626"/>
                </a:solidFill>
              </a:rPr>
              <a:t>sounds like cost cutting</a:t>
            </a:r>
          </a:p>
          <a:p>
            <a:pPr marL="285750" indent="-285750">
              <a:lnSpc>
                <a:spcPts val="1960"/>
              </a:lnSpc>
              <a:buClr>
                <a:srgbClr val="62A844"/>
              </a:buClr>
              <a:buFont typeface="Arial" panose="020B0604020202020204" pitchFamily="34" charset="0"/>
              <a:buChar char="•"/>
            </a:pPr>
            <a:r>
              <a:rPr lang="en-US" dirty="0">
                <a:solidFill>
                  <a:srgbClr val="262626"/>
                </a:solidFill>
              </a:rPr>
              <a:t>no positive language</a:t>
            </a:r>
          </a:p>
          <a:p>
            <a:pPr marL="285750" indent="-285750">
              <a:lnSpc>
                <a:spcPts val="1960"/>
              </a:lnSpc>
              <a:buClr>
                <a:srgbClr val="62A844"/>
              </a:buClr>
              <a:buFont typeface="Arial" panose="020B0604020202020204" pitchFamily="34" charset="0"/>
              <a:buChar char="•"/>
            </a:pPr>
            <a:r>
              <a:rPr lang="en-US" dirty="0">
                <a:solidFill>
                  <a:srgbClr val="262626"/>
                </a:solidFill>
              </a:rPr>
              <a:t>difficult to opt in or out</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buNone/>
            </a:pPr>
            <a:r>
              <a:rPr lang="en-US" sz="2000" b="1" dirty="0">
                <a:solidFill>
                  <a:srgbClr val="0289AE"/>
                </a:solidFill>
              </a:rPr>
              <a:t>Stronger Version</a:t>
            </a:r>
            <a:endParaRPr lang="en-US" sz="2000" dirty="0">
              <a:solidFill>
                <a:srgbClr val="0289AE"/>
              </a:solidFill>
            </a:endParaRPr>
          </a:p>
          <a:p>
            <a:pPr marL="285750" indent="-285750">
              <a:lnSpc>
                <a:spcPts val="1960"/>
              </a:lnSpc>
              <a:buClr>
                <a:srgbClr val="62A844"/>
              </a:buClr>
              <a:buFont typeface="Arial" panose="020B0604020202020204" pitchFamily="34" charset="0"/>
              <a:buChar char="•"/>
            </a:pPr>
            <a:r>
              <a:rPr lang="en-US" dirty="0">
                <a:solidFill>
                  <a:srgbClr val="262626"/>
                </a:solidFill>
              </a:rPr>
              <a:t>simple wording</a:t>
            </a:r>
          </a:p>
          <a:p>
            <a:pPr marL="285750" indent="-285750">
              <a:lnSpc>
                <a:spcPts val="1960"/>
              </a:lnSpc>
              <a:buClr>
                <a:srgbClr val="62A844"/>
              </a:buClr>
              <a:buFont typeface="Arial" panose="020B0604020202020204" pitchFamily="34" charset="0"/>
              <a:buChar char="•"/>
            </a:pPr>
            <a:r>
              <a:rPr lang="en-US" dirty="0">
                <a:solidFill>
                  <a:srgbClr val="262626"/>
                </a:solidFill>
              </a:rPr>
              <a:t>visible choice</a:t>
            </a:r>
          </a:p>
          <a:p>
            <a:pPr marL="285750" indent="-285750">
              <a:lnSpc>
                <a:spcPts val="1960"/>
              </a:lnSpc>
              <a:buClr>
                <a:srgbClr val="62A844"/>
              </a:buClr>
              <a:buFont typeface="Arial" panose="020B0604020202020204" pitchFamily="34" charset="0"/>
              <a:buChar char="•"/>
            </a:pPr>
            <a:r>
              <a:rPr lang="en-US" dirty="0">
                <a:solidFill>
                  <a:srgbClr val="262626"/>
                </a:solidFill>
              </a:rPr>
              <a:t>clear environmental benefit</a:t>
            </a:r>
          </a:p>
          <a:p>
            <a:pPr marL="285750" indent="-285750">
              <a:lnSpc>
                <a:spcPts val="1960"/>
              </a:lnSpc>
              <a:buClr>
                <a:srgbClr val="62A844"/>
              </a:buClr>
              <a:buFont typeface="Arial" panose="020B0604020202020204" pitchFamily="34" charset="0"/>
              <a:buChar char="•"/>
            </a:pPr>
            <a:r>
              <a:rPr lang="en-US" dirty="0">
                <a:solidFill>
                  <a:srgbClr val="262626"/>
                </a:solidFill>
              </a:rPr>
              <a:t>reassurance on service quality</a:t>
            </a:r>
          </a:p>
          <a:p>
            <a:pPr marL="285750" indent="-285750">
              <a:lnSpc>
                <a:spcPts val="1960"/>
              </a:lnSpc>
              <a:buClr>
                <a:srgbClr val="62A844"/>
              </a:buClr>
              <a:buFont typeface="Arial" panose="020B0604020202020204" pitchFamily="34" charset="0"/>
              <a:buChar char="•"/>
            </a:pPr>
            <a:r>
              <a:rPr lang="en-US" dirty="0">
                <a:solidFill>
                  <a:srgbClr val="262626"/>
                </a:solidFill>
              </a:rPr>
              <a:t>respectful tone</a:t>
            </a:r>
          </a:p>
        </p:txBody>
      </p:sp>
    </p:spTree>
    <p:extLst>
      <p:ext uri="{BB962C8B-B14F-4D97-AF65-F5344CB8AC3E}">
        <p14:creationId xmlns:p14="http://schemas.microsoft.com/office/powerpoint/2010/main" val="18847000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347FD-37FF-F1BD-E55F-C984F813F549}"/>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041910AC-AA44-8045-38FA-A2993C48E1EF}"/>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IE" sz="2400" b="1" dirty="0"/>
              <a:t>Aurora Courtyard</a:t>
            </a:r>
            <a:endParaRPr lang="en-GB" sz="2400" b="1" dirty="0">
              <a:solidFill>
                <a:srgbClr val="62A844"/>
              </a:solidFill>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8B43464C-9211-DFFC-BB13-5B5D72CE0A75}"/>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12FFB54B-2769-DC19-A0A4-1AA1AC506AC2}"/>
              </a:ext>
            </a:extLst>
          </p:cNvPr>
          <p:cNvSpPr/>
          <p:nvPr/>
        </p:nvSpPr>
        <p:spPr>
          <a:xfrm flipH="1">
            <a:off x="440912" y="904179"/>
            <a:ext cx="6895721" cy="5740033"/>
          </a:xfrm>
          <a:prstGeom prst="rect">
            <a:avLst/>
          </a:prstGeom>
        </p:spPr>
        <p:txBody>
          <a:bodyPr wrap="square" numCol="1" spcCol="216000">
            <a:spAutoFit/>
          </a:bodyPr>
          <a:lstStyle/>
          <a:p>
            <a:r>
              <a:rPr lang="en-GB" sz="2000" dirty="0"/>
              <a:t>Aurora Courtyard Hotel discovered that housekeeping choices go beyond operational decisions. They are experience-design decisions. Guests repeatedly asked whether daily cleaning was still available because the sustainability message was interpreted differently at different points in the stay.  Some guests saw the lighter housekeeping model as environmentally responsible and modern. Others experienced uncertainty about comfort standards, replenishment expectations, and service quality. Housekeeping teams also faced workflow disruption through last-minute cleaning requests and inconsistent guest understanding. The case demonstrates why sustainable service design must balance:</a:t>
            </a:r>
          </a:p>
          <a:p>
            <a:pPr marL="1714500" lvl="3" indent="-342900">
              <a:buFont typeface="Arial" panose="020B0604020202020204" pitchFamily="34" charset="0"/>
              <a:buChar char="•"/>
            </a:pPr>
            <a:r>
              <a:rPr lang="en-GB" dirty="0"/>
              <a:t>clarity </a:t>
            </a:r>
          </a:p>
          <a:p>
            <a:pPr marL="1714500" lvl="3" indent="-342900">
              <a:buFont typeface="Arial" panose="020B0604020202020204" pitchFamily="34" charset="0"/>
              <a:buChar char="•"/>
            </a:pPr>
            <a:r>
              <a:rPr lang="en-GB" dirty="0"/>
              <a:t>reassurance </a:t>
            </a:r>
          </a:p>
          <a:p>
            <a:pPr marL="1714500" lvl="3" indent="-342900">
              <a:buFont typeface="Arial" panose="020B0604020202020204" pitchFamily="34" charset="0"/>
              <a:buChar char="•"/>
            </a:pPr>
            <a:r>
              <a:rPr lang="en-GB" dirty="0"/>
              <a:t>operational consistency </a:t>
            </a:r>
          </a:p>
          <a:p>
            <a:pPr marL="1714500" lvl="3" indent="-342900">
              <a:buFont typeface="Arial" panose="020B0604020202020204" pitchFamily="34" charset="0"/>
              <a:buChar char="•"/>
            </a:pPr>
            <a:r>
              <a:rPr lang="en-GB" dirty="0"/>
              <a:t>visible guest choice </a:t>
            </a:r>
          </a:p>
          <a:p>
            <a:pPr marL="1714500" lvl="3" indent="-342900">
              <a:buFont typeface="Arial" panose="020B0604020202020204" pitchFamily="34" charset="0"/>
              <a:buChar char="•"/>
            </a:pPr>
            <a:r>
              <a:rPr lang="en-GB" dirty="0"/>
              <a:t>respectful language </a:t>
            </a:r>
          </a:p>
          <a:p>
            <a:pPr lvl="3"/>
            <a:endParaRPr lang="en-GB" sz="100" dirty="0"/>
          </a:p>
          <a:p>
            <a:r>
              <a:rPr lang="en-GB" b="1" dirty="0"/>
              <a:t>Guests accept behavioural nudges more easily when the experience feels intentional, transparent, and guest-centred rather than imposed</a:t>
            </a:r>
            <a:r>
              <a:rPr lang="en-GB" dirty="0"/>
              <a:t>.</a:t>
            </a:r>
            <a:endParaRPr lang="en-GB" b="1" dirty="0"/>
          </a:p>
        </p:txBody>
      </p:sp>
      <p:pic>
        <p:nvPicPr>
          <p:cNvPr id="10" name="Picture 9">
            <a:extLst>
              <a:ext uri="{FF2B5EF4-FFF2-40B4-BE49-F238E27FC236}">
                <a16:creationId xmlns:a16="http://schemas.microsoft.com/office/drawing/2014/main" id="{7ADF0781-6BBA-1FFB-47AF-41C83EB23E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7" name="Picture 6">
            <a:extLst>
              <a:ext uri="{FF2B5EF4-FFF2-40B4-BE49-F238E27FC236}">
                <a16:creationId xmlns:a16="http://schemas.microsoft.com/office/drawing/2014/main" id="{10885C79-9EF6-85F0-AA06-C634BD51F861}"/>
              </a:ext>
            </a:extLst>
          </p:cNvPr>
          <p:cNvPicPr>
            <a:picLocks noChangeAspect="1"/>
          </p:cNvPicPr>
          <p:nvPr/>
        </p:nvPicPr>
        <p:blipFill>
          <a:blip r:embed="rId4"/>
          <a:stretch>
            <a:fillRect/>
          </a:stretch>
        </p:blipFill>
        <p:spPr>
          <a:xfrm>
            <a:off x="7336634" y="0"/>
            <a:ext cx="4855366" cy="6858000"/>
          </a:xfrm>
          <a:prstGeom prst="rect">
            <a:avLst/>
          </a:prstGeom>
        </p:spPr>
      </p:pic>
    </p:spTree>
    <p:extLst>
      <p:ext uri="{BB962C8B-B14F-4D97-AF65-F5344CB8AC3E}">
        <p14:creationId xmlns:p14="http://schemas.microsoft.com/office/powerpoint/2010/main" val="2038520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2F983-87E3-5450-6A5F-8A797566E5A3}"/>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4B8FE1CE-9C6E-DF4F-B836-B5849BEFC4B1}"/>
              </a:ext>
            </a:extLst>
          </p:cNvPr>
          <p:cNvPicPr>
            <a:picLocks noChangeAspect="1"/>
          </p:cNvPicPr>
          <p:nvPr/>
        </p:nvPicPr>
        <p:blipFill>
          <a:blip r:embed="rId3" cstate="screen">
            <a:extLst>
              <a:ext uri="{28A0092B-C50C-407E-A947-70E740481C1C}">
                <a14:useLocalDpi xmlns:a14="http://schemas.microsoft.com/office/drawing/2010/main"/>
              </a:ext>
            </a:extLst>
          </a:blip>
          <a:srcRect r="5044"/>
          <a:stretch>
            <a:fillRect/>
          </a:stretch>
        </p:blipFill>
        <p:spPr>
          <a:xfrm>
            <a:off x="6103597" y="1114287"/>
            <a:ext cx="5659288" cy="4868659"/>
          </a:xfrm>
          <a:prstGeom prst="rect">
            <a:avLst/>
          </a:prstGeom>
        </p:spPr>
      </p:pic>
      <p:sp>
        <p:nvSpPr>
          <p:cNvPr id="2" name="Text Placeholder 11">
            <a:extLst>
              <a:ext uri="{FF2B5EF4-FFF2-40B4-BE49-F238E27FC236}">
                <a16:creationId xmlns:a16="http://schemas.microsoft.com/office/drawing/2014/main" id="{4831CC29-2F50-31A0-4AD8-BD30B2A81DD6}"/>
              </a:ext>
            </a:extLst>
          </p:cNvPr>
          <p:cNvSpPr txBox="1">
            <a:spLocks/>
          </p:cNvSpPr>
          <p:nvPr/>
        </p:nvSpPr>
        <p:spPr>
          <a:xfrm>
            <a:off x="429115" y="354068"/>
            <a:ext cx="745324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Food, Locality and Experience Desig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159FE10A-023B-172F-53A3-DAB0E60ABE32}"/>
              </a:ext>
            </a:extLst>
          </p:cNvPr>
          <p:cNvCxnSpPr>
            <a:cxnSpLocks/>
          </p:cNvCxnSpPr>
          <p:nvPr/>
        </p:nvCxnSpPr>
        <p:spPr>
          <a:xfrm>
            <a:off x="0" y="1069820"/>
            <a:ext cx="739622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C7A65052-2545-CEF4-27ED-DF0C0F373A4B}"/>
              </a:ext>
            </a:extLst>
          </p:cNvPr>
          <p:cNvSpPr/>
          <p:nvPr/>
        </p:nvSpPr>
        <p:spPr>
          <a:xfrm flipH="1">
            <a:off x="586945" y="1322367"/>
            <a:ext cx="7137639" cy="4452501"/>
          </a:xfrm>
          <a:prstGeom prst="rect">
            <a:avLst/>
          </a:prstGeom>
        </p:spPr>
        <p:txBody>
          <a:bodyPr wrap="square">
            <a:spAutoFit/>
          </a:bodyPr>
          <a:lstStyle/>
          <a:p>
            <a:pPr>
              <a:lnSpc>
                <a:spcPts val="1960"/>
              </a:lnSpc>
              <a:buClr>
                <a:srgbClr val="62A844"/>
              </a:buClr>
              <a:buNone/>
            </a:pPr>
            <a:r>
              <a:rPr lang="en-US" sz="2000" b="1" i="1" dirty="0">
                <a:solidFill>
                  <a:srgbClr val="262626"/>
                </a:solidFill>
              </a:rPr>
              <a:t>Food is one of the strongest touchpoints for making sustainability visible in a positive way.</a:t>
            </a:r>
          </a:p>
          <a:p>
            <a:pPr>
              <a:lnSpc>
                <a:spcPts val="1960"/>
              </a:lnSpc>
              <a:buClr>
                <a:srgbClr val="62A844"/>
              </a:buClr>
              <a:buNone/>
            </a:pPr>
            <a:endParaRPr lang="en-US" sz="2000" dirty="0">
              <a:solidFill>
                <a:srgbClr val="262626"/>
              </a:solidFill>
            </a:endParaRPr>
          </a:p>
          <a:p>
            <a:pPr>
              <a:lnSpc>
                <a:spcPts val="1960"/>
              </a:lnSpc>
              <a:buClr>
                <a:srgbClr val="62A844"/>
              </a:buClr>
              <a:buNone/>
            </a:pPr>
            <a:r>
              <a:rPr lang="en-US" sz="2000" b="1" dirty="0">
                <a:solidFill>
                  <a:srgbClr val="0289AE"/>
                </a:solidFill>
              </a:rPr>
              <a:t>Well-designed food experience touchpoints can communicate:</a:t>
            </a:r>
          </a:p>
          <a:p>
            <a:pPr marL="285750" indent="-285750">
              <a:lnSpc>
                <a:spcPts val="1960"/>
              </a:lnSpc>
              <a:buClr>
                <a:srgbClr val="62A844"/>
              </a:buClr>
              <a:buFont typeface="Arial" panose="020B0604020202020204" pitchFamily="34" charset="0"/>
              <a:buChar char="•"/>
            </a:pPr>
            <a:r>
              <a:rPr lang="en-US" dirty="0">
                <a:solidFill>
                  <a:srgbClr val="262626"/>
                </a:solidFill>
              </a:rPr>
              <a:t>seasonality</a:t>
            </a:r>
          </a:p>
          <a:p>
            <a:pPr marL="285750" indent="-285750">
              <a:lnSpc>
                <a:spcPts val="1960"/>
              </a:lnSpc>
              <a:buClr>
                <a:srgbClr val="62A844"/>
              </a:buClr>
              <a:buFont typeface="Arial" panose="020B0604020202020204" pitchFamily="34" charset="0"/>
              <a:buChar char="•"/>
            </a:pPr>
            <a:r>
              <a:rPr lang="en-US" dirty="0">
                <a:solidFill>
                  <a:srgbClr val="262626"/>
                </a:solidFill>
              </a:rPr>
              <a:t>locality</a:t>
            </a:r>
          </a:p>
          <a:p>
            <a:pPr marL="285750" indent="-285750">
              <a:lnSpc>
                <a:spcPts val="1960"/>
              </a:lnSpc>
              <a:buClr>
                <a:srgbClr val="62A844"/>
              </a:buClr>
              <a:buFont typeface="Arial" panose="020B0604020202020204" pitchFamily="34" charset="0"/>
              <a:buChar char="•"/>
            </a:pPr>
            <a:r>
              <a:rPr lang="en-US" dirty="0">
                <a:solidFill>
                  <a:srgbClr val="262626"/>
                </a:solidFill>
              </a:rPr>
              <a:t>low-waste practice</a:t>
            </a:r>
          </a:p>
          <a:p>
            <a:pPr marL="285750" indent="-285750">
              <a:lnSpc>
                <a:spcPts val="1960"/>
              </a:lnSpc>
              <a:buClr>
                <a:srgbClr val="62A844"/>
              </a:buClr>
              <a:buFont typeface="Arial" panose="020B0604020202020204" pitchFamily="34" charset="0"/>
              <a:buChar char="•"/>
            </a:pPr>
            <a:r>
              <a:rPr lang="en-US" dirty="0">
                <a:solidFill>
                  <a:srgbClr val="262626"/>
                </a:solidFill>
              </a:rPr>
              <a:t>producer identity</a:t>
            </a:r>
          </a:p>
          <a:p>
            <a:pPr marL="285750" indent="-285750">
              <a:lnSpc>
                <a:spcPts val="1960"/>
              </a:lnSpc>
              <a:buClr>
                <a:srgbClr val="62A844"/>
              </a:buClr>
              <a:buFont typeface="Arial" panose="020B0604020202020204" pitchFamily="34" charset="0"/>
              <a:buChar char="•"/>
            </a:pPr>
            <a:r>
              <a:rPr lang="en-US" dirty="0">
                <a:solidFill>
                  <a:srgbClr val="262626"/>
                </a:solidFill>
              </a:rPr>
              <a:t>cultural authenticity</a:t>
            </a:r>
          </a:p>
          <a:p>
            <a:pPr marL="285750" indent="-285750">
              <a:lnSpc>
                <a:spcPts val="1960"/>
              </a:lnSpc>
              <a:buClr>
                <a:srgbClr val="62A844"/>
              </a:buClr>
              <a:buFont typeface="Arial" panose="020B0604020202020204" pitchFamily="34" charset="0"/>
              <a:buChar char="•"/>
            </a:pPr>
            <a:r>
              <a:rPr lang="en-US" dirty="0">
                <a:solidFill>
                  <a:srgbClr val="262626"/>
                </a:solidFill>
              </a:rPr>
              <a:t>care for place</a:t>
            </a:r>
          </a:p>
          <a:p>
            <a:pPr>
              <a:lnSpc>
                <a:spcPts val="1960"/>
              </a:lnSpc>
              <a:buClr>
                <a:srgbClr val="62A844"/>
              </a:buClr>
            </a:pPr>
            <a:endParaRPr lang="en-US" dirty="0">
              <a:solidFill>
                <a:srgbClr val="262626"/>
              </a:solidFill>
            </a:endParaRPr>
          </a:p>
          <a:p>
            <a:pPr>
              <a:lnSpc>
                <a:spcPts val="1960"/>
              </a:lnSpc>
              <a:buClr>
                <a:srgbClr val="62A844"/>
              </a:buClr>
              <a:buNone/>
            </a:pPr>
            <a:r>
              <a:rPr lang="en-US" sz="2000" b="1" dirty="0">
                <a:solidFill>
                  <a:srgbClr val="0289AE"/>
                </a:solidFill>
              </a:rPr>
              <a:t>Design Examples:</a:t>
            </a:r>
            <a:endParaRPr lang="en-US" sz="2000" dirty="0">
              <a:solidFill>
                <a:srgbClr val="0289AE"/>
              </a:solidFill>
            </a:endParaRPr>
          </a:p>
          <a:p>
            <a:pPr marL="285750" indent="-285750">
              <a:lnSpc>
                <a:spcPts val="1960"/>
              </a:lnSpc>
              <a:buClr>
                <a:srgbClr val="62A844"/>
              </a:buClr>
              <a:buFont typeface="Arial" panose="020B0604020202020204" pitchFamily="34" charset="0"/>
              <a:buChar char="•"/>
            </a:pPr>
            <a:r>
              <a:rPr lang="en-US" dirty="0">
                <a:solidFill>
                  <a:srgbClr val="262626"/>
                </a:solidFill>
              </a:rPr>
              <a:t>short producer story cards</a:t>
            </a:r>
          </a:p>
          <a:p>
            <a:pPr marL="285750" indent="-285750">
              <a:lnSpc>
                <a:spcPts val="1960"/>
              </a:lnSpc>
              <a:buClr>
                <a:srgbClr val="62A844"/>
              </a:buClr>
              <a:buFont typeface="Arial" panose="020B0604020202020204" pitchFamily="34" charset="0"/>
              <a:buChar char="•"/>
            </a:pPr>
            <a:r>
              <a:rPr lang="en-US" dirty="0">
                <a:solidFill>
                  <a:srgbClr val="262626"/>
                </a:solidFill>
              </a:rPr>
              <a:t>menu icons with clear meaning</a:t>
            </a:r>
          </a:p>
          <a:p>
            <a:pPr marL="285750" indent="-285750">
              <a:lnSpc>
                <a:spcPts val="1960"/>
              </a:lnSpc>
              <a:buClr>
                <a:srgbClr val="62A844"/>
              </a:buClr>
              <a:buFont typeface="Arial" panose="020B0604020202020204" pitchFamily="34" charset="0"/>
              <a:buChar char="•"/>
            </a:pPr>
            <a:r>
              <a:rPr lang="en-US" dirty="0">
                <a:solidFill>
                  <a:srgbClr val="262626"/>
                </a:solidFill>
              </a:rPr>
              <a:t>daily specials that use seasonal abundance</a:t>
            </a:r>
          </a:p>
          <a:p>
            <a:pPr marL="285750" indent="-285750">
              <a:lnSpc>
                <a:spcPts val="1960"/>
              </a:lnSpc>
              <a:buClr>
                <a:srgbClr val="62A844"/>
              </a:buClr>
              <a:buFont typeface="Arial" panose="020B0604020202020204" pitchFamily="34" charset="0"/>
              <a:buChar char="•"/>
            </a:pPr>
            <a:r>
              <a:rPr lang="en-US" dirty="0">
                <a:solidFill>
                  <a:srgbClr val="262626"/>
                </a:solidFill>
              </a:rPr>
              <a:t>staff explanation that feels warm, not scripted</a:t>
            </a:r>
          </a:p>
          <a:p>
            <a:pPr marL="285750" indent="-285750">
              <a:lnSpc>
                <a:spcPts val="1960"/>
              </a:lnSpc>
              <a:buClr>
                <a:srgbClr val="62A844"/>
              </a:buClr>
              <a:buFont typeface="Arial" panose="020B0604020202020204" pitchFamily="34" charset="0"/>
              <a:buChar char="•"/>
            </a:pPr>
            <a:r>
              <a:rPr lang="en-US" dirty="0">
                <a:solidFill>
                  <a:srgbClr val="262626"/>
                </a:solidFill>
              </a:rPr>
              <a:t>visual presentation that signals freshness and intention</a:t>
            </a:r>
          </a:p>
        </p:txBody>
      </p:sp>
      <p:sp>
        <p:nvSpPr>
          <p:cNvPr id="5" name="Rounded Rectangle 4">
            <a:extLst>
              <a:ext uri="{FF2B5EF4-FFF2-40B4-BE49-F238E27FC236}">
                <a16:creationId xmlns:a16="http://schemas.microsoft.com/office/drawing/2014/main" id="{09447C64-356F-AB82-F3A3-EBBA386BCAAB}"/>
              </a:ext>
            </a:extLst>
          </p:cNvPr>
          <p:cNvSpPr/>
          <p:nvPr/>
        </p:nvSpPr>
        <p:spPr>
          <a:xfrm>
            <a:off x="6637054" y="6210660"/>
            <a:ext cx="4699321"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DA0A5E8E-0DA7-F83C-20E1-970143885D95}"/>
              </a:ext>
            </a:extLst>
          </p:cNvPr>
          <p:cNvSpPr txBox="1"/>
          <p:nvPr/>
        </p:nvSpPr>
        <p:spPr>
          <a:xfrm>
            <a:off x="6763054" y="6273938"/>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DA469CC2-DF2B-D20D-DB21-A095662E12F4}"/>
              </a:ext>
            </a:extLst>
          </p:cNvPr>
          <p:cNvSpPr txBox="1"/>
          <p:nvPr/>
        </p:nvSpPr>
        <p:spPr>
          <a:xfrm>
            <a:off x="7519055" y="6273938"/>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CD83DEBC-3C8A-D5C0-EED8-2F083E8A42CF}"/>
              </a:ext>
            </a:extLst>
          </p:cNvPr>
          <p:cNvSpPr txBox="1"/>
          <p:nvPr/>
        </p:nvSpPr>
        <p:spPr>
          <a:xfrm>
            <a:off x="8113054" y="6273938"/>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Circular Economy and Resource Efficiency</a:t>
            </a:r>
          </a:p>
        </p:txBody>
      </p:sp>
      <p:pic>
        <p:nvPicPr>
          <p:cNvPr id="22" name="Picture 21">
            <a:extLst>
              <a:ext uri="{FF2B5EF4-FFF2-40B4-BE49-F238E27FC236}">
                <a16:creationId xmlns:a16="http://schemas.microsoft.com/office/drawing/2014/main" id="{409C36EF-9FF7-2EE3-6E0B-6273804F8EC7}"/>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9647978" y="2506772"/>
            <a:ext cx="705320" cy="427311"/>
          </a:xfrm>
          <a:prstGeom prst="rect">
            <a:avLst/>
          </a:prstGeom>
        </p:spPr>
      </p:pic>
      <p:sp>
        <p:nvSpPr>
          <p:cNvPr id="11" name="TextBox 97">
            <a:extLst>
              <a:ext uri="{FF2B5EF4-FFF2-40B4-BE49-F238E27FC236}">
                <a16:creationId xmlns:a16="http://schemas.microsoft.com/office/drawing/2014/main" id="{8E215992-F156-EB4A-44D4-F34056C45E69}"/>
              </a:ext>
            </a:extLst>
          </p:cNvPr>
          <p:cNvSpPr txBox="1"/>
          <p:nvPr/>
        </p:nvSpPr>
        <p:spPr>
          <a:xfrm>
            <a:off x="590890" y="5887494"/>
            <a:ext cx="5215708" cy="646331"/>
          </a:xfrm>
          <a:prstGeom prst="rect">
            <a:avLst/>
          </a:prstGeom>
          <a:noFill/>
        </p:spPr>
        <p:txBody>
          <a:bodyPr wrap="square">
            <a:spAutoFit/>
          </a:bodyPr>
          <a:lstStyle/>
          <a:p>
            <a:r>
              <a:rPr lang="en-US" b="1" dirty="0">
                <a:solidFill>
                  <a:srgbClr val="62A844"/>
                </a:solidFill>
              </a:rPr>
              <a:t>Guests often accept sustainability more easily when it arrives through </a:t>
            </a:r>
            <a:r>
              <a:rPr lang="en-US" b="1" dirty="0" err="1">
                <a:solidFill>
                  <a:srgbClr val="62A844"/>
                </a:solidFill>
              </a:rPr>
              <a:t>flavour</a:t>
            </a:r>
            <a:r>
              <a:rPr lang="en-US" b="1" dirty="0">
                <a:solidFill>
                  <a:srgbClr val="62A844"/>
                </a:solidFill>
              </a:rPr>
              <a:t>, story, and place.</a:t>
            </a:r>
            <a:endParaRPr lang="en-US" dirty="0">
              <a:solidFill>
                <a:srgbClr val="62A844"/>
              </a:solidFill>
            </a:endParaRPr>
          </a:p>
        </p:txBody>
      </p:sp>
    </p:spTree>
    <p:extLst>
      <p:ext uri="{BB962C8B-B14F-4D97-AF65-F5344CB8AC3E}">
        <p14:creationId xmlns:p14="http://schemas.microsoft.com/office/powerpoint/2010/main" val="17525754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3176C-2243-70F2-4B3A-EAACE3C20BF5}"/>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50A8AB0E-EE8B-22C7-5E97-9C1B9E2D11B7}"/>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IE" sz="2400" b="1" dirty="0"/>
              <a:t>Hotel GSH, Bornholm</a:t>
            </a:r>
            <a:endParaRPr lang="en-GB" sz="2400" b="1" dirty="0">
              <a:solidFill>
                <a:srgbClr val="62A844"/>
              </a:solidFill>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38147634-1369-D86F-158A-EDAFF5C6BD7F}"/>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1B8AC64D-C777-D1FE-28B4-FCF2289EB0D9}"/>
              </a:ext>
            </a:extLst>
          </p:cNvPr>
          <p:cNvSpPr/>
          <p:nvPr/>
        </p:nvSpPr>
        <p:spPr>
          <a:xfrm flipH="1">
            <a:off x="266099" y="904179"/>
            <a:ext cx="7156676" cy="6217087"/>
          </a:xfrm>
          <a:prstGeom prst="rect">
            <a:avLst/>
          </a:prstGeom>
        </p:spPr>
        <p:txBody>
          <a:bodyPr wrap="square" numCol="1" spcCol="216000">
            <a:spAutoFit/>
          </a:bodyPr>
          <a:lstStyle/>
          <a:p>
            <a:r>
              <a:rPr lang="en-GB" sz="2000" dirty="0"/>
              <a:t>Hotel GSH demonstrates how food can make sustainability visible through flavour, locality, and sensory experience. The hotel uses local and largely organic ingredients, including produce from on-site gardens and greenhouses fertilised using nutrients recovered from processed food waste.</a:t>
            </a:r>
          </a:p>
          <a:p>
            <a:endParaRPr lang="en-GB" sz="2000" dirty="0"/>
          </a:p>
          <a:p>
            <a:r>
              <a:rPr lang="en-GB" sz="2000" dirty="0"/>
              <a:t>Honey produced by the hotel’s own bees is served at breakfast.</a:t>
            </a:r>
          </a:p>
          <a:p>
            <a:r>
              <a:rPr lang="en-GB" sz="2000" dirty="0"/>
              <a:t>These practices reduce transport impacts and strengthen circular resource use, but they also shape how guests experience place. Sustainability becomes connected to taste, freshness, regional identity, and storytelling. Guests experience sustainability directly through the food environment and this reflects an important hospitality principle: guests often connect more strongly with sustainability when it is experienced through comfort, flavour, authenticity, and emotional meaning.</a:t>
            </a:r>
          </a:p>
          <a:p>
            <a:r>
              <a:rPr lang="en-GB" sz="2000" dirty="0"/>
              <a:t> </a:t>
            </a:r>
          </a:p>
          <a:p>
            <a:r>
              <a:rPr lang="en-GB" sz="2000" b="1" dirty="0"/>
              <a:t>Key Learning: </a:t>
            </a:r>
            <a:r>
              <a:rPr lang="en-GB" sz="2000" dirty="0"/>
              <a:t>Food experiences can translate abstract sustainability values into memorable and emotionally meaningful guest moments.</a:t>
            </a:r>
          </a:p>
          <a:p>
            <a:endParaRPr lang="en-GB" b="1" dirty="0"/>
          </a:p>
        </p:txBody>
      </p:sp>
      <p:pic>
        <p:nvPicPr>
          <p:cNvPr id="10" name="Picture 9">
            <a:extLst>
              <a:ext uri="{FF2B5EF4-FFF2-40B4-BE49-F238E27FC236}">
                <a16:creationId xmlns:a16="http://schemas.microsoft.com/office/drawing/2014/main" id="{FC7AC7C5-C20D-EBF0-7924-C3F08DAD6D0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6" name="Picture 5">
            <a:extLst>
              <a:ext uri="{FF2B5EF4-FFF2-40B4-BE49-F238E27FC236}">
                <a16:creationId xmlns:a16="http://schemas.microsoft.com/office/drawing/2014/main" id="{367AD1B0-B7ED-70EB-BB25-8BCE39980EF6}"/>
              </a:ext>
            </a:extLst>
          </p:cNvPr>
          <p:cNvPicPr>
            <a:picLocks noChangeAspect="1"/>
          </p:cNvPicPr>
          <p:nvPr/>
        </p:nvPicPr>
        <p:blipFill>
          <a:blip r:embed="rId4"/>
          <a:stretch>
            <a:fillRect/>
          </a:stretch>
        </p:blipFill>
        <p:spPr>
          <a:xfrm>
            <a:off x="7388623" y="0"/>
            <a:ext cx="4803377" cy="6858000"/>
          </a:xfrm>
          <a:prstGeom prst="rect">
            <a:avLst/>
          </a:prstGeom>
        </p:spPr>
      </p:pic>
    </p:spTree>
    <p:extLst>
      <p:ext uri="{BB962C8B-B14F-4D97-AF65-F5344CB8AC3E}">
        <p14:creationId xmlns:p14="http://schemas.microsoft.com/office/powerpoint/2010/main" val="20924073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AC558-4E7D-CE5C-1654-4127C046018A}"/>
            </a:ext>
          </a:extLst>
        </p:cNvPr>
        <p:cNvGrpSpPr/>
        <p:nvPr/>
      </p:nvGrpSpPr>
      <p:grpSpPr>
        <a:xfrm>
          <a:off x="0" y="0"/>
          <a:ext cx="0" cy="0"/>
          <a:chOff x="0" y="0"/>
          <a:chExt cx="0" cy="0"/>
        </a:xfrm>
      </p:grpSpPr>
      <p:pic>
        <p:nvPicPr>
          <p:cNvPr id="2119" name="Picture 2118">
            <a:extLst>
              <a:ext uri="{FF2B5EF4-FFF2-40B4-BE49-F238E27FC236}">
                <a16:creationId xmlns:a16="http://schemas.microsoft.com/office/drawing/2014/main" id="{3BC17E0E-4C8A-961E-615F-2D9632E2C31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4593894" y="993371"/>
            <a:ext cx="4979655" cy="6017965"/>
          </a:xfrm>
          <a:prstGeom prst="rect">
            <a:avLst/>
          </a:prstGeom>
        </p:spPr>
      </p:pic>
      <p:sp>
        <p:nvSpPr>
          <p:cNvPr id="56" name="Freeform: Shape 54">
            <a:extLst>
              <a:ext uri="{FF2B5EF4-FFF2-40B4-BE49-F238E27FC236}">
                <a16:creationId xmlns:a16="http://schemas.microsoft.com/office/drawing/2014/main" id="{68120FA8-DEAB-551F-E371-F5F0451A1F8C}"/>
              </a:ext>
            </a:extLst>
          </p:cNvPr>
          <p:cNvSpPr/>
          <p:nvPr/>
        </p:nvSpPr>
        <p:spPr>
          <a:xfrm>
            <a:off x="15771" y="3896459"/>
            <a:ext cx="12185821" cy="3134962"/>
          </a:xfrm>
          <a:custGeom>
            <a:avLst/>
            <a:gdLst>
              <a:gd name="connsiteX0" fmla="*/ 2019300 w 12191999"/>
              <a:gd name="connsiteY0" fmla="*/ 202 h 3295852"/>
              <a:gd name="connsiteX1" fmla="*/ 5143502 w 12191999"/>
              <a:gd name="connsiteY1" fmla="*/ 152602 h 3295852"/>
              <a:gd name="connsiteX2" fmla="*/ 7658100 w 12191999"/>
              <a:gd name="connsiteY2" fmla="*/ 76402 h 3295852"/>
              <a:gd name="connsiteX3" fmla="*/ 10896600 w 12191999"/>
              <a:gd name="connsiteY3" fmla="*/ 171652 h 3295852"/>
              <a:gd name="connsiteX4" fmla="*/ 12028884 w 12191999"/>
              <a:gd name="connsiteY4" fmla="*/ 97833 h 3295852"/>
              <a:gd name="connsiteX5" fmla="*/ 12191999 w 12191999"/>
              <a:gd name="connsiteY5" fmla="*/ 79360 h 3295852"/>
              <a:gd name="connsiteX6" fmla="*/ 12191999 w 12191999"/>
              <a:gd name="connsiteY6" fmla="*/ 3295852 h 3295852"/>
              <a:gd name="connsiteX7" fmla="*/ 0 w 12191999"/>
              <a:gd name="connsiteY7" fmla="*/ 3295852 h 3295852"/>
              <a:gd name="connsiteX8" fmla="*/ 0 w 12191999"/>
              <a:gd name="connsiteY8" fmla="*/ 160486 h 3295852"/>
              <a:gd name="connsiteX9" fmla="*/ 147191 w 12191999"/>
              <a:gd name="connsiteY9" fmla="*/ 143077 h 3295852"/>
              <a:gd name="connsiteX10" fmla="*/ 2019300 w 12191999"/>
              <a:gd name="connsiteY10" fmla="*/ 202 h 32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1999" h="3295852">
                <a:moveTo>
                  <a:pt x="2019300" y="202"/>
                </a:moveTo>
                <a:cubicBezTo>
                  <a:pt x="2921000" y="-6148"/>
                  <a:pt x="4203700" y="139902"/>
                  <a:pt x="5143502" y="152602"/>
                </a:cubicBezTo>
                <a:cubicBezTo>
                  <a:pt x="6083300" y="165302"/>
                  <a:pt x="6699251" y="73227"/>
                  <a:pt x="7658100" y="76402"/>
                </a:cubicBezTo>
                <a:cubicBezTo>
                  <a:pt x="8616950" y="79577"/>
                  <a:pt x="10042525" y="181177"/>
                  <a:pt x="10896600" y="171652"/>
                </a:cubicBezTo>
                <a:cubicBezTo>
                  <a:pt x="11323637" y="166890"/>
                  <a:pt x="11707812" y="132758"/>
                  <a:pt x="12028884" y="97833"/>
                </a:cubicBezTo>
                <a:lnTo>
                  <a:pt x="12191999" y="79360"/>
                </a:lnTo>
                <a:lnTo>
                  <a:pt x="12191999" y="3295852"/>
                </a:lnTo>
                <a:lnTo>
                  <a:pt x="0" y="3295852"/>
                </a:lnTo>
                <a:lnTo>
                  <a:pt x="0" y="160486"/>
                </a:lnTo>
                <a:lnTo>
                  <a:pt x="147191" y="143077"/>
                </a:lnTo>
                <a:cubicBezTo>
                  <a:pt x="639961" y="84737"/>
                  <a:pt x="1343025" y="4965"/>
                  <a:pt x="2019300" y="202"/>
                </a:cubicBezTo>
                <a:close/>
              </a:path>
            </a:pathLst>
          </a:custGeom>
          <a:gradFill>
            <a:gsLst>
              <a:gs pos="10000">
                <a:srgbClr val="0289AE">
                  <a:alpha val="48507"/>
                </a:srgbClr>
              </a:gs>
              <a:gs pos="100000">
                <a:srgbClr val="06677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57" name="Freeform: Shape 55">
            <a:extLst>
              <a:ext uri="{FF2B5EF4-FFF2-40B4-BE49-F238E27FC236}">
                <a16:creationId xmlns:a16="http://schemas.microsoft.com/office/drawing/2014/main" id="{2BC550B4-C073-D190-A0F7-C3BF80A20282}"/>
              </a:ext>
            </a:extLst>
          </p:cNvPr>
          <p:cNvSpPr/>
          <p:nvPr/>
        </p:nvSpPr>
        <p:spPr>
          <a:xfrm>
            <a:off x="0" y="3832246"/>
            <a:ext cx="12185822" cy="3181125"/>
          </a:xfrm>
          <a:custGeom>
            <a:avLst/>
            <a:gdLst>
              <a:gd name="connsiteX0" fmla="*/ 229047 w 12192000"/>
              <a:gd name="connsiteY0" fmla="*/ 357 h 3283969"/>
              <a:gd name="connsiteX1" fmla="*/ 438150 w 12192000"/>
              <a:gd name="connsiteY1" fmla="*/ 7370 h 3283969"/>
              <a:gd name="connsiteX2" fmla="*/ 3505200 w 12192000"/>
              <a:gd name="connsiteY2" fmla="*/ 274070 h 3283969"/>
              <a:gd name="connsiteX3" fmla="*/ 6229350 w 12192000"/>
              <a:gd name="connsiteY3" fmla="*/ 7370 h 3283969"/>
              <a:gd name="connsiteX4" fmla="*/ 9410700 w 12192000"/>
              <a:gd name="connsiteY4" fmla="*/ 331220 h 3283969"/>
              <a:gd name="connsiteX5" fmla="*/ 11906250 w 12192000"/>
              <a:gd name="connsiteY5" fmla="*/ 7370 h 3283969"/>
              <a:gd name="connsiteX6" fmla="*/ 12165806 w 12192000"/>
              <a:gd name="connsiteY6" fmla="*/ 16170 h 3283969"/>
              <a:gd name="connsiteX7" fmla="*/ 12192000 w 12192000"/>
              <a:gd name="connsiteY7" fmla="*/ 18836 h 3283969"/>
              <a:gd name="connsiteX8" fmla="*/ 12192000 w 12192000"/>
              <a:gd name="connsiteY8" fmla="*/ 3283969 h 3283969"/>
              <a:gd name="connsiteX9" fmla="*/ 0 w 12192000"/>
              <a:gd name="connsiteY9" fmla="*/ 3283969 h 3283969"/>
              <a:gd name="connsiteX10" fmla="*/ 0 w 12192000"/>
              <a:gd name="connsiteY10" fmla="*/ 7378 h 3283969"/>
              <a:gd name="connsiteX11" fmla="*/ 75010 w 12192000"/>
              <a:gd name="connsiteY11" fmla="*/ 1864 h 3283969"/>
              <a:gd name="connsiteX12" fmla="*/ 229047 w 12192000"/>
              <a:gd name="connsiteY12" fmla="*/ 357 h 328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283969">
                <a:moveTo>
                  <a:pt x="229047" y="357"/>
                </a:moveTo>
                <a:cubicBezTo>
                  <a:pt x="288925" y="1169"/>
                  <a:pt x="357981" y="3401"/>
                  <a:pt x="438150" y="7370"/>
                </a:cubicBezTo>
                <a:cubicBezTo>
                  <a:pt x="1079500" y="39120"/>
                  <a:pt x="2540000" y="274070"/>
                  <a:pt x="3505200" y="274070"/>
                </a:cubicBezTo>
                <a:cubicBezTo>
                  <a:pt x="4470400" y="274070"/>
                  <a:pt x="5245102" y="-2155"/>
                  <a:pt x="6229350" y="7370"/>
                </a:cubicBezTo>
                <a:cubicBezTo>
                  <a:pt x="7213601" y="16895"/>
                  <a:pt x="8464550" y="331220"/>
                  <a:pt x="9410700" y="331220"/>
                </a:cubicBezTo>
                <a:cubicBezTo>
                  <a:pt x="10356850" y="331220"/>
                  <a:pt x="11210925" y="10545"/>
                  <a:pt x="11906250" y="7370"/>
                </a:cubicBezTo>
                <a:cubicBezTo>
                  <a:pt x="11993166" y="6973"/>
                  <a:pt x="12079932" y="10148"/>
                  <a:pt x="12165806" y="16170"/>
                </a:cubicBezTo>
                <a:lnTo>
                  <a:pt x="12192000" y="18836"/>
                </a:lnTo>
                <a:lnTo>
                  <a:pt x="12192000" y="3283969"/>
                </a:lnTo>
                <a:lnTo>
                  <a:pt x="0" y="3283969"/>
                </a:lnTo>
                <a:lnTo>
                  <a:pt x="0" y="7378"/>
                </a:lnTo>
                <a:lnTo>
                  <a:pt x="75010" y="1864"/>
                </a:lnTo>
                <a:cubicBezTo>
                  <a:pt x="118467" y="152"/>
                  <a:pt x="169168" y="-456"/>
                  <a:pt x="229047" y="357"/>
                </a:cubicBezTo>
                <a:close/>
              </a:path>
            </a:pathLst>
          </a:custGeom>
          <a:solidFill>
            <a:srgbClr val="0289AE">
              <a:alpha val="31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60" name="Freeform 9">
            <a:extLst>
              <a:ext uri="{FF2B5EF4-FFF2-40B4-BE49-F238E27FC236}">
                <a16:creationId xmlns:a16="http://schemas.microsoft.com/office/drawing/2014/main" id="{72AA9531-AA93-4A97-EF73-D68EC02888E6}"/>
              </a:ext>
            </a:extLst>
          </p:cNvPr>
          <p:cNvSpPr>
            <a:spLocks/>
          </p:cNvSpPr>
          <p:nvPr/>
        </p:nvSpPr>
        <p:spPr bwMode="auto">
          <a:xfrm>
            <a:off x="5343456" y="6672433"/>
            <a:ext cx="91376" cy="96675"/>
          </a:xfrm>
          <a:custGeom>
            <a:avLst/>
            <a:gdLst>
              <a:gd name="T0" fmla="*/ 165 w 367"/>
              <a:gd name="T1" fmla="*/ 1 h 367"/>
              <a:gd name="T2" fmla="*/ 128 w 367"/>
              <a:gd name="T3" fmla="*/ 8 h 367"/>
              <a:gd name="T4" fmla="*/ 96 w 367"/>
              <a:gd name="T5" fmla="*/ 22 h 367"/>
              <a:gd name="T6" fmla="*/ 67 w 367"/>
              <a:gd name="T7" fmla="*/ 42 h 367"/>
              <a:gd name="T8" fmla="*/ 42 w 367"/>
              <a:gd name="T9" fmla="*/ 67 h 367"/>
              <a:gd name="T10" fmla="*/ 22 w 367"/>
              <a:gd name="T11" fmla="*/ 96 h 367"/>
              <a:gd name="T12" fmla="*/ 8 w 367"/>
              <a:gd name="T13" fmla="*/ 128 h 367"/>
              <a:gd name="T14" fmla="*/ 1 w 367"/>
              <a:gd name="T15" fmla="*/ 165 h 367"/>
              <a:gd name="T16" fmla="*/ 1 w 367"/>
              <a:gd name="T17" fmla="*/ 202 h 367"/>
              <a:gd name="T18" fmla="*/ 8 w 367"/>
              <a:gd name="T19" fmla="*/ 238 h 367"/>
              <a:gd name="T20" fmla="*/ 22 w 367"/>
              <a:gd name="T21" fmla="*/ 271 h 367"/>
              <a:gd name="T22" fmla="*/ 42 w 367"/>
              <a:gd name="T23" fmla="*/ 300 h 367"/>
              <a:gd name="T24" fmla="*/ 67 w 367"/>
              <a:gd name="T25" fmla="*/ 325 h 367"/>
              <a:gd name="T26" fmla="*/ 96 w 367"/>
              <a:gd name="T27" fmla="*/ 344 h 367"/>
              <a:gd name="T28" fmla="*/ 128 w 367"/>
              <a:gd name="T29" fmla="*/ 358 h 367"/>
              <a:gd name="T30" fmla="*/ 165 w 367"/>
              <a:gd name="T31" fmla="*/ 366 h 367"/>
              <a:gd name="T32" fmla="*/ 202 w 367"/>
              <a:gd name="T33" fmla="*/ 366 h 367"/>
              <a:gd name="T34" fmla="*/ 238 w 367"/>
              <a:gd name="T35" fmla="*/ 358 h 367"/>
              <a:gd name="T36" fmla="*/ 271 w 367"/>
              <a:gd name="T37" fmla="*/ 344 h 367"/>
              <a:gd name="T38" fmla="*/ 300 w 367"/>
              <a:gd name="T39" fmla="*/ 325 h 367"/>
              <a:gd name="T40" fmla="*/ 325 w 367"/>
              <a:gd name="T41" fmla="*/ 300 h 367"/>
              <a:gd name="T42" fmla="*/ 344 w 367"/>
              <a:gd name="T43" fmla="*/ 271 h 367"/>
              <a:gd name="T44" fmla="*/ 358 w 367"/>
              <a:gd name="T45" fmla="*/ 238 h 367"/>
              <a:gd name="T46" fmla="*/ 366 w 367"/>
              <a:gd name="T47" fmla="*/ 202 h 367"/>
              <a:gd name="T48" fmla="*/ 366 w 367"/>
              <a:gd name="T49" fmla="*/ 165 h 367"/>
              <a:gd name="T50" fmla="*/ 358 w 367"/>
              <a:gd name="T51" fmla="*/ 128 h 367"/>
              <a:gd name="T52" fmla="*/ 344 w 367"/>
              <a:gd name="T53" fmla="*/ 96 h 367"/>
              <a:gd name="T54" fmla="*/ 325 w 367"/>
              <a:gd name="T55" fmla="*/ 67 h 367"/>
              <a:gd name="T56" fmla="*/ 300 w 367"/>
              <a:gd name="T57" fmla="*/ 42 h 367"/>
              <a:gd name="T58" fmla="*/ 271 w 367"/>
              <a:gd name="T59" fmla="*/ 22 h 367"/>
              <a:gd name="T60" fmla="*/ 238 w 367"/>
              <a:gd name="T61" fmla="*/ 8 h 367"/>
              <a:gd name="T62" fmla="*/ 202 w 367"/>
              <a:gd name="T63" fmla="*/ 1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7" h="367">
                <a:moveTo>
                  <a:pt x="183" y="0"/>
                </a:moveTo>
                <a:lnTo>
                  <a:pt x="165" y="1"/>
                </a:lnTo>
                <a:lnTo>
                  <a:pt x="147" y="3"/>
                </a:lnTo>
                <a:lnTo>
                  <a:pt x="128" y="8"/>
                </a:lnTo>
                <a:lnTo>
                  <a:pt x="112" y="14"/>
                </a:lnTo>
                <a:lnTo>
                  <a:pt x="96" y="22"/>
                </a:lnTo>
                <a:lnTo>
                  <a:pt x="81" y="31"/>
                </a:lnTo>
                <a:lnTo>
                  <a:pt x="67" y="42"/>
                </a:lnTo>
                <a:lnTo>
                  <a:pt x="54" y="54"/>
                </a:lnTo>
                <a:lnTo>
                  <a:pt x="42" y="67"/>
                </a:lnTo>
                <a:lnTo>
                  <a:pt x="31" y="81"/>
                </a:lnTo>
                <a:lnTo>
                  <a:pt x="22" y="96"/>
                </a:lnTo>
                <a:lnTo>
                  <a:pt x="14" y="112"/>
                </a:lnTo>
                <a:lnTo>
                  <a:pt x="8" y="128"/>
                </a:lnTo>
                <a:lnTo>
                  <a:pt x="3" y="147"/>
                </a:lnTo>
                <a:lnTo>
                  <a:pt x="1" y="165"/>
                </a:lnTo>
                <a:lnTo>
                  <a:pt x="0" y="183"/>
                </a:lnTo>
                <a:lnTo>
                  <a:pt x="1" y="202"/>
                </a:lnTo>
                <a:lnTo>
                  <a:pt x="3" y="220"/>
                </a:lnTo>
                <a:lnTo>
                  <a:pt x="8" y="238"/>
                </a:lnTo>
                <a:lnTo>
                  <a:pt x="14" y="255"/>
                </a:lnTo>
                <a:lnTo>
                  <a:pt x="22" y="271"/>
                </a:lnTo>
                <a:lnTo>
                  <a:pt x="31" y="286"/>
                </a:lnTo>
                <a:lnTo>
                  <a:pt x="42" y="300"/>
                </a:lnTo>
                <a:lnTo>
                  <a:pt x="54" y="313"/>
                </a:lnTo>
                <a:lnTo>
                  <a:pt x="67" y="325"/>
                </a:lnTo>
                <a:lnTo>
                  <a:pt x="81" y="336"/>
                </a:lnTo>
                <a:lnTo>
                  <a:pt x="96" y="344"/>
                </a:lnTo>
                <a:lnTo>
                  <a:pt x="112" y="353"/>
                </a:lnTo>
                <a:lnTo>
                  <a:pt x="128" y="358"/>
                </a:lnTo>
                <a:lnTo>
                  <a:pt x="147" y="364"/>
                </a:lnTo>
                <a:lnTo>
                  <a:pt x="165" y="366"/>
                </a:lnTo>
                <a:lnTo>
                  <a:pt x="183" y="367"/>
                </a:lnTo>
                <a:lnTo>
                  <a:pt x="202" y="366"/>
                </a:lnTo>
                <a:lnTo>
                  <a:pt x="220" y="364"/>
                </a:lnTo>
                <a:lnTo>
                  <a:pt x="238" y="358"/>
                </a:lnTo>
                <a:lnTo>
                  <a:pt x="255" y="353"/>
                </a:lnTo>
                <a:lnTo>
                  <a:pt x="271" y="344"/>
                </a:lnTo>
                <a:lnTo>
                  <a:pt x="286" y="336"/>
                </a:lnTo>
                <a:lnTo>
                  <a:pt x="300" y="325"/>
                </a:lnTo>
                <a:lnTo>
                  <a:pt x="313" y="313"/>
                </a:lnTo>
                <a:lnTo>
                  <a:pt x="325" y="300"/>
                </a:lnTo>
                <a:lnTo>
                  <a:pt x="336" y="286"/>
                </a:lnTo>
                <a:lnTo>
                  <a:pt x="344" y="271"/>
                </a:lnTo>
                <a:lnTo>
                  <a:pt x="353" y="255"/>
                </a:lnTo>
                <a:lnTo>
                  <a:pt x="358" y="238"/>
                </a:lnTo>
                <a:lnTo>
                  <a:pt x="364" y="220"/>
                </a:lnTo>
                <a:lnTo>
                  <a:pt x="366" y="202"/>
                </a:lnTo>
                <a:lnTo>
                  <a:pt x="367" y="183"/>
                </a:lnTo>
                <a:lnTo>
                  <a:pt x="366" y="165"/>
                </a:lnTo>
                <a:lnTo>
                  <a:pt x="364" y="147"/>
                </a:lnTo>
                <a:lnTo>
                  <a:pt x="358" y="128"/>
                </a:lnTo>
                <a:lnTo>
                  <a:pt x="353" y="112"/>
                </a:lnTo>
                <a:lnTo>
                  <a:pt x="344" y="96"/>
                </a:lnTo>
                <a:lnTo>
                  <a:pt x="336" y="81"/>
                </a:lnTo>
                <a:lnTo>
                  <a:pt x="325" y="67"/>
                </a:lnTo>
                <a:lnTo>
                  <a:pt x="313" y="54"/>
                </a:lnTo>
                <a:lnTo>
                  <a:pt x="300" y="42"/>
                </a:lnTo>
                <a:lnTo>
                  <a:pt x="286" y="31"/>
                </a:lnTo>
                <a:lnTo>
                  <a:pt x="271" y="22"/>
                </a:lnTo>
                <a:lnTo>
                  <a:pt x="255" y="14"/>
                </a:lnTo>
                <a:lnTo>
                  <a:pt x="238" y="8"/>
                </a:lnTo>
                <a:lnTo>
                  <a:pt x="220" y="3"/>
                </a:lnTo>
                <a:lnTo>
                  <a:pt x="202" y="1"/>
                </a:lnTo>
                <a:lnTo>
                  <a:pt x="183" y="0"/>
                </a:lnTo>
                <a:close/>
              </a:path>
            </a:pathLst>
          </a:custGeom>
          <a:solidFill>
            <a:schemeClr val="bg1">
              <a:alpha val="2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2" name="Freeform 85">
            <a:extLst>
              <a:ext uri="{FF2B5EF4-FFF2-40B4-BE49-F238E27FC236}">
                <a16:creationId xmlns:a16="http://schemas.microsoft.com/office/drawing/2014/main" id="{16EFA39B-EE2D-64C6-539E-31DA204FA627}"/>
              </a:ext>
            </a:extLst>
          </p:cNvPr>
          <p:cNvSpPr>
            <a:spLocks/>
          </p:cNvSpPr>
          <p:nvPr/>
        </p:nvSpPr>
        <p:spPr bwMode="auto">
          <a:xfrm>
            <a:off x="5278897" y="5599555"/>
            <a:ext cx="33769" cy="35728"/>
          </a:xfrm>
          <a:custGeom>
            <a:avLst/>
            <a:gdLst>
              <a:gd name="T0" fmla="*/ 134 w 134"/>
              <a:gd name="T1" fmla="*/ 74 h 134"/>
              <a:gd name="T2" fmla="*/ 130 w 134"/>
              <a:gd name="T3" fmla="*/ 87 h 134"/>
              <a:gd name="T4" fmla="*/ 126 w 134"/>
              <a:gd name="T5" fmla="*/ 99 h 134"/>
              <a:gd name="T6" fmla="*/ 118 w 134"/>
              <a:gd name="T7" fmla="*/ 109 h 134"/>
              <a:gd name="T8" fmla="*/ 110 w 134"/>
              <a:gd name="T9" fmla="*/ 118 h 134"/>
              <a:gd name="T10" fmla="*/ 99 w 134"/>
              <a:gd name="T11" fmla="*/ 126 h 134"/>
              <a:gd name="T12" fmla="*/ 87 w 134"/>
              <a:gd name="T13" fmla="*/ 131 h 134"/>
              <a:gd name="T14" fmla="*/ 74 w 134"/>
              <a:gd name="T15" fmla="*/ 133 h 134"/>
              <a:gd name="T16" fmla="*/ 60 w 134"/>
              <a:gd name="T17" fmla="*/ 133 h 134"/>
              <a:gd name="T18" fmla="*/ 47 w 134"/>
              <a:gd name="T19" fmla="*/ 131 h 134"/>
              <a:gd name="T20" fmla="*/ 35 w 134"/>
              <a:gd name="T21" fmla="*/ 126 h 134"/>
              <a:gd name="T22" fmla="*/ 24 w 134"/>
              <a:gd name="T23" fmla="*/ 118 h 134"/>
              <a:gd name="T24" fmla="*/ 15 w 134"/>
              <a:gd name="T25" fmla="*/ 109 h 134"/>
              <a:gd name="T26" fmla="*/ 8 w 134"/>
              <a:gd name="T27" fmla="*/ 99 h 134"/>
              <a:gd name="T28" fmla="*/ 3 w 134"/>
              <a:gd name="T29" fmla="*/ 87 h 134"/>
              <a:gd name="T30" fmla="*/ 1 w 134"/>
              <a:gd name="T31" fmla="*/ 74 h 134"/>
              <a:gd name="T32" fmla="*/ 1 w 134"/>
              <a:gd name="T33" fmla="*/ 60 h 134"/>
              <a:gd name="T34" fmla="*/ 3 w 134"/>
              <a:gd name="T35" fmla="*/ 47 h 134"/>
              <a:gd name="T36" fmla="*/ 8 w 134"/>
              <a:gd name="T37" fmla="*/ 35 h 134"/>
              <a:gd name="T38" fmla="*/ 15 w 134"/>
              <a:gd name="T39" fmla="*/ 24 h 134"/>
              <a:gd name="T40" fmla="*/ 24 w 134"/>
              <a:gd name="T41" fmla="*/ 15 h 134"/>
              <a:gd name="T42" fmla="*/ 35 w 134"/>
              <a:gd name="T43" fmla="*/ 8 h 134"/>
              <a:gd name="T44" fmla="*/ 47 w 134"/>
              <a:gd name="T45" fmla="*/ 3 h 134"/>
              <a:gd name="T46" fmla="*/ 60 w 134"/>
              <a:gd name="T47" fmla="*/ 0 h 134"/>
              <a:gd name="T48" fmla="*/ 74 w 134"/>
              <a:gd name="T49" fmla="*/ 0 h 134"/>
              <a:gd name="T50" fmla="*/ 87 w 134"/>
              <a:gd name="T51" fmla="*/ 3 h 134"/>
              <a:gd name="T52" fmla="*/ 99 w 134"/>
              <a:gd name="T53" fmla="*/ 8 h 134"/>
              <a:gd name="T54" fmla="*/ 110 w 134"/>
              <a:gd name="T55" fmla="*/ 15 h 134"/>
              <a:gd name="T56" fmla="*/ 118 w 134"/>
              <a:gd name="T57" fmla="*/ 24 h 134"/>
              <a:gd name="T58" fmla="*/ 126 w 134"/>
              <a:gd name="T59" fmla="*/ 35 h 134"/>
              <a:gd name="T60" fmla="*/ 130 w 134"/>
              <a:gd name="T61" fmla="*/ 47 h 134"/>
              <a:gd name="T62" fmla="*/ 134 w 134"/>
              <a:gd name="T63"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34">
                <a:moveTo>
                  <a:pt x="134" y="67"/>
                </a:moveTo>
                <a:lnTo>
                  <a:pt x="134" y="74"/>
                </a:lnTo>
                <a:lnTo>
                  <a:pt x="132" y="80"/>
                </a:lnTo>
                <a:lnTo>
                  <a:pt x="130" y="87"/>
                </a:lnTo>
                <a:lnTo>
                  <a:pt x="128" y="93"/>
                </a:lnTo>
                <a:lnTo>
                  <a:pt x="126" y="99"/>
                </a:lnTo>
                <a:lnTo>
                  <a:pt x="122" y="104"/>
                </a:lnTo>
                <a:lnTo>
                  <a:pt x="118" y="109"/>
                </a:lnTo>
                <a:lnTo>
                  <a:pt x="114" y="114"/>
                </a:lnTo>
                <a:lnTo>
                  <a:pt x="110" y="118"/>
                </a:lnTo>
                <a:lnTo>
                  <a:pt x="104" y="122"/>
                </a:lnTo>
                <a:lnTo>
                  <a:pt x="99" y="126"/>
                </a:lnTo>
                <a:lnTo>
                  <a:pt x="92" y="129"/>
                </a:lnTo>
                <a:lnTo>
                  <a:pt x="87" y="131"/>
                </a:lnTo>
                <a:lnTo>
                  <a:pt x="81" y="132"/>
                </a:lnTo>
                <a:lnTo>
                  <a:pt x="74" y="133"/>
                </a:lnTo>
                <a:lnTo>
                  <a:pt x="67" y="134"/>
                </a:lnTo>
                <a:lnTo>
                  <a:pt x="60" y="133"/>
                </a:lnTo>
                <a:lnTo>
                  <a:pt x="54" y="132"/>
                </a:lnTo>
                <a:lnTo>
                  <a:pt x="47" y="131"/>
                </a:lnTo>
                <a:lnTo>
                  <a:pt x="41" y="129"/>
                </a:lnTo>
                <a:lnTo>
                  <a:pt x="35" y="126"/>
                </a:lnTo>
                <a:lnTo>
                  <a:pt x="30" y="122"/>
                </a:lnTo>
                <a:lnTo>
                  <a:pt x="24" y="118"/>
                </a:lnTo>
                <a:lnTo>
                  <a:pt x="19" y="114"/>
                </a:lnTo>
                <a:lnTo>
                  <a:pt x="15" y="109"/>
                </a:lnTo>
                <a:lnTo>
                  <a:pt x="11" y="104"/>
                </a:lnTo>
                <a:lnTo>
                  <a:pt x="8" y="99"/>
                </a:lnTo>
                <a:lnTo>
                  <a:pt x="5" y="93"/>
                </a:lnTo>
                <a:lnTo>
                  <a:pt x="3" y="87"/>
                </a:lnTo>
                <a:lnTo>
                  <a:pt x="2" y="80"/>
                </a:lnTo>
                <a:lnTo>
                  <a:pt x="1" y="74"/>
                </a:lnTo>
                <a:lnTo>
                  <a:pt x="0" y="67"/>
                </a:lnTo>
                <a:lnTo>
                  <a:pt x="1" y="60"/>
                </a:lnTo>
                <a:lnTo>
                  <a:pt x="2" y="53"/>
                </a:lnTo>
                <a:lnTo>
                  <a:pt x="3" y="47"/>
                </a:lnTo>
                <a:lnTo>
                  <a:pt x="5" y="41"/>
                </a:lnTo>
                <a:lnTo>
                  <a:pt x="8" y="35"/>
                </a:lnTo>
                <a:lnTo>
                  <a:pt x="11" y="29"/>
                </a:lnTo>
                <a:lnTo>
                  <a:pt x="15" y="24"/>
                </a:lnTo>
                <a:lnTo>
                  <a:pt x="19" y="20"/>
                </a:lnTo>
                <a:lnTo>
                  <a:pt x="24" y="15"/>
                </a:lnTo>
                <a:lnTo>
                  <a:pt x="30" y="11"/>
                </a:lnTo>
                <a:lnTo>
                  <a:pt x="35" y="8"/>
                </a:lnTo>
                <a:lnTo>
                  <a:pt x="41" y="6"/>
                </a:lnTo>
                <a:lnTo>
                  <a:pt x="47" y="3"/>
                </a:lnTo>
                <a:lnTo>
                  <a:pt x="54" y="1"/>
                </a:lnTo>
                <a:lnTo>
                  <a:pt x="60" y="0"/>
                </a:lnTo>
                <a:lnTo>
                  <a:pt x="67" y="0"/>
                </a:lnTo>
                <a:lnTo>
                  <a:pt x="74" y="0"/>
                </a:lnTo>
                <a:lnTo>
                  <a:pt x="81" y="1"/>
                </a:lnTo>
                <a:lnTo>
                  <a:pt x="87" y="3"/>
                </a:lnTo>
                <a:lnTo>
                  <a:pt x="92" y="6"/>
                </a:lnTo>
                <a:lnTo>
                  <a:pt x="99" y="8"/>
                </a:lnTo>
                <a:lnTo>
                  <a:pt x="104" y="11"/>
                </a:lnTo>
                <a:lnTo>
                  <a:pt x="110" y="15"/>
                </a:lnTo>
                <a:lnTo>
                  <a:pt x="114" y="20"/>
                </a:lnTo>
                <a:lnTo>
                  <a:pt x="118" y="24"/>
                </a:lnTo>
                <a:lnTo>
                  <a:pt x="122" y="29"/>
                </a:lnTo>
                <a:lnTo>
                  <a:pt x="126" y="35"/>
                </a:lnTo>
                <a:lnTo>
                  <a:pt x="128" y="41"/>
                </a:lnTo>
                <a:lnTo>
                  <a:pt x="130" y="47"/>
                </a:lnTo>
                <a:lnTo>
                  <a:pt x="132" y="53"/>
                </a:lnTo>
                <a:lnTo>
                  <a:pt x="134" y="60"/>
                </a:lnTo>
                <a:lnTo>
                  <a:pt x="134" y="67"/>
                </a:lnTo>
                <a:close/>
              </a:path>
            </a:pathLst>
          </a:custGeom>
          <a:solidFill>
            <a:schemeClr val="bg1">
              <a:alpha val="2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5" name="Freeform 97">
            <a:extLst>
              <a:ext uri="{FF2B5EF4-FFF2-40B4-BE49-F238E27FC236}">
                <a16:creationId xmlns:a16="http://schemas.microsoft.com/office/drawing/2014/main" id="{15D22FD7-638E-B37B-3692-19EE4CEBF148}"/>
              </a:ext>
            </a:extLst>
          </p:cNvPr>
          <p:cNvSpPr>
            <a:spLocks/>
          </p:cNvSpPr>
          <p:nvPr/>
        </p:nvSpPr>
        <p:spPr bwMode="auto">
          <a:xfrm>
            <a:off x="5360341" y="6304649"/>
            <a:ext cx="20858" cy="22067"/>
          </a:xfrm>
          <a:custGeom>
            <a:avLst/>
            <a:gdLst>
              <a:gd name="T0" fmla="*/ 84 w 84"/>
              <a:gd name="T1" fmla="*/ 42 h 83"/>
              <a:gd name="T2" fmla="*/ 83 w 84"/>
              <a:gd name="T3" fmla="*/ 50 h 83"/>
              <a:gd name="T4" fmla="*/ 80 w 84"/>
              <a:gd name="T5" fmla="*/ 58 h 83"/>
              <a:gd name="T6" fmla="*/ 76 w 84"/>
              <a:gd name="T7" fmla="*/ 65 h 83"/>
              <a:gd name="T8" fmla="*/ 71 w 84"/>
              <a:gd name="T9" fmla="*/ 71 h 83"/>
              <a:gd name="T10" fmla="*/ 65 w 84"/>
              <a:gd name="T11" fmla="*/ 77 h 83"/>
              <a:gd name="T12" fmla="*/ 58 w 84"/>
              <a:gd name="T13" fmla="*/ 80 h 83"/>
              <a:gd name="T14" fmla="*/ 51 w 84"/>
              <a:gd name="T15" fmla="*/ 82 h 83"/>
              <a:gd name="T16" fmla="*/ 42 w 84"/>
              <a:gd name="T17" fmla="*/ 83 h 83"/>
              <a:gd name="T18" fmla="*/ 33 w 84"/>
              <a:gd name="T19" fmla="*/ 82 h 83"/>
              <a:gd name="T20" fmla="*/ 26 w 84"/>
              <a:gd name="T21" fmla="*/ 80 h 83"/>
              <a:gd name="T22" fmla="*/ 18 w 84"/>
              <a:gd name="T23" fmla="*/ 77 h 83"/>
              <a:gd name="T24" fmla="*/ 12 w 84"/>
              <a:gd name="T25" fmla="*/ 71 h 83"/>
              <a:gd name="T26" fmla="*/ 7 w 84"/>
              <a:gd name="T27" fmla="*/ 65 h 83"/>
              <a:gd name="T28" fmla="*/ 3 w 84"/>
              <a:gd name="T29" fmla="*/ 58 h 83"/>
              <a:gd name="T30" fmla="*/ 1 w 84"/>
              <a:gd name="T31" fmla="*/ 50 h 83"/>
              <a:gd name="T32" fmla="*/ 0 w 84"/>
              <a:gd name="T33" fmla="*/ 42 h 83"/>
              <a:gd name="T34" fmla="*/ 1 w 84"/>
              <a:gd name="T35" fmla="*/ 34 h 83"/>
              <a:gd name="T36" fmla="*/ 3 w 84"/>
              <a:gd name="T37" fmla="*/ 25 h 83"/>
              <a:gd name="T38" fmla="*/ 7 w 84"/>
              <a:gd name="T39" fmla="*/ 18 h 83"/>
              <a:gd name="T40" fmla="*/ 12 w 84"/>
              <a:gd name="T41" fmla="*/ 12 h 83"/>
              <a:gd name="T42" fmla="*/ 18 w 84"/>
              <a:gd name="T43" fmla="*/ 7 h 83"/>
              <a:gd name="T44" fmla="*/ 26 w 84"/>
              <a:gd name="T45" fmla="*/ 3 h 83"/>
              <a:gd name="T46" fmla="*/ 33 w 84"/>
              <a:gd name="T47" fmla="*/ 1 h 83"/>
              <a:gd name="T48" fmla="*/ 42 w 84"/>
              <a:gd name="T49" fmla="*/ 0 h 83"/>
              <a:gd name="T50" fmla="*/ 51 w 84"/>
              <a:gd name="T51" fmla="*/ 1 h 83"/>
              <a:gd name="T52" fmla="*/ 58 w 84"/>
              <a:gd name="T53" fmla="*/ 3 h 83"/>
              <a:gd name="T54" fmla="*/ 65 w 84"/>
              <a:gd name="T55" fmla="*/ 7 h 83"/>
              <a:gd name="T56" fmla="*/ 71 w 84"/>
              <a:gd name="T57" fmla="*/ 12 h 83"/>
              <a:gd name="T58" fmla="*/ 76 w 84"/>
              <a:gd name="T59" fmla="*/ 18 h 83"/>
              <a:gd name="T60" fmla="*/ 80 w 84"/>
              <a:gd name="T61" fmla="*/ 25 h 83"/>
              <a:gd name="T62" fmla="*/ 83 w 84"/>
              <a:gd name="T63" fmla="*/ 34 h 83"/>
              <a:gd name="T64" fmla="*/ 84 w 84"/>
              <a:gd name="T65"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83">
                <a:moveTo>
                  <a:pt x="84" y="42"/>
                </a:moveTo>
                <a:lnTo>
                  <a:pt x="83" y="50"/>
                </a:lnTo>
                <a:lnTo>
                  <a:pt x="80" y="58"/>
                </a:lnTo>
                <a:lnTo>
                  <a:pt x="76" y="65"/>
                </a:lnTo>
                <a:lnTo>
                  <a:pt x="71" y="71"/>
                </a:lnTo>
                <a:lnTo>
                  <a:pt x="65" y="77"/>
                </a:lnTo>
                <a:lnTo>
                  <a:pt x="58" y="80"/>
                </a:lnTo>
                <a:lnTo>
                  <a:pt x="51" y="82"/>
                </a:lnTo>
                <a:lnTo>
                  <a:pt x="42" y="83"/>
                </a:lnTo>
                <a:lnTo>
                  <a:pt x="33" y="82"/>
                </a:lnTo>
                <a:lnTo>
                  <a:pt x="26" y="80"/>
                </a:lnTo>
                <a:lnTo>
                  <a:pt x="18" y="77"/>
                </a:lnTo>
                <a:lnTo>
                  <a:pt x="12" y="71"/>
                </a:lnTo>
                <a:lnTo>
                  <a:pt x="7" y="65"/>
                </a:lnTo>
                <a:lnTo>
                  <a:pt x="3" y="58"/>
                </a:lnTo>
                <a:lnTo>
                  <a:pt x="1" y="50"/>
                </a:lnTo>
                <a:lnTo>
                  <a:pt x="0" y="42"/>
                </a:lnTo>
                <a:lnTo>
                  <a:pt x="1" y="34"/>
                </a:lnTo>
                <a:lnTo>
                  <a:pt x="3" y="25"/>
                </a:lnTo>
                <a:lnTo>
                  <a:pt x="7" y="18"/>
                </a:lnTo>
                <a:lnTo>
                  <a:pt x="12" y="12"/>
                </a:lnTo>
                <a:lnTo>
                  <a:pt x="18" y="7"/>
                </a:lnTo>
                <a:lnTo>
                  <a:pt x="26" y="3"/>
                </a:lnTo>
                <a:lnTo>
                  <a:pt x="33" y="1"/>
                </a:lnTo>
                <a:lnTo>
                  <a:pt x="42" y="0"/>
                </a:lnTo>
                <a:lnTo>
                  <a:pt x="51" y="1"/>
                </a:lnTo>
                <a:lnTo>
                  <a:pt x="58" y="3"/>
                </a:lnTo>
                <a:lnTo>
                  <a:pt x="65" y="7"/>
                </a:lnTo>
                <a:lnTo>
                  <a:pt x="71" y="12"/>
                </a:lnTo>
                <a:lnTo>
                  <a:pt x="76" y="18"/>
                </a:lnTo>
                <a:lnTo>
                  <a:pt x="80" y="25"/>
                </a:lnTo>
                <a:lnTo>
                  <a:pt x="83" y="34"/>
                </a:lnTo>
                <a:lnTo>
                  <a:pt x="84" y="42"/>
                </a:lnTo>
                <a:close/>
              </a:path>
            </a:pathLst>
          </a:custGeom>
          <a:solidFill>
            <a:schemeClr val="bg1">
              <a:alpha val="2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2" name="Freeform 7">
            <a:extLst>
              <a:ext uri="{FF2B5EF4-FFF2-40B4-BE49-F238E27FC236}">
                <a16:creationId xmlns:a16="http://schemas.microsoft.com/office/drawing/2014/main" id="{5E703DB4-6483-7782-2E63-4AE90598707F}"/>
              </a:ext>
            </a:extLst>
          </p:cNvPr>
          <p:cNvSpPr>
            <a:spLocks/>
          </p:cNvSpPr>
          <p:nvPr/>
        </p:nvSpPr>
        <p:spPr bwMode="auto">
          <a:xfrm>
            <a:off x="4065714" y="5677841"/>
            <a:ext cx="80451" cy="85116"/>
          </a:xfrm>
          <a:custGeom>
            <a:avLst/>
            <a:gdLst>
              <a:gd name="T0" fmla="*/ 178 w 324"/>
              <a:gd name="T1" fmla="*/ 323 h 324"/>
              <a:gd name="T2" fmla="*/ 210 w 324"/>
              <a:gd name="T3" fmla="*/ 316 h 324"/>
              <a:gd name="T4" fmla="*/ 239 w 324"/>
              <a:gd name="T5" fmla="*/ 305 h 324"/>
              <a:gd name="T6" fmla="*/ 264 w 324"/>
              <a:gd name="T7" fmla="*/ 287 h 324"/>
              <a:gd name="T8" fmla="*/ 287 w 324"/>
              <a:gd name="T9" fmla="*/ 265 h 324"/>
              <a:gd name="T10" fmla="*/ 304 w 324"/>
              <a:gd name="T11" fmla="*/ 239 h 324"/>
              <a:gd name="T12" fmla="*/ 316 w 324"/>
              <a:gd name="T13" fmla="*/ 211 h 324"/>
              <a:gd name="T14" fmla="*/ 323 w 324"/>
              <a:gd name="T15" fmla="*/ 178 h 324"/>
              <a:gd name="T16" fmla="*/ 323 w 324"/>
              <a:gd name="T17" fmla="*/ 146 h 324"/>
              <a:gd name="T18" fmla="*/ 316 w 324"/>
              <a:gd name="T19" fmla="*/ 113 h 324"/>
              <a:gd name="T20" fmla="*/ 304 w 324"/>
              <a:gd name="T21" fmla="*/ 84 h 324"/>
              <a:gd name="T22" fmla="*/ 287 w 324"/>
              <a:gd name="T23" fmla="*/ 59 h 324"/>
              <a:gd name="T24" fmla="*/ 264 w 324"/>
              <a:gd name="T25" fmla="*/ 37 h 324"/>
              <a:gd name="T26" fmla="*/ 239 w 324"/>
              <a:gd name="T27" fmla="*/ 19 h 324"/>
              <a:gd name="T28" fmla="*/ 210 w 324"/>
              <a:gd name="T29" fmla="*/ 8 h 324"/>
              <a:gd name="T30" fmla="*/ 178 w 324"/>
              <a:gd name="T31" fmla="*/ 1 h 324"/>
              <a:gd name="T32" fmla="*/ 145 w 324"/>
              <a:gd name="T33" fmla="*/ 1 h 324"/>
              <a:gd name="T34" fmla="*/ 113 w 324"/>
              <a:gd name="T35" fmla="*/ 8 h 324"/>
              <a:gd name="T36" fmla="*/ 85 w 324"/>
              <a:gd name="T37" fmla="*/ 19 h 324"/>
              <a:gd name="T38" fmla="*/ 59 w 324"/>
              <a:gd name="T39" fmla="*/ 37 h 324"/>
              <a:gd name="T40" fmla="*/ 36 w 324"/>
              <a:gd name="T41" fmla="*/ 59 h 324"/>
              <a:gd name="T42" fmla="*/ 19 w 324"/>
              <a:gd name="T43" fmla="*/ 84 h 324"/>
              <a:gd name="T44" fmla="*/ 7 w 324"/>
              <a:gd name="T45" fmla="*/ 113 h 324"/>
              <a:gd name="T46" fmla="*/ 1 w 324"/>
              <a:gd name="T47" fmla="*/ 146 h 324"/>
              <a:gd name="T48" fmla="*/ 1 w 324"/>
              <a:gd name="T49" fmla="*/ 178 h 324"/>
              <a:gd name="T50" fmla="*/ 7 w 324"/>
              <a:gd name="T51" fmla="*/ 211 h 324"/>
              <a:gd name="T52" fmla="*/ 19 w 324"/>
              <a:gd name="T53" fmla="*/ 239 h 324"/>
              <a:gd name="T54" fmla="*/ 36 w 324"/>
              <a:gd name="T55" fmla="*/ 265 h 324"/>
              <a:gd name="T56" fmla="*/ 59 w 324"/>
              <a:gd name="T57" fmla="*/ 287 h 324"/>
              <a:gd name="T58" fmla="*/ 85 w 324"/>
              <a:gd name="T59" fmla="*/ 305 h 324"/>
              <a:gd name="T60" fmla="*/ 113 w 324"/>
              <a:gd name="T61" fmla="*/ 316 h 324"/>
              <a:gd name="T62" fmla="*/ 145 w 324"/>
              <a:gd name="T63" fmla="*/ 3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4" h="324">
                <a:moveTo>
                  <a:pt x="162" y="324"/>
                </a:moveTo>
                <a:lnTo>
                  <a:pt x="178" y="323"/>
                </a:lnTo>
                <a:lnTo>
                  <a:pt x="194" y="321"/>
                </a:lnTo>
                <a:lnTo>
                  <a:pt x="210" y="316"/>
                </a:lnTo>
                <a:lnTo>
                  <a:pt x="224" y="311"/>
                </a:lnTo>
                <a:lnTo>
                  <a:pt x="239" y="305"/>
                </a:lnTo>
                <a:lnTo>
                  <a:pt x="252" y="296"/>
                </a:lnTo>
                <a:lnTo>
                  <a:pt x="264" y="287"/>
                </a:lnTo>
                <a:lnTo>
                  <a:pt x="276" y="276"/>
                </a:lnTo>
                <a:lnTo>
                  <a:pt x="287" y="265"/>
                </a:lnTo>
                <a:lnTo>
                  <a:pt x="296" y="253"/>
                </a:lnTo>
                <a:lnTo>
                  <a:pt x="304" y="239"/>
                </a:lnTo>
                <a:lnTo>
                  <a:pt x="311" y="225"/>
                </a:lnTo>
                <a:lnTo>
                  <a:pt x="316" y="211"/>
                </a:lnTo>
                <a:lnTo>
                  <a:pt x="320" y="194"/>
                </a:lnTo>
                <a:lnTo>
                  <a:pt x="323" y="178"/>
                </a:lnTo>
                <a:lnTo>
                  <a:pt x="324" y="162"/>
                </a:lnTo>
                <a:lnTo>
                  <a:pt x="323" y="146"/>
                </a:lnTo>
                <a:lnTo>
                  <a:pt x="320" y="130"/>
                </a:lnTo>
                <a:lnTo>
                  <a:pt x="316" y="113"/>
                </a:lnTo>
                <a:lnTo>
                  <a:pt x="311" y="99"/>
                </a:lnTo>
                <a:lnTo>
                  <a:pt x="304" y="84"/>
                </a:lnTo>
                <a:lnTo>
                  <a:pt x="296" y="71"/>
                </a:lnTo>
                <a:lnTo>
                  <a:pt x="287" y="59"/>
                </a:lnTo>
                <a:lnTo>
                  <a:pt x="276" y="48"/>
                </a:lnTo>
                <a:lnTo>
                  <a:pt x="264" y="37"/>
                </a:lnTo>
                <a:lnTo>
                  <a:pt x="252" y="28"/>
                </a:lnTo>
                <a:lnTo>
                  <a:pt x="239" y="19"/>
                </a:lnTo>
                <a:lnTo>
                  <a:pt x="224" y="13"/>
                </a:lnTo>
                <a:lnTo>
                  <a:pt x="210" y="8"/>
                </a:lnTo>
                <a:lnTo>
                  <a:pt x="194" y="3"/>
                </a:lnTo>
                <a:lnTo>
                  <a:pt x="178" y="1"/>
                </a:lnTo>
                <a:lnTo>
                  <a:pt x="162" y="0"/>
                </a:lnTo>
                <a:lnTo>
                  <a:pt x="145" y="1"/>
                </a:lnTo>
                <a:lnTo>
                  <a:pt x="129" y="3"/>
                </a:lnTo>
                <a:lnTo>
                  <a:pt x="113" y="8"/>
                </a:lnTo>
                <a:lnTo>
                  <a:pt x="99" y="13"/>
                </a:lnTo>
                <a:lnTo>
                  <a:pt x="85" y="19"/>
                </a:lnTo>
                <a:lnTo>
                  <a:pt x="71" y="28"/>
                </a:lnTo>
                <a:lnTo>
                  <a:pt x="59" y="37"/>
                </a:lnTo>
                <a:lnTo>
                  <a:pt x="47" y="48"/>
                </a:lnTo>
                <a:lnTo>
                  <a:pt x="36" y="59"/>
                </a:lnTo>
                <a:lnTo>
                  <a:pt x="28" y="71"/>
                </a:lnTo>
                <a:lnTo>
                  <a:pt x="19" y="84"/>
                </a:lnTo>
                <a:lnTo>
                  <a:pt x="13" y="99"/>
                </a:lnTo>
                <a:lnTo>
                  <a:pt x="7" y="113"/>
                </a:lnTo>
                <a:lnTo>
                  <a:pt x="3" y="130"/>
                </a:lnTo>
                <a:lnTo>
                  <a:pt x="1" y="146"/>
                </a:lnTo>
                <a:lnTo>
                  <a:pt x="0" y="162"/>
                </a:lnTo>
                <a:lnTo>
                  <a:pt x="1" y="178"/>
                </a:lnTo>
                <a:lnTo>
                  <a:pt x="3" y="194"/>
                </a:lnTo>
                <a:lnTo>
                  <a:pt x="7" y="211"/>
                </a:lnTo>
                <a:lnTo>
                  <a:pt x="13" y="225"/>
                </a:lnTo>
                <a:lnTo>
                  <a:pt x="19" y="239"/>
                </a:lnTo>
                <a:lnTo>
                  <a:pt x="28" y="253"/>
                </a:lnTo>
                <a:lnTo>
                  <a:pt x="36" y="265"/>
                </a:lnTo>
                <a:lnTo>
                  <a:pt x="47" y="276"/>
                </a:lnTo>
                <a:lnTo>
                  <a:pt x="59" y="287"/>
                </a:lnTo>
                <a:lnTo>
                  <a:pt x="71" y="296"/>
                </a:lnTo>
                <a:lnTo>
                  <a:pt x="85" y="305"/>
                </a:lnTo>
                <a:lnTo>
                  <a:pt x="99" y="311"/>
                </a:lnTo>
                <a:lnTo>
                  <a:pt x="113" y="316"/>
                </a:lnTo>
                <a:lnTo>
                  <a:pt x="129" y="321"/>
                </a:lnTo>
                <a:lnTo>
                  <a:pt x="145" y="323"/>
                </a:lnTo>
                <a:lnTo>
                  <a:pt x="162" y="324"/>
                </a:lnTo>
                <a:close/>
              </a:path>
            </a:pathLst>
          </a:custGeom>
          <a:solidFill>
            <a:schemeClr val="bg1">
              <a:alpha val="24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3" name="Freeform 8">
            <a:extLst>
              <a:ext uri="{FF2B5EF4-FFF2-40B4-BE49-F238E27FC236}">
                <a16:creationId xmlns:a16="http://schemas.microsoft.com/office/drawing/2014/main" id="{14C830C1-D451-333F-ACC7-E30B12E20494}"/>
              </a:ext>
            </a:extLst>
          </p:cNvPr>
          <p:cNvSpPr>
            <a:spLocks/>
          </p:cNvSpPr>
          <p:nvPr/>
        </p:nvSpPr>
        <p:spPr bwMode="auto">
          <a:xfrm>
            <a:off x="5239665" y="5299547"/>
            <a:ext cx="187719" cy="198603"/>
          </a:xfrm>
          <a:custGeom>
            <a:avLst/>
            <a:gdLst>
              <a:gd name="T0" fmla="*/ 417 w 756"/>
              <a:gd name="T1" fmla="*/ 754 h 756"/>
              <a:gd name="T2" fmla="*/ 472 w 756"/>
              <a:gd name="T3" fmla="*/ 744 h 756"/>
              <a:gd name="T4" fmla="*/ 525 w 756"/>
              <a:gd name="T5" fmla="*/ 726 h 756"/>
              <a:gd name="T6" fmla="*/ 574 w 756"/>
              <a:gd name="T7" fmla="*/ 701 h 756"/>
              <a:gd name="T8" fmla="*/ 619 w 756"/>
              <a:gd name="T9" fmla="*/ 670 h 756"/>
              <a:gd name="T10" fmla="*/ 658 w 756"/>
              <a:gd name="T11" fmla="*/ 632 h 756"/>
              <a:gd name="T12" fmla="*/ 691 w 756"/>
              <a:gd name="T13" fmla="*/ 590 h 756"/>
              <a:gd name="T14" fmla="*/ 719 w 756"/>
              <a:gd name="T15" fmla="*/ 542 h 756"/>
              <a:gd name="T16" fmla="*/ 739 w 756"/>
              <a:gd name="T17" fmla="*/ 491 h 756"/>
              <a:gd name="T18" fmla="*/ 751 w 756"/>
              <a:gd name="T19" fmla="*/ 435 h 756"/>
              <a:gd name="T20" fmla="*/ 756 w 756"/>
              <a:gd name="T21" fmla="*/ 378 h 756"/>
              <a:gd name="T22" fmla="*/ 751 w 756"/>
              <a:gd name="T23" fmla="*/ 321 h 756"/>
              <a:gd name="T24" fmla="*/ 739 w 756"/>
              <a:gd name="T25" fmla="*/ 266 h 756"/>
              <a:gd name="T26" fmla="*/ 719 w 756"/>
              <a:gd name="T27" fmla="*/ 214 h 756"/>
              <a:gd name="T28" fmla="*/ 691 w 756"/>
              <a:gd name="T29" fmla="*/ 167 h 756"/>
              <a:gd name="T30" fmla="*/ 658 w 756"/>
              <a:gd name="T31" fmla="*/ 124 h 756"/>
              <a:gd name="T32" fmla="*/ 619 w 756"/>
              <a:gd name="T33" fmla="*/ 87 h 756"/>
              <a:gd name="T34" fmla="*/ 574 w 756"/>
              <a:gd name="T35" fmla="*/ 55 h 756"/>
              <a:gd name="T36" fmla="*/ 525 w 756"/>
              <a:gd name="T37" fmla="*/ 30 h 756"/>
              <a:gd name="T38" fmla="*/ 472 w 756"/>
              <a:gd name="T39" fmla="*/ 12 h 756"/>
              <a:gd name="T40" fmla="*/ 417 w 756"/>
              <a:gd name="T41" fmla="*/ 2 h 756"/>
              <a:gd name="T42" fmla="*/ 358 w 756"/>
              <a:gd name="T43" fmla="*/ 0 h 756"/>
              <a:gd name="T44" fmla="*/ 301 w 756"/>
              <a:gd name="T45" fmla="*/ 8 h 756"/>
              <a:gd name="T46" fmla="*/ 248 w 756"/>
              <a:gd name="T47" fmla="*/ 23 h 756"/>
              <a:gd name="T48" fmla="*/ 197 w 756"/>
              <a:gd name="T49" fmla="*/ 46 h 756"/>
              <a:gd name="T50" fmla="*/ 152 w 756"/>
              <a:gd name="T51" fmla="*/ 76 h 756"/>
              <a:gd name="T52" fmla="*/ 111 w 756"/>
              <a:gd name="T53" fmla="*/ 111 h 756"/>
              <a:gd name="T54" fmla="*/ 75 w 756"/>
              <a:gd name="T55" fmla="*/ 152 h 756"/>
              <a:gd name="T56" fmla="*/ 45 w 756"/>
              <a:gd name="T57" fmla="*/ 198 h 756"/>
              <a:gd name="T58" fmla="*/ 22 w 756"/>
              <a:gd name="T59" fmla="*/ 249 h 756"/>
              <a:gd name="T60" fmla="*/ 7 w 756"/>
              <a:gd name="T61" fmla="*/ 302 h 756"/>
              <a:gd name="T62" fmla="*/ 0 w 756"/>
              <a:gd name="T63" fmla="*/ 359 h 756"/>
              <a:gd name="T64" fmla="*/ 2 w 756"/>
              <a:gd name="T65" fmla="*/ 417 h 756"/>
              <a:gd name="T66" fmla="*/ 12 w 756"/>
              <a:gd name="T67" fmla="*/ 472 h 756"/>
              <a:gd name="T68" fmla="*/ 30 w 756"/>
              <a:gd name="T69" fmla="*/ 525 h 756"/>
              <a:gd name="T70" fmla="*/ 55 w 756"/>
              <a:gd name="T71" fmla="*/ 574 h 756"/>
              <a:gd name="T72" fmla="*/ 86 w 756"/>
              <a:gd name="T73" fmla="*/ 619 h 756"/>
              <a:gd name="T74" fmla="*/ 124 w 756"/>
              <a:gd name="T75" fmla="*/ 658 h 756"/>
              <a:gd name="T76" fmla="*/ 166 w 756"/>
              <a:gd name="T77" fmla="*/ 691 h 756"/>
              <a:gd name="T78" fmla="*/ 214 w 756"/>
              <a:gd name="T79" fmla="*/ 718 h 756"/>
              <a:gd name="T80" fmla="*/ 265 w 756"/>
              <a:gd name="T81" fmla="*/ 739 h 756"/>
              <a:gd name="T82" fmla="*/ 321 w 756"/>
              <a:gd name="T83" fmla="*/ 752 h 756"/>
              <a:gd name="T84" fmla="*/ 378 w 756"/>
              <a:gd name="T85"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756">
                <a:moveTo>
                  <a:pt x="378" y="756"/>
                </a:moveTo>
                <a:lnTo>
                  <a:pt x="397" y="756"/>
                </a:lnTo>
                <a:lnTo>
                  <a:pt x="417" y="754"/>
                </a:lnTo>
                <a:lnTo>
                  <a:pt x="435" y="752"/>
                </a:lnTo>
                <a:lnTo>
                  <a:pt x="454" y="749"/>
                </a:lnTo>
                <a:lnTo>
                  <a:pt x="472" y="744"/>
                </a:lnTo>
                <a:lnTo>
                  <a:pt x="490" y="739"/>
                </a:lnTo>
                <a:lnTo>
                  <a:pt x="507" y="734"/>
                </a:lnTo>
                <a:lnTo>
                  <a:pt x="525" y="726"/>
                </a:lnTo>
                <a:lnTo>
                  <a:pt x="542" y="718"/>
                </a:lnTo>
                <a:lnTo>
                  <a:pt x="558" y="711"/>
                </a:lnTo>
                <a:lnTo>
                  <a:pt x="574" y="701"/>
                </a:lnTo>
                <a:lnTo>
                  <a:pt x="589" y="691"/>
                </a:lnTo>
                <a:lnTo>
                  <a:pt x="604" y="681"/>
                </a:lnTo>
                <a:lnTo>
                  <a:pt x="619" y="670"/>
                </a:lnTo>
                <a:lnTo>
                  <a:pt x="632" y="658"/>
                </a:lnTo>
                <a:lnTo>
                  <a:pt x="645" y="645"/>
                </a:lnTo>
                <a:lnTo>
                  <a:pt x="658" y="632"/>
                </a:lnTo>
                <a:lnTo>
                  <a:pt x="669" y="619"/>
                </a:lnTo>
                <a:lnTo>
                  <a:pt x="680" y="604"/>
                </a:lnTo>
                <a:lnTo>
                  <a:pt x="691" y="590"/>
                </a:lnTo>
                <a:lnTo>
                  <a:pt x="701" y="574"/>
                </a:lnTo>
                <a:lnTo>
                  <a:pt x="710" y="559"/>
                </a:lnTo>
                <a:lnTo>
                  <a:pt x="719" y="542"/>
                </a:lnTo>
                <a:lnTo>
                  <a:pt x="727" y="525"/>
                </a:lnTo>
                <a:lnTo>
                  <a:pt x="733" y="508"/>
                </a:lnTo>
                <a:lnTo>
                  <a:pt x="739" y="491"/>
                </a:lnTo>
                <a:lnTo>
                  <a:pt x="744" y="472"/>
                </a:lnTo>
                <a:lnTo>
                  <a:pt x="748" y="455"/>
                </a:lnTo>
                <a:lnTo>
                  <a:pt x="751" y="435"/>
                </a:lnTo>
                <a:lnTo>
                  <a:pt x="754" y="417"/>
                </a:lnTo>
                <a:lnTo>
                  <a:pt x="756" y="398"/>
                </a:lnTo>
                <a:lnTo>
                  <a:pt x="756" y="378"/>
                </a:lnTo>
                <a:lnTo>
                  <a:pt x="756" y="359"/>
                </a:lnTo>
                <a:lnTo>
                  <a:pt x="754" y="339"/>
                </a:lnTo>
                <a:lnTo>
                  <a:pt x="751" y="321"/>
                </a:lnTo>
                <a:lnTo>
                  <a:pt x="748" y="302"/>
                </a:lnTo>
                <a:lnTo>
                  <a:pt x="744" y="284"/>
                </a:lnTo>
                <a:lnTo>
                  <a:pt x="739" y="266"/>
                </a:lnTo>
                <a:lnTo>
                  <a:pt x="733" y="249"/>
                </a:lnTo>
                <a:lnTo>
                  <a:pt x="727" y="231"/>
                </a:lnTo>
                <a:lnTo>
                  <a:pt x="719" y="214"/>
                </a:lnTo>
                <a:lnTo>
                  <a:pt x="710" y="198"/>
                </a:lnTo>
                <a:lnTo>
                  <a:pt x="701" y="183"/>
                </a:lnTo>
                <a:lnTo>
                  <a:pt x="691" y="167"/>
                </a:lnTo>
                <a:lnTo>
                  <a:pt x="680" y="152"/>
                </a:lnTo>
                <a:lnTo>
                  <a:pt x="669" y="137"/>
                </a:lnTo>
                <a:lnTo>
                  <a:pt x="658" y="124"/>
                </a:lnTo>
                <a:lnTo>
                  <a:pt x="645" y="111"/>
                </a:lnTo>
                <a:lnTo>
                  <a:pt x="632" y="98"/>
                </a:lnTo>
                <a:lnTo>
                  <a:pt x="619" y="87"/>
                </a:lnTo>
                <a:lnTo>
                  <a:pt x="604" y="76"/>
                </a:lnTo>
                <a:lnTo>
                  <a:pt x="589" y="65"/>
                </a:lnTo>
                <a:lnTo>
                  <a:pt x="574" y="55"/>
                </a:lnTo>
                <a:lnTo>
                  <a:pt x="558" y="46"/>
                </a:lnTo>
                <a:lnTo>
                  <a:pt x="542" y="38"/>
                </a:lnTo>
                <a:lnTo>
                  <a:pt x="525" y="30"/>
                </a:lnTo>
                <a:lnTo>
                  <a:pt x="507" y="23"/>
                </a:lnTo>
                <a:lnTo>
                  <a:pt x="490" y="17"/>
                </a:lnTo>
                <a:lnTo>
                  <a:pt x="472" y="12"/>
                </a:lnTo>
                <a:lnTo>
                  <a:pt x="454" y="8"/>
                </a:lnTo>
                <a:lnTo>
                  <a:pt x="435" y="5"/>
                </a:lnTo>
                <a:lnTo>
                  <a:pt x="417" y="2"/>
                </a:lnTo>
                <a:lnTo>
                  <a:pt x="397" y="0"/>
                </a:lnTo>
                <a:lnTo>
                  <a:pt x="378" y="0"/>
                </a:lnTo>
                <a:lnTo>
                  <a:pt x="358" y="0"/>
                </a:lnTo>
                <a:lnTo>
                  <a:pt x="339" y="2"/>
                </a:lnTo>
                <a:lnTo>
                  <a:pt x="321" y="5"/>
                </a:lnTo>
                <a:lnTo>
                  <a:pt x="301" y="8"/>
                </a:lnTo>
                <a:lnTo>
                  <a:pt x="284" y="12"/>
                </a:lnTo>
                <a:lnTo>
                  <a:pt x="265" y="17"/>
                </a:lnTo>
                <a:lnTo>
                  <a:pt x="248" y="23"/>
                </a:lnTo>
                <a:lnTo>
                  <a:pt x="231" y="30"/>
                </a:lnTo>
                <a:lnTo>
                  <a:pt x="214" y="38"/>
                </a:lnTo>
                <a:lnTo>
                  <a:pt x="197" y="46"/>
                </a:lnTo>
                <a:lnTo>
                  <a:pt x="182" y="55"/>
                </a:lnTo>
                <a:lnTo>
                  <a:pt x="166" y="65"/>
                </a:lnTo>
                <a:lnTo>
                  <a:pt x="152" y="76"/>
                </a:lnTo>
                <a:lnTo>
                  <a:pt x="137" y="87"/>
                </a:lnTo>
                <a:lnTo>
                  <a:pt x="124" y="98"/>
                </a:lnTo>
                <a:lnTo>
                  <a:pt x="111" y="111"/>
                </a:lnTo>
                <a:lnTo>
                  <a:pt x="98" y="124"/>
                </a:lnTo>
                <a:lnTo>
                  <a:pt x="86" y="137"/>
                </a:lnTo>
                <a:lnTo>
                  <a:pt x="75" y="152"/>
                </a:lnTo>
                <a:lnTo>
                  <a:pt x="65" y="167"/>
                </a:lnTo>
                <a:lnTo>
                  <a:pt x="55" y="183"/>
                </a:lnTo>
                <a:lnTo>
                  <a:pt x="45" y="198"/>
                </a:lnTo>
                <a:lnTo>
                  <a:pt x="38" y="214"/>
                </a:lnTo>
                <a:lnTo>
                  <a:pt x="30" y="231"/>
                </a:lnTo>
                <a:lnTo>
                  <a:pt x="22" y="249"/>
                </a:lnTo>
                <a:lnTo>
                  <a:pt x="17" y="266"/>
                </a:lnTo>
                <a:lnTo>
                  <a:pt x="12" y="284"/>
                </a:lnTo>
                <a:lnTo>
                  <a:pt x="7" y="302"/>
                </a:lnTo>
                <a:lnTo>
                  <a:pt x="4" y="321"/>
                </a:lnTo>
                <a:lnTo>
                  <a:pt x="2" y="339"/>
                </a:lnTo>
                <a:lnTo>
                  <a:pt x="0" y="359"/>
                </a:lnTo>
                <a:lnTo>
                  <a:pt x="0" y="378"/>
                </a:lnTo>
                <a:lnTo>
                  <a:pt x="0" y="398"/>
                </a:lnTo>
                <a:lnTo>
                  <a:pt x="2" y="417"/>
                </a:lnTo>
                <a:lnTo>
                  <a:pt x="4" y="435"/>
                </a:lnTo>
                <a:lnTo>
                  <a:pt x="7" y="455"/>
                </a:lnTo>
                <a:lnTo>
                  <a:pt x="12" y="472"/>
                </a:lnTo>
                <a:lnTo>
                  <a:pt x="17" y="491"/>
                </a:lnTo>
                <a:lnTo>
                  <a:pt x="22" y="508"/>
                </a:lnTo>
                <a:lnTo>
                  <a:pt x="30" y="525"/>
                </a:lnTo>
                <a:lnTo>
                  <a:pt x="38" y="542"/>
                </a:lnTo>
                <a:lnTo>
                  <a:pt x="45" y="559"/>
                </a:lnTo>
                <a:lnTo>
                  <a:pt x="55" y="574"/>
                </a:lnTo>
                <a:lnTo>
                  <a:pt x="65" y="590"/>
                </a:lnTo>
                <a:lnTo>
                  <a:pt x="75" y="604"/>
                </a:lnTo>
                <a:lnTo>
                  <a:pt x="86" y="619"/>
                </a:lnTo>
                <a:lnTo>
                  <a:pt x="98" y="632"/>
                </a:lnTo>
                <a:lnTo>
                  <a:pt x="111" y="645"/>
                </a:lnTo>
                <a:lnTo>
                  <a:pt x="124" y="658"/>
                </a:lnTo>
                <a:lnTo>
                  <a:pt x="137" y="670"/>
                </a:lnTo>
                <a:lnTo>
                  <a:pt x="152" y="681"/>
                </a:lnTo>
                <a:lnTo>
                  <a:pt x="166" y="691"/>
                </a:lnTo>
                <a:lnTo>
                  <a:pt x="182" y="701"/>
                </a:lnTo>
                <a:lnTo>
                  <a:pt x="197" y="711"/>
                </a:lnTo>
                <a:lnTo>
                  <a:pt x="214" y="718"/>
                </a:lnTo>
                <a:lnTo>
                  <a:pt x="231" y="726"/>
                </a:lnTo>
                <a:lnTo>
                  <a:pt x="248" y="734"/>
                </a:lnTo>
                <a:lnTo>
                  <a:pt x="265" y="739"/>
                </a:lnTo>
                <a:lnTo>
                  <a:pt x="284" y="744"/>
                </a:lnTo>
                <a:lnTo>
                  <a:pt x="301" y="749"/>
                </a:lnTo>
                <a:lnTo>
                  <a:pt x="321" y="752"/>
                </a:lnTo>
                <a:lnTo>
                  <a:pt x="339" y="754"/>
                </a:lnTo>
                <a:lnTo>
                  <a:pt x="358" y="756"/>
                </a:lnTo>
                <a:lnTo>
                  <a:pt x="378" y="756"/>
                </a:lnTo>
                <a:close/>
              </a:path>
            </a:pathLst>
          </a:custGeom>
          <a:solidFill>
            <a:schemeClr val="bg1">
              <a:alpha val="24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4" name="Freeform 81">
            <a:extLst>
              <a:ext uri="{FF2B5EF4-FFF2-40B4-BE49-F238E27FC236}">
                <a16:creationId xmlns:a16="http://schemas.microsoft.com/office/drawing/2014/main" id="{C9845D44-F068-0400-10A9-2B468301E50A}"/>
              </a:ext>
            </a:extLst>
          </p:cNvPr>
          <p:cNvSpPr>
            <a:spLocks/>
          </p:cNvSpPr>
          <p:nvPr/>
        </p:nvSpPr>
        <p:spPr bwMode="auto">
          <a:xfrm>
            <a:off x="5117957" y="4909173"/>
            <a:ext cx="32777" cy="35728"/>
          </a:xfrm>
          <a:custGeom>
            <a:avLst/>
            <a:gdLst>
              <a:gd name="T0" fmla="*/ 134 w 134"/>
              <a:gd name="T1" fmla="*/ 73 h 134"/>
              <a:gd name="T2" fmla="*/ 131 w 134"/>
              <a:gd name="T3" fmla="*/ 86 h 134"/>
              <a:gd name="T4" fmla="*/ 127 w 134"/>
              <a:gd name="T5" fmla="*/ 98 h 134"/>
              <a:gd name="T6" fmla="*/ 119 w 134"/>
              <a:gd name="T7" fmla="*/ 109 h 134"/>
              <a:gd name="T8" fmla="*/ 110 w 134"/>
              <a:gd name="T9" fmla="*/ 118 h 134"/>
              <a:gd name="T10" fmla="*/ 100 w 134"/>
              <a:gd name="T11" fmla="*/ 125 h 134"/>
              <a:gd name="T12" fmla="*/ 88 w 134"/>
              <a:gd name="T13" fmla="*/ 130 h 134"/>
              <a:gd name="T14" fmla="*/ 74 w 134"/>
              <a:gd name="T15" fmla="*/ 132 h 134"/>
              <a:gd name="T16" fmla="*/ 61 w 134"/>
              <a:gd name="T17" fmla="*/ 132 h 134"/>
              <a:gd name="T18" fmla="*/ 48 w 134"/>
              <a:gd name="T19" fmla="*/ 130 h 134"/>
              <a:gd name="T20" fmla="*/ 36 w 134"/>
              <a:gd name="T21" fmla="*/ 125 h 134"/>
              <a:gd name="T22" fmla="*/ 25 w 134"/>
              <a:gd name="T23" fmla="*/ 118 h 134"/>
              <a:gd name="T24" fmla="*/ 16 w 134"/>
              <a:gd name="T25" fmla="*/ 109 h 134"/>
              <a:gd name="T26" fmla="*/ 9 w 134"/>
              <a:gd name="T27" fmla="*/ 98 h 134"/>
              <a:gd name="T28" fmla="*/ 4 w 134"/>
              <a:gd name="T29" fmla="*/ 86 h 134"/>
              <a:gd name="T30" fmla="*/ 2 w 134"/>
              <a:gd name="T31" fmla="*/ 73 h 134"/>
              <a:gd name="T32" fmla="*/ 2 w 134"/>
              <a:gd name="T33" fmla="*/ 59 h 134"/>
              <a:gd name="T34" fmla="*/ 4 w 134"/>
              <a:gd name="T35" fmla="*/ 46 h 134"/>
              <a:gd name="T36" fmla="*/ 9 w 134"/>
              <a:gd name="T37" fmla="*/ 34 h 134"/>
              <a:gd name="T38" fmla="*/ 16 w 134"/>
              <a:gd name="T39" fmla="*/ 23 h 134"/>
              <a:gd name="T40" fmla="*/ 25 w 134"/>
              <a:gd name="T41" fmla="*/ 15 h 134"/>
              <a:gd name="T42" fmla="*/ 36 w 134"/>
              <a:gd name="T43" fmla="*/ 7 h 134"/>
              <a:gd name="T44" fmla="*/ 48 w 134"/>
              <a:gd name="T45" fmla="*/ 3 h 134"/>
              <a:gd name="T46" fmla="*/ 61 w 134"/>
              <a:gd name="T47" fmla="*/ 0 h 134"/>
              <a:gd name="T48" fmla="*/ 74 w 134"/>
              <a:gd name="T49" fmla="*/ 0 h 134"/>
              <a:gd name="T50" fmla="*/ 88 w 134"/>
              <a:gd name="T51" fmla="*/ 3 h 134"/>
              <a:gd name="T52" fmla="*/ 100 w 134"/>
              <a:gd name="T53" fmla="*/ 7 h 134"/>
              <a:gd name="T54" fmla="*/ 110 w 134"/>
              <a:gd name="T55" fmla="*/ 15 h 134"/>
              <a:gd name="T56" fmla="*/ 119 w 134"/>
              <a:gd name="T57" fmla="*/ 23 h 134"/>
              <a:gd name="T58" fmla="*/ 127 w 134"/>
              <a:gd name="T59" fmla="*/ 34 h 134"/>
              <a:gd name="T60" fmla="*/ 131 w 134"/>
              <a:gd name="T61" fmla="*/ 46 h 134"/>
              <a:gd name="T62" fmla="*/ 134 w 134"/>
              <a:gd name="T63" fmla="*/ 5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34">
                <a:moveTo>
                  <a:pt x="134" y="67"/>
                </a:moveTo>
                <a:lnTo>
                  <a:pt x="134" y="73"/>
                </a:lnTo>
                <a:lnTo>
                  <a:pt x="133" y="80"/>
                </a:lnTo>
                <a:lnTo>
                  <a:pt x="131" y="86"/>
                </a:lnTo>
                <a:lnTo>
                  <a:pt x="129" y="92"/>
                </a:lnTo>
                <a:lnTo>
                  <a:pt x="127" y="98"/>
                </a:lnTo>
                <a:lnTo>
                  <a:pt x="122" y="103"/>
                </a:lnTo>
                <a:lnTo>
                  <a:pt x="119" y="109"/>
                </a:lnTo>
                <a:lnTo>
                  <a:pt x="115" y="114"/>
                </a:lnTo>
                <a:lnTo>
                  <a:pt x="110" y="118"/>
                </a:lnTo>
                <a:lnTo>
                  <a:pt x="105" y="122"/>
                </a:lnTo>
                <a:lnTo>
                  <a:pt x="100" y="125"/>
                </a:lnTo>
                <a:lnTo>
                  <a:pt x="93" y="128"/>
                </a:lnTo>
                <a:lnTo>
                  <a:pt x="88" y="130"/>
                </a:lnTo>
                <a:lnTo>
                  <a:pt x="81" y="131"/>
                </a:lnTo>
                <a:lnTo>
                  <a:pt x="74" y="132"/>
                </a:lnTo>
                <a:lnTo>
                  <a:pt x="67" y="134"/>
                </a:lnTo>
                <a:lnTo>
                  <a:pt x="61" y="132"/>
                </a:lnTo>
                <a:lnTo>
                  <a:pt x="54" y="131"/>
                </a:lnTo>
                <a:lnTo>
                  <a:pt x="48" y="130"/>
                </a:lnTo>
                <a:lnTo>
                  <a:pt x="41" y="128"/>
                </a:lnTo>
                <a:lnTo>
                  <a:pt x="36" y="125"/>
                </a:lnTo>
                <a:lnTo>
                  <a:pt x="31" y="122"/>
                </a:lnTo>
                <a:lnTo>
                  <a:pt x="25" y="118"/>
                </a:lnTo>
                <a:lnTo>
                  <a:pt x="20" y="114"/>
                </a:lnTo>
                <a:lnTo>
                  <a:pt x="16" y="109"/>
                </a:lnTo>
                <a:lnTo>
                  <a:pt x="12" y="103"/>
                </a:lnTo>
                <a:lnTo>
                  <a:pt x="9" y="98"/>
                </a:lnTo>
                <a:lnTo>
                  <a:pt x="6" y="92"/>
                </a:lnTo>
                <a:lnTo>
                  <a:pt x="4" y="86"/>
                </a:lnTo>
                <a:lnTo>
                  <a:pt x="2" y="80"/>
                </a:lnTo>
                <a:lnTo>
                  <a:pt x="2" y="73"/>
                </a:lnTo>
                <a:lnTo>
                  <a:pt x="0" y="67"/>
                </a:lnTo>
                <a:lnTo>
                  <a:pt x="2" y="59"/>
                </a:lnTo>
                <a:lnTo>
                  <a:pt x="2" y="53"/>
                </a:lnTo>
                <a:lnTo>
                  <a:pt x="4" y="46"/>
                </a:lnTo>
                <a:lnTo>
                  <a:pt x="6" y="41"/>
                </a:lnTo>
                <a:lnTo>
                  <a:pt x="9" y="34"/>
                </a:lnTo>
                <a:lnTo>
                  <a:pt x="12" y="29"/>
                </a:lnTo>
                <a:lnTo>
                  <a:pt x="16" y="23"/>
                </a:lnTo>
                <a:lnTo>
                  <a:pt x="20" y="19"/>
                </a:lnTo>
                <a:lnTo>
                  <a:pt x="25" y="15"/>
                </a:lnTo>
                <a:lnTo>
                  <a:pt x="31" y="10"/>
                </a:lnTo>
                <a:lnTo>
                  <a:pt x="36" y="7"/>
                </a:lnTo>
                <a:lnTo>
                  <a:pt x="41" y="5"/>
                </a:lnTo>
                <a:lnTo>
                  <a:pt x="48" y="3"/>
                </a:lnTo>
                <a:lnTo>
                  <a:pt x="54" y="1"/>
                </a:lnTo>
                <a:lnTo>
                  <a:pt x="61" y="0"/>
                </a:lnTo>
                <a:lnTo>
                  <a:pt x="67" y="0"/>
                </a:lnTo>
                <a:lnTo>
                  <a:pt x="74" y="0"/>
                </a:lnTo>
                <a:lnTo>
                  <a:pt x="81" y="1"/>
                </a:lnTo>
                <a:lnTo>
                  <a:pt x="88" y="3"/>
                </a:lnTo>
                <a:lnTo>
                  <a:pt x="93" y="5"/>
                </a:lnTo>
                <a:lnTo>
                  <a:pt x="100" y="7"/>
                </a:lnTo>
                <a:lnTo>
                  <a:pt x="105" y="10"/>
                </a:lnTo>
                <a:lnTo>
                  <a:pt x="110" y="15"/>
                </a:lnTo>
                <a:lnTo>
                  <a:pt x="115" y="19"/>
                </a:lnTo>
                <a:lnTo>
                  <a:pt x="119" y="23"/>
                </a:lnTo>
                <a:lnTo>
                  <a:pt x="122" y="29"/>
                </a:lnTo>
                <a:lnTo>
                  <a:pt x="127" y="34"/>
                </a:lnTo>
                <a:lnTo>
                  <a:pt x="129" y="41"/>
                </a:lnTo>
                <a:lnTo>
                  <a:pt x="131" y="46"/>
                </a:lnTo>
                <a:lnTo>
                  <a:pt x="133" y="53"/>
                </a:lnTo>
                <a:lnTo>
                  <a:pt x="134" y="59"/>
                </a:lnTo>
                <a:lnTo>
                  <a:pt x="134" y="67"/>
                </a:lnTo>
                <a:close/>
              </a:path>
            </a:pathLst>
          </a:custGeom>
          <a:solidFill>
            <a:schemeClr val="bg1">
              <a:alpha val="24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5" name="Freeform 82">
            <a:extLst>
              <a:ext uri="{FF2B5EF4-FFF2-40B4-BE49-F238E27FC236}">
                <a16:creationId xmlns:a16="http://schemas.microsoft.com/office/drawing/2014/main" id="{DA31263E-2EA8-3C27-834D-EDBD54510FE7}"/>
              </a:ext>
            </a:extLst>
          </p:cNvPr>
          <p:cNvSpPr>
            <a:spLocks/>
          </p:cNvSpPr>
          <p:nvPr/>
        </p:nvSpPr>
        <p:spPr bwMode="auto">
          <a:xfrm>
            <a:off x="4190289" y="4862938"/>
            <a:ext cx="32777" cy="34677"/>
          </a:xfrm>
          <a:custGeom>
            <a:avLst/>
            <a:gdLst>
              <a:gd name="T0" fmla="*/ 132 w 132"/>
              <a:gd name="T1" fmla="*/ 74 h 133"/>
              <a:gd name="T2" fmla="*/ 130 w 132"/>
              <a:gd name="T3" fmla="*/ 87 h 133"/>
              <a:gd name="T4" fmla="*/ 125 w 132"/>
              <a:gd name="T5" fmla="*/ 99 h 133"/>
              <a:gd name="T6" fmla="*/ 117 w 132"/>
              <a:gd name="T7" fmla="*/ 110 h 133"/>
              <a:gd name="T8" fmla="*/ 109 w 132"/>
              <a:gd name="T9" fmla="*/ 118 h 133"/>
              <a:gd name="T10" fmla="*/ 98 w 132"/>
              <a:gd name="T11" fmla="*/ 126 h 133"/>
              <a:gd name="T12" fmla="*/ 86 w 132"/>
              <a:gd name="T13" fmla="*/ 131 h 133"/>
              <a:gd name="T14" fmla="*/ 73 w 132"/>
              <a:gd name="T15" fmla="*/ 133 h 133"/>
              <a:gd name="T16" fmla="*/ 59 w 132"/>
              <a:gd name="T17" fmla="*/ 133 h 133"/>
              <a:gd name="T18" fmla="*/ 46 w 132"/>
              <a:gd name="T19" fmla="*/ 131 h 133"/>
              <a:gd name="T20" fmla="*/ 34 w 132"/>
              <a:gd name="T21" fmla="*/ 126 h 133"/>
              <a:gd name="T22" fmla="*/ 23 w 132"/>
              <a:gd name="T23" fmla="*/ 118 h 133"/>
              <a:gd name="T24" fmla="*/ 15 w 132"/>
              <a:gd name="T25" fmla="*/ 110 h 133"/>
              <a:gd name="T26" fmla="*/ 7 w 132"/>
              <a:gd name="T27" fmla="*/ 99 h 133"/>
              <a:gd name="T28" fmla="*/ 2 w 132"/>
              <a:gd name="T29" fmla="*/ 87 h 133"/>
              <a:gd name="T30" fmla="*/ 0 w 132"/>
              <a:gd name="T31" fmla="*/ 74 h 133"/>
              <a:gd name="T32" fmla="*/ 0 w 132"/>
              <a:gd name="T33" fmla="*/ 60 h 133"/>
              <a:gd name="T34" fmla="*/ 2 w 132"/>
              <a:gd name="T35" fmla="*/ 47 h 133"/>
              <a:gd name="T36" fmla="*/ 7 w 132"/>
              <a:gd name="T37" fmla="*/ 35 h 133"/>
              <a:gd name="T38" fmla="*/ 15 w 132"/>
              <a:gd name="T39" fmla="*/ 24 h 133"/>
              <a:gd name="T40" fmla="*/ 23 w 132"/>
              <a:gd name="T41" fmla="*/ 16 h 133"/>
              <a:gd name="T42" fmla="*/ 34 w 132"/>
              <a:gd name="T43" fmla="*/ 8 h 133"/>
              <a:gd name="T44" fmla="*/ 46 w 132"/>
              <a:gd name="T45" fmla="*/ 4 h 133"/>
              <a:gd name="T46" fmla="*/ 59 w 132"/>
              <a:gd name="T47" fmla="*/ 0 h 133"/>
              <a:gd name="T48" fmla="*/ 73 w 132"/>
              <a:gd name="T49" fmla="*/ 0 h 133"/>
              <a:gd name="T50" fmla="*/ 86 w 132"/>
              <a:gd name="T51" fmla="*/ 4 h 133"/>
              <a:gd name="T52" fmla="*/ 98 w 132"/>
              <a:gd name="T53" fmla="*/ 8 h 133"/>
              <a:gd name="T54" fmla="*/ 109 w 132"/>
              <a:gd name="T55" fmla="*/ 16 h 133"/>
              <a:gd name="T56" fmla="*/ 117 w 132"/>
              <a:gd name="T57" fmla="*/ 24 h 133"/>
              <a:gd name="T58" fmla="*/ 125 w 132"/>
              <a:gd name="T59" fmla="*/ 35 h 133"/>
              <a:gd name="T60" fmla="*/ 130 w 132"/>
              <a:gd name="T61" fmla="*/ 47 h 133"/>
              <a:gd name="T62" fmla="*/ 132 w 132"/>
              <a:gd name="T63"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2" h="133">
                <a:moveTo>
                  <a:pt x="132" y="67"/>
                </a:moveTo>
                <a:lnTo>
                  <a:pt x="132" y="74"/>
                </a:lnTo>
                <a:lnTo>
                  <a:pt x="131" y="80"/>
                </a:lnTo>
                <a:lnTo>
                  <a:pt x="130" y="87"/>
                </a:lnTo>
                <a:lnTo>
                  <a:pt x="128" y="93"/>
                </a:lnTo>
                <a:lnTo>
                  <a:pt x="125" y="99"/>
                </a:lnTo>
                <a:lnTo>
                  <a:pt x="122" y="104"/>
                </a:lnTo>
                <a:lnTo>
                  <a:pt x="117" y="110"/>
                </a:lnTo>
                <a:lnTo>
                  <a:pt x="113" y="114"/>
                </a:lnTo>
                <a:lnTo>
                  <a:pt x="109" y="118"/>
                </a:lnTo>
                <a:lnTo>
                  <a:pt x="103" y="123"/>
                </a:lnTo>
                <a:lnTo>
                  <a:pt x="98" y="126"/>
                </a:lnTo>
                <a:lnTo>
                  <a:pt x="93" y="129"/>
                </a:lnTo>
                <a:lnTo>
                  <a:pt x="86" y="131"/>
                </a:lnTo>
                <a:lnTo>
                  <a:pt x="80" y="132"/>
                </a:lnTo>
                <a:lnTo>
                  <a:pt x="73" y="133"/>
                </a:lnTo>
                <a:lnTo>
                  <a:pt x="66" y="133"/>
                </a:lnTo>
                <a:lnTo>
                  <a:pt x="59" y="133"/>
                </a:lnTo>
                <a:lnTo>
                  <a:pt x="53" y="132"/>
                </a:lnTo>
                <a:lnTo>
                  <a:pt x="46" y="131"/>
                </a:lnTo>
                <a:lnTo>
                  <a:pt x="40" y="129"/>
                </a:lnTo>
                <a:lnTo>
                  <a:pt x="34" y="126"/>
                </a:lnTo>
                <a:lnTo>
                  <a:pt x="29" y="123"/>
                </a:lnTo>
                <a:lnTo>
                  <a:pt x="23" y="118"/>
                </a:lnTo>
                <a:lnTo>
                  <a:pt x="19" y="114"/>
                </a:lnTo>
                <a:lnTo>
                  <a:pt x="15" y="110"/>
                </a:lnTo>
                <a:lnTo>
                  <a:pt x="10" y="104"/>
                </a:lnTo>
                <a:lnTo>
                  <a:pt x="7" y="99"/>
                </a:lnTo>
                <a:lnTo>
                  <a:pt x="4" y="93"/>
                </a:lnTo>
                <a:lnTo>
                  <a:pt x="2" y="87"/>
                </a:lnTo>
                <a:lnTo>
                  <a:pt x="1" y="80"/>
                </a:lnTo>
                <a:lnTo>
                  <a:pt x="0" y="74"/>
                </a:lnTo>
                <a:lnTo>
                  <a:pt x="0" y="67"/>
                </a:lnTo>
                <a:lnTo>
                  <a:pt x="0" y="60"/>
                </a:lnTo>
                <a:lnTo>
                  <a:pt x="1" y="53"/>
                </a:lnTo>
                <a:lnTo>
                  <a:pt x="2" y="47"/>
                </a:lnTo>
                <a:lnTo>
                  <a:pt x="4" y="42"/>
                </a:lnTo>
                <a:lnTo>
                  <a:pt x="7" y="35"/>
                </a:lnTo>
                <a:lnTo>
                  <a:pt x="10" y="30"/>
                </a:lnTo>
                <a:lnTo>
                  <a:pt x="15" y="24"/>
                </a:lnTo>
                <a:lnTo>
                  <a:pt x="19" y="20"/>
                </a:lnTo>
                <a:lnTo>
                  <a:pt x="23" y="16"/>
                </a:lnTo>
                <a:lnTo>
                  <a:pt x="29" y="11"/>
                </a:lnTo>
                <a:lnTo>
                  <a:pt x="34" y="8"/>
                </a:lnTo>
                <a:lnTo>
                  <a:pt x="40" y="6"/>
                </a:lnTo>
                <a:lnTo>
                  <a:pt x="46" y="4"/>
                </a:lnTo>
                <a:lnTo>
                  <a:pt x="53" y="2"/>
                </a:lnTo>
                <a:lnTo>
                  <a:pt x="59" y="0"/>
                </a:lnTo>
                <a:lnTo>
                  <a:pt x="66" y="0"/>
                </a:lnTo>
                <a:lnTo>
                  <a:pt x="73" y="0"/>
                </a:lnTo>
                <a:lnTo>
                  <a:pt x="80" y="2"/>
                </a:lnTo>
                <a:lnTo>
                  <a:pt x="86" y="4"/>
                </a:lnTo>
                <a:lnTo>
                  <a:pt x="93" y="6"/>
                </a:lnTo>
                <a:lnTo>
                  <a:pt x="98" y="8"/>
                </a:lnTo>
                <a:lnTo>
                  <a:pt x="103" y="11"/>
                </a:lnTo>
                <a:lnTo>
                  <a:pt x="109" y="16"/>
                </a:lnTo>
                <a:lnTo>
                  <a:pt x="113" y="20"/>
                </a:lnTo>
                <a:lnTo>
                  <a:pt x="117" y="24"/>
                </a:lnTo>
                <a:lnTo>
                  <a:pt x="122" y="30"/>
                </a:lnTo>
                <a:lnTo>
                  <a:pt x="125" y="35"/>
                </a:lnTo>
                <a:lnTo>
                  <a:pt x="128" y="42"/>
                </a:lnTo>
                <a:lnTo>
                  <a:pt x="130" y="47"/>
                </a:lnTo>
                <a:lnTo>
                  <a:pt x="131" y="53"/>
                </a:lnTo>
                <a:lnTo>
                  <a:pt x="132" y="60"/>
                </a:lnTo>
                <a:lnTo>
                  <a:pt x="132" y="67"/>
                </a:lnTo>
                <a:close/>
              </a:path>
            </a:pathLst>
          </a:custGeom>
          <a:solidFill>
            <a:schemeClr val="bg1">
              <a:alpha val="24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6" name="Freeform 84">
            <a:extLst>
              <a:ext uri="{FF2B5EF4-FFF2-40B4-BE49-F238E27FC236}">
                <a16:creationId xmlns:a16="http://schemas.microsoft.com/office/drawing/2014/main" id="{59617495-16DA-1FED-F57E-C73E96834744}"/>
              </a:ext>
            </a:extLst>
          </p:cNvPr>
          <p:cNvSpPr>
            <a:spLocks/>
          </p:cNvSpPr>
          <p:nvPr/>
        </p:nvSpPr>
        <p:spPr bwMode="auto">
          <a:xfrm>
            <a:off x="4973940" y="5538608"/>
            <a:ext cx="32777" cy="35728"/>
          </a:xfrm>
          <a:custGeom>
            <a:avLst/>
            <a:gdLst>
              <a:gd name="T0" fmla="*/ 134 w 134"/>
              <a:gd name="T1" fmla="*/ 73 h 134"/>
              <a:gd name="T2" fmla="*/ 131 w 134"/>
              <a:gd name="T3" fmla="*/ 86 h 134"/>
              <a:gd name="T4" fmla="*/ 126 w 134"/>
              <a:gd name="T5" fmla="*/ 98 h 134"/>
              <a:gd name="T6" fmla="*/ 119 w 134"/>
              <a:gd name="T7" fmla="*/ 109 h 134"/>
              <a:gd name="T8" fmla="*/ 109 w 134"/>
              <a:gd name="T9" fmla="*/ 119 h 134"/>
              <a:gd name="T10" fmla="*/ 100 w 134"/>
              <a:gd name="T11" fmla="*/ 125 h 134"/>
              <a:gd name="T12" fmla="*/ 87 w 134"/>
              <a:gd name="T13" fmla="*/ 131 h 134"/>
              <a:gd name="T14" fmla="*/ 74 w 134"/>
              <a:gd name="T15" fmla="*/ 133 h 134"/>
              <a:gd name="T16" fmla="*/ 61 w 134"/>
              <a:gd name="T17" fmla="*/ 133 h 134"/>
              <a:gd name="T18" fmla="*/ 48 w 134"/>
              <a:gd name="T19" fmla="*/ 131 h 134"/>
              <a:gd name="T20" fmla="*/ 36 w 134"/>
              <a:gd name="T21" fmla="*/ 125 h 134"/>
              <a:gd name="T22" fmla="*/ 25 w 134"/>
              <a:gd name="T23" fmla="*/ 119 h 134"/>
              <a:gd name="T24" fmla="*/ 16 w 134"/>
              <a:gd name="T25" fmla="*/ 109 h 134"/>
              <a:gd name="T26" fmla="*/ 9 w 134"/>
              <a:gd name="T27" fmla="*/ 98 h 134"/>
              <a:gd name="T28" fmla="*/ 4 w 134"/>
              <a:gd name="T29" fmla="*/ 86 h 134"/>
              <a:gd name="T30" fmla="*/ 0 w 134"/>
              <a:gd name="T31" fmla="*/ 73 h 134"/>
              <a:gd name="T32" fmla="*/ 0 w 134"/>
              <a:gd name="T33" fmla="*/ 59 h 134"/>
              <a:gd name="T34" fmla="*/ 4 w 134"/>
              <a:gd name="T35" fmla="*/ 46 h 134"/>
              <a:gd name="T36" fmla="*/ 9 w 134"/>
              <a:gd name="T37" fmla="*/ 35 h 134"/>
              <a:gd name="T38" fmla="*/ 16 w 134"/>
              <a:gd name="T39" fmla="*/ 24 h 134"/>
              <a:gd name="T40" fmla="*/ 25 w 134"/>
              <a:gd name="T41" fmla="*/ 15 h 134"/>
              <a:gd name="T42" fmla="*/ 36 w 134"/>
              <a:gd name="T43" fmla="*/ 8 h 134"/>
              <a:gd name="T44" fmla="*/ 48 w 134"/>
              <a:gd name="T45" fmla="*/ 3 h 134"/>
              <a:gd name="T46" fmla="*/ 61 w 134"/>
              <a:gd name="T47" fmla="*/ 0 h 134"/>
              <a:gd name="T48" fmla="*/ 74 w 134"/>
              <a:gd name="T49" fmla="*/ 0 h 134"/>
              <a:gd name="T50" fmla="*/ 87 w 134"/>
              <a:gd name="T51" fmla="*/ 3 h 134"/>
              <a:gd name="T52" fmla="*/ 100 w 134"/>
              <a:gd name="T53" fmla="*/ 8 h 134"/>
              <a:gd name="T54" fmla="*/ 109 w 134"/>
              <a:gd name="T55" fmla="*/ 15 h 134"/>
              <a:gd name="T56" fmla="*/ 119 w 134"/>
              <a:gd name="T57" fmla="*/ 24 h 134"/>
              <a:gd name="T58" fmla="*/ 126 w 134"/>
              <a:gd name="T59" fmla="*/ 35 h 134"/>
              <a:gd name="T60" fmla="*/ 131 w 134"/>
              <a:gd name="T61" fmla="*/ 46 h 134"/>
              <a:gd name="T62" fmla="*/ 134 w 134"/>
              <a:gd name="T63" fmla="*/ 5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34">
                <a:moveTo>
                  <a:pt x="134" y="67"/>
                </a:moveTo>
                <a:lnTo>
                  <a:pt x="134" y="73"/>
                </a:lnTo>
                <a:lnTo>
                  <a:pt x="133" y="80"/>
                </a:lnTo>
                <a:lnTo>
                  <a:pt x="131" y="86"/>
                </a:lnTo>
                <a:lnTo>
                  <a:pt x="129" y="93"/>
                </a:lnTo>
                <a:lnTo>
                  <a:pt x="126" y="98"/>
                </a:lnTo>
                <a:lnTo>
                  <a:pt x="122" y="104"/>
                </a:lnTo>
                <a:lnTo>
                  <a:pt x="119" y="109"/>
                </a:lnTo>
                <a:lnTo>
                  <a:pt x="115" y="115"/>
                </a:lnTo>
                <a:lnTo>
                  <a:pt x="109" y="119"/>
                </a:lnTo>
                <a:lnTo>
                  <a:pt x="105" y="122"/>
                </a:lnTo>
                <a:lnTo>
                  <a:pt x="100" y="125"/>
                </a:lnTo>
                <a:lnTo>
                  <a:pt x="93" y="129"/>
                </a:lnTo>
                <a:lnTo>
                  <a:pt x="87" y="131"/>
                </a:lnTo>
                <a:lnTo>
                  <a:pt x="80" y="132"/>
                </a:lnTo>
                <a:lnTo>
                  <a:pt x="74" y="133"/>
                </a:lnTo>
                <a:lnTo>
                  <a:pt x="67" y="134"/>
                </a:lnTo>
                <a:lnTo>
                  <a:pt x="61" y="133"/>
                </a:lnTo>
                <a:lnTo>
                  <a:pt x="54" y="132"/>
                </a:lnTo>
                <a:lnTo>
                  <a:pt x="48" y="131"/>
                </a:lnTo>
                <a:lnTo>
                  <a:pt x="41" y="129"/>
                </a:lnTo>
                <a:lnTo>
                  <a:pt x="36" y="125"/>
                </a:lnTo>
                <a:lnTo>
                  <a:pt x="30" y="122"/>
                </a:lnTo>
                <a:lnTo>
                  <a:pt x="25" y="119"/>
                </a:lnTo>
                <a:lnTo>
                  <a:pt x="20" y="115"/>
                </a:lnTo>
                <a:lnTo>
                  <a:pt x="16" y="109"/>
                </a:lnTo>
                <a:lnTo>
                  <a:pt x="12" y="104"/>
                </a:lnTo>
                <a:lnTo>
                  <a:pt x="9" y="98"/>
                </a:lnTo>
                <a:lnTo>
                  <a:pt x="6" y="93"/>
                </a:lnTo>
                <a:lnTo>
                  <a:pt x="4" y="86"/>
                </a:lnTo>
                <a:lnTo>
                  <a:pt x="1" y="80"/>
                </a:lnTo>
                <a:lnTo>
                  <a:pt x="0" y="73"/>
                </a:lnTo>
                <a:lnTo>
                  <a:pt x="0" y="67"/>
                </a:lnTo>
                <a:lnTo>
                  <a:pt x="0" y="59"/>
                </a:lnTo>
                <a:lnTo>
                  <a:pt x="1" y="53"/>
                </a:lnTo>
                <a:lnTo>
                  <a:pt x="4" y="46"/>
                </a:lnTo>
                <a:lnTo>
                  <a:pt x="6" y="41"/>
                </a:lnTo>
                <a:lnTo>
                  <a:pt x="9" y="35"/>
                </a:lnTo>
                <a:lnTo>
                  <a:pt x="12" y="29"/>
                </a:lnTo>
                <a:lnTo>
                  <a:pt x="16" y="24"/>
                </a:lnTo>
                <a:lnTo>
                  <a:pt x="20" y="19"/>
                </a:lnTo>
                <a:lnTo>
                  <a:pt x="25" y="15"/>
                </a:lnTo>
                <a:lnTo>
                  <a:pt x="30" y="11"/>
                </a:lnTo>
                <a:lnTo>
                  <a:pt x="36" y="8"/>
                </a:lnTo>
                <a:lnTo>
                  <a:pt x="41" y="5"/>
                </a:lnTo>
                <a:lnTo>
                  <a:pt x="48" y="3"/>
                </a:lnTo>
                <a:lnTo>
                  <a:pt x="54" y="1"/>
                </a:lnTo>
                <a:lnTo>
                  <a:pt x="61" y="0"/>
                </a:lnTo>
                <a:lnTo>
                  <a:pt x="67" y="0"/>
                </a:lnTo>
                <a:lnTo>
                  <a:pt x="74" y="0"/>
                </a:lnTo>
                <a:lnTo>
                  <a:pt x="80" y="1"/>
                </a:lnTo>
                <a:lnTo>
                  <a:pt x="87" y="3"/>
                </a:lnTo>
                <a:lnTo>
                  <a:pt x="93" y="5"/>
                </a:lnTo>
                <a:lnTo>
                  <a:pt x="100" y="8"/>
                </a:lnTo>
                <a:lnTo>
                  <a:pt x="105" y="11"/>
                </a:lnTo>
                <a:lnTo>
                  <a:pt x="109" y="15"/>
                </a:lnTo>
                <a:lnTo>
                  <a:pt x="115" y="19"/>
                </a:lnTo>
                <a:lnTo>
                  <a:pt x="119" y="24"/>
                </a:lnTo>
                <a:lnTo>
                  <a:pt x="122" y="29"/>
                </a:lnTo>
                <a:lnTo>
                  <a:pt x="126" y="35"/>
                </a:lnTo>
                <a:lnTo>
                  <a:pt x="129" y="41"/>
                </a:lnTo>
                <a:lnTo>
                  <a:pt x="131" y="46"/>
                </a:lnTo>
                <a:lnTo>
                  <a:pt x="133" y="53"/>
                </a:lnTo>
                <a:lnTo>
                  <a:pt x="134" y="59"/>
                </a:lnTo>
                <a:lnTo>
                  <a:pt x="134" y="67"/>
                </a:lnTo>
                <a:close/>
              </a:path>
            </a:pathLst>
          </a:custGeom>
          <a:solidFill>
            <a:schemeClr val="bg1">
              <a:alpha val="2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7" name="Freeform 85">
            <a:extLst>
              <a:ext uri="{FF2B5EF4-FFF2-40B4-BE49-F238E27FC236}">
                <a16:creationId xmlns:a16="http://schemas.microsoft.com/office/drawing/2014/main" id="{534B7B8E-4826-5FB8-7FD1-623FE60A8F36}"/>
              </a:ext>
            </a:extLst>
          </p:cNvPr>
          <p:cNvSpPr>
            <a:spLocks/>
          </p:cNvSpPr>
          <p:nvPr/>
        </p:nvSpPr>
        <p:spPr bwMode="auto">
          <a:xfrm>
            <a:off x="3991645" y="5862258"/>
            <a:ext cx="33769" cy="35728"/>
          </a:xfrm>
          <a:custGeom>
            <a:avLst/>
            <a:gdLst>
              <a:gd name="T0" fmla="*/ 134 w 134"/>
              <a:gd name="T1" fmla="*/ 74 h 134"/>
              <a:gd name="T2" fmla="*/ 130 w 134"/>
              <a:gd name="T3" fmla="*/ 87 h 134"/>
              <a:gd name="T4" fmla="*/ 126 w 134"/>
              <a:gd name="T5" fmla="*/ 99 h 134"/>
              <a:gd name="T6" fmla="*/ 118 w 134"/>
              <a:gd name="T7" fmla="*/ 109 h 134"/>
              <a:gd name="T8" fmla="*/ 110 w 134"/>
              <a:gd name="T9" fmla="*/ 118 h 134"/>
              <a:gd name="T10" fmla="*/ 99 w 134"/>
              <a:gd name="T11" fmla="*/ 126 h 134"/>
              <a:gd name="T12" fmla="*/ 87 w 134"/>
              <a:gd name="T13" fmla="*/ 131 h 134"/>
              <a:gd name="T14" fmla="*/ 74 w 134"/>
              <a:gd name="T15" fmla="*/ 133 h 134"/>
              <a:gd name="T16" fmla="*/ 60 w 134"/>
              <a:gd name="T17" fmla="*/ 133 h 134"/>
              <a:gd name="T18" fmla="*/ 47 w 134"/>
              <a:gd name="T19" fmla="*/ 131 h 134"/>
              <a:gd name="T20" fmla="*/ 35 w 134"/>
              <a:gd name="T21" fmla="*/ 126 h 134"/>
              <a:gd name="T22" fmla="*/ 24 w 134"/>
              <a:gd name="T23" fmla="*/ 118 h 134"/>
              <a:gd name="T24" fmla="*/ 15 w 134"/>
              <a:gd name="T25" fmla="*/ 109 h 134"/>
              <a:gd name="T26" fmla="*/ 8 w 134"/>
              <a:gd name="T27" fmla="*/ 99 h 134"/>
              <a:gd name="T28" fmla="*/ 3 w 134"/>
              <a:gd name="T29" fmla="*/ 87 h 134"/>
              <a:gd name="T30" fmla="*/ 1 w 134"/>
              <a:gd name="T31" fmla="*/ 74 h 134"/>
              <a:gd name="T32" fmla="*/ 1 w 134"/>
              <a:gd name="T33" fmla="*/ 60 h 134"/>
              <a:gd name="T34" fmla="*/ 3 w 134"/>
              <a:gd name="T35" fmla="*/ 47 h 134"/>
              <a:gd name="T36" fmla="*/ 8 w 134"/>
              <a:gd name="T37" fmla="*/ 35 h 134"/>
              <a:gd name="T38" fmla="*/ 15 w 134"/>
              <a:gd name="T39" fmla="*/ 24 h 134"/>
              <a:gd name="T40" fmla="*/ 24 w 134"/>
              <a:gd name="T41" fmla="*/ 15 h 134"/>
              <a:gd name="T42" fmla="*/ 35 w 134"/>
              <a:gd name="T43" fmla="*/ 8 h 134"/>
              <a:gd name="T44" fmla="*/ 47 w 134"/>
              <a:gd name="T45" fmla="*/ 3 h 134"/>
              <a:gd name="T46" fmla="*/ 60 w 134"/>
              <a:gd name="T47" fmla="*/ 0 h 134"/>
              <a:gd name="T48" fmla="*/ 74 w 134"/>
              <a:gd name="T49" fmla="*/ 0 h 134"/>
              <a:gd name="T50" fmla="*/ 87 w 134"/>
              <a:gd name="T51" fmla="*/ 3 h 134"/>
              <a:gd name="T52" fmla="*/ 99 w 134"/>
              <a:gd name="T53" fmla="*/ 8 h 134"/>
              <a:gd name="T54" fmla="*/ 110 w 134"/>
              <a:gd name="T55" fmla="*/ 15 h 134"/>
              <a:gd name="T56" fmla="*/ 118 w 134"/>
              <a:gd name="T57" fmla="*/ 24 h 134"/>
              <a:gd name="T58" fmla="*/ 126 w 134"/>
              <a:gd name="T59" fmla="*/ 35 h 134"/>
              <a:gd name="T60" fmla="*/ 130 w 134"/>
              <a:gd name="T61" fmla="*/ 47 h 134"/>
              <a:gd name="T62" fmla="*/ 134 w 134"/>
              <a:gd name="T63"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34">
                <a:moveTo>
                  <a:pt x="134" y="67"/>
                </a:moveTo>
                <a:lnTo>
                  <a:pt x="134" y="74"/>
                </a:lnTo>
                <a:lnTo>
                  <a:pt x="132" y="80"/>
                </a:lnTo>
                <a:lnTo>
                  <a:pt x="130" y="87"/>
                </a:lnTo>
                <a:lnTo>
                  <a:pt x="128" y="93"/>
                </a:lnTo>
                <a:lnTo>
                  <a:pt x="126" y="99"/>
                </a:lnTo>
                <a:lnTo>
                  <a:pt x="122" y="104"/>
                </a:lnTo>
                <a:lnTo>
                  <a:pt x="118" y="109"/>
                </a:lnTo>
                <a:lnTo>
                  <a:pt x="114" y="114"/>
                </a:lnTo>
                <a:lnTo>
                  <a:pt x="110" y="118"/>
                </a:lnTo>
                <a:lnTo>
                  <a:pt x="104" y="122"/>
                </a:lnTo>
                <a:lnTo>
                  <a:pt x="99" y="126"/>
                </a:lnTo>
                <a:lnTo>
                  <a:pt x="92" y="129"/>
                </a:lnTo>
                <a:lnTo>
                  <a:pt x="87" y="131"/>
                </a:lnTo>
                <a:lnTo>
                  <a:pt x="81" y="132"/>
                </a:lnTo>
                <a:lnTo>
                  <a:pt x="74" y="133"/>
                </a:lnTo>
                <a:lnTo>
                  <a:pt x="67" y="134"/>
                </a:lnTo>
                <a:lnTo>
                  <a:pt x="60" y="133"/>
                </a:lnTo>
                <a:lnTo>
                  <a:pt x="54" y="132"/>
                </a:lnTo>
                <a:lnTo>
                  <a:pt x="47" y="131"/>
                </a:lnTo>
                <a:lnTo>
                  <a:pt x="41" y="129"/>
                </a:lnTo>
                <a:lnTo>
                  <a:pt x="35" y="126"/>
                </a:lnTo>
                <a:lnTo>
                  <a:pt x="30" y="122"/>
                </a:lnTo>
                <a:lnTo>
                  <a:pt x="24" y="118"/>
                </a:lnTo>
                <a:lnTo>
                  <a:pt x="19" y="114"/>
                </a:lnTo>
                <a:lnTo>
                  <a:pt x="15" y="109"/>
                </a:lnTo>
                <a:lnTo>
                  <a:pt x="11" y="104"/>
                </a:lnTo>
                <a:lnTo>
                  <a:pt x="8" y="99"/>
                </a:lnTo>
                <a:lnTo>
                  <a:pt x="5" y="93"/>
                </a:lnTo>
                <a:lnTo>
                  <a:pt x="3" y="87"/>
                </a:lnTo>
                <a:lnTo>
                  <a:pt x="2" y="80"/>
                </a:lnTo>
                <a:lnTo>
                  <a:pt x="1" y="74"/>
                </a:lnTo>
                <a:lnTo>
                  <a:pt x="0" y="67"/>
                </a:lnTo>
                <a:lnTo>
                  <a:pt x="1" y="60"/>
                </a:lnTo>
                <a:lnTo>
                  <a:pt x="2" y="53"/>
                </a:lnTo>
                <a:lnTo>
                  <a:pt x="3" y="47"/>
                </a:lnTo>
                <a:lnTo>
                  <a:pt x="5" y="41"/>
                </a:lnTo>
                <a:lnTo>
                  <a:pt x="8" y="35"/>
                </a:lnTo>
                <a:lnTo>
                  <a:pt x="11" y="29"/>
                </a:lnTo>
                <a:lnTo>
                  <a:pt x="15" y="24"/>
                </a:lnTo>
                <a:lnTo>
                  <a:pt x="19" y="20"/>
                </a:lnTo>
                <a:lnTo>
                  <a:pt x="24" y="15"/>
                </a:lnTo>
                <a:lnTo>
                  <a:pt x="30" y="11"/>
                </a:lnTo>
                <a:lnTo>
                  <a:pt x="35" y="8"/>
                </a:lnTo>
                <a:lnTo>
                  <a:pt x="41" y="6"/>
                </a:lnTo>
                <a:lnTo>
                  <a:pt x="47" y="3"/>
                </a:lnTo>
                <a:lnTo>
                  <a:pt x="54" y="1"/>
                </a:lnTo>
                <a:lnTo>
                  <a:pt x="60" y="0"/>
                </a:lnTo>
                <a:lnTo>
                  <a:pt x="67" y="0"/>
                </a:lnTo>
                <a:lnTo>
                  <a:pt x="74" y="0"/>
                </a:lnTo>
                <a:lnTo>
                  <a:pt x="81" y="1"/>
                </a:lnTo>
                <a:lnTo>
                  <a:pt x="87" y="3"/>
                </a:lnTo>
                <a:lnTo>
                  <a:pt x="92" y="6"/>
                </a:lnTo>
                <a:lnTo>
                  <a:pt x="99" y="8"/>
                </a:lnTo>
                <a:lnTo>
                  <a:pt x="104" y="11"/>
                </a:lnTo>
                <a:lnTo>
                  <a:pt x="110" y="15"/>
                </a:lnTo>
                <a:lnTo>
                  <a:pt x="114" y="20"/>
                </a:lnTo>
                <a:lnTo>
                  <a:pt x="118" y="24"/>
                </a:lnTo>
                <a:lnTo>
                  <a:pt x="122" y="29"/>
                </a:lnTo>
                <a:lnTo>
                  <a:pt x="126" y="35"/>
                </a:lnTo>
                <a:lnTo>
                  <a:pt x="128" y="41"/>
                </a:lnTo>
                <a:lnTo>
                  <a:pt x="130" y="47"/>
                </a:lnTo>
                <a:lnTo>
                  <a:pt x="132" y="53"/>
                </a:lnTo>
                <a:lnTo>
                  <a:pt x="134" y="60"/>
                </a:lnTo>
                <a:lnTo>
                  <a:pt x="134" y="67"/>
                </a:lnTo>
                <a:close/>
              </a:path>
            </a:pathLst>
          </a:custGeom>
          <a:solidFill>
            <a:schemeClr val="bg1">
              <a:alpha val="2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8" name="Freeform 86">
            <a:extLst>
              <a:ext uri="{FF2B5EF4-FFF2-40B4-BE49-F238E27FC236}">
                <a16:creationId xmlns:a16="http://schemas.microsoft.com/office/drawing/2014/main" id="{0A4974A8-5BE2-3BCC-FDB7-88786B6237BA}"/>
              </a:ext>
            </a:extLst>
          </p:cNvPr>
          <p:cNvSpPr>
            <a:spLocks/>
          </p:cNvSpPr>
          <p:nvPr/>
        </p:nvSpPr>
        <p:spPr bwMode="auto">
          <a:xfrm>
            <a:off x="4635252" y="5011102"/>
            <a:ext cx="33769" cy="35728"/>
          </a:xfrm>
          <a:custGeom>
            <a:avLst/>
            <a:gdLst>
              <a:gd name="T0" fmla="*/ 134 w 134"/>
              <a:gd name="T1" fmla="*/ 74 h 134"/>
              <a:gd name="T2" fmla="*/ 130 w 134"/>
              <a:gd name="T3" fmla="*/ 87 h 134"/>
              <a:gd name="T4" fmla="*/ 125 w 134"/>
              <a:gd name="T5" fmla="*/ 99 h 134"/>
              <a:gd name="T6" fmla="*/ 118 w 134"/>
              <a:gd name="T7" fmla="*/ 109 h 134"/>
              <a:gd name="T8" fmla="*/ 109 w 134"/>
              <a:gd name="T9" fmla="*/ 119 h 134"/>
              <a:gd name="T10" fmla="*/ 99 w 134"/>
              <a:gd name="T11" fmla="*/ 126 h 134"/>
              <a:gd name="T12" fmla="*/ 86 w 134"/>
              <a:gd name="T13" fmla="*/ 131 h 134"/>
              <a:gd name="T14" fmla="*/ 73 w 134"/>
              <a:gd name="T15" fmla="*/ 133 h 134"/>
              <a:gd name="T16" fmla="*/ 60 w 134"/>
              <a:gd name="T17" fmla="*/ 133 h 134"/>
              <a:gd name="T18" fmla="*/ 47 w 134"/>
              <a:gd name="T19" fmla="*/ 131 h 134"/>
              <a:gd name="T20" fmla="*/ 35 w 134"/>
              <a:gd name="T21" fmla="*/ 126 h 134"/>
              <a:gd name="T22" fmla="*/ 24 w 134"/>
              <a:gd name="T23" fmla="*/ 119 h 134"/>
              <a:gd name="T24" fmla="*/ 15 w 134"/>
              <a:gd name="T25" fmla="*/ 109 h 134"/>
              <a:gd name="T26" fmla="*/ 8 w 134"/>
              <a:gd name="T27" fmla="*/ 99 h 134"/>
              <a:gd name="T28" fmla="*/ 3 w 134"/>
              <a:gd name="T29" fmla="*/ 87 h 134"/>
              <a:gd name="T30" fmla="*/ 1 w 134"/>
              <a:gd name="T31" fmla="*/ 74 h 134"/>
              <a:gd name="T32" fmla="*/ 1 w 134"/>
              <a:gd name="T33" fmla="*/ 61 h 134"/>
              <a:gd name="T34" fmla="*/ 3 w 134"/>
              <a:gd name="T35" fmla="*/ 47 h 134"/>
              <a:gd name="T36" fmla="*/ 8 w 134"/>
              <a:gd name="T37" fmla="*/ 35 h 134"/>
              <a:gd name="T38" fmla="*/ 15 w 134"/>
              <a:gd name="T39" fmla="*/ 25 h 134"/>
              <a:gd name="T40" fmla="*/ 24 w 134"/>
              <a:gd name="T41" fmla="*/ 15 h 134"/>
              <a:gd name="T42" fmla="*/ 35 w 134"/>
              <a:gd name="T43" fmla="*/ 8 h 134"/>
              <a:gd name="T44" fmla="*/ 47 w 134"/>
              <a:gd name="T45" fmla="*/ 3 h 134"/>
              <a:gd name="T46" fmla="*/ 60 w 134"/>
              <a:gd name="T47" fmla="*/ 0 h 134"/>
              <a:gd name="T48" fmla="*/ 73 w 134"/>
              <a:gd name="T49" fmla="*/ 0 h 134"/>
              <a:gd name="T50" fmla="*/ 86 w 134"/>
              <a:gd name="T51" fmla="*/ 3 h 134"/>
              <a:gd name="T52" fmla="*/ 99 w 134"/>
              <a:gd name="T53" fmla="*/ 8 h 134"/>
              <a:gd name="T54" fmla="*/ 109 w 134"/>
              <a:gd name="T55" fmla="*/ 15 h 134"/>
              <a:gd name="T56" fmla="*/ 118 w 134"/>
              <a:gd name="T57" fmla="*/ 25 h 134"/>
              <a:gd name="T58" fmla="*/ 125 w 134"/>
              <a:gd name="T59" fmla="*/ 35 h 134"/>
              <a:gd name="T60" fmla="*/ 130 w 134"/>
              <a:gd name="T61" fmla="*/ 47 h 134"/>
              <a:gd name="T62" fmla="*/ 134 w 134"/>
              <a:gd name="T63" fmla="*/ 6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34">
                <a:moveTo>
                  <a:pt x="134" y="67"/>
                </a:moveTo>
                <a:lnTo>
                  <a:pt x="134" y="74"/>
                </a:lnTo>
                <a:lnTo>
                  <a:pt x="132" y="80"/>
                </a:lnTo>
                <a:lnTo>
                  <a:pt x="130" y="87"/>
                </a:lnTo>
                <a:lnTo>
                  <a:pt x="128" y="93"/>
                </a:lnTo>
                <a:lnTo>
                  <a:pt x="125" y="99"/>
                </a:lnTo>
                <a:lnTo>
                  <a:pt x="122" y="104"/>
                </a:lnTo>
                <a:lnTo>
                  <a:pt x="118" y="109"/>
                </a:lnTo>
                <a:lnTo>
                  <a:pt x="114" y="115"/>
                </a:lnTo>
                <a:lnTo>
                  <a:pt x="109" y="119"/>
                </a:lnTo>
                <a:lnTo>
                  <a:pt x="104" y="122"/>
                </a:lnTo>
                <a:lnTo>
                  <a:pt x="99" y="126"/>
                </a:lnTo>
                <a:lnTo>
                  <a:pt x="92" y="129"/>
                </a:lnTo>
                <a:lnTo>
                  <a:pt x="86" y="131"/>
                </a:lnTo>
                <a:lnTo>
                  <a:pt x="81" y="133"/>
                </a:lnTo>
                <a:lnTo>
                  <a:pt x="73" y="133"/>
                </a:lnTo>
                <a:lnTo>
                  <a:pt x="67" y="134"/>
                </a:lnTo>
                <a:lnTo>
                  <a:pt x="60" y="133"/>
                </a:lnTo>
                <a:lnTo>
                  <a:pt x="54" y="133"/>
                </a:lnTo>
                <a:lnTo>
                  <a:pt x="47" y="131"/>
                </a:lnTo>
                <a:lnTo>
                  <a:pt x="41" y="129"/>
                </a:lnTo>
                <a:lnTo>
                  <a:pt x="35" y="126"/>
                </a:lnTo>
                <a:lnTo>
                  <a:pt x="29" y="122"/>
                </a:lnTo>
                <a:lnTo>
                  <a:pt x="24" y="119"/>
                </a:lnTo>
                <a:lnTo>
                  <a:pt x="19" y="115"/>
                </a:lnTo>
                <a:lnTo>
                  <a:pt x="15" y="109"/>
                </a:lnTo>
                <a:lnTo>
                  <a:pt x="11" y="104"/>
                </a:lnTo>
                <a:lnTo>
                  <a:pt x="8" y="99"/>
                </a:lnTo>
                <a:lnTo>
                  <a:pt x="5" y="93"/>
                </a:lnTo>
                <a:lnTo>
                  <a:pt x="3" y="87"/>
                </a:lnTo>
                <a:lnTo>
                  <a:pt x="1" y="80"/>
                </a:lnTo>
                <a:lnTo>
                  <a:pt x="1" y="74"/>
                </a:lnTo>
                <a:lnTo>
                  <a:pt x="0" y="67"/>
                </a:lnTo>
                <a:lnTo>
                  <a:pt x="1" y="61"/>
                </a:lnTo>
                <a:lnTo>
                  <a:pt x="1" y="53"/>
                </a:lnTo>
                <a:lnTo>
                  <a:pt x="3" y="47"/>
                </a:lnTo>
                <a:lnTo>
                  <a:pt x="5" y="41"/>
                </a:lnTo>
                <a:lnTo>
                  <a:pt x="8" y="35"/>
                </a:lnTo>
                <a:lnTo>
                  <a:pt x="11" y="29"/>
                </a:lnTo>
                <a:lnTo>
                  <a:pt x="15" y="25"/>
                </a:lnTo>
                <a:lnTo>
                  <a:pt x="19" y="20"/>
                </a:lnTo>
                <a:lnTo>
                  <a:pt x="24" y="15"/>
                </a:lnTo>
                <a:lnTo>
                  <a:pt x="29" y="12"/>
                </a:lnTo>
                <a:lnTo>
                  <a:pt x="35" y="8"/>
                </a:lnTo>
                <a:lnTo>
                  <a:pt x="41" y="6"/>
                </a:lnTo>
                <a:lnTo>
                  <a:pt x="47" y="3"/>
                </a:lnTo>
                <a:lnTo>
                  <a:pt x="54" y="1"/>
                </a:lnTo>
                <a:lnTo>
                  <a:pt x="60" y="0"/>
                </a:lnTo>
                <a:lnTo>
                  <a:pt x="67" y="0"/>
                </a:lnTo>
                <a:lnTo>
                  <a:pt x="73" y="0"/>
                </a:lnTo>
                <a:lnTo>
                  <a:pt x="81" y="1"/>
                </a:lnTo>
                <a:lnTo>
                  <a:pt x="86" y="3"/>
                </a:lnTo>
                <a:lnTo>
                  <a:pt x="92" y="6"/>
                </a:lnTo>
                <a:lnTo>
                  <a:pt x="99" y="8"/>
                </a:lnTo>
                <a:lnTo>
                  <a:pt x="104" y="12"/>
                </a:lnTo>
                <a:lnTo>
                  <a:pt x="109" y="15"/>
                </a:lnTo>
                <a:lnTo>
                  <a:pt x="114" y="20"/>
                </a:lnTo>
                <a:lnTo>
                  <a:pt x="118" y="25"/>
                </a:lnTo>
                <a:lnTo>
                  <a:pt x="122" y="29"/>
                </a:lnTo>
                <a:lnTo>
                  <a:pt x="125" y="35"/>
                </a:lnTo>
                <a:lnTo>
                  <a:pt x="128" y="41"/>
                </a:lnTo>
                <a:lnTo>
                  <a:pt x="130" y="47"/>
                </a:lnTo>
                <a:lnTo>
                  <a:pt x="132" y="53"/>
                </a:lnTo>
                <a:lnTo>
                  <a:pt x="134" y="61"/>
                </a:lnTo>
                <a:lnTo>
                  <a:pt x="134" y="67"/>
                </a:lnTo>
                <a:close/>
              </a:path>
            </a:pathLst>
          </a:custGeom>
          <a:solidFill>
            <a:schemeClr val="bg1">
              <a:alpha val="24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9" name="Freeform 95">
            <a:extLst>
              <a:ext uri="{FF2B5EF4-FFF2-40B4-BE49-F238E27FC236}">
                <a16:creationId xmlns:a16="http://schemas.microsoft.com/office/drawing/2014/main" id="{99023AB8-5BE6-2E45-B92D-8DEB64E30343}"/>
              </a:ext>
            </a:extLst>
          </p:cNvPr>
          <p:cNvSpPr>
            <a:spLocks/>
          </p:cNvSpPr>
          <p:nvPr/>
        </p:nvSpPr>
        <p:spPr bwMode="auto">
          <a:xfrm>
            <a:off x="4462431" y="5674163"/>
            <a:ext cx="20858" cy="21016"/>
          </a:xfrm>
          <a:custGeom>
            <a:avLst/>
            <a:gdLst>
              <a:gd name="T0" fmla="*/ 83 w 83"/>
              <a:gd name="T1" fmla="*/ 42 h 83"/>
              <a:gd name="T2" fmla="*/ 82 w 83"/>
              <a:gd name="T3" fmla="*/ 50 h 83"/>
              <a:gd name="T4" fmla="*/ 80 w 83"/>
              <a:gd name="T5" fmla="*/ 58 h 83"/>
              <a:gd name="T6" fmla="*/ 77 w 83"/>
              <a:gd name="T7" fmla="*/ 65 h 83"/>
              <a:gd name="T8" fmla="*/ 71 w 83"/>
              <a:gd name="T9" fmla="*/ 71 h 83"/>
              <a:gd name="T10" fmla="*/ 65 w 83"/>
              <a:gd name="T11" fmla="*/ 77 h 83"/>
              <a:gd name="T12" fmla="*/ 57 w 83"/>
              <a:gd name="T13" fmla="*/ 80 h 83"/>
              <a:gd name="T14" fmla="*/ 50 w 83"/>
              <a:gd name="T15" fmla="*/ 83 h 83"/>
              <a:gd name="T16" fmla="*/ 41 w 83"/>
              <a:gd name="T17" fmla="*/ 83 h 83"/>
              <a:gd name="T18" fmla="*/ 33 w 83"/>
              <a:gd name="T19" fmla="*/ 83 h 83"/>
              <a:gd name="T20" fmla="*/ 25 w 83"/>
              <a:gd name="T21" fmla="*/ 80 h 83"/>
              <a:gd name="T22" fmla="*/ 18 w 83"/>
              <a:gd name="T23" fmla="*/ 77 h 83"/>
              <a:gd name="T24" fmla="*/ 12 w 83"/>
              <a:gd name="T25" fmla="*/ 71 h 83"/>
              <a:gd name="T26" fmla="*/ 6 w 83"/>
              <a:gd name="T27" fmla="*/ 65 h 83"/>
              <a:gd name="T28" fmla="*/ 3 w 83"/>
              <a:gd name="T29" fmla="*/ 58 h 83"/>
              <a:gd name="T30" fmla="*/ 1 w 83"/>
              <a:gd name="T31" fmla="*/ 50 h 83"/>
              <a:gd name="T32" fmla="*/ 0 w 83"/>
              <a:gd name="T33" fmla="*/ 42 h 83"/>
              <a:gd name="T34" fmla="*/ 1 w 83"/>
              <a:gd name="T35" fmla="*/ 34 h 83"/>
              <a:gd name="T36" fmla="*/ 3 w 83"/>
              <a:gd name="T37" fmla="*/ 26 h 83"/>
              <a:gd name="T38" fmla="*/ 6 w 83"/>
              <a:gd name="T39" fmla="*/ 18 h 83"/>
              <a:gd name="T40" fmla="*/ 12 w 83"/>
              <a:gd name="T41" fmla="*/ 12 h 83"/>
              <a:gd name="T42" fmla="*/ 18 w 83"/>
              <a:gd name="T43" fmla="*/ 8 h 83"/>
              <a:gd name="T44" fmla="*/ 25 w 83"/>
              <a:gd name="T45" fmla="*/ 3 h 83"/>
              <a:gd name="T46" fmla="*/ 33 w 83"/>
              <a:gd name="T47" fmla="*/ 1 h 83"/>
              <a:gd name="T48" fmla="*/ 41 w 83"/>
              <a:gd name="T49" fmla="*/ 0 h 83"/>
              <a:gd name="T50" fmla="*/ 50 w 83"/>
              <a:gd name="T51" fmla="*/ 1 h 83"/>
              <a:gd name="T52" fmla="*/ 57 w 83"/>
              <a:gd name="T53" fmla="*/ 3 h 83"/>
              <a:gd name="T54" fmla="*/ 65 w 83"/>
              <a:gd name="T55" fmla="*/ 8 h 83"/>
              <a:gd name="T56" fmla="*/ 71 w 83"/>
              <a:gd name="T57" fmla="*/ 12 h 83"/>
              <a:gd name="T58" fmla="*/ 77 w 83"/>
              <a:gd name="T59" fmla="*/ 18 h 83"/>
              <a:gd name="T60" fmla="*/ 80 w 83"/>
              <a:gd name="T61" fmla="*/ 26 h 83"/>
              <a:gd name="T62" fmla="*/ 82 w 83"/>
              <a:gd name="T63" fmla="*/ 34 h 83"/>
              <a:gd name="T64" fmla="*/ 83 w 83"/>
              <a:gd name="T65"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3" h="83">
                <a:moveTo>
                  <a:pt x="83" y="42"/>
                </a:moveTo>
                <a:lnTo>
                  <a:pt x="82" y="50"/>
                </a:lnTo>
                <a:lnTo>
                  <a:pt x="80" y="58"/>
                </a:lnTo>
                <a:lnTo>
                  <a:pt x="77" y="65"/>
                </a:lnTo>
                <a:lnTo>
                  <a:pt x="71" y="71"/>
                </a:lnTo>
                <a:lnTo>
                  <a:pt x="65" y="77"/>
                </a:lnTo>
                <a:lnTo>
                  <a:pt x="57" y="80"/>
                </a:lnTo>
                <a:lnTo>
                  <a:pt x="50" y="83"/>
                </a:lnTo>
                <a:lnTo>
                  <a:pt x="41" y="83"/>
                </a:lnTo>
                <a:lnTo>
                  <a:pt x="33" y="83"/>
                </a:lnTo>
                <a:lnTo>
                  <a:pt x="25" y="80"/>
                </a:lnTo>
                <a:lnTo>
                  <a:pt x="18" y="77"/>
                </a:lnTo>
                <a:lnTo>
                  <a:pt x="12" y="71"/>
                </a:lnTo>
                <a:lnTo>
                  <a:pt x="6" y="65"/>
                </a:lnTo>
                <a:lnTo>
                  <a:pt x="3" y="58"/>
                </a:lnTo>
                <a:lnTo>
                  <a:pt x="1" y="50"/>
                </a:lnTo>
                <a:lnTo>
                  <a:pt x="0" y="42"/>
                </a:lnTo>
                <a:lnTo>
                  <a:pt x="1" y="34"/>
                </a:lnTo>
                <a:lnTo>
                  <a:pt x="3" y="26"/>
                </a:lnTo>
                <a:lnTo>
                  <a:pt x="6" y="18"/>
                </a:lnTo>
                <a:lnTo>
                  <a:pt x="12" y="12"/>
                </a:lnTo>
                <a:lnTo>
                  <a:pt x="18" y="8"/>
                </a:lnTo>
                <a:lnTo>
                  <a:pt x="25" y="3"/>
                </a:lnTo>
                <a:lnTo>
                  <a:pt x="33" y="1"/>
                </a:lnTo>
                <a:lnTo>
                  <a:pt x="41" y="0"/>
                </a:lnTo>
                <a:lnTo>
                  <a:pt x="50" y="1"/>
                </a:lnTo>
                <a:lnTo>
                  <a:pt x="57" y="3"/>
                </a:lnTo>
                <a:lnTo>
                  <a:pt x="65" y="8"/>
                </a:lnTo>
                <a:lnTo>
                  <a:pt x="71" y="12"/>
                </a:lnTo>
                <a:lnTo>
                  <a:pt x="77" y="18"/>
                </a:lnTo>
                <a:lnTo>
                  <a:pt x="80" y="26"/>
                </a:lnTo>
                <a:lnTo>
                  <a:pt x="82" y="34"/>
                </a:lnTo>
                <a:lnTo>
                  <a:pt x="83" y="42"/>
                </a:lnTo>
                <a:close/>
              </a:path>
            </a:pathLst>
          </a:custGeom>
          <a:solidFill>
            <a:schemeClr val="bg1">
              <a:alpha val="2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0" name="Freeform 13">
            <a:extLst>
              <a:ext uri="{FF2B5EF4-FFF2-40B4-BE49-F238E27FC236}">
                <a16:creationId xmlns:a16="http://schemas.microsoft.com/office/drawing/2014/main" id="{7FF4929D-0D92-6800-DA7F-C48B46DB10B4}"/>
              </a:ext>
            </a:extLst>
          </p:cNvPr>
          <p:cNvSpPr>
            <a:spLocks/>
          </p:cNvSpPr>
          <p:nvPr/>
        </p:nvSpPr>
        <p:spPr bwMode="auto">
          <a:xfrm>
            <a:off x="9727963" y="5254834"/>
            <a:ext cx="80451" cy="85116"/>
          </a:xfrm>
          <a:custGeom>
            <a:avLst/>
            <a:gdLst>
              <a:gd name="T0" fmla="*/ 146 w 324"/>
              <a:gd name="T1" fmla="*/ 323 h 324"/>
              <a:gd name="T2" fmla="*/ 113 w 324"/>
              <a:gd name="T3" fmla="*/ 316 h 324"/>
              <a:gd name="T4" fmla="*/ 85 w 324"/>
              <a:gd name="T5" fmla="*/ 305 h 324"/>
              <a:gd name="T6" fmla="*/ 59 w 324"/>
              <a:gd name="T7" fmla="*/ 287 h 324"/>
              <a:gd name="T8" fmla="*/ 37 w 324"/>
              <a:gd name="T9" fmla="*/ 265 h 324"/>
              <a:gd name="T10" fmla="*/ 19 w 324"/>
              <a:gd name="T11" fmla="*/ 239 h 324"/>
              <a:gd name="T12" fmla="*/ 8 w 324"/>
              <a:gd name="T13" fmla="*/ 211 h 324"/>
              <a:gd name="T14" fmla="*/ 1 w 324"/>
              <a:gd name="T15" fmla="*/ 178 h 324"/>
              <a:gd name="T16" fmla="*/ 1 w 324"/>
              <a:gd name="T17" fmla="*/ 146 h 324"/>
              <a:gd name="T18" fmla="*/ 8 w 324"/>
              <a:gd name="T19" fmla="*/ 113 h 324"/>
              <a:gd name="T20" fmla="*/ 19 w 324"/>
              <a:gd name="T21" fmla="*/ 84 h 324"/>
              <a:gd name="T22" fmla="*/ 37 w 324"/>
              <a:gd name="T23" fmla="*/ 59 h 324"/>
              <a:gd name="T24" fmla="*/ 59 w 324"/>
              <a:gd name="T25" fmla="*/ 37 h 324"/>
              <a:gd name="T26" fmla="*/ 85 w 324"/>
              <a:gd name="T27" fmla="*/ 19 h 324"/>
              <a:gd name="T28" fmla="*/ 113 w 324"/>
              <a:gd name="T29" fmla="*/ 8 h 324"/>
              <a:gd name="T30" fmla="*/ 146 w 324"/>
              <a:gd name="T31" fmla="*/ 1 h 324"/>
              <a:gd name="T32" fmla="*/ 178 w 324"/>
              <a:gd name="T33" fmla="*/ 1 h 324"/>
              <a:gd name="T34" fmla="*/ 211 w 324"/>
              <a:gd name="T35" fmla="*/ 8 h 324"/>
              <a:gd name="T36" fmla="*/ 240 w 324"/>
              <a:gd name="T37" fmla="*/ 19 h 324"/>
              <a:gd name="T38" fmla="*/ 265 w 324"/>
              <a:gd name="T39" fmla="*/ 37 h 324"/>
              <a:gd name="T40" fmla="*/ 287 w 324"/>
              <a:gd name="T41" fmla="*/ 59 h 324"/>
              <a:gd name="T42" fmla="*/ 305 w 324"/>
              <a:gd name="T43" fmla="*/ 84 h 324"/>
              <a:gd name="T44" fmla="*/ 316 w 324"/>
              <a:gd name="T45" fmla="*/ 113 h 324"/>
              <a:gd name="T46" fmla="*/ 323 w 324"/>
              <a:gd name="T47" fmla="*/ 146 h 324"/>
              <a:gd name="T48" fmla="*/ 323 w 324"/>
              <a:gd name="T49" fmla="*/ 178 h 324"/>
              <a:gd name="T50" fmla="*/ 316 w 324"/>
              <a:gd name="T51" fmla="*/ 211 h 324"/>
              <a:gd name="T52" fmla="*/ 305 w 324"/>
              <a:gd name="T53" fmla="*/ 239 h 324"/>
              <a:gd name="T54" fmla="*/ 287 w 324"/>
              <a:gd name="T55" fmla="*/ 265 h 324"/>
              <a:gd name="T56" fmla="*/ 265 w 324"/>
              <a:gd name="T57" fmla="*/ 287 h 324"/>
              <a:gd name="T58" fmla="*/ 240 w 324"/>
              <a:gd name="T59" fmla="*/ 305 h 324"/>
              <a:gd name="T60" fmla="*/ 211 w 324"/>
              <a:gd name="T61" fmla="*/ 316 h 324"/>
              <a:gd name="T62" fmla="*/ 178 w 324"/>
              <a:gd name="T63" fmla="*/ 3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4" h="324">
                <a:moveTo>
                  <a:pt x="162" y="324"/>
                </a:moveTo>
                <a:lnTo>
                  <a:pt x="146" y="323"/>
                </a:lnTo>
                <a:lnTo>
                  <a:pt x="130" y="321"/>
                </a:lnTo>
                <a:lnTo>
                  <a:pt x="113" y="316"/>
                </a:lnTo>
                <a:lnTo>
                  <a:pt x="99" y="311"/>
                </a:lnTo>
                <a:lnTo>
                  <a:pt x="85" y="305"/>
                </a:lnTo>
                <a:lnTo>
                  <a:pt x="71" y="296"/>
                </a:lnTo>
                <a:lnTo>
                  <a:pt x="59" y="287"/>
                </a:lnTo>
                <a:lnTo>
                  <a:pt x="48" y="276"/>
                </a:lnTo>
                <a:lnTo>
                  <a:pt x="37" y="265"/>
                </a:lnTo>
                <a:lnTo>
                  <a:pt x="28" y="253"/>
                </a:lnTo>
                <a:lnTo>
                  <a:pt x="19" y="239"/>
                </a:lnTo>
                <a:lnTo>
                  <a:pt x="13" y="225"/>
                </a:lnTo>
                <a:lnTo>
                  <a:pt x="8" y="211"/>
                </a:lnTo>
                <a:lnTo>
                  <a:pt x="3" y="194"/>
                </a:lnTo>
                <a:lnTo>
                  <a:pt x="1" y="178"/>
                </a:lnTo>
                <a:lnTo>
                  <a:pt x="0" y="162"/>
                </a:lnTo>
                <a:lnTo>
                  <a:pt x="1" y="146"/>
                </a:lnTo>
                <a:lnTo>
                  <a:pt x="3" y="130"/>
                </a:lnTo>
                <a:lnTo>
                  <a:pt x="8" y="113"/>
                </a:lnTo>
                <a:lnTo>
                  <a:pt x="13" y="99"/>
                </a:lnTo>
                <a:lnTo>
                  <a:pt x="19" y="84"/>
                </a:lnTo>
                <a:lnTo>
                  <a:pt x="28" y="71"/>
                </a:lnTo>
                <a:lnTo>
                  <a:pt x="37" y="59"/>
                </a:lnTo>
                <a:lnTo>
                  <a:pt x="48" y="48"/>
                </a:lnTo>
                <a:lnTo>
                  <a:pt x="59" y="37"/>
                </a:lnTo>
                <a:lnTo>
                  <a:pt x="71" y="28"/>
                </a:lnTo>
                <a:lnTo>
                  <a:pt x="85" y="19"/>
                </a:lnTo>
                <a:lnTo>
                  <a:pt x="99" y="13"/>
                </a:lnTo>
                <a:lnTo>
                  <a:pt x="113" y="8"/>
                </a:lnTo>
                <a:lnTo>
                  <a:pt x="130" y="3"/>
                </a:lnTo>
                <a:lnTo>
                  <a:pt x="146" y="1"/>
                </a:lnTo>
                <a:lnTo>
                  <a:pt x="162" y="0"/>
                </a:lnTo>
                <a:lnTo>
                  <a:pt x="178" y="1"/>
                </a:lnTo>
                <a:lnTo>
                  <a:pt x="194" y="3"/>
                </a:lnTo>
                <a:lnTo>
                  <a:pt x="211" y="8"/>
                </a:lnTo>
                <a:lnTo>
                  <a:pt x="225" y="13"/>
                </a:lnTo>
                <a:lnTo>
                  <a:pt x="240" y="19"/>
                </a:lnTo>
                <a:lnTo>
                  <a:pt x="253" y="28"/>
                </a:lnTo>
                <a:lnTo>
                  <a:pt x="265" y="37"/>
                </a:lnTo>
                <a:lnTo>
                  <a:pt x="276" y="48"/>
                </a:lnTo>
                <a:lnTo>
                  <a:pt x="287" y="59"/>
                </a:lnTo>
                <a:lnTo>
                  <a:pt x="296" y="71"/>
                </a:lnTo>
                <a:lnTo>
                  <a:pt x="305" y="84"/>
                </a:lnTo>
                <a:lnTo>
                  <a:pt x="311" y="99"/>
                </a:lnTo>
                <a:lnTo>
                  <a:pt x="316" y="113"/>
                </a:lnTo>
                <a:lnTo>
                  <a:pt x="321" y="130"/>
                </a:lnTo>
                <a:lnTo>
                  <a:pt x="323" y="146"/>
                </a:lnTo>
                <a:lnTo>
                  <a:pt x="324" y="162"/>
                </a:lnTo>
                <a:lnTo>
                  <a:pt x="323" y="178"/>
                </a:lnTo>
                <a:lnTo>
                  <a:pt x="321" y="194"/>
                </a:lnTo>
                <a:lnTo>
                  <a:pt x="316" y="211"/>
                </a:lnTo>
                <a:lnTo>
                  <a:pt x="311" y="225"/>
                </a:lnTo>
                <a:lnTo>
                  <a:pt x="305" y="239"/>
                </a:lnTo>
                <a:lnTo>
                  <a:pt x="296" y="253"/>
                </a:lnTo>
                <a:lnTo>
                  <a:pt x="287" y="265"/>
                </a:lnTo>
                <a:lnTo>
                  <a:pt x="276" y="276"/>
                </a:lnTo>
                <a:lnTo>
                  <a:pt x="265" y="287"/>
                </a:lnTo>
                <a:lnTo>
                  <a:pt x="253" y="296"/>
                </a:lnTo>
                <a:lnTo>
                  <a:pt x="240" y="305"/>
                </a:lnTo>
                <a:lnTo>
                  <a:pt x="225" y="311"/>
                </a:lnTo>
                <a:lnTo>
                  <a:pt x="211" y="316"/>
                </a:lnTo>
                <a:lnTo>
                  <a:pt x="194" y="321"/>
                </a:lnTo>
                <a:lnTo>
                  <a:pt x="178" y="323"/>
                </a:lnTo>
                <a:lnTo>
                  <a:pt x="162" y="324"/>
                </a:lnTo>
                <a:close/>
              </a:path>
            </a:pathLst>
          </a:custGeom>
          <a:solidFill>
            <a:schemeClr val="bg1">
              <a:alpha val="24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1" name="Freeform 15">
            <a:extLst>
              <a:ext uri="{FF2B5EF4-FFF2-40B4-BE49-F238E27FC236}">
                <a16:creationId xmlns:a16="http://schemas.microsoft.com/office/drawing/2014/main" id="{CA2AF498-E469-B8F7-E092-FB9F72AA388F}"/>
              </a:ext>
            </a:extLst>
          </p:cNvPr>
          <p:cNvSpPr>
            <a:spLocks/>
          </p:cNvSpPr>
          <p:nvPr/>
        </p:nvSpPr>
        <p:spPr bwMode="auto">
          <a:xfrm>
            <a:off x="10205206" y="5320040"/>
            <a:ext cx="187719" cy="198603"/>
          </a:xfrm>
          <a:custGeom>
            <a:avLst/>
            <a:gdLst>
              <a:gd name="T0" fmla="*/ 339 w 756"/>
              <a:gd name="T1" fmla="*/ 754 h 756"/>
              <a:gd name="T2" fmla="*/ 284 w 756"/>
              <a:gd name="T3" fmla="*/ 744 h 756"/>
              <a:gd name="T4" fmla="*/ 231 w 756"/>
              <a:gd name="T5" fmla="*/ 726 h 756"/>
              <a:gd name="T6" fmla="*/ 182 w 756"/>
              <a:gd name="T7" fmla="*/ 701 h 756"/>
              <a:gd name="T8" fmla="*/ 137 w 756"/>
              <a:gd name="T9" fmla="*/ 670 h 756"/>
              <a:gd name="T10" fmla="*/ 98 w 756"/>
              <a:gd name="T11" fmla="*/ 632 h 756"/>
              <a:gd name="T12" fmla="*/ 65 w 756"/>
              <a:gd name="T13" fmla="*/ 590 h 756"/>
              <a:gd name="T14" fmla="*/ 38 w 756"/>
              <a:gd name="T15" fmla="*/ 542 h 756"/>
              <a:gd name="T16" fmla="*/ 17 w 756"/>
              <a:gd name="T17" fmla="*/ 491 h 756"/>
              <a:gd name="T18" fmla="*/ 4 w 756"/>
              <a:gd name="T19" fmla="*/ 435 h 756"/>
              <a:gd name="T20" fmla="*/ 0 w 756"/>
              <a:gd name="T21" fmla="*/ 378 h 756"/>
              <a:gd name="T22" fmla="*/ 4 w 756"/>
              <a:gd name="T23" fmla="*/ 321 h 756"/>
              <a:gd name="T24" fmla="*/ 17 w 756"/>
              <a:gd name="T25" fmla="*/ 266 h 756"/>
              <a:gd name="T26" fmla="*/ 38 w 756"/>
              <a:gd name="T27" fmla="*/ 214 h 756"/>
              <a:gd name="T28" fmla="*/ 65 w 756"/>
              <a:gd name="T29" fmla="*/ 167 h 756"/>
              <a:gd name="T30" fmla="*/ 98 w 756"/>
              <a:gd name="T31" fmla="*/ 124 h 756"/>
              <a:gd name="T32" fmla="*/ 137 w 756"/>
              <a:gd name="T33" fmla="*/ 87 h 756"/>
              <a:gd name="T34" fmla="*/ 182 w 756"/>
              <a:gd name="T35" fmla="*/ 55 h 756"/>
              <a:gd name="T36" fmla="*/ 231 w 756"/>
              <a:gd name="T37" fmla="*/ 30 h 756"/>
              <a:gd name="T38" fmla="*/ 284 w 756"/>
              <a:gd name="T39" fmla="*/ 12 h 756"/>
              <a:gd name="T40" fmla="*/ 339 w 756"/>
              <a:gd name="T41" fmla="*/ 2 h 756"/>
              <a:gd name="T42" fmla="*/ 397 w 756"/>
              <a:gd name="T43" fmla="*/ 0 h 756"/>
              <a:gd name="T44" fmla="*/ 454 w 756"/>
              <a:gd name="T45" fmla="*/ 8 h 756"/>
              <a:gd name="T46" fmla="*/ 507 w 756"/>
              <a:gd name="T47" fmla="*/ 23 h 756"/>
              <a:gd name="T48" fmla="*/ 558 w 756"/>
              <a:gd name="T49" fmla="*/ 46 h 756"/>
              <a:gd name="T50" fmla="*/ 604 w 756"/>
              <a:gd name="T51" fmla="*/ 76 h 756"/>
              <a:gd name="T52" fmla="*/ 646 w 756"/>
              <a:gd name="T53" fmla="*/ 111 h 756"/>
              <a:gd name="T54" fmla="*/ 680 w 756"/>
              <a:gd name="T55" fmla="*/ 152 h 756"/>
              <a:gd name="T56" fmla="*/ 710 w 756"/>
              <a:gd name="T57" fmla="*/ 198 h 756"/>
              <a:gd name="T58" fmla="*/ 733 w 756"/>
              <a:gd name="T59" fmla="*/ 249 h 756"/>
              <a:gd name="T60" fmla="*/ 748 w 756"/>
              <a:gd name="T61" fmla="*/ 302 h 756"/>
              <a:gd name="T62" fmla="*/ 756 w 756"/>
              <a:gd name="T63" fmla="*/ 359 h 756"/>
              <a:gd name="T64" fmla="*/ 754 w 756"/>
              <a:gd name="T65" fmla="*/ 417 h 756"/>
              <a:gd name="T66" fmla="*/ 744 w 756"/>
              <a:gd name="T67" fmla="*/ 472 h 756"/>
              <a:gd name="T68" fmla="*/ 727 w 756"/>
              <a:gd name="T69" fmla="*/ 525 h 756"/>
              <a:gd name="T70" fmla="*/ 701 w 756"/>
              <a:gd name="T71" fmla="*/ 574 h 756"/>
              <a:gd name="T72" fmla="*/ 669 w 756"/>
              <a:gd name="T73" fmla="*/ 619 h 756"/>
              <a:gd name="T74" fmla="*/ 632 w 756"/>
              <a:gd name="T75" fmla="*/ 658 h 756"/>
              <a:gd name="T76" fmla="*/ 589 w 756"/>
              <a:gd name="T77" fmla="*/ 691 h 756"/>
              <a:gd name="T78" fmla="*/ 542 w 756"/>
              <a:gd name="T79" fmla="*/ 718 h 756"/>
              <a:gd name="T80" fmla="*/ 490 w 756"/>
              <a:gd name="T81" fmla="*/ 739 h 756"/>
              <a:gd name="T82" fmla="*/ 435 w 756"/>
              <a:gd name="T83" fmla="*/ 752 h 756"/>
              <a:gd name="T84" fmla="*/ 378 w 756"/>
              <a:gd name="T85"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756">
                <a:moveTo>
                  <a:pt x="378" y="756"/>
                </a:moveTo>
                <a:lnTo>
                  <a:pt x="358" y="756"/>
                </a:lnTo>
                <a:lnTo>
                  <a:pt x="339" y="754"/>
                </a:lnTo>
                <a:lnTo>
                  <a:pt x="321" y="752"/>
                </a:lnTo>
                <a:lnTo>
                  <a:pt x="301" y="749"/>
                </a:lnTo>
                <a:lnTo>
                  <a:pt x="284" y="744"/>
                </a:lnTo>
                <a:lnTo>
                  <a:pt x="265" y="739"/>
                </a:lnTo>
                <a:lnTo>
                  <a:pt x="248" y="734"/>
                </a:lnTo>
                <a:lnTo>
                  <a:pt x="231" y="726"/>
                </a:lnTo>
                <a:lnTo>
                  <a:pt x="214" y="718"/>
                </a:lnTo>
                <a:lnTo>
                  <a:pt x="197" y="711"/>
                </a:lnTo>
                <a:lnTo>
                  <a:pt x="182" y="701"/>
                </a:lnTo>
                <a:lnTo>
                  <a:pt x="166" y="691"/>
                </a:lnTo>
                <a:lnTo>
                  <a:pt x="152" y="681"/>
                </a:lnTo>
                <a:lnTo>
                  <a:pt x="137" y="670"/>
                </a:lnTo>
                <a:lnTo>
                  <a:pt x="124" y="658"/>
                </a:lnTo>
                <a:lnTo>
                  <a:pt x="111" y="645"/>
                </a:lnTo>
                <a:lnTo>
                  <a:pt x="98" y="632"/>
                </a:lnTo>
                <a:lnTo>
                  <a:pt x="86" y="619"/>
                </a:lnTo>
                <a:lnTo>
                  <a:pt x="75" y="604"/>
                </a:lnTo>
                <a:lnTo>
                  <a:pt x="65" y="590"/>
                </a:lnTo>
                <a:lnTo>
                  <a:pt x="55" y="574"/>
                </a:lnTo>
                <a:lnTo>
                  <a:pt x="45" y="559"/>
                </a:lnTo>
                <a:lnTo>
                  <a:pt x="38" y="542"/>
                </a:lnTo>
                <a:lnTo>
                  <a:pt x="30" y="525"/>
                </a:lnTo>
                <a:lnTo>
                  <a:pt x="22" y="508"/>
                </a:lnTo>
                <a:lnTo>
                  <a:pt x="17" y="491"/>
                </a:lnTo>
                <a:lnTo>
                  <a:pt x="12" y="472"/>
                </a:lnTo>
                <a:lnTo>
                  <a:pt x="7" y="455"/>
                </a:lnTo>
                <a:lnTo>
                  <a:pt x="4" y="435"/>
                </a:lnTo>
                <a:lnTo>
                  <a:pt x="2" y="417"/>
                </a:lnTo>
                <a:lnTo>
                  <a:pt x="0" y="398"/>
                </a:lnTo>
                <a:lnTo>
                  <a:pt x="0" y="378"/>
                </a:lnTo>
                <a:lnTo>
                  <a:pt x="0" y="359"/>
                </a:lnTo>
                <a:lnTo>
                  <a:pt x="2" y="339"/>
                </a:lnTo>
                <a:lnTo>
                  <a:pt x="4" y="321"/>
                </a:lnTo>
                <a:lnTo>
                  <a:pt x="7" y="302"/>
                </a:lnTo>
                <a:lnTo>
                  <a:pt x="12" y="284"/>
                </a:lnTo>
                <a:lnTo>
                  <a:pt x="17" y="266"/>
                </a:lnTo>
                <a:lnTo>
                  <a:pt x="22" y="249"/>
                </a:lnTo>
                <a:lnTo>
                  <a:pt x="30" y="231"/>
                </a:lnTo>
                <a:lnTo>
                  <a:pt x="38" y="214"/>
                </a:lnTo>
                <a:lnTo>
                  <a:pt x="45" y="198"/>
                </a:lnTo>
                <a:lnTo>
                  <a:pt x="55" y="183"/>
                </a:lnTo>
                <a:lnTo>
                  <a:pt x="65" y="167"/>
                </a:lnTo>
                <a:lnTo>
                  <a:pt x="75" y="152"/>
                </a:lnTo>
                <a:lnTo>
                  <a:pt x="86" y="137"/>
                </a:lnTo>
                <a:lnTo>
                  <a:pt x="98" y="124"/>
                </a:lnTo>
                <a:lnTo>
                  <a:pt x="111" y="111"/>
                </a:lnTo>
                <a:lnTo>
                  <a:pt x="124" y="98"/>
                </a:lnTo>
                <a:lnTo>
                  <a:pt x="137" y="87"/>
                </a:lnTo>
                <a:lnTo>
                  <a:pt x="152" y="76"/>
                </a:lnTo>
                <a:lnTo>
                  <a:pt x="166" y="65"/>
                </a:lnTo>
                <a:lnTo>
                  <a:pt x="182" y="55"/>
                </a:lnTo>
                <a:lnTo>
                  <a:pt x="197" y="46"/>
                </a:lnTo>
                <a:lnTo>
                  <a:pt x="214" y="38"/>
                </a:lnTo>
                <a:lnTo>
                  <a:pt x="231" y="30"/>
                </a:lnTo>
                <a:lnTo>
                  <a:pt x="248" y="23"/>
                </a:lnTo>
                <a:lnTo>
                  <a:pt x="265" y="17"/>
                </a:lnTo>
                <a:lnTo>
                  <a:pt x="284" y="12"/>
                </a:lnTo>
                <a:lnTo>
                  <a:pt x="301" y="8"/>
                </a:lnTo>
                <a:lnTo>
                  <a:pt x="321" y="5"/>
                </a:lnTo>
                <a:lnTo>
                  <a:pt x="339" y="2"/>
                </a:lnTo>
                <a:lnTo>
                  <a:pt x="358" y="0"/>
                </a:lnTo>
                <a:lnTo>
                  <a:pt x="378" y="0"/>
                </a:lnTo>
                <a:lnTo>
                  <a:pt x="397" y="0"/>
                </a:lnTo>
                <a:lnTo>
                  <a:pt x="417" y="2"/>
                </a:lnTo>
                <a:lnTo>
                  <a:pt x="435" y="5"/>
                </a:lnTo>
                <a:lnTo>
                  <a:pt x="454" y="8"/>
                </a:lnTo>
                <a:lnTo>
                  <a:pt x="473" y="12"/>
                </a:lnTo>
                <a:lnTo>
                  <a:pt x="490" y="17"/>
                </a:lnTo>
                <a:lnTo>
                  <a:pt x="507" y="23"/>
                </a:lnTo>
                <a:lnTo>
                  <a:pt x="525" y="30"/>
                </a:lnTo>
                <a:lnTo>
                  <a:pt x="542" y="38"/>
                </a:lnTo>
                <a:lnTo>
                  <a:pt x="558" y="46"/>
                </a:lnTo>
                <a:lnTo>
                  <a:pt x="574" y="55"/>
                </a:lnTo>
                <a:lnTo>
                  <a:pt x="589" y="65"/>
                </a:lnTo>
                <a:lnTo>
                  <a:pt x="604" y="76"/>
                </a:lnTo>
                <a:lnTo>
                  <a:pt x="619" y="87"/>
                </a:lnTo>
                <a:lnTo>
                  <a:pt x="632" y="98"/>
                </a:lnTo>
                <a:lnTo>
                  <a:pt x="646" y="111"/>
                </a:lnTo>
                <a:lnTo>
                  <a:pt x="658" y="124"/>
                </a:lnTo>
                <a:lnTo>
                  <a:pt x="669" y="137"/>
                </a:lnTo>
                <a:lnTo>
                  <a:pt x="680" y="152"/>
                </a:lnTo>
                <a:lnTo>
                  <a:pt x="691" y="167"/>
                </a:lnTo>
                <a:lnTo>
                  <a:pt x="701" y="183"/>
                </a:lnTo>
                <a:lnTo>
                  <a:pt x="710" y="198"/>
                </a:lnTo>
                <a:lnTo>
                  <a:pt x="719" y="214"/>
                </a:lnTo>
                <a:lnTo>
                  <a:pt x="727" y="231"/>
                </a:lnTo>
                <a:lnTo>
                  <a:pt x="733" y="249"/>
                </a:lnTo>
                <a:lnTo>
                  <a:pt x="739" y="266"/>
                </a:lnTo>
                <a:lnTo>
                  <a:pt x="744" y="284"/>
                </a:lnTo>
                <a:lnTo>
                  <a:pt x="748" y="302"/>
                </a:lnTo>
                <a:lnTo>
                  <a:pt x="751" y="321"/>
                </a:lnTo>
                <a:lnTo>
                  <a:pt x="754" y="339"/>
                </a:lnTo>
                <a:lnTo>
                  <a:pt x="756" y="359"/>
                </a:lnTo>
                <a:lnTo>
                  <a:pt x="756" y="378"/>
                </a:lnTo>
                <a:lnTo>
                  <a:pt x="756" y="398"/>
                </a:lnTo>
                <a:lnTo>
                  <a:pt x="754" y="417"/>
                </a:lnTo>
                <a:lnTo>
                  <a:pt x="751" y="435"/>
                </a:lnTo>
                <a:lnTo>
                  <a:pt x="748" y="455"/>
                </a:lnTo>
                <a:lnTo>
                  <a:pt x="744" y="472"/>
                </a:lnTo>
                <a:lnTo>
                  <a:pt x="739" y="491"/>
                </a:lnTo>
                <a:lnTo>
                  <a:pt x="733" y="508"/>
                </a:lnTo>
                <a:lnTo>
                  <a:pt x="727" y="525"/>
                </a:lnTo>
                <a:lnTo>
                  <a:pt x="719" y="542"/>
                </a:lnTo>
                <a:lnTo>
                  <a:pt x="710" y="559"/>
                </a:lnTo>
                <a:lnTo>
                  <a:pt x="701" y="574"/>
                </a:lnTo>
                <a:lnTo>
                  <a:pt x="691" y="590"/>
                </a:lnTo>
                <a:lnTo>
                  <a:pt x="680" y="604"/>
                </a:lnTo>
                <a:lnTo>
                  <a:pt x="669" y="619"/>
                </a:lnTo>
                <a:lnTo>
                  <a:pt x="658" y="632"/>
                </a:lnTo>
                <a:lnTo>
                  <a:pt x="646" y="645"/>
                </a:lnTo>
                <a:lnTo>
                  <a:pt x="632" y="658"/>
                </a:lnTo>
                <a:lnTo>
                  <a:pt x="619" y="670"/>
                </a:lnTo>
                <a:lnTo>
                  <a:pt x="604" y="681"/>
                </a:lnTo>
                <a:lnTo>
                  <a:pt x="589" y="691"/>
                </a:lnTo>
                <a:lnTo>
                  <a:pt x="574" y="701"/>
                </a:lnTo>
                <a:lnTo>
                  <a:pt x="558" y="711"/>
                </a:lnTo>
                <a:lnTo>
                  <a:pt x="542" y="718"/>
                </a:lnTo>
                <a:lnTo>
                  <a:pt x="525" y="726"/>
                </a:lnTo>
                <a:lnTo>
                  <a:pt x="507" y="734"/>
                </a:lnTo>
                <a:lnTo>
                  <a:pt x="490" y="739"/>
                </a:lnTo>
                <a:lnTo>
                  <a:pt x="473" y="744"/>
                </a:lnTo>
                <a:lnTo>
                  <a:pt x="454" y="749"/>
                </a:lnTo>
                <a:lnTo>
                  <a:pt x="435" y="752"/>
                </a:lnTo>
                <a:lnTo>
                  <a:pt x="417" y="754"/>
                </a:lnTo>
                <a:lnTo>
                  <a:pt x="397" y="756"/>
                </a:lnTo>
                <a:lnTo>
                  <a:pt x="378" y="756"/>
                </a:lnTo>
                <a:close/>
              </a:path>
            </a:pathLst>
          </a:custGeom>
          <a:solidFill>
            <a:schemeClr val="bg1">
              <a:alpha val="24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2" name="Freeform 17">
            <a:extLst>
              <a:ext uri="{FF2B5EF4-FFF2-40B4-BE49-F238E27FC236}">
                <a16:creationId xmlns:a16="http://schemas.microsoft.com/office/drawing/2014/main" id="{C16627A2-0E06-0E0D-1617-88B95D18B839}"/>
              </a:ext>
            </a:extLst>
          </p:cNvPr>
          <p:cNvSpPr>
            <a:spLocks/>
          </p:cNvSpPr>
          <p:nvPr/>
        </p:nvSpPr>
        <p:spPr bwMode="auto">
          <a:xfrm>
            <a:off x="10539323" y="5668860"/>
            <a:ext cx="171827" cy="181790"/>
          </a:xfrm>
          <a:custGeom>
            <a:avLst/>
            <a:gdLst>
              <a:gd name="T0" fmla="*/ 310 w 691"/>
              <a:gd name="T1" fmla="*/ 689 h 691"/>
              <a:gd name="T2" fmla="*/ 259 w 691"/>
              <a:gd name="T3" fmla="*/ 681 h 691"/>
              <a:gd name="T4" fmla="*/ 210 w 691"/>
              <a:gd name="T5" fmla="*/ 664 h 691"/>
              <a:gd name="T6" fmla="*/ 166 w 691"/>
              <a:gd name="T7" fmla="*/ 642 h 691"/>
              <a:gd name="T8" fmla="*/ 125 w 691"/>
              <a:gd name="T9" fmla="*/ 613 h 691"/>
              <a:gd name="T10" fmla="*/ 89 w 691"/>
              <a:gd name="T11" fmla="*/ 578 h 691"/>
              <a:gd name="T12" fmla="*/ 59 w 691"/>
              <a:gd name="T13" fmla="*/ 539 h 691"/>
              <a:gd name="T14" fmla="*/ 34 w 691"/>
              <a:gd name="T15" fmla="*/ 496 h 691"/>
              <a:gd name="T16" fmla="*/ 15 w 691"/>
              <a:gd name="T17" fmla="*/ 448 h 691"/>
              <a:gd name="T18" fmla="*/ 4 w 691"/>
              <a:gd name="T19" fmla="*/ 399 h 691"/>
              <a:gd name="T20" fmla="*/ 0 w 691"/>
              <a:gd name="T21" fmla="*/ 346 h 691"/>
              <a:gd name="T22" fmla="*/ 4 w 691"/>
              <a:gd name="T23" fmla="*/ 293 h 691"/>
              <a:gd name="T24" fmla="*/ 15 w 691"/>
              <a:gd name="T25" fmla="*/ 243 h 691"/>
              <a:gd name="T26" fmla="*/ 34 w 691"/>
              <a:gd name="T27" fmla="*/ 196 h 691"/>
              <a:gd name="T28" fmla="*/ 59 w 691"/>
              <a:gd name="T29" fmla="*/ 152 h 691"/>
              <a:gd name="T30" fmla="*/ 89 w 691"/>
              <a:gd name="T31" fmla="*/ 114 h 691"/>
              <a:gd name="T32" fmla="*/ 125 w 691"/>
              <a:gd name="T33" fmla="*/ 79 h 691"/>
              <a:gd name="T34" fmla="*/ 166 w 691"/>
              <a:gd name="T35" fmla="*/ 50 h 691"/>
              <a:gd name="T36" fmla="*/ 210 w 691"/>
              <a:gd name="T37" fmla="*/ 27 h 691"/>
              <a:gd name="T38" fmla="*/ 259 w 691"/>
              <a:gd name="T39" fmla="*/ 11 h 691"/>
              <a:gd name="T40" fmla="*/ 310 w 691"/>
              <a:gd name="T41" fmla="*/ 2 h 691"/>
              <a:gd name="T42" fmla="*/ 363 w 691"/>
              <a:gd name="T43" fmla="*/ 0 h 691"/>
              <a:gd name="T44" fmla="*/ 416 w 691"/>
              <a:gd name="T45" fmla="*/ 8 h 691"/>
              <a:gd name="T46" fmla="*/ 464 w 691"/>
              <a:gd name="T47" fmla="*/ 21 h 691"/>
              <a:gd name="T48" fmla="*/ 511 w 691"/>
              <a:gd name="T49" fmla="*/ 42 h 691"/>
              <a:gd name="T50" fmla="*/ 552 w 691"/>
              <a:gd name="T51" fmla="*/ 69 h 691"/>
              <a:gd name="T52" fmla="*/ 589 w 691"/>
              <a:gd name="T53" fmla="*/ 102 h 691"/>
              <a:gd name="T54" fmla="*/ 622 w 691"/>
              <a:gd name="T55" fmla="*/ 140 h 691"/>
              <a:gd name="T56" fmla="*/ 649 w 691"/>
              <a:gd name="T57" fmla="*/ 181 h 691"/>
              <a:gd name="T58" fmla="*/ 670 w 691"/>
              <a:gd name="T59" fmla="*/ 227 h 691"/>
              <a:gd name="T60" fmla="*/ 685 w 691"/>
              <a:gd name="T61" fmla="*/ 277 h 691"/>
              <a:gd name="T62" fmla="*/ 691 w 691"/>
              <a:gd name="T63" fmla="*/ 329 h 691"/>
              <a:gd name="T64" fmla="*/ 689 w 691"/>
              <a:gd name="T65" fmla="*/ 381 h 691"/>
              <a:gd name="T66" fmla="*/ 680 w 691"/>
              <a:gd name="T67" fmla="*/ 432 h 691"/>
              <a:gd name="T68" fmla="*/ 664 w 691"/>
              <a:gd name="T69" fmla="*/ 481 h 691"/>
              <a:gd name="T70" fmla="*/ 641 w 691"/>
              <a:gd name="T71" fmla="*/ 525 h 691"/>
              <a:gd name="T72" fmla="*/ 612 w 691"/>
              <a:gd name="T73" fmla="*/ 566 h 691"/>
              <a:gd name="T74" fmla="*/ 578 w 691"/>
              <a:gd name="T75" fmla="*/ 602 h 691"/>
              <a:gd name="T76" fmla="*/ 539 w 691"/>
              <a:gd name="T77" fmla="*/ 632 h 691"/>
              <a:gd name="T78" fmla="*/ 496 w 691"/>
              <a:gd name="T79" fmla="*/ 657 h 691"/>
              <a:gd name="T80" fmla="*/ 448 w 691"/>
              <a:gd name="T81" fmla="*/ 676 h 691"/>
              <a:gd name="T82" fmla="*/ 398 w 691"/>
              <a:gd name="T83" fmla="*/ 687 h 691"/>
              <a:gd name="T84" fmla="*/ 345 w 691"/>
              <a:gd name="T85" fmla="*/ 691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1" h="691">
                <a:moveTo>
                  <a:pt x="345" y="691"/>
                </a:moveTo>
                <a:lnTo>
                  <a:pt x="328" y="691"/>
                </a:lnTo>
                <a:lnTo>
                  <a:pt x="310" y="689"/>
                </a:lnTo>
                <a:lnTo>
                  <a:pt x="292" y="687"/>
                </a:lnTo>
                <a:lnTo>
                  <a:pt x="276" y="684"/>
                </a:lnTo>
                <a:lnTo>
                  <a:pt x="259" y="681"/>
                </a:lnTo>
                <a:lnTo>
                  <a:pt x="243" y="676"/>
                </a:lnTo>
                <a:lnTo>
                  <a:pt x="227" y="671"/>
                </a:lnTo>
                <a:lnTo>
                  <a:pt x="210" y="664"/>
                </a:lnTo>
                <a:lnTo>
                  <a:pt x="195" y="657"/>
                </a:lnTo>
                <a:lnTo>
                  <a:pt x="181" y="649"/>
                </a:lnTo>
                <a:lnTo>
                  <a:pt x="166" y="642"/>
                </a:lnTo>
                <a:lnTo>
                  <a:pt x="152" y="632"/>
                </a:lnTo>
                <a:lnTo>
                  <a:pt x="139" y="622"/>
                </a:lnTo>
                <a:lnTo>
                  <a:pt x="125" y="613"/>
                </a:lnTo>
                <a:lnTo>
                  <a:pt x="113" y="602"/>
                </a:lnTo>
                <a:lnTo>
                  <a:pt x="101" y="590"/>
                </a:lnTo>
                <a:lnTo>
                  <a:pt x="89" y="578"/>
                </a:lnTo>
                <a:lnTo>
                  <a:pt x="79" y="566"/>
                </a:lnTo>
                <a:lnTo>
                  <a:pt x="69" y="552"/>
                </a:lnTo>
                <a:lnTo>
                  <a:pt x="59" y="539"/>
                </a:lnTo>
                <a:lnTo>
                  <a:pt x="49" y="525"/>
                </a:lnTo>
                <a:lnTo>
                  <a:pt x="42" y="511"/>
                </a:lnTo>
                <a:lnTo>
                  <a:pt x="34" y="496"/>
                </a:lnTo>
                <a:lnTo>
                  <a:pt x="27" y="481"/>
                </a:lnTo>
                <a:lnTo>
                  <a:pt x="20" y="465"/>
                </a:lnTo>
                <a:lnTo>
                  <a:pt x="15" y="448"/>
                </a:lnTo>
                <a:lnTo>
                  <a:pt x="11" y="432"/>
                </a:lnTo>
                <a:lnTo>
                  <a:pt x="7" y="415"/>
                </a:lnTo>
                <a:lnTo>
                  <a:pt x="4" y="399"/>
                </a:lnTo>
                <a:lnTo>
                  <a:pt x="2" y="381"/>
                </a:lnTo>
                <a:lnTo>
                  <a:pt x="0" y="363"/>
                </a:lnTo>
                <a:lnTo>
                  <a:pt x="0" y="346"/>
                </a:lnTo>
                <a:lnTo>
                  <a:pt x="0" y="329"/>
                </a:lnTo>
                <a:lnTo>
                  <a:pt x="2" y="310"/>
                </a:lnTo>
                <a:lnTo>
                  <a:pt x="4" y="293"/>
                </a:lnTo>
                <a:lnTo>
                  <a:pt x="7" y="277"/>
                </a:lnTo>
                <a:lnTo>
                  <a:pt x="11" y="259"/>
                </a:lnTo>
                <a:lnTo>
                  <a:pt x="15" y="243"/>
                </a:lnTo>
                <a:lnTo>
                  <a:pt x="20" y="227"/>
                </a:lnTo>
                <a:lnTo>
                  <a:pt x="27" y="211"/>
                </a:lnTo>
                <a:lnTo>
                  <a:pt x="34" y="196"/>
                </a:lnTo>
                <a:lnTo>
                  <a:pt x="42" y="181"/>
                </a:lnTo>
                <a:lnTo>
                  <a:pt x="49" y="167"/>
                </a:lnTo>
                <a:lnTo>
                  <a:pt x="59" y="152"/>
                </a:lnTo>
                <a:lnTo>
                  <a:pt x="69" y="140"/>
                </a:lnTo>
                <a:lnTo>
                  <a:pt x="79" y="125"/>
                </a:lnTo>
                <a:lnTo>
                  <a:pt x="89" y="114"/>
                </a:lnTo>
                <a:lnTo>
                  <a:pt x="101" y="102"/>
                </a:lnTo>
                <a:lnTo>
                  <a:pt x="113" y="90"/>
                </a:lnTo>
                <a:lnTo>
                  <a:pt x="125" y="79"/>
                </a:lnTo>
                <a:lnTo>
                  <a:pt x="139" y="69"/>
                </a:lnTo>
                <a:lnTo>
                  <a:pt x="152" y="60"/>
                </a:lnTo>
                <a:lnTo>
                  <a:pt x="166" y="50"/>
                </a:lnTo>
                <a:lnTo>
                  <a:pt x="181" y="42"/>
                </a:lnTo>
                <a:lnTo>
                  <a:pt x="195" y="35"/>
                </a:lnTo>
                <a:lnTo>
                  <a:pt x="210" y="27"/>
                </a:lnTo>
                <a:lnTo>
                  <a:pt x="227" y="21"/>
                </a:lnTo>
                <a:lnTo>
                  <a:pt x="243" y="15"/>
                </a:lnTo>
                <a:lnTo>
                  <a:pt x="259" y="11"/>
                </a:lnTo>
                <a:lnTo>
                  <a:pt x="276" y="8"/>
                </a:lnTo>
                <a:lnTo>
                  <a:pt x="292" y="5"/>
                </a:lnTo>
                <a:lnTo>
                  <a:pt x="310" y="2"/>
                </a:lnTo>
                <a:lnTo>
                  <a:pt x="328" y="0"/>
                </a:lnTo>
                <a:lnTo>
                  <a:pt x="345" y="0"/>
                </a:lnTo>
                <a:lnTo>
                  <a:pt x="363" y="0"/>
                </a:lnTo>
                <a:lnTo>
                  <a:pt x="381" y="2"/>
                </a:lnTo>
                <a:lnTo>
                  <a:pt x="398" y="5"/>
                </a:lnTo>
                <a:lnTo>
                  <a:pt x="416" y="8"/>
                </a:lnTo>
                <a:lnTo>
                  <a:pt x="432" y="11"/>
                </a:lnTo>
                <a:lnTo>
                  <a:pt x="448" y="15"/>
                </a:lnTo>
                <a:lnTo>
                  <a:pt x="464" y="21"/>
                </a:lnTo>
                <a:lnTo>
                  <a:pt x="480" y="27"/>
                </a:lnTo>
                <a:lnTo>
                  <a:pt x="496" y="35"/>
                </a:lnTo>
                <a:lnTo>
                  <a:pt x="511" y="42"/>
                </a:lnTo>
                <a:lnTo>
                  <a:pt x="525" y="50"/>
                </a:lnTo>
                <a:lnTo>
                  <a:pt x="539" y="60"/>
                </a:lnTo>
                <a:lnTo>
                  <a:pt x="552" y="69"/>
                </a:lnTo>
                <a:lnTo>
                  <a:pt x="566" y="79"/>
                </a:lnTo>
                <a:lnTo>
                  <a:pt x="578" y="90"/>
                </a:lnTo>
                <a:lnTo>
                  <a:pt x="589" y="102"/>
                </a:lnTo>
                <a:lnTo>
                  <a:pt x="601" y="114"/>
                </a:lnTo>
                <a:lnTo>
                  <a:pt x="612" y="125"/>
                </a:lnTo>
                <a:lnTo>
                  <a:pt x="622" y="140"/>
                </a:lnTo>
                <a:lnTo>
                  <a:pt x="632" y="152"/>
                </a:lnTo>
                <a:lnTo>
                  <a:pt x="641" y="167"/>
                </a:lnTo>
                <a:lnTo>
                  <a:pt x="649" y="181"/>
                </a:lnTo>
                <a:lnTo>
                  <a:pt x="656" y="196"/>
                </a:lnTo>
                <a:lnTo>
                  <a:pt x="664" y="211"/>
                </a:lnTo>
                <a:lnTo>
                  <a:pt x="670" y="227"/>
                </a:lnTo>
                <a:lnTo>
                  <a:pt x="676" y="243"/>
                </a:lnTo>
                <a:lnTo>
                  <a:pt x="680" y="259"/>
                </a:lnTo>
                <a:lnTo>
                  <a:pt x="685" y="277"/>
                </a:lnTo>
                <a:lnTo>
                  <a:pt x="687" y="293"/>
                </a:lnTo>
                <a:lnTo>
                  <a:pt x="689" y="310"/>
                </a:lnTo>
                <a:lnTo>
                  <a:pt x="691" y="329"/>
                </a:lnTo>
                <a:lnTo>
                  <a:pt x="691" y="346"/>
                </a:lnTo>
                <a:lnTo>
                  <a:pt x="691" y="363"/>
                </a:lnTo>
                <a:lnTo>
                  <a:pt x="689" y="381"/>
                </a:lnTo>
                <a:lnTo>
                  <a:pt x="687" y="399"/>
                </a:lnTo>
                <a:lnTo>
                  <a:pt x="685" y="415"/>
                </a:lnTo>
                <a:lnTo>
                  <a:pt x="680" y="432"/>
                </a:lnTo>
                <a:lnTo>
                  <a:pt x="676" y="448"/>
                </a:lnTo>
                <a:lnTo>
                  <a:pt x="670" y="465"/>
                </a:lnTo>
                <a:lnTo>
                  <a:pt x="664" y="481"/>
                </a:lnTo>
                <a:lnTo>
                  <a:pt x="656" y="496"/>
                </a:lnTo>
                <a:lnTo>
                  <a:pt x="649" y="511"/>
                </a:lnTo>
                <a:lnTo>
                  <a:pt x="641" y="525"/>
                </a:lnTo>
                <a:lnTo>
                  <a:pt x="632" y="539"/>
                </a:lnTo>
                <a:lnTo>
                  <a:pt x="622" y="552"/>
                </a:lnTo>
                <a:lnTo>
                  <a:pt x="612" y="566"/>
                </a:lnTo>
                <a:lnTo>
                  <a:pt x="601" y="578"/>
                </a:lnTo>
                <a:lnTo>
                  <a:pt x="589" y="590"/>
                </a:lnTo>
                <a:lnTo>
                  <a:pt x="578" y="602"/>
                </a:lnTo>
                <a:lnTo>
                  <a:pt x="566" y="613"/>
                </a:lnTo>
                <a:lnTo>
                  <a:pt x="552" y="622"/>
                </a:lnTo>
                <a:lnTo>
                  <a:pt x="539" y="632"/>
                </a:lnTo>
                <a:lnTo>
                  <a:pt x="525" y="642"/>
                </a:lnTo>
                <a:lnTo>
                  <a:pt x="511" y="649"/>
                </a:lnTo>
                <a:lnTo>
                  <a:pt x="496" y="657"/>
                </a:lnTo>
                <a:lnTo>
                  <a:pt x="480" y="664"/>
                </a:lnTo>
                <a:lnTo>
                  <a:pt x="464" y="671"/>
                </a:lnTo>
                <a:lnTo>
                  <a:pt x="448" y="676"/>
                </a:lnTo>
                <a:lnTo>
                  <a:pt x="432" y="681"/>
                </a:lnTo>
                <a:lnTo>
                  <a:pt x="416" y="684"/>
                </a:lnTo>
                <a:lnTo>
                  <a:pt x="398" y="687"/>
                </a:lnTo>
                <a:lnTo>
                  <a:pt x="381" y="689"/>
                </a:lnTo>
                <a:lnTo>
                  <a:pt x="363" y="691"/>
                </a:lnTo>
                <a:lnTo>
                  <a:pt x="345" y="691"/>
                </a:lnTo>
                <a:close/>
              </a:path>
            </a:pathLst>
          </a:custGeom>
          <a:solidFill>
            <a:schemeClr val="bg1">
              <a:alpha val="24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3" name="Freeform 8">
            <a:extLst>
              <a:ext uri="{FF2B5EF4-FFF2-40B4-BE49-F238E27FC236}">
                <a16:creationId xmlns:a16="http://schemas.microsoft.com/office/drawing/2014/main" id="{C5CDCE2B-3153-4105-4A9E-8BF953E0DF4A}"/>
              </a:ext>
            </a:extLst>
          </p:cNvPr>
          <p:cNvSpPr>
            <a:spLocks/>
          </p:cNvSpPr>
          <p:nvPr/>
        </p:nvSpPr>
        <p:spPr bwMode="auto">
          <a:xfrm>
            <a:off x="3696916" y="5599555"/>
            <a:ext cx="187719" cy="198603"/>
          </a:xfrm>
          <a:custGeom>
            <a:avLst/>
            <a:gdLst>
              <a:gd name="T0" fmla="*/ 417 w 756"/>
              <a:gd name="T1" fmla="*/ 754 h 756"/>
              <a:gd name="T2" fmla="*/ 472 w 756"/>
              <a:gd name="T3" fmla="*/ 744 h 756"/>
              <a:gd name="T4" fmla="*/ 525 w 756"/>
              <a:gd name="T5" fmla="*/ 726 h 756"/>
              <a:gd name="T6" fmla="*/ 574 w 756"/>
              <a:gd name="T7" fmla="*/ 701 h 756"/>
              <a:gd name="T8" fmla="*/ 619 w 756"/>
              <a:gd name="T9" fmla="*/ 670 h 756"/>
              <a:gd name="T10" fmla="*/ 658 w 756"/>
              <a:gd name="T11" fmla="*/ 632 h 756"/>
              <a:gd name="T12" fmla="*/ 691 w 756"/>
              <a:gd name="T13" fmla="*/ 590 h 756"/>
              <a:gd name="T14" fmla="*/ 719 w 756"/>
              <a:gd name="T15" fmla="*/ 542 h 756"/>
              <a:gd name="T16" fmla="*/ 739 w 756"/>
              <a:gd name="T17" fmla="*/ 491 h 756"/>
              <a:gd name="T18" fmla="*/ 751 w 756"/>
              <a:gd name="T19" fmla="*/ 435 h 756"/>
              <a:gd name="T20" fmla="*/ 756 w 756"/>
              <a:gd name="T21" fmla="*/ 378 h 756"/>
              <a:gd name="T22" fmla="*/ 751 w 756"/>
              <a:gd name="T23" fmla="*/ 321 h 756"/>
              <a:gd name="T24" fmla="*/ 739 w 756"/>
              <a:gd name="T25" fmla="*/ 266 h 756"/>
              <a:gd name="T26" fmla="*/ 719 w 756"/>
              <a:gd name="T27" fmla="*/ 214 h 756"/>
              <a:gd name="T28" fmla="*/ 691 w 756"/>
              <a:gd name="T29" fmla="*/ 167 h 756"/>
              <a:gd name="T30" fmla="*/ 658 w 756"/>
              <a:gd name="T31" fmla="*/ 124 h 756"/>
              <a:gd name="T32" fmla="*/ 619 w 756"/>
              <a:gd name="T33" fmla="*/ 87 h 756"/>
              <a:gd name="T34" fmla="*/ 574 w 756"/>
              <a:gd name="T35" fmla="*/ 55 h 756"/>
              <a:gd name="T36" fmla="*/ 525 w 756"/>
              <a:gd name="T37" fmla="*/ 30 h 756"/>
              <a:gd name="T38" fmla="*/ 472 w 756"/>
              <a:gd name="T39" fmla="*/ 12 h 756"/>
              <a:gd name="T40" fmla="*/ 417 w 756"/>
              <a:gd name="T41" fmla="*/ 2 h 756"/>
              <a:gd name="T42" fmla="*/ 358 w 756"/>
              <a:gd name="T43" fmla="*/ 0 h 756"/>
              <a:gd name="T44" fmla="*/ 301 w 756"/>
              <a:gd name="T45" fmla="*/ 8 h 756"/>
              <a:gd name="T46" fmla="*/ 248 w 756"/>
              <a:gd name="T47" fmla="*/ 23 h 756"/>
              <a:gd name="T48" fmla="*/ 197 w 756"/>
              <a:gd name="T49" fmla="*/ 46 h 756"/>
              <a:gd name="T50" fmla="*/ 152 w 756"/>
              <a:gd name="T51" fmla="*/ 76 h 756"/>
              <a:gd name="T52" fmla="*/ 111 w 756"/>
              <a:gd name="T53" fmla="*/ 111 h 756"/>
              <a:gd name="T54" fmla="*/ 75 w 756"/>
              <a:gd name="T55" fmla="*/ 152 h 756"/>
              <a:gd name="T56" fmla="*/ 45 w 756"/>
              <a:gd name="T57" fmla="*/ 198 h 756"/>
              <a:gd name="T58" fmla="*/ 22 w 756"/>
              <a:gd name="T59" fmla="*/ 249 h 756"/>
              <a:gd name="T60" fmla="*/ 7 w 756"/>
              <a:gd name="T61" fmla="*/ 302 h 756"/>
              <a:gd name="T62" fmla="*/ 0 w 756"/>
              <a:gd name="T63" fmla="*/ 359 h 756"/>
              <a:gd name="T64" fmla="*/ 2 w 756"/>
              <a:gd name="T65" fmla="*/ 417 h 756"/>
              <a:gd name="T66" fmla="*/ 12 w 756"/>
              <a:gd name="T67" fmla="*/ 472 h 756"/>
              <a:gd name="T68" fmla="*/ 30 w 756"/>
              <a:gd name="T69" fmla="*/ 525 h 756"/>
              <a:gd name="T70" fmla="*/ 55 w 756"/>
              <a:gd name="T71" fmla="*/ 574 h 756"/>
              <a:gd name="T72" fmla="*/ 86 w 756"/>
              <a:gd name="T73" fmla="*/ 619 h 756"/>
              <a:gd name="T74" fmla="*/ 124 w 756"/>
              <a:gd name="T75" fmla="*/ 658 h 756"/>
              <a:gd name="T76" fmla="*/ 166 w 756"/>
              <a:gd name="T77" fmla="*/ 691 h 756"/>
              <a:gd name="T78" fmla="*/ 214 w 756"/>
              <a:gd name="T79" fmla="*/ 718 h 756"/>
              <a:gd name="T80" fmla="*/ 265 w 756"/>
              <a:gd name="T81" fmla="*/ 739 h 756"/>
              <a:gd name="T82" fmla="*/ 321 w 756"/>
              <a:gd name="T83" fmla="*/ 752 h 756"/>
              <a:gd name="T84" fmla="*/ 378 w 756"/>
              <a:gd name="T85"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756">
                <a:moveTo>
                  <a:pt x="378" y="756"/>
                </a:moveTo>
                <a:lnTo>
                  <a:pt x="397" y="756"/>
                </a:lnTo>
                <a:lnTo>
                  <a:pt x="417" y="754"/>
                </a:lnTo>
                <a:lnTo>
                  <a:pt x="435" y="752"/>
                </a:lnTo>
                <a:lnTo>
                  <a:pt x="454" y="749"/>
                </a:lnTo>
                <a:lnTo>
                  <a:pt x="472" y="744"/>
                </a:lnTo>
                <a:lnTo>
                  <a:pt x="490" y="739"/>
                </a:lnTo>
                <a:lnTo>
                  <a:pt x="507" y="734"/>
                </a:lnTo>
                <a:lnTo>
                  <a:pt x="525" y="726"/>
                </a:lnTo>
                <a:lnTo>
                  <a:pt x="542" y="718"/>
                </a:lnTo>
                <a:lnTo>
                  <a:pt x="558" y="711"/>
                </a:lnTo>
                <a:lnTo>
                  <a:pt x="574" y="701"/>
                </a:lnTo>
                <a:lnTo>
                  <a:pt x="589" y="691"/>
                </a:lnTo>
                <a:lnTo>
                  <a:pt x="604" y="681"/>
                </a:lnTo>
                <a:lnTo>
                  <a:pt x="619" y="670"/>
                </a:lnTo>
                <a:lnTo>
                  <a:pt x="632" y="658"/>
                </a:lnTo>
                <a:lnTo>
                  <a:pt x="645" y="645"/>
                </a:lnTo>
                <a:lnTo>
                  <a:pt x="658" y="632"/>
                </a:lnTo>
                <a:lnTo>
                  <a:pt x="669" y="619"/>
                </a:lnTo>
                <a:lnTo>
                  <a:pt x="680" y="604"/>
                </a:lnTo>
                <a:lnTo>
                  <a:pt x="691" y="590"/>
                </a:lnTo>
                <a:lnTo>
                  <a:pt x="701" y="574"/>
                </a:lnTo>
                <a:lnTo>
                  <a:pt x="710" y="559"/>
                </a:lnTo>
                <a:lnTo>
                  <a:pt x="719" y="542"/>
                </a:lnTo>
                <a:lnTo>
                  <a:pt x="727" y="525"/>
                </a:lnTo>
                <a:lnTo>
                  <a:pt x="733" y="508"/>
                </a:lnTo>
                <a:lnTo>
                  <a:pt x="739" y="491"/>
                </a:lnTo>
                <a:lnTo>
                  <a:pt x="744" y="472"/>
                </a:lnTo>
                <a:lnTo>
                  <a:pt x="748" y="455"/>
                </a:lnTo>
                <a:lnTo>
                  <a:pt x="751" y="435"/>
                </a:lnTo>
                <a:lnTo>
                  <a:pt x="754" y="417"/>
                </a:lnTo>
                <a:lnTo>
                  <a:pt x="756" y="398"/>
                </a:lnTo>
                <a:lnTo>
                  <a:pt x="756" y="378"/>
                </a:lnTo>
                <a:lnTo>
                  <a:pt x="756" y="359"/>
                </a:lnTo>
                <a:lnTo>
                  <a:pt x="754" y="339"/>
                </a:lnTo>
                <a:lnTo>
                  <a:pt x="751" y="321"/>
                </a:lnTo>
                <a:lnTo>
                  <a:pt x="748" y="302"/>
                </a:lnTo>
                <a:lnTo>
                  <a:pt x="744" y="284"/>
                </a:lnTo>
                <a:lnTo>
                  <a:pt x="739" y="266"/>
                </a:lnTo>
                <a:lnTo>
                  <a:pt x="733" y="249"/>
                </a:lnTo>
                <a:lnTo>
                  <a:pt x="727" y="231"/>
                </a:lnTo>
                <a:lnTo>
                  <a:pt x="719" y="214"/>
                </a:lnTo>
                <a:lnTo>
                  <a:pt x="710" y="198"/>
                </a:lnTo>
                <a:lnTo>
                  <a:pt x="701" y="183"/>
                </a:lnTo>
                <a:lnTo>
                  <a:pt x="691" y="167"/>
                </a:lnTo>
                <a:lnTo>
                  <a:pt x="680" y="152"/>
                </a:lnTo>
                <a:lnTo>
                  <a:pt x="669" y="137"/>
                </a:lnTo>
                <a:lnTo>
                  <a:pt x="658" y="124"/>
                </a:lnTo>
                <a:lnTo>
                  <a:pt x="645" y="111"/>
                </a:lnTo>
                <a:lnTo>
                  <a:pt x="632" y="98"/>
                </a:lnTo>
                <a:lnTo>
                  <a:pt x="619" y="87"/>
                </a:lnTo>
                <a:lnTo>
                  <a:pt x="604" y="76"/>
                </a:lnTo>
                <a:lnTo>
                  <a:pt x="589" y="65"/>
                </a:lnTo>
                <a:lnTo>
                  <a:pt x="574" y="55"/>
                </a:lnTo>
                <a:lnTo>
                  <a:pt x="558" y="46"/>
                </a:lnTo>
                <a:lnTo>
                  <a:pt x="542" y="38"/>
                </a:lnTo>
                <a:lnTo>
                  <a:pt x="525" y="30"/>
                </a:lnTo>
                <a:lnTo>
                  <a:pt x="507" y="23"/>
                </a:lnTo>
                <a:lnTo>
                  <a:pt x="490" y="17"/>
                </a:lnTo>
                <a:lnTo>
                  <a:pt x="472" y="12"/>
                </a:lnTo>
                <a:lnTo>
                  <a:pt x="454" y="8"/>
                </a:lnTo>
                <a:lnTo>
                  <a:pt x="435" y="5"/>
                </a:lnTo>
                <a:lnTo>
                  <a:pt x="417" y="2"/>
                </a:lnTo>
                <a:lnTo>
                  <a:pt x="397" y="0"/>
                </a:lnTo>
                <a:lnTo>
                  <a:pt x="378" y="0"/>
                </a:lnTo>
                <a:lnTo>
                  <a:pt x="358" y="0"/>
                </a:lnTo>
                <a:lnTo>
                  <a:pt x="339" y="2"/>
                </a:lnTo>
                <a:lnTo>
                  <a:pt x="321" y="5"/>
                </a:lnTo>
                <a:lnTo>
                  <a:pt x="301" y="8"/>
                </a:lnTo>
                <a:lnTo>
                  <a:pt x="284" y="12"/>
                </a:lnTo>
                <a:lnTo>
                  <a:pt x="265" y="17"/>
                </a:lnTo>
                <a:lnTo>
                  <a:pt x="248" y="23"/>
                </a:lnTo>
                <a:lnTo>
                  <a:pt x="231" y="30"/>
                </a:lnTo>
                <a:lnTo>
                  <a:pt x="214" y="38"/>
                </a:lnTo>
                <a:lnTo>
                  <a:pt x="197" y="46"/>
                </a:lnTo>
                <a:lnTo>
                  <a:pt x="182" y="55"/>
                </a:lnTo>
                <a:lnTo>
                  <a:pt x="166" y="65"/>
                </a:lnTo>
                <a:lnTo>
                  <a:pt x="152" y="76"/>
                </a:lnTo>
                <a:lnTo>
                  <a:pt x="137" y="87"/>
                </a:lnTo>
                <a:lnTo>
                  <a:pt x="124" y="98"/>
                </a:lnTo>
                <a:lnTo>
                  <a:pt x="111" y="111"/>
                </a:lnTo>
                <a:lnTo>
                  <a:pt x="98" y="124"/>
                </a:lnTo>
                <a:lnTo>
                  <a:pt x="86" y="137"/>
                </a:lnTo>
                <a:lnTo>
                  <a:pt x="75" y="152"/>
                </a:lnTo>
                <a:lnTo>
                  <a:pt x="65" y="167"/>
                </a:lnTo>
                <a:lnTo>
                  <a:pt x="55" y="183"/>
                </a:lnTo>
                <a:lnTo>
                  <a:pt x="45" y="198"/>
                </a:lnTo>
                <a:lnTo>
                  <a:pt x="38" y="214"/>
                </a:lnTo>
                <a:lnTo>
                  <a:pt x="30" y="231"/>
                </a:lnTo>
                <a:lnTo>
                  <a:pt x="22" y="249"/>
                </a:lnTo>
                <a:lnTo>
                  <a:pt x="17" y="266"/>
                </a:lnTo>
                <a:lnTo>
                  <a:pt x="12" y="284"/>
                </a:lnTo>
                <a:lnTo>
                  <a:pt x="7" y="302"/>
                </a:lnTo>
                <a:lnTo>
                  <a:pt x="4" y="321"/>
                </a:lnTo>
                <a:lnTo>
                  <a:pt x="2" y="339"/>
                </a:lnTo>
                <a:lnTo>
                  <a:pt x="0" y="359"/>
                </a:lnTo>
                <a:lnTo>
                  <a:pt x="0" y="378"/>
                </a:lnTo>
                <a:lnTo>
                  <a:pt x="0" y="398"/>
                </a:lnTo>
                <a:lnTo>
                  <a:pt x="2" y="417"/>
                </a:lnTo>
                <a:lnTo>
                  <a:pt x="4" y="435"/>
                </a:lnTo>
                <a:lnTo>
                  <a:pt x="7" y="455"/>
                </a:lnTo>
                <a:lnTo>
                  <a:pt x="12" y="472"/>
                </a:lnTo>
                <a:lnTo>
                  <a:pt x="17" y="491"/>
                </a:lnTo>
                <a:lnTo>
                  <a:pt x="22" y="508"/>
                </a:lnTo>
                <a:lnTo>
                  <a:pt x="30" y="525"/>
                </a:lnTo>
                <a:lnTo>
                  <a:pt x="38" y="542"/>
                </a:lnTo>
                <a:lnTo>
                  <a:pt x="45" y="559"/>
                </a:lnTo>
                <a:lnTo>
                  <a:pt x="55" y="574"/>
                </a:lnTo>
                <a:lnTo>
                  <a:pt x="65" y="590"/>
                </a:lnTo>
                <a:lnTo>
                  <a:pt x="75" y="604"/>
                </a:lnTo>
                <a:lnTo>
                  <a:pt x="86" y="619"/>
                </a:lnTo>
                <a:lnTo>
                  <a:pt x="98" y="632"/>
                </a:lnTo>
                <a:lnTo>
                  <a:pt x="111" y="645"/>
                </a:lnTo>
                <a:lnTo>
                  <a:pt x="124" y="658"/>
                </a:lnTo>
                <a:lnTo>
                  <a:pt x="137" y="670"/>
                </a:lnTo>
                <a:lnTo>
                  <a:pt x="152" y="681"/>
                </a:lnTo>
                <a:lnTo>
                  <a:pt x="166" y="691"/>
                </a:lnTo>
                <a:lnTo>
                  <a:pt x="182" y="701"/>
                </a:lnTo>
                <a:lnTo>
                  <a:pt x="197" y="711"/>
                </a:lnTo>
                <a:lnTo>
                  <a:pt x="214" y="718"/>
                </a:lnTo>
                <a:lnTo>
                  <a:pt x="231" y="726"/>
                </a:lnTo>
                <a:lnTo>
                  <a:pt x="248" y="734"/>
                </a:lnTo>
                <a:lnTo>
                  <a:pt x="265" y="739"/>
                </a:lnTo>
                <a:lnTo>
                  <a:pt x="284" y="744"/>
                </a:lnTo>
                <a:lnTo>
                  <a:pt x="301" y="749"/>
                </a:lnTo>
                <a:lnTo>
                  <a:pt x="321" y="752"/>
                </a:lnTo>
                <a:lnTo>
                  <a:pt x="339" y="754"/>
                </a:lnTo>
                <a:lnTo>
                  <a:pt x="358" y="756"/>
                </a:lnTo>
                <a:lnTo>
                  <a:pt x="378" y="756"/>
                </a:lnTo>
                <a:close/>
              </a:path>
            </a:pathLst>
          </a:custGeom>
          <a:solidFill>
            <a:schemeClr val="bg1">
              <a:alpha val="24000"/>
            </a:schemeClr>
          </a:soli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1" name="Rectangle 129">
            <a:extLst>
              <a:ext uri="{FF2B5EF4-FFF2-40B4-BE49-F238E27FC236}">
                <a16:creationId xmlns:a16="http://schemas.microsoft.com/office/drawing/2014/main" id="{DFB59EDA-A37F-57AF-D8A5-FCC0BD627629}"/>
              </a:ext>
            </a:extLst>
          </p:cNvPr>
          <p:cNvSpPr/>
          <p:nvPr/>
        </p:nvSpPr>
        <p:spPr>
          <a:xfrm>
            <a:off x="4403752" y="2819326"/>
            <a:ext cx="1233927" cy="579646"/>
          </a:xfrm>
          <a:prstGeom prst="rect">
            <a:avLst/>
          </a:prstGeom>
        </p:spPr>
        <p:txBody>
          <a:bodyPr wrap="square">
            <a:spAutoFit/>
          </a:bodyPr>
          <a:lstStyle/>
          <a:p>
            <a:pPr algn="r">
              <a:lnSpc>
                <a:spcPts val="1860"/>
              </a:lnSpc>
            </a:pPr>
            <a:r>
              <a:rPr lang="en-US" b="1" dirty="0">
                <a:solidFill>
                  <a:srgbClr val="0289AE"/>
                </a:solidFill>
                <a:latin typeface="Calibri" panose="020F0502020204030204" pitchFamily="34" charset="0"/>
                <a:cs typeface="Calibri" panose="020F0502020204030204" pitchFamily="34" charset="0"/>
              </a:rPr>
              <a:t>Local Stories</a:t>
            </a:r>
          </a:p>
        </p:txBody>
      </p:sp>
      <p:cxnSp>
        <p:nvCxnSpPr>
          <p:cNvPr id="112" name="Elbow Connector 26">
            <a:extLst>
              <a:ext uri="{FF2B5EF4-FFF2-40B4-BE49-F238E27FC236}">
                <a16:creationId xmlns:a16="http://schemas.microsoft.com/office/drawing/2014/main" id="{36F11FA5-60CE-2418-51E7-615FCF88A830}"/>
              </a:ext>
            </a:extLst>
          </p:cNvPr>
          <p:cNvCxnSpPr>
            <a:cxnSpLocks/>
          </p:cNvCxnSpPr>
          <p:nvPr/>
        </p:nvCxnSpPr>
        <p:spPr>
          <a:xfrm rot="10800000">
            <a:off x="5661949" y="2966478"/>
            <a:ext cx="1069212" cy="519401"/>
          </a:xfrm>
          <a:prstGeom prst="bentConnector3">
            <a:avLst>
              <a:gd name="adj1" fmla="val 65156"/>
            </a:avLst>
          </a:prstGeom>
          <a:ln w="19050">
            <a:solidFill>
              <a:srgbClr val="262626"/>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4" name="Rectangle 129">
            <a:extLst>
              <a:ext uri="{FF2B5EF4-FFF2-40B4-BE49-F238E27FC236}">
                <a16:creationId xmlns:a16="http://schemas.microsoft.com/office/drawing/2014/main" id="{3F432818-4FCF-F5F5-8465-9E83A7991780}"/>
              </a:ext>
            </a:extLst>
          </p:cNvPr>
          <p:cNvSpPr/>
          <p:nvPr/>
        </p:nvSpPr>
        <p:spPr>
          <a:xfrm>
            <a:off x="4503186" y="2115293"/>
            <a:ext cx="1134493" cy="579646"/>
          </a:xfrm>
          <a:prstGeom prst="rect">
            <a:avLst/>
          </a:prstGeom>
        </p:spPr>
        <p:txBody>
          <a:bodyPr wrap="square">
            <a:spAutoFit/>
          </a:bodyPr>
          <a:lstStyle/>
          <a:p>
            <a:pPr algn="r">
              <a:lnSpc>
                <a:spcPts val="1860"/>
              </a:lnSpc>
            </a:pPr>
            <a:r>
              <a:rPr lang="en-US" b="1" dirty="0">
                <a:solidFill>
                  <a:srgbClr val="0289AE"/>
                </a:solidFill>
                <a:latin typeface="Calibri" panose="020F0502020204030204" pitchFamily="34" charset="0"/>
                <a:cs typeface="Calibri" panose="020F0502020204030204" pitchFamily="34" charset="0"/>
              </a:rPr>
              <a:t>Guest Choices</a:t>
            </a:r>
          </a:p>
        </p:txBody>
      </p:sp>
      <p:cxnSp>
        <p:nvCxnSpPr>
          <p:cNvPr id="115" name="Elbow Connector 26">
            <a:extLst>
              <a:ext uri="{FF2B5EF4-FFF2-40B4-BE49-F238E27FC236}">
                <a16:creationId xmlns:a16="http://schemas.microsoft.com/office/drawing/2014/main" id="{86E3877B-79C4-B601-9831-C3D0BD85A96A}"/>
              </a:ext>
            </a:extLst>
          </p:cNvPr>
          <p:cNvCxnSpPr>
            <a:cxnSpLocks/>
          </p:cNvCxnSpPr>
          <p:nvPr/>
        </p:nvCxnSpPr>
        <p:spPr>
          <a:xfrm rot="10800000">
            <a:off x="5652487" y="2259669"/>
            <a:ext cx="1295792" cy="931184"/>
          </a:xfrm>
          <a:prstGeom prst="bentConnector3">
            <a:avLst>
              <a:gd name="adj1" fmla="val 50000"/>
            </a:avLst>
          </a:prstGeom>
          <a:ln w="19050">
            <a:solidFill>
              <a:srgbClr val="262626"/>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7" name="Rectangle 129">
            <a:extLst>
              <a:ext uri="{FF2B5EF4-FFF2-40B4-BE49-F238E27FC236}">
                <a16:creationId xmlns:a16="http://schemas.microsoft.com/office/drawing/2014/main" id="{EC81E00A-B5A4-E5F6-CF11-BA449E34F9E0}"/>
              </a:ext>
            </a:extLst>
          </p:cNvPr>
          <p:cNvSpPr/>
          <p:nvPr/>
        </p:nvSpPr>
        <p:spPr>
          <a:xfrm>
            <a:off x="9573549" y="3147767"/>
            <a:ext cx="1900909" cy="579646"/>
          </a:xfrm>
          <a:prstGeom prst="rect">
            <a:avLst/>
          </a:prstGeom>
        </p:spPr>
        <p:txBody>
          <a:bodyPr wrap="square">
            <a:spAutoFit/>
          </a:bodyPr>
          <a:lstStyle/>
          <a:p>
            <a:pPr>
              <a:lnSpc>
                <a:spcPts val="1860"/>
              </a:lnSpc>
            </a:pPr>
            <a:r>
              <a:rPr lang="en-US" b="1" dirty="0">
                <a:solidFill>
                  <a:srgbClr val="0289AE"/>
                </a:solidFill>
                <a:latin typeface="Calibri" panose="020F0502020204030204" pitchFamily="34" charset="0"/>
                <a:cs typeface="Calibri" panose="020F0502020204030204" pitchFamily="34" charset="0"/>
              </a:rPr>
              <a:t>Certifications Explained Simply</a:t>
            </a:r>
          </a:p>
        </p:txBody>
      </p:sp>
      <p:cxnSp>
        <p:nvCxnSpPr>
          <p:cNvPr id="118" name="Elbow Connector 26">
            <a:extLst>
              <a:ext uri="{FF2B5EF4-FFF2-40B4-BE49-F238E27FC236}">
                <a16:creationId xmlns:a16="http://schemas.microsoft.com/office/drawing/2014/main" id="{569F8C64-4A55-AD4D-64DE-7E351A4FA60C}"/>
              </a:ext>
            </a:extLst>
          </p:cNvPr>
          <p:cNvCxnSpPr>
            <a:cxnSpLocks/>
          </p:cNvCxnSpPr>
          <p:nvPr/>
        </p:nvCxnSpPr>
        <p:spPr>
          <a:xfrm flipV="1">
            <a:off x="7833365" y="3267797"/>
            <a:ext cx="1653481" cy="244314"/>
          </a:xfrm>
          <a:prstGeom prst="bentConnector3">
            <a:avLst>
              <a:gd name="adj1" fmla="val 50000"/>
            </a:avLst>
          </a:prstGeom>
          <a:ln w="19050">
            <a:solidFill>
              <a:srgbClr val="262626"/>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1" name="Rectangle 129">
            <a:extLst>
              <a:ext uri="{FF2B5EF4-FFF2-40B4-BE49-F238E27FC236}">
                <a16:creationId xmlns:a16="http://schemas.microsoft.com/office/drawing/2014/main" id="{E28448DF-B76E-CCC3-CB0B-FA02642EC610}"/>
              </a:ext>
            </a:extLst>
          </p:cNvPr>
          <p:cNvSpPr/>
          <p:nvPr/>
        </p:nvSpPr>
        <p:spPr>
          <a:xfrm>
            <a:off x="3964258" y="1310164"/>
            <a:ext cx="1673421" cy="579646"/>
          </a:xfrm>
          <a:prstGeom prst="rect">
            <a:avLst/>
          </a:prstGeom>
        </p:spPr>
        <p:txBody>
          <a:bodyPr wrap="square">
            <a:spAutoFit/>
          </a:bodyPr>
          <a:lstStyle/>
          <a:p>
            <a:pPr algn="r">
              <a:lnSpc>
                <a:spcPts val="1860"/>
              </a:lnSpc>
            </a:pPr>
            <a:r>
              <a:rPr lang="en-US" b="1" dirty="0">
                <a:solidFill>
                  <a:srgbClr val="0289AE"/>
                </a:solidFill>
                <a:latin typeface="Calibri" panose="020F0502020204030204" pitchFamily="34" charset="0"/>
                <a:cs typeface="Calibri" panose="020F0502020204030204" pitchFamily="34" charset="0"/>
              </a:rPr>
              <a:t>Transport Guidance</a:t>
            </a:r>
          </a:p>
        </p:txBody>
      </p:sp>
      <p:cxnSp>
        <p:nvCxnSpPr>
          <p:cNvPr id="122" name="Elbow Connector 26">
            <a:extLst>
              <a:ext uri="{FF2B5EF4-FFF2-40B4-BE49-F238E27FC236}">
                <a16:creationId xmlns:a16="http://schemas.microsoft.com/office/drawing/2014/main" id="{62D04682-0F46-0CA0-3CA5-C0EF7AEC7994}"/>
              </a:ext>
            </a:extLst>
          </p:cNvPr>
          <p:cNvCxnSpPr>
            <a:cxnSpLocks/>
          </p:cNvCxnSpPr>
          <p:nvPr/>
        </p:nvCxnSpPr>
        <p:spPr>
          <a:xfrm rot="10800000">
            <a:off x="5627875" y="1499024"/>
            <a:ext cx="1576160" cy="530213"/>
          </a:xfrm>
          <a:prstGeom prst="bentConnector3">
            <a:avLst>
              <a:gd name="adj1" fmla="val 50000"/>
            </a:avLst>
          </a:prstGeom>
          <a:ln w="19050">
            <a:solidFill>
              <a:srgbClr val="262626"/>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Rectangle 129">
            <a:extLst>
              <a:ext uri="{FF2B5EF4-FFF2-40B4-BE49-F238E27FC236}">
                <a16:creationId xmlns:a16="http://schemas.microsoft.com/office/drawing/2014/main" id="{264A116A-EA6A-ED42-2C61-E6FCD84DBF37}"/>
              </a:ext>
            </a:extLst>
          </p:cNvPr>
          <p:cNvSpPr/>
          <p:nvPr/>
        </p:nvSpPr>
        <p:spPr>
          <a:xfrm>
            <a:off x="9573549" y="2344392"/>
            <a:ext cx="1345773" cy="579646"/>
          </a:xfrm>
          <a:prstGeom prst="rect">
            <a:avLst/>
          </a:prstGeom>
        </p:spPr>
        <p:txBody>
          <a:bodyPr wrap="square">
            <a:spAutoFit/>
          </a:bodyPr>
          <a:lstStyle/>
          <a:p>
            <a:pPr>
              <a:lnSpc>
                <a:spcPts val="1860"/>
              </a:lnSpc>
            </a:pPr>
            <a:r>
              <a:rPr lang="en-US" b="1" dirty="0">
                <a:solidFill>
                  <a:srgbClr val="0289AE"/>
                </a:solidFill>
                <a:latin typeface="Calibri" panose="020F0502020204030204" pitchFamily="34" charset="0"/>
                <a:cs typeface="Calibri" panose="020F0502020204030204" pitchFamily="34" charset="0"/>
              </a:rPr>
              <a:t>Refill Systems</a:t>
            </a:r>
          </a:p>
        </p:txBody>
      </p:sp>
      <p:cxnSp>
        <p:nvCxnSpPr>
          <p:cNvPr id="126" name="Elbow Connector 26">
            <a:extLst>
              <a:ext uri="{FF2B5EF4-FFF2-40B4-BE49-F238E27FC236}">
                <a16:creationId xmlns:a16="http://schemas.microsoft.com/office/drawing/2014/main" id="{BE11003E-B146-2196-E65C-7795DC64FA88}"/>
              </a:ext>
            </a:extLst>
          </p:cNvPr>
          <p:cNvCxnSpPr>
            <a:cxnSpLocks/>
          </p:cNvCxnSpPr>
          <p:nvPr/>
        </p:nvCxnSpPr>
        <p:spPr>
          <a:xfrm flipV="1">
            <a:off x="7733745" y="2496007"/>
            <a:ext cx="1753101" cy="323319"/>
          </a:xfrm>
          <a:prstGeom prst="bentConnector3">
            <a:avLst>
              <a:gd name="adj1" fmla="val 50000"/>
            </a:avLst>
          </a:prstGeom>
          <a:ln w="19050">
            <a:solidFill>
              <a:srgbClr val="262626"/>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113" name="Rectangle 129">
            <a:extLst>
              <a:ext uri="{FF2B5EF4-FFF2-40B4-BE49-F238E27FC236}">
                <a16:creationId xmlns:a16="http://schemas.microsoft.com/office/drawing/2014/main" id="{4EEAF87F-B1FA-3F8D-6C42-01696AE7417F}"/>
              </a:ext>
            </a:extLst>
          </p:cNvPr>
          <p:cNvSpPr/>
          <p:nvPr/>
        </p:nvSpPr>
        <p:spPr>
          <a:xfrm>
            <a:off x="9573549" y="1512581"/>
            <a:ext cx="2006528" cy="579646"/>
          </a:xfrm>
          <a:prstGeom prst="rect">
            <a:avLst/>
          </a:prstGeom>
        </p:spPr>
        <p:txBody>
          <a:bodyPr wrap="square">
            <a:spAutoFit/>
          </a:bodyPr>
          <a:lstStyle/>
          <a:p>
            <a:pPr>
              <a:lnSpc>
                <a:spcPts val="1860"/>
              </a:lnSpc>
            </a:pPr>
            <a:r>
              <a:rPr lang="en-US" b="1" dirty="0">
                <a:solidFill>
                  <a:srgbClr val="0289AE"/>
                </a:solidFill>
                <a:latin typeface="Calibri" panose="020F0502020204030204" pitchFamily="34" charset="0"/>
                <a:cs typeface="Calibri" panose="020F0502020204030204" pitchFamily="34" charset="0"/>
              </a:rPr>
              <a:t>Food Origin Explanation</a:t>
            </a:r>
          </a:p>
        </p:txBody>
      </p:sp>
      <p:cxnSp>
        <p:nvCxnSpPr>
          <p:cNvPr id="2114" name="Elbow Connector 26">
            <a:extLst>
              <a:ext uri="{FF2B5EF4-FFF2-40B4-BE49-F238E27FC236}">
                <a16:creationId xmlns:a16="http://schemas.microsoft.com/office/drawing/2014/main" id="{23F27927-65F9-4DE3-08BB-07D4F02E1B3D}"/>
              </a:ext>
            </a:extLst>
          </p:cNvPr>
          <p:cNvCxnSpPr>
            <a:cxnSpLocks/>
          </p:cNvCxnSpPr>
          <p:nvPr/>
        </p:nvCxnSpPr>
        <p:spPr>
          <a:xfrm flipV="1">
            <a:off x="7407107" y="1921342"/>
            <a:ext cx="2079739" cy="433593"/>
          </a:xfrm>
          <a:prstGeom prst="bentConnector3">
            <a:avLst>
              <a:gd name="adj1" fmla="val 50000"/>
            </a:avLst>
          </a:prstGeom>
          <a:ln w="19050">
            <a:solidFill>
              <a:srgbClr val="262626"/>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 name="Text Placeholder 11">
            <a:extLst>
              <a:ext uri="{FF2B5EF4-FFF2-40B4-BE49-F238E27FC236}">
                <a16:creationId xmlns:a16="http://schemas.microsoft.com/office/drawing/2014/main" id="{AC3BD6CE-4F87-0538-AA17-24AE03B99002}"/>
              </a:ext>
            </a:extLst>
          </p:cNvPr>
          <p:cNvSpPr txBox="1">
            <a:spLocks/>
          </p:cNvSpPr>
          <p:nvPr/>
        </p:nvSpPr>
        <p:spPr>
          <a:xfrm>
            <a:off x="290077" y="339272"/>
            <a:ext cx="12192000" cy="764209"/>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latin typeface="Calibri" panose="020F0502020204030204" pitchFamily="34" charset="0"/>
                <a:cs typeface="Calibri" panose="020F0502020204030204" pitchFamily="34" charset="0"/>
              </a:rPr>
              <a:t>Silent Sustainability vs Visible Sustainability</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96" name="Straight Connector 95">
            <a:extLst>
              <a:ext uri="{FF2B5EF4-FFF2-40B4-BE49-F238E27FC236}">
                <a16:creationId xmlns:a16="http://schemas.microsoft.com/office/drawing/2014/main" id="{E7C9E207-0825-2A70-DA92-887DA8012B95}"/>
              </a:ext>
            </a:extLst>
          </p:cNvPr>
          <p:cNvCxnSpPr>
            <a:cxnSpLocks/>
          </p:cNvCxnSpPr>
          <p:nvPr/>
        </p:nvCxnSpPr>
        <p:spPr>
          <a:xfrm>
            <a:off x="46457" y="1044412"/>
            <a:ext cx="876517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109" name="Rectangle 129">
            <a:extLst>
              <a:ext uri="{FF2B5EF4-FFF2-40B4-BE49-F238E27FC236}">
                <a16:creationId xmlns:a16="http://schemas.microsoft.com/office/drawing/2014/main" id="{B6B7C0A4-DA6E-8976-5832-FC4C0822A45C}"/>
              </a:ext>
            </a:extLst>
          </p:cNvPr>
          <p:cNvSpPr/>
          <p:nvPr/>
        </p:nvSpPr>
        <p:spPr>
          <a:xfrm>
            <a:off x="9573549" y="4832797"/>
            <a:ext cx="1663126" cy="579646"/>
          </a:xfrm>
          <a:prstGeom prst="rect">
            <a:avLst/>
          </a:prstGeom>
        </p:spPr>
        <p:txBody>
          <a:bodyPr wrap="square">
            <a:spAutoFit/>
          </a:bodyPr>
          <a:lstStyle/>
          <a:p>
            <a:pPr>
              <a:lnSpc>
                <a:spcPts val="1860"/>
              </a:lnSpc>
            </a:pPr>
            <a:r>
              <a:rPr lang="en-US" b="1" dirty="0">
                <a:solidFill>
                  <a:schemeClr val="bg1"/>
                </a:solidFill>
                <a:latin typeface="Calibri" panose="020F0502020204030204" pitchFamily="34" charset="0"/>
                <a:cs typeface="Calibri" panose="020F0502020204030204" pitchFamily="34" charset="0"/>
              </a:rPr>
              <a:t>Better Procurement</a:t>
            </a:r>
          </a:p>
        </p:txBody>
      </p:sp>
      <p:cxnSp>
        <p:nvCxnSpPr>
          <p:cNvPr id="110" name="Elbow Connector 26">
            <a:extLst>
              <a:ext uri="{FF2B5EF4-FFF2-40B4-BE49-F238E27FC236}">
                <a16:creationId xmlns:a16="http://schemas.microsoft.com/office/drawing/2014/main" id="{851C4C8D-5437-F8EA-3176-348182FF443F}"/>
              </a:ext>
            </a:extLst>
          </p:cNvPr>
          <p:cNvCxnSpPr>
            <a:cxnSpLocks/>
          </p:cNvCxnSpPr>
          <p:nvPr/>
        </p:nvCxnSpPr>
        <p:spPr>
          <a:xfrm flipV="1">
            <a:off x="7733745" y="4929111"/>
            <a:ext cx="1769123" cy="313528"/>
          </a:xfrm>
          <a:prstGeom prst="bentConnector3">
            <a:avLst>
              <a:gd name="adj1" fmla="val 50000"/>
            </a:avLst>
          </a:prstGeom>
          <a:ln w="1905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3" name="Rectangle 129">
            <a:extLst>
              <a:ext uri="{FF2B5EF4-FFF2-40B4-BE49-F238E27FC236}">
                <a16:creationId xmlns:a16="http://schemas.microsoft.com/office/drawing/2014/main" id="{05725C34-5609-78C7-D746-9C852CD1D634}"/>
              </a:ext>
            </a:extLst>
          </p:cNvPr>
          <p:cNvSpPr/>
          <p:nvPr/>
        </p:nvSpPr>
        <p:spPr>
          <a:xfrm>
            <a:off x="9573549" y="5651194"/>
            <a:ext cx="1621410" cy="579646"/>
          </a:xfrm>
          <a:prstGeom prst="rect">
            <a:avLst/>
          </a:prstGeom>
        </p:spPr>
        <p:txBody>
          <a:bodyPr wrap="square">
            <a:spAutoFit/>
          </a:bodyPr>
          <a:lstStyle/>
          <a:p>
            <a:pPr>
              <a:lnSpc>
                <a:spcPts val="1860"/>
              </a:lnSpc>
            </a:pPr>
            <a:r>
              <a:rPr lang="en-US" b="1" dirty="0">
                <a:solidFill>
                  <a:schemeClr val="bg1"/>
                </a:solidFill>
                <a:latin typeface="Calibri" panose="020F0502020204030204" pitchFamily="34" charset="0"/>
                <a:cs typeface="Calibri" panose="020F0502020204030204" pitchFamily="34" charset="0"/>
              </a:rPr>
              <a:t>Lower-impact Materials</a:t>
            </a:r>
          </a:p>
        </p:txBody>
      </p:sp>
      <p:cxnSp>
        <p:nvCxnSpPr>
          <p:cNvPr id="116" name="Elbow Connector 26">
            <a:extLst>
              <a:ext uri="{FF2B5EF4-FFF2-40B4-BE49-F238E27FC236}">
                <a16:creationId xmlns:a16="http://schemas.microsoft.com/office/drawing/2014/main" id="{240A0A27-0DA2-BA67-F37F-9A67B15CB48C}"/>
              </a:ext>
            </a:extLst>
          </p:cNvPr>
          <p:cNvCxnSpPr>
            <a:cxnSpLocks/>
          </p:cNvCxnSpPr>
          <p:nvPr/>
        </p:nvCxnSpPr>
        <p:spPr>
          <a:xfrm>
            <a:off x="7349044" y="5567725"/>
            <a:ext cx="2113900" cy="317586"/>
          </a:xfrm>
          <a:prstGeom prst="bentConnector3">
            <a:avLst>
              <a:gd name="adj1" fmla="val 50000"/>
            </a:avLst>
          </a:prstGeom>
          <a:ln w="1905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9" name="Rectangle 129">
            <a:extLst>
              <a:ext uri="{FF2B5EF4-FFF2-40B4-BE49-F238E27FC236}">
                <a16:creationId xmlns:a16="http://schemas.microsoft.com/office/drawing/2014/main" id="{91C20A63-E1BD-10B8-5E69-952602C5A13A}"/>
              </a:ext>
            </a:extLst>
          </p:cNvPr>
          <p:cNvSpPr/>
          <p:nvPr/>
        </p:nvSpPr>
        <p:spPr>
          <a:xfrm>
            <a:off x="3547916" y="4534579"/>
            <a:ext cx="2089763" cy="579646"/>
          </a:xfrm>
          <a:prstGeom prst="rect">
            <a:avLst/>
          </a:prstGeom>
        </p:spPr>
        <p:txBody>
          <a:bodyPr wrap="square">
            <a:spAutoFit/>
          </a:bodyPr>
          <a:lstStyle/>
          <a:p>
            <a:pPr algn="r">
              <a:lnSpc>
                <a:spcPts val="1860"/>
              </a:lnSpc>
            </a:pPr>
            <a:r>
              <a:rPr lang="en-US" b="1" dirty="0">
                <a:solidFill>
                  <a:schemeClr val="bg1"/>
                </a:solidFill>
                <a:latin typeface="Calibri" panose="020F0502020204030204" pitchFamily="34" charset="0"/>
                <a:cs typeface="Calibri" panose="020F0502020204030204" pitchFamily="34" charset="0"/>
              </a:rPr>
              <a:t>Backstage Waste Reduction</a:t>
            </a:r>
          </a:p>
        </p:txBody>
      </p:sp>
      <p:cxnSp>
        <p:nvCxnSpPr>
          <p:cNvPr id="120" name="Elbow Connector 26">
            <a:extLst>
              <a:ext uri="{FF2B5EF4-FFF2-40B4-BE49-F238E27FC236}">
                <a16:creationId xmlns:a16="http://schemas.microsoft.com/office/drawing/2014/main" id="{36269C65-8E5E-9344-6090-D5E9975D3392}"/>
              </a:ext>
            </a:extLst>
          </p:cNvPr>
          <p:cNvCxnSpPr>
            <a:cxnSpLocks/>
          </p:cNvCxnSpPr>
          <p:nvPr/>
        </p:nvCxnSpPr>
        <p:spPr>
          <a:xfrm rot="10800000" flipV="1">
            <a:off x="5653450" y="4309681"/>
            <a:ext cx="1375292" cy="414068"/>
          </a:xfrm>
          <a:prstGeom prst="bentConnector3">
            <a:avLst>
              <a:gd name="adj1" fmla="val 50000"/>
            </a:avLst>
          </a:prstGeom>
          <a:ln w="1905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3" name="Rectangle 129">
            <a:extLst>
              <a:ext uri="{FF2B5EF4-FFF2-40B4-BE49-F238E27FC236}">
                <a16:creationId xmlns:a16="http://schemas.microsoft.com/office/drawing/2014/main" id="{9EDDAE60-2EEF-D2C9-7D78-119B9C7B3658}"/>
              </a:ext>
            </a:extLst>
          </p:cNvPr>
          <p:cNvSpPr/>
          <p:nvPr/>
        </p:nvSpPr>
        <p:spPr>
          <a:xfrm>
            <a:off x="3926259" y="5528435"/>
            <a:ext cx="1711420" cy="579646"/>
          </a:xfrm>
          <a:prstGeom prst="rect">
            <a:avLst/>
          </a:prstGeom>
        </p:spPr>
        <p:txBody>
          <a:bodyPr wrap="square">
            <a:spAutoFit/>
          </a:bodyPr>
          <a:lstStyle/>
          <a:p>
            <a:pPr algn="r">
              <a:lnSpc>
                <a:spcPts val="1860"/>
              </a:lnSpc>
            </a:pPr>
            <a:r>
              <a:rPr lang="en-US" b="1" dirty="0">
                <a:solidFill>
                  <a:schemeClr val="bg1"/>
                </a:solidFill>
                <a:latin typeface="Calibri" panose="020F0502020204030204" pitchFamily="34" charset="0"/>
                <a:cs typeface="Calibri" panose="020F0502020204030204" pitchFamily="34" charset="0"/>
              </a:rPr>
              <a:t>Smart Maintenance</a:t>
            </a:r>
          </a:p>
        </p:txBody>
      </p:sp>
      <p:cxnSp>
        <p:nvCxnSpPr>
          <p:cNvPr id="124" name="Elbow Connector 26">
            <a:extLst>
              <a:ext uri="{FF2B5EF4-FFF2-40B4-BE49-F238E27FC236}">
                <a16:creationId xmlns:a16="http://schemas.microsoft.com/office/drawing/2014/main" id="{74778043-6839-D3F4-AD3B-70D2A6A3EC3A}"/>
              </a:ext>
            </a:extLst>
          </p:cNvPr>
          <p:cNvCxnSpPr>
            <a:cxnSpLocks/>
          </p:cNvCxnSpPr>
          <p:nvPr/>
        </p:nvCxnSpPr>
        <p:spPr>
          <a:xfrm rot="10800000" flipV="1">
            <a:off x="5652488" y="5242639"/>
            <a:ext cx="1112130" cy="452540"/>
          </a:xfrm>
          <a:prstGeom prst="bentConnector3">
            <a:avLst>
              <a:gd name="adj1" fmla="val 50000"/>
            </a:avLst>
          </a:prstGeom>
          <a:ln w="1905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Rectangle 129">
            <a:extLst>
              <a:ext uri="{FF2B5EF4-FFF2-40B4-BE49-F238E27FC236}">
                <a16:creationId xmlns:a16="http://schemas.microsoft.com/office/drawing/2014/main" id="{25B689D9-26CE-45BF-E20A-7FD8865BD477}"/>
              </a:ext>
            </a:extLst>
          </p:cNvPr>
          <p:cNvSpPr/>
          <p:nvPr/>
        </p:nvSpPr>
        <p:spPr>
          <a:xfrm>
            <a:off x="9573549" y="4090172"/>
            <a:ext cx="1418695" cy="579646"/>
          </a:xfrm>
          <a:prstGeom prst="rect">
            <a:avLst/>
          </a:prstGeom>
        </p:spPr>
        <p:txBody>
          <a:bodyPr wrap="square">
            <a:spAutoFit/>
          </a:bodyPr>
          <a:lstStyle/>
          <a:p>
            <a:pPr>
              <a:lnSpc>
                <a:spcPts val="1860"/>
              </a:lnSpc>
            </a:pPr>
            <a:r>
              <a:rPr lang="en-US" b="1" dirty="0">
                <a:solidFill>
                  <a:schemeClr val="bg1"/>
                </a:solidFill>
                <a:latin typeface="Calibri" panose="020F0502020204030204" pitchFamily="34" charset="0"/>
                <a:cs typeface="Calibri" panose="020F0502020204030204" pitchFamily="34" charset="0"/>
              </a:rPr>
              <a:t>Efficient Systems</a:t>
            </a:r>
          </a:p>
        </p:txBody>
      </p:sp>
      <p:cxnSp>
        <p:nvCxnSpPr>
          <p:cNvPr id="2112" name="Elbow Connector 26">
            <a:extLst>
              <a:ext uri="{FF2B5EF4-FFF2-40B4-BE49-F238E27FC236}">
                <a16:creationId xmlns:a16="http://schemas.microsoft.com/office/drawing/2014/main" id="{01A59BA9-8489-F445-0B09-8EC64AA64AD5}"/>
              </a:ext>
            </a:extLst>
          </p:cNvPr>
          <p:cNvCxnSpPr>
            <a:cxnSpLocks/>
          </p:cNvCxnSpPr>
          <p:nvPr/>
        </p:nvCxnSpPr>
        <p:spPr>
          <a:xfrm flipV="1">
            <a:off x="7960593" y="4250766"/>
            <a:ext cx="1502351" cy="319000"/>
          </a:xfrm>
          <a:prstGeom prst="bentConnector3">
            <a:avLst>
              <a:gd name="adj1" fmla="val 50000"/>
            </a:avLst>
          </a:prstGeom>
          <a:ln w="1905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 name="TextBox 97">
            <a:extLst>
              <a:ext uri="{FF2B5EF4-FFF2-40B4-BE49-F238E27FC236}">
                <a16:creationId xmlns:a16="http://schemas.microsoft.com/office/drawing/2014/main" id="{5ED240F1-82F1-EBD2-D701-35A595537D9F}"/>
              </a:ext>
            </a:extLst>
          </p:cNvPr>
          <p:cNvSpPr txBox="1"/>
          <p:nvPr/>
        </p:nvSpPr>
        <p:spPr>
          <a:xfrm>
            <a:off x="290076" y="1339265"/>
            <a:ext cx="3896557" cy="1477328"/>
          </a:xfrm>
          <a:prstGeom prst="rect">
            <a:avLst/>
          </a:prstGeom>
          <a:solidFill>
            <a:schemeClr val="bg1"/>
          </a:solidFill>
        </p:spPr>
        <p:txBody>
          <a:bodyPr wrap="square">
            <a:spAutoFit/>
          </a:bodyPr>
          <a:lstStyle/>
          <a:p>
            <a:pPr marL="285750" indent="-285750">
              <a:buClr>
                <a:srgbClr val="62A844"/>
              </a:buClr>
              <a:buFont typeface="Arial" panose="020B0604020202020204" pitchFamily="34" charset="0"/>
              <a:buChar char="•"/>
            </a:pPr>
            <a:r>
              <a:rPr lang="en-US" dirty="0">
                <a:solidFill>
                  <a:srgbClr val="262626"/>
                </a:solidFill>
              </a:rPr>
              <a:t>Some sustainability should be quietly embedded.</a:t>
            </a:r>
          </a:p>
          <a:p>
            <a:pPr marL="285750" indent="-285750">
              <a:buClr>
                <a:srgbClr val="62A844"/>
              </a:buClr>
              <a:buFont typeface="Arial" panose="020B0604020202020204" pitchFamily="34" charset="0"/>
              <a:buChar char="•"/>
            </a:pPr>
            <a:r>
              <a:rPr lang="en-US" dirty="0">
                <a:solidFill>
                  <a:srgbClr val="262626"/>
                </a:solidFill>
              </a:rPr>
              <a:t>Some sustainability should be gently made visible.</a:t>
            </a:r>
          </a:p>
          <a:p>
            <a:pPr marL="285750" indent="-285750">
              <a:buClr>
                <a:srgbClr val="62A844"/>
              </a:buClr>
              <a:buFont typeface="Arial" panose="020B0604020202020204" pitchFamily="34" charset="0"/>
              <a:buChar char="•"/>
            </a:pPr>
            <a:r>
              <a:rPr lang="en-US" dirty="0">
                <a:solidFill>
                  <a:srgbClr val="262626"/>
                </a:solidFill>
              </a:rPr>
              <a:t>The skill is knowing which is which.</a:t>
            </a:r>
          </a:p>
        </p:txBody>
      </p:sp>
    </p:spTree>
    <p:extLst>
      <p:ext uri="{BB962C8B-B14F-4D97-AF65-F5344CB8AC3E}">
        <p14:creationId xmlns:p14="http://schemas.microsoft.com/office/powerpoint/2010/main" val="856316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E4898-037B-A7E4-0FF9-C91BFE34BFDF}"/>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C3C1EC79-E949-A1B2-49BD-14296CE7045A}"/>
              </a:ext>
            </a:extLst>
          </p:cNvPr>
          <p:cNvSpPr txBox="1">
            <a:spLocks/>
          </p:cNvSpPr>
          <p:nvPr/>
        </p:nvSpPr>
        <p:spPr>
          <a:xfrm>
            <a:off x="429115" y="421381"/>
            <a:ext cx="498454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Designing Low-Friction and Inclusive Touchpoint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B1458041-6FFE-30F3-1E60-F1A69E57D5DB}"/>
              </a:ext>
            </a:extLst>
          </p:cNvPr>
          <p:cNvCxnSpPr>
            <a:cxnSpLocks/>
          </p:cNvCxnSpPr>
          <p:nvPr/>
        </p:nvCxnSpPr>
        <p:spPr>
          <a:xfrm>
            <a:off x="0" y="1536819"/>
            <a:ext cx="568382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6CA0262B-2FBD-0713-6E1C-BD69DD1B7CC4}"/>
              </a:ext>
            </a:extLst>
          </p:cNvPr>
          <p:cNvSpPr/>
          <p:nvPr/>
        </p:nvSpPr>
        <p:spPr>
          <a:xfrm flipH="1">
            <a:off x="586941" y="1838697"/>
            <a:ext cx="5761904" cy="4914166"/>
          </a:xfrm>
          <a:prstGeom prst="rect">
            <a:avLst/>
          </a:prstGeom>
        </p:spPr>
        <p:txBody>
          <a:bodyPr wrap="square">
            <a:spAutoFit/>
          </a:bodyPr>
          <a:lstStyle/>
          <a:p>
            <a:pPr>
              <a:lnSpc>
                <a:spcPts val="1960"/>
              </a:lnSpc>
              <a:buClr>
                <a:srgbClr val="62A844"/>
              </a:buClr>
              <a:buNone/>
            </a:pPr>
            <a:r>
              <a:rPr lang="en-US" sz="2000" b="1" dirty="0">
                <a:solidFill>
                  <a:srgbClr val="0289AE"/>
                </a:solidFill>
              </a:rPr>
              <a:t>A good sustainable touchpoint should be:</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easy to understand</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easy to act on</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easy to access</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easy to trust</a:t>
            </a:r>
          </a:p>
          <a:p>
            <a:pPr marL="285750" indent="-285750">
              <a:lnSpc>
                <a:spcPts val="1960"/>
              </a:lnSpc>
              <a:spcBef>
                <a:spcPts val="300"/>
              </a:spcBef>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buNone/>
            </a:pPr>
            <a:r>
              <a:rPr lang="en-US" sz="2000" b="1" dirty="0">
                <a:solidFill>
                  <a:srgbClr val="0289AE"/>
                </a:solidFill>
              </a:rPr>
              <a:t>This means:</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plain language</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clear icons</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good contrast and legibility</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multilingual or culturally aware wording where relevant</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alternatives for guests who prefer non-digital interaction</a:t>
            </a:r>
          </a:p>
          <a:p>
            <a:pPr marL="285750" indent="-285750">
              <a:lnSpc>
                <a:spcPts val="1960"/>
              </a:lnSpc>
              <a:spcBef>
                <a:spcPts val="300"/>
              </a:spcBef>
              <a:buClr>
                <a:srgbClr val="62A844"/>
              </a:buClr>
              <a:buFont typeface="Arial" panose="020B0604020202020204" pitchFamily="34" charset="0"/>
              <a:buChar char="•"/>
            </a:pPr>
            <a:r>
              <a:rPr lang="en-US" dirty="0">
                <a:solidFill>
                  <a:srgbClr val="262626"/>
                </a:solidFill>
              </a:rPr>
              <a:t>respectful, non-judgmental tone</a:t>
            </a:r>
          </a:p>
          <a:p>
            <a:pPr marL="285750" indent="-285750">
              <a:lnSpc>
                <a:spcPts val="1960"/>
              </a:lnSpc>
              <a:spcBef>
                <a:spcPts val="300"/>
              </a:spcBef>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buNone/>
            </a:pPr>
            <a:r>
              <a:rPr lang="en-US" b="1" dirty="0">
                <a:solidFill>
                  <a:srgbClr val="62A844"/>
                </a:solidFill>
              </a:rPr>
              <a:t>Practical rule: a strong design makes the action easy for the guest to understand at a glance.</a:t>
            </a:r>
            <a:br>
              <a:rPr lang="en-US" dirty="0">
                <a:solidFill>
                  <a:srgbClr val="62A844"/>
                </a:solidFill>
              </a:rPr>
            </a:br>
            <a:endParaRPr lang="en-US" dirty="0">
              <a:solidFill>
                <a:srgbClr val="62A844"/>
              </a:solidFill>
            </a:endParaRPr>
          </a:p>
        </p:txBody>
      </p:sp>
      <p:pic>
        <p:nvPicPr>
          <p:cNvPr id="15" name="Picture 14">
            <a:extLst>
              <a:ext uri="{FF2B5EF4-FFF2-40B4-BE49-F238E27FC236}">
                <a16:creationId xmlns:a16="http://schemas.microsoft.com/office/drawing/2014/main" id="{8189EA8C-65E5-C2FD-70BE-96565F5BAE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61" t="12298" r="29196" b="16922"/>
          <a:stretch>
            <a:fillRect/>
          </a:stretch>
        </p:blipFill>
        <p:spPr>
          <a:xfrm>
            <a:off x="5834250" y="1096245"/>
            <a:ext cx="6347083" cy="4885527"/>
          </a:xfrm>
          <a:prstGeom prst="rect">
            <a:avLst/>
          </a:prstGeom>
        </p:spPr>
      </p:pic>
      <p:pic>
        <p:nvPicPr>
          <p:cNvPr id="5" name="Bildplatzhalter 8" descr="The image depicts a handprinted rainbow-colored human hand, symbolizing diversity and inclusion.&#10;&#10;KI-generierte Inhalte können fehlerhaft sein.">
            <a:extLst>
              <a:ext uri="{FF2B5EF4-FFF2-40B4-BE49-F238E27FC236}">
                <a16:creationId xmlns:a16="http://schemas.microsoft.com/office/drawing/2014/main" id="{601302B3-62E5-129C-5B74-2521A66BF44C}"/>
              </a:ext>
            </a:extLst>
          </p:cNvPr>
          <p:cNvPicPr>
            <a:picLocks noChangeAspect="1"/>
          </p:cNvPicPr>
          <p:nvPr/>
        </p:nvPicPr>
        <p:blipFill>
          <a:blip r:embed="rId4" cstate="screen">
            <a:extLst>
              <a:ext uri="{28A0092B-C50C-407E-A947-70E740481C1C}">
                <a14:useLocalDpi xmlns:a14="http://schemas.microsoft.com/office/drawing/2010/main"/>
              </a:ext>
            </a:extLst>
          </a:blip>
          <a:srcRect l="5093" r="5093"/>
          <a:stretch>
            <a:fillRect/>
          </a:stretch>
        </p:blipFill>
        <p:spPr>
          <a:xfrm>
            <a:off x="7367734" y="1536819"/>
            <a:ext cx="4693802" cy="3579896"/>
          </a:xfrm>
          <a:prstGeom prst="rect">
            <a:avLst/>
          </a:prstGeom>
          <a:solidFill>
            <a:srgbClr val="FFFFFF">
              <a:lumMod val="85000"/>
            </a:srgbClr>
          </a:solidFill>
        </p:spPr>
      </p:pic>
    </p:spTree>
    <p:extLst>
      <p:ext uri="{BB962C8B-B14F-4D97-AF65-F5344CB8AC3E}">
        <p14:creationId xmlns:p14="http://schemas.microsoft.com/office/powerpoint/2010/main" val="27787932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22F87-0872-5007-058F-A6070C388641}"/>
            </a:ext>
          </a:extLst>
        </p:cNvPr>
        <p:cNvGrpSpPr/>
        <p:nvPr/>
      </p:nvGrpSpPr>
      <p:grpSpPr>
        <a:xfrm>
          <a:off x="0" y="0"/>
          <a:ext cx="0" cy="0"/>
          <a:chOff x="0" y="0"/>
          <a:chExt cx="0" cy="0"/>
        </a:xfrm>
      </p:grpSpPr>
      <p:sp>
        <p:nvSpPr>
          <p:cNvPr id="2147" name="Oval 15">
            <a:extLst>
              <a:ext uri="{FF2B5EF4-FFF2-40B4-BE49-F238E27FC236}">
                <a16:creationId xmlns:a16="http://schemas.microsoft.com/office/drawing/2014/main" id="{B1280C29-32CC-8C3D-A9D6-8AFAC6A7B9CF}"/>
              </a:ext>
            </a:extLst>
          </p:cNvPr>
          <p:cNvSpPr/>
          <p:nvPr/>
        </p:nvSpPr>
        <p:spPr>
          <a:xfrm>
            <a:off x="2230391" y="3105845"/>
            <a:ext cx="8164970" cy="3762733"/>
          </a:xfrm>
          <a:custGeom>
            <a:avLst/>
            <a:gdLst>
              <a:gd name="connsiteX0" fmla="*/ 0 w 11857702"/>
              <a:gd name="connsiteY0" fmla="*/ 5928851 h 11857702"/>
              <a:gd name="connsiteX1" fmla="*/ 5928851 w 11857702"/>
              <a:gd name="connsiteY1" fmla="*/ 0 h 11857702"/>
              <a:gd name="connsiteX2" fmla="*/ 11857702 w 11857702"/>
              <a:gd name="connsiteY2" fmla="*/ 5928851 h 11857702"/>
              <a:gd name="connsiteX3" fmla="*/ 5928851 w 11857702"/>
              <a:gd name="connsiteY3" fmla="*/ 11857702 h 11857702"/>
              <a:gd name="connsiteX4" fmla="*/ 0 w 11857702"/>
              <a:gd name="connsiteY4" fmla="*/ 5928851 h 11857702"/>
              <a:gd name="connsiteX0" fmla="*/ 5928851 w 11857702"/>
              <a:gd name="connsiteY0" fmla="*/ 11857702 h 11949142"/>
              <a:gd name="connsiteX1" fmla="*/ 0 w 11857702"/>
              <a:gd name="connsiteY1" fmla="*/ 5928851 h 11949142"/>
              <a:gd name="connsiteX2" fmla="*/ 5928851 w 11857702"/>
              <a:gd name="connsiteY2" fmla="*/ 0 h 11949142"/>
              <a:gd name="connsiteX3" fmla="*/ 11857702 w 11857702"/>
              <a:gd name="connsiteY3" fmla="*/ 5928851 h 11949142"/>
              <a:gd name="connsiteX4" fmla="*/ 6020291 w 11857702"/>
              <a:gd name="connsiteY4" fmla="*/ 11949142 h 11949142"/>
              <a:gd name="connsiteX0" fmla="*/ 5928851 w 11857702"/>
              <a:gd name="connsiteY0" fmla="*/ 11857702 h 11857702"/>
              <a:gd name="connsiteX1" fmla="*/ 0 w 11857702"/>
              <a:gd name="connsiteY1" fmla="*/ 5928851 h 11857702"/>
              <a:gd name="connsiteX2" fmla="*/ 5928851 w 11857702"/>
              <a:gd name="connsiteY2" fmla="*/ 0 h 11857702"/>
              <a:gd name="connsiteX3" fmla="*/ 11857702 w 11857702"/>
              <a:gd name="connsiteY3" fmla="*/ 5928851 h 11857702"/>
              <a:gd name="connsiteX0" fmla="*/ 0 w 11857702"/>
              <a:gd name="connsiteY0" fmla="*/ 5928851 h 5928851"/>
              <a:gd name="connsiteX1" fmla="*/ 5928851 w 11857702"/>
              <a:gd name="connsiteY1" fmla="*/ 0 h 5928851"/>
              <a:gd name="connsiteX2" fmla="*/ 11857702 w 11857702"/>
              <a:gd name="connsiteY2" fmla="*/ 5928851 h 5928851"/>
            </a:gdLst>
            <a:ahLst/>
            <a:cxnLst>
              <a:cxn ang="0">
                <a:pos x="connsiteX0" y="connsiteY0"/>
              </a:cxn>
              <a:cxn ang="0">
                <a:pos x="connsiteX1" y="connsiteY1"/>
              </a:cxn>
              <a:cxn ang="0">
                <a:pos x="connsiteX2" y="connsiteY2"/>
              </a:cxn>
            </a:cxnLst>
            <a:rect l="l" t="t" r="r" b="b"/>
            <a:pathLst>
              <a:path w="11857702" h="5928851">
                <a:moveTo>
                  <a:pt x="0" y="5928851"/>
                </a:moveTo>
                <a:cubicBezTo>
                  <a:pt x="0" y="2654437"/>
                  <a:pt x="2654437" y="0"/>
                  <a:pt x="5928851" y="0"/>
                </a:cubicBezTo>
                <a:cubicBezTo>
                  <a:pt x="9203265" y="0"/>
                  <a:pt x="11857702" y="2654437"/>
                  <a:pt x="11857702" y="5928851"/>
                </a:cubicBezTo>
              </a:path>
            </a:pathLst>
          </a:custGeom>
          <a:noFill/>
          <a:ln w="2540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graphicFrame>
        <p:nvGraphicFramePr>
          <p:cNvPr id="4" name="think-cell data - do not delete" hidden="1">
            <a:extLst>
              <a:ext uri="{FF2B5EF4-FFF2-40B4-BE49-F238E27FC236}">
                <a16:creationId xmlns:a16="http://schemas.microsoft.com/office/drawing/2014/main" id="{330EAF6C-8093-FBDF-6D53-8E99ADCB68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54" imgH="456" progId="TCLayout.ActiveDocument.1">
                  <p:embed/>
                </p:oleObj>
              </mc:Choice>
              <mc:Fallback>
                <p:oleObj name="think-cell Folie" r:id="rId3" imgW="454" imgH="456" progId="TCLayout.ActiveDocument.1">
                  <p:embed/>
                  <p:pic>
                    <p:nvPicPr>
                      <p:cNvPr id="4" name="think-cell data - do not delete" hidden="1">
                        <a:extLst>
                          <a:ext uri="{FF2B5EF4-FFF2-40B4-BE49-F238E27FC236}">
                            <a16:creationId xmlns:a16="http://schemas.microsoft.com/office/drawing/2014/main" id="{043E2AC2-FC1D-A186-6B4D-B0A6356CBD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39" name="Freeform: Shape 34">
            <a:extLst>
              <a:ext uri="{FF2B5EF4-FFF2-40B4-BE49-F238E27FC236}">
                <a16:creationId xmlns:a16="http://schemas.microsoft.com/office/drawing/2014/main" id="{2FC5BB1D-46AF-BEDB-18FD-D66897304919}"/>
              </a:ext>
            </a:extLst>
          </p:cNvPr>
          <p:cNvSpPr>
            <a:spLocks/>
          </p:cNvSpPr>
          <p:nvPr/>
        </p:nvSpPr>
        <p:spPr>
          <a:xfrm rot="7411294">
            <a:off x="1358695" y="3698456"/>
            <a:ext cx="2160000" cy="2160000"/>
          </a:xfrm>
          <a:custGeom>
            <a:avLst/>
            <a:gdLst>
              <a:gd name="connsiteX0" fmla="*/ 2667000 w 5334000"/>
              <a:gd name="connsiteY0" fmla="*/ 5829300 h 5829300"/>
              <a:gd name="connsiteX1" fmla="*/ 0 w 5334000"/>
              <a:gd name="connsiteY1" fmla="*/ 3162300 h 5829300"/>
              <a:gd name="connsiteX2" fmla="*/ 2129507 w 5334000"/>
              <a:gd name="connsiteY2" fmla="*/ 549484 h 5829300"/>
              <a:gd name="connsiteX3" fmla="*/ 2250794 w 5334000"/>
              <a:gd name="connsiteY3" fmla="*/ 530973 h 5829300"/>
              <a:gd name="connsiteX4" fmla="*/ 2666999 w 5334000"/>
              <a:gd name="connsiteY4" fmla="*/ 0 h 5829300"/>
              <a:gd name="connsiteX5" fmla="*/ 3083204 w 5334000"/>
              <a:gd name="connsiteY5" fmla="*/ 530973 h 5829300"/>
              <a:gd name="connsiteX6" fmla="*/ 3204493 w 5334000"/>
              <a:gd name="connsiteY6" fmla="*/ 549484 h 5829300"/>
              <a:gd name="connsiteX7" fmla="*/ 5334000 w 5334000"/>
              <a:gd name="connsiteY7" fmla="*/ 3162300 h 5829300"/>
              <a:gd name="connsiteX8" fmla="*/ 2667000 w 5334000"/>
              <a:gd name="connsiteY8" fmla="*/ 582930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5829300">
                <a:moveTo>
                  <a:pt x="2667000" y="5829300"/>
                </a:moveTo>
                <a:cubicBezTo>
                  <a:pt x="1194057" y="5829300"/>
                  <a:pt x="0" y="4635243"/>
                  <a:pt x="0" y="3162300"/>
                </a:cubicBezTo>
                <a:cubicBezTo>
                  <a:pt x="0" y="1873475"/>
                  <a:pt x="914200" y="798172"/>
                  <a:pt x="2129507" y="549484"/>
                </a:cubicBezTo>
                <a:lnTo>
                  <a:pt x="2250794" y="530973"/>
                </a:lnTo>
                <a:lnTo>
                  <a:pt x="2666999" y="0"/>
                </a:lnTo>
                <a:lnTo>
                  <a:pt x="3083204" y="530973"/>
                </a:lnTo>
                <a:lnTo>
                  <a:pt x="3204493" y="549484"/>
                </a:lnTo>
                <a:cubicBezTo>
                  <a:pt x="4419800" y="798172"/>
                  <a:pt x="5334000" y="1873475"/>
                  <a:pt x="5334000" y="3162300"/>
                </a:cubicBezTo>
                <a:cubicBezTo>
                  <a:pt x="5334000" y="4635243"/>
                  <a:pt x="4139943" y="5829300"/>
                  <a:pt x="2667000" y="5829300"/>
                </a:cubicBezTo>
                <a:close/>
              </a:path>
            </a:pathLst>
          </a:custGeom>
          <a:solidFill>
            <a:srgbClr val="62A844"/>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2140" name="Freeform: Shape 36">
            <a:extLst>
              <a:ext uri="{FF2B5EF4-FFF2-40B4-BE49-F238E27FC236}">
                <a16:creationId xmlns:a16="http://schemas.microsoft.com/office/drawing/2014/main" id="{1B501C07-B978-AE4E-A823-3271A65B2B3B}"/>
              </a:ext>
            </a:extLst>
          </p:cNvPr>
          <p:cNvSpPr/>
          <p:nvPr/>
        </p:nvSpPr>
        <p:spPr>
          <a:xfrm rot="11658822" flipH="1">
            <a:off x="6546359" y="1892748"/>
            <a:ext cx="2160000" cy="2160000"/>
          </a:xfrm>
          <a:custGeom>
            <a:avLst/>
            <a:gdLst>
              <a:gd name="connsiteX0" fmla="*/ 2667000 w 5334000"/>
              <a:gd name="connsiteY0" fmla="*/ 5829300 h 5829300"/>
              <a:gd name="connsiteX1" fmla="*/ 0 w 5334000"/>
              <a:gd name="connsiteY1" fmla="*/ 3162300 h 5829300"/>
              <a:gd name="connsiteX2" fmla="*/ 2129507 w 5334000"/>
              <a:gd name="connsiteY2" fmla="*/ 549484 h 5829300"/>
              <a:gd name="connsiteX3" fmla="*/ 2250794 w 5334000"/>
              <a:gd name="connsiteY3" fmla="*/ 530973 h 5829300"/>
              <a:gd name="connsiteX4" fmla="*/ 2666999 w 5334000"/>
              <a:gd name="connsiteY4" fmla="*/ 0 h 5829300"/>
              <a:gd name="connsiteX5" fmla="*/ 3083204 w 5334000"/>
              <a:gd name="connsiteY5" fmla="*/ 530973 h 5829300"/>
              <a:gd name="connsiteX6" fmla="*/ 3204493 w 5334000"/>
              <a:gd name="connsiteY6" fmla="*/ 549484 h 5829300"/>
              <a:gd name="connsiteX7" fmla="*/ 5334000 w 5334000"/>
              <a:gd name="connsiteY7" fmla="*/ 3162300 h 5829300"/>
              <a:gd name="connsiteX8" fmla="*/ 2667000 w 5334000"/>
              <a:gd name="connsiteY8" fmla="*/ 582930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5829300">
                <a:moveTo>
                  <a:pt x="2667000" y="5829300"/>
                </a:moveTo>
                <a:cubicBezTo>
                  <a:pt x="1194057" y="5829300"/>
                  <a:pt x="0" y="4635243"/>
                  <a:pt x="0" y="3162300"/>
                </a:cubicBezTo>
                <a:cubicBezTo>
                  <a:pt x="0" y="1873475"/>
                  <a:pt x="914200" y="798172"/>
                  <a:pt x="2129507" y="549484"/>
                </a:cubicBezTo>
                <a:lnTo>
                  <a:pt x="2250794" y="530973"/>
                </a:lnTo>
                <a:lnTo>
                  <a:pt x="2666999" y="0"/>
                </a:lnTo>
                <a:lnTo>
                  <a:pt x="3083204" y="530973"/>
                </a:lnTo>
                <a:lnTo>
                  <a:pt x="3204493" y="549484"/>
                </a:lnTo>
                <a:cubicBezTo>
                  <a:pt x="4419800" y="798172"/>
                  <a:pt x="5334000" y="1873475"/>
                  <a:pt x="5334000" y="3162300"/>
                </a:cubicBezTo>
                <a:cubicBezTo>
                  <a:pt x="5334000" y="4635243"/>
                  <a:pt x="4139943" y="5829300"/>
                  <a:pt x="2667000" y="5829300"/>
                </a:cubicBezTo>
                <a:close/>
              </a:path>
            </a:pathLst>
          </a:custGeom>
          <a:solidFill>
            <a:srgbClr val="0289AE"/>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000"/>
          </a:p>
        </p:txBody>
      </p:sp>
      <p:sp>
        <p:nvSpPr>
          <p:cNvPr id="2141" name="Freeform: Shape 37">
            <a:extLst>
              <a:ext uri="{FF2B5EF4-FFF2-40B4-BE49-F238E27FC236}">
                <a16:creationId xmlns:a16="http://schemas.microsoft.com/office/drawing/2014/main" id="{D3051F8A-C2B0-B9A1-803A-D1BC87A649F9}"/>
              </a:ext>
            </a:extLst>
          </p:cNvPr>
          <p:cNvSpPr/>
          <p:nvPr/>
        </p:nvSpPr>
        <p:spPr>
          <a:xfrm rot="9941178">
            <a:off x="3670949" y="1907268"/>
            <a:ext cx="2160000" cy="2160000"/>
          </a:xfrm>
          <a:custGeom>
            <a:avLst/>
            <a:gdLst>
              <a:gd name="connsiteX0" fmla="*/ 2667000 w 5334000"/>
              <a:gd name="connsiteY0" fmla="*/ 5829300 h 5829300"/>
              <a:gd name="connsiteX1" fmla="*/ 0 w 5334000"/>
              <a:gd name="connsiteY1" fmla="*/ 3162300 h 5829300"/>
              <a:gd name="connsiteX2" fmla="*/ 2129507 w 5334000"/>
              <a:gd name="connsiteY2" fmla="*/ 549484 h 5829300"/>
              <a:gd name="connsiteX3" fmla="*/ 2250794 w 5334000"/>
              <a:gd name="connsiteY3" fmla="*/ 530973 h 5829300"/>
              <a:gd name="connsiteX4" fmla="*/ 2666999 w 5334000"/>
              <a:gd name="connsiteY4" fmla="*/ 0 h 5829300"/>
              <a:gd name="connsiteX5" fmla="*/ 3083204 w 5334000"/>
              <a:gd name="connsiteY5" fmla="*/ 530973 h 5829300"/>
              <a:gd name="connsiteX6" fmla="*/ 3204493 w 5334000"/>
              <a:gd name="connsiteY6" fmla="*/ 549484 h 5829300"/>
              <a:gd name="connsiteX7" fmla="*/ 5334000 w 5334000"/>
              <a:gd name="connsiteY7" fmla="*/ 3162300 h 5829300"/>
              <a:gd name="connsiteX8" fmla="*/ 2667000 w 5334000"/>
              <a:gd name="connsiteY8" fmla="*/ 582930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5829300">
                <a:moveTo>
                  <a:pt x="2667000" y="5829300"/>
                </a:moveTo>
                <a:cubicBezTo>
                  <a:pt x="1194057" y="5829300"/>
                  <a:pt x="0" y="4635243"/>
                  <a:pt x="0" y="3162300"/>
                </a:cubicBezTo>
                <a:cubicBezTo>
                  <a:pt x="0" y="1873475"/>
                  <a:pt x="914200" y="798172"/>
                  <a:pt x="2129507" y="549484"/>
                </a:cubicBezTo>
                <a:lnTo>
                  <a:pt x="2250794" y="530973"/>
                </a:lnTo>
                <a:lnTo>
                  <a:pt x="2666999" y="0"/>
                </a:lnTo>
                <a:lnTo>
                  <a:pt x="3083204" y="530973"/>
                </a:lnTo>
                <a:lnTo>
                  <a:pt x="3204493" y="549484"/>
                </a:lnTo>
                <a:cubicBezTo>
                  <a:pt x="4419800" y="798172"/>
                  <a:pt x="5334000" y="1873475"/>
                  <a:pt x="5334000" y="3162300"/>
                </a:cubicBezTo>
                <a:cubicBezTo>
                  <a:pt x="5334000" y="4635243"/>
                  <a:pt x="4139943" y="5829300"/>
                  <a:pt x="2667000" y="5829300"/>
                </a:cubicBezTo>
                <a:close/>
              </a:path>
            </a:pathLst>
          </a:custGeom>
          <a:solidFill>
            <a:srgbClr val="3D824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000"/>
          </a:p>
        </p:txBody>
      </p:sp>
      <p:sp>
        <p:nvSpPr>
          <p:cNvPr id="2142" name="Freeform: Shape 39">
            <a:extLst>
              <a:ext uri="{FF2B5EF4-FFF2-40B4-BE49-F238E27FC236}">
                <a16:creationId xmlns:a16="http://schemas.microsoft.com/office/drawing/2014/main" id="{58F42679-8AC4-48F0-AEF5-C00C84C62160}"/>
              </a:ext>
            </a:extLst>
          </p:cNvPr>
          <p:cNvSpPr/>
          <p:nvPr/>
        </p:nvSpPr>
        <p:spPr>
          <a:xfrm rot="14188706" flipH="1">
            <a:off x="8723696" y="3512071"/>
            <a:ext cx="2160000" cy="2160000"/>
          </a:xfrm>
          <a:custGeom>
            <a:avLst/>
            <a:gdLst>
              <a:gd name="connsiteX0" fmla="*/ 2667000 w 5334000"/>
              <a:gd name="connsiteY0" fmla="*/ 5829300 h 5829300"/>
              <a:gd name="connsiteX1" fmla="*/ 0 w 5334000"/>
              <a:gd name="connsiteY1" fmla="*/ 3162300 h 5829300"/>
              <a:gd name="connsiteX2" fmla="*/ 2129507 w 5334000"/>
              <a:gd name="connsiteY2" fmla="*/ 549484 h 5829300"/>
              <a:gd name="connsiteX3" fmla="*/ 2250794 w 5334000"/>
              <a:gd name="connsiteY3" fmla="*/ 530973 h 5829300"/>
              <a:gd name="connsiteX4" fmla="*/ 2666999 w 5334000"/>
              <a:gd name="connsiteY4" fmla="*/ 0 h 5829300"/>
              <a:gd name="connsiteX5" fmla="*/ 3083204 w 5334000"/>
              <a:gd name="connsiteY5" fmla="*/ 530973 h 5829300"/>
              <a:gd name="connsiteX6" fmla="*/ 3204493 w 5334000"/>
              <a:gd name="connsiteY6" fmla="*/ 549484 h 5829300"/>
              <a:gd name="connsiteX7" fmla="*/ 5334000 w 5334000"/>
              <a:gd name="connsiteY7" fmla="*/ 3162300 h 5829300"/>
              <a:gd name="connsiteX8" fmla="*/ 2667000 w 5334000"/>
              <a:gd name="connsiteY8" fmla="*/ 582930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5829300">
                <a:moveTo>
                  <a:pt x="2667000" y="5829300"/>
                </a:moveTo>
                <a:cubicBezTo>
                  <a:pt x="1194057" y="5829300"/>
                  <a:pt x="0" y="4635243"/>
                  <a:pt x="0" y="3162300"/>
                </a:cubicBezTo>
                <a:cubicBezTo>
                  <a:pt x="0" y="1873475"/>
                  <a:pt x="914200" y="798172"/>
                  <a:pt x="2129507" y="549484"/>
                </a:cubicBezTo>
                <a:lnTo>
                  <a:pt x="2250794" y="530973"/>
                </a:lnTo>
                <a:lnTo>
                  <a:pt x="2666999" y="0"/>
                </a:lnTo>
                <a:lnTo>
                  <a:pt x="3083204" y="530973"/>
                </a:lnTo>
                <a:lnTo>
                  <a:pt x="3204493" y="549484"/>
                </a:lnTo>
                <a:cubicBezTo>
                  <a:pt x="4419800" y="798172"/>
                  <a:pt x="5334000" y="1873475"/>
                  <a:pt x="5334000" y="3162300"/>
                </a:cubicBezTo>
                <a:cubicBezTo>
                  <a:pt x="5334000" y="4635243"/>
                  <a:pt x="4139943" y="5829300"/>
                  <a:pt x="2667000" y="5829300"/>
                </a:cubicBezTo>
                <a:close/>
              </a:path>
            </a:pathLst>
          </a:custGeom>
          <a:solidFill>
            <a:srgbClr val="06677F"/>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000"/>
          </a:p>
        </p:txBody>
      </p:sp>
      <p:sp>
        <p:nvSpPr>
          <p:cNvPr id="2143" name="TextBox 40">
            <a:extLst>
              <a:ext uri="{FF2B5EF4-FFF2-40B4-BE49-F238E27FC236}">
                <a16:creationId xmlns:a16="http://schemas.microsoft.com/office/drawing/2014/main" id="{5302C9BF-BCA1-494F-6211-7288095E9884}"/>
              </a:ext>
            </a:extLst>
          </p:cNvPr>
          <p:cNvSpPr txBox="1"/>
          <p:nvPr/>
        </p:nvSpPr>
        <p:spPr>
          <a:xfrm>
            <a:off x="1479760" y="4300751"/>
            <a:ext cx="1745446" cy="907364"/>
          </a:xfrm>
          <a:prstGeom prst="rect">
            <a:avLst/>
          </a:prstGeom>
          <a:noFill/>
        </p:spPr>
        <p:txBody>
          <a:bodyPr wrap="square">
            <a:spAutoFit/>
          </a:bodyPr>
          <a:lstStyle/>
          <a:p>
            <a:pPr algn="ctr">
              <a:lnSpc>
                <a:spcPts val="2140"/>
              </a:lnSpc>
              <a:defRPr/>
            </a:pPr>
            <a:r>
              <a:rPr lang="en-US" sz="2200" b="1" dirty="0">
                <a:solidFill>
                  <a:schemeClr val="bg1"/>
                </a:solidFill>
                <a:ea typeface="Roboto Cn" pitchFamily="2" charset="0"/>
              </a:rPr>
              <a:t>Seasonal Breakfast</a:t>
            </a:r>
          </a:p>
          <a:p>
            <a:pPr algn="ctr">
              <a:lnSpc>
                <a:spcPts val="2140"/>
              </a:lnSpc>
              <a:defRPr/>
            </a:pPr>
            <a:endParaRPr lang="en-US" sz="2200" b="1" dirty="0">
              <a:solidFill>
                <a:schemeClr val="bg1"/>
              </a:solidFill>
              <a:ea typeface="Roboto Cn" pitchFamily="2" charset="0"/>
            </a:endParaRPr>
          </a:p>
        </p:txBody>
      </p:sp>
      <p:sp>
        <p:nvSpPr>
          <p:cNvPr id="2144" name="TextBox 41">
            <a:extLst>
              <a:ext uri="{FF2B5EF4-FFF2-40B4-BE49-F238E27FC236}">
                <a16:creationId xmlns:a16="http://schemas.microsoft.com/office/drawing/2014/main" id="{07BA0BB1-D76F-DAD8-2FF9-924050F6DC64}"/>
              </a:ext>
            </a:extLst>
          </p:cNvPr>
          <p:cNvSpPr txBox="1"/>
          <p:nvPr/>
        </p:nvSpPr>
        <p:spPr>
          <a:xfrm>
            <a:off x="3823732" y="2614729"/>
            <a:ext cx="1844894" cy="638060"/>
          </a:xfrm>
          <a:prstGeom prst="rect">
            <a:avLst/>
          </a:prstGeom>
          <a:noFill/>
        </p:spPr>
        <p:txBody>
          <a:bodyPr wrap="square">
            <a:spAutoFit/>
          </a:bodyPr>
          <a:lstStyle>
            <a:defPPr>
              <a:defRPr lang="en-US"/>
            </a:defPPr>
            <a:lvl1pPr>
              <a:defRPr sz="3200" baseline="30000">
                <a:solidFill>
                  <a:schemeClr val="bg1"/>
                </a:solidFill>
                <a:ea typeface="Roboto Cn" pitchFamily="2" charset="0"/>
              </a:defRPr>
            </a:lvl1pPr>
          </a:lstStyle>
          <a:p>
            <a:pPr algn="ctr">
              <a:lnSpc>
                <a:spcPts val="2140"/>
              </a:lnSpc>
            </a:pPr>
            <a:r>
              <a:rPr lang="en-US" sz="2200" b="1" baseline="0" dirty="0"/>
              <a:t>Eco-Challenge at Reception</a:t>
            </a:r>
          </a:p>
        </p:txBody>
      </p:sp>
      <p:sp>
        <p:nvSpPr>
          <p:cNvPr id="2145" name="TextBox 42">
            <a:extLst>
              <a:ext uri="{FF2B5EF4-FFF2-40B4-BE49-F238E27FC236}">
                <a16:creationId xmlns:a16="http://schemas.microsoft.com/office/drawing/2014/main" id="{6BC253BF-AC70-99F5-6B86-B068CE8CA767}"/>
              </a:ext>
            </a:extLst>
          </p:cNvPr>
          <p:cNvSpPr txBox="1"/>
          <p:nvPr/>
        </p:nvSpPr>
        <p:spPr>
          <a:xfrm>
            <a:off x="6740904" y="2614729"/>
            <a:ext cx="1899319" cy="638060"/>
          </a:xfrm>
          <a:prstGeom prst="rect">
            <a:avLst/>
          </a:prstGeom>
          <a:noFill/>
        </p:spPr>
        <p:txBody>
          <a:bodyPr wrap="square">
            <a:spAutoFit/>
          </a:bodyPr>
          <a:lstStyle>
            <a:defPPr>
              <a:defRPr lang="en-US"/>
            </a:defPPr>
            <a:lvl1pPr>
              <a:defRPr sz="3200" baseline="30000">
                <a:solidFill>
                  <a:schemeClr val="bg1"/>
                </a:solidFill>
                <a:ea typeface="Roboto Cn" pitchFamily="2" charset="0"/>
              </a:defRPr>
            </a:lvl1pPr>
          </a:lstStyle>
          <a:p>
            <a:pPr algn="ctr">
              <a:lnSpc>
                <a:spcPts val="2140"/>
              </a:lnSpc>
            </a:pPr>
            <a:r>
              <a:rPr lang="de-DE" sz="2200" b="1" baseline="0" dirty="0"/>
              <a:t>Housekeeping Choice</a:t>
            </a:r>
            <a:endParaRPr lang="en-US" sz="2200" b="1" baseline="0" dirty="0"/>
          </a:p>
        </p:txBody>
      </p:sp>
      <p:sp>
        <p:nvSpPr>
          <p:cNvPr id="2146" name="TextBox 44">
            <a:extLst>
              <a:ext uri="{FF2B5EF4-FFF2-40B4-BE49-F238E27FC236}">
                <a16:creationId xmlns:a16="http://schemas.microsoft.com/office/drawing/2014/main" id="{5312FB49-926A-07EF-18B5-9C311E9F4456}"/>
              </a:ext>
            </a:extLst>
          </p:cNvPr>
          <p:cNvSpPr txBox="1"/>
          <p:nvPr/>
        </p:nvSpPr>
        <p:spPr>
          <a:xfrm>
            <a:off x="9123802" y="4024279"/>
            <a:ext cx="1599270" cy="1176669"/>
          </a:xfrm>
          <a:prstGeom prst="rect">
            <a:avLst/>
          </a:prstGeom>
          <a:noFill/>
        </p:spPr>
        <p:txBody>
          <a:bodyPr wrap="square">
            <a:spAutoFit/>
          </a:bodyPr>
          <a:lstStyle>
            <a:defPPr>
              <a:defRPr lang="en-US"/>
            </a:defPPr>
            <a:lvl1pPr>
              <a:defRPr sz="3200" baseline="30000">
                <a:solidFill>
                  <a:schemeClr val="bg1"/>
                </a:solidFill>
                <a:ea typeface="Roboto Cn" pitchFamily="2" charset="0"/>
              </a:defRPr>
            </a:lvl1pPr>
          </a:lstStyle>
          <a:p>
            <a:pPr algn="ctr">
              <a:lnSpc>
                <a:spcPts val="2140"/>
              </a:lnSpc>
            </a:pPr>
            <a:r>
              <a:rPr lang="de-DE" sz="2200" b="1" baseline="0" dirty="0" err="1"/>
              <a:t>Local</a:t>
            </a:r>
            <a:r>
              <a:rPr lang="de-DE" sz="2200" b="1" baseline="0" dirty="0"/>
              <a:t> Mobility Welcome Pack</a:t>
            </a:r>
            <a:endParaRPr lang="en-US" sz="2200" b="1" baseline="0" dirty="0"/>
          </a:p>
        </p:txBody>
      </p:sp>
      <p:grpSp>
        <p:nvGrpSpPr>
          <p:cNvPr id="5" name="Group 4">
            <a:extLst>
              <a:ext uri="{FF2B5EF4-FFF2-40B4-BE49-F238E27FC236}">
                <a16:creationId xmlns:a16="http://schemas.microsoft.com/office/drawing/2014/main" id="{C7E3A6E1-3108-3F62-71FF-4ED67E763074}"/>
              </a:ext>
            </a:extLst>
          </p:cNvPr>
          <p:cNvGrpSpPr/>
          <p:nvPr/>
        </p:nvGrpSpPr>
        <p:grpSpPr>
          <a:xfrm>
            <a:off x="1464318" y="5231649"/>
            <a:ext cx="540000" cy="540000"/>
            <a:chOff x="3706278" y="5290063"/>
            <a:chExt cx="540000" cy="540000"/>
          </a:xfrm>
        </p:grpSpPr>
        <p:sp>
          <p:nvSpPr>
            <p:cNvPr id="2149" name="Oval 73">
              <a:extLst>
                <a:ext uri="{FF2B5EF4-FFF2-40B4-BE49-F238E27FC236}">
                  <a16:creationId xmlns:a16="http://schemas.microsoft.com/office/drawing/2014/main" id="{44399CCD-B30C-8D63-5E7C-19187FF70C2C}"/>
                </a:ext>
              </a:extLst>
            </p:cNvPr>
            <p:cNvSpPr/>
            <p:nvPr/>
          </p:nvSpPr>
          <p:spPr>
            <a:xfrm>
              <a:off x="3706278" y="5290063"/>
              <a:ext cx="540000" cy="540000"/>
            </a:xfrm>
            <a:prstGeom prst="ellipse">
              <a:avLst/>
            </a:prstGeom>
            <a:solidFill>
              <a:schemeClr val="bg1"/>
            </a:solidFill>
            <a:ln>
              <a:solidFill>
                <a:srgbClr val="62A844"/>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2152" name="TextBox 78">
              <a:extLst>
                <a:ext uri="{FF2B5EF4-FFF2-40B4-BE49-F238E27FC236}">
                  <a16:creationId xmlns:a16="http://schemas.microsoft.com/office/drawing/2014/main" id="{2B910A43-F59C-56BD-CE5C-917A943E7E18}"/>
                </a:ext>
              </a:extLst>
            </p:cNvPr>
            <p:cNvSpPr txBox="1"/>
            <p:nvPr/>
          </p:nvSpPr>
          <p:spPr>
            <a:xfrm>
              <a:off x="3721720" y="5386948"/>
              <a:ext cx="509117" cy="397032"/>
            </a:xfrm>
            <a:prstGeom prst="rect">
              <a:avLst/>
            </a:prstGeom>
            <a:noFill/>
          </p:spPr>
          <p:txBody>
            <a:bodyPr wrap="square">
              <a:spAutoFit/>
            </a:bodyPr>
            <a:lstStyle/>
            <a:p>
              <a:pPr algn="ctr">
                <a:lnSpc>
                  <a:spcPct val="90000"/>
                </a:lnSpc>
                <a:defRPr/>
              </a:pPr>
              <a:r>
                <a:rPr lang="ru-RU" sz="2200" b="1" dirty="0">
                  <a:solidFill>
                    <a:srgbClr val="62A844"/>
                  </a:solidFill>
                  <a:ea typeface="Roboto" pitchFamily="2" charset="0"/>
                </a:rPr>
                <a:t>01</a:t>
              </a:r>
            </a:p>
          </p:txBody>
        </p:sp>
      </p:grpSp>
      <p:sp>
        <p:nvSpPr>
          <p:cNvPr id="2156" name="TextBox 86">
            <a:extLst>
              <a:ext uri="{FF2B5EF4-FFF2-40B4-BE49-F238E27FC236}">
                <a16:creationId xmlns:a16="http://schemas.microsoft.com/office/drawing/2014/main" id="{9A0E743B-9400-D3F9-B9B7-DF1702258A5A}"/>
              </a:ext>
            </a:extLst>
          </p:cNvPr>
          <p:cNvSpPr txBox="1"/>
          <p:nvPr/>
        </p:nvSpPr>
        <p:spPr>
          <a:xfrm>
            <a:off x="4341388" y="5103991"/>
            <a:ext cx="4291340" cy="1374735"/>
          </a:xfrm>
          <a:prstGeom prst="rect">
            <a:avLst/>
          </a:prstGeom>
          <a:noFill/>
        </p:spPr>
        <p:txBody>
          <a:bodyPr wrap="square">
            <a:spAutoFit/>
          </a:bodyPr>
          <a:lstStyle/>
          <a:p>
            <a:pPr>
              <a:lnSpc>
                <a:spcPts val="1960"/>
              </a:lnSpc>
            </a:pPr>
            <a:r>
              <a:rPr lang="en-US" sz="2000" b="1" dirty="0">
                <a:solidFill>
                  <a:srgbClr val="0289AE"/>
                </a:solidFill>
              </a:rPr>
              <a:t>Discussion prompt - Which of these is:</a:t>
            </a:r>
          </a:p>
          <a:p>
            <a:pPr marL="285750" indent="-285750">
              <a:lnSpc>
                <a:spcPts val="1960"/>
              </a:lnSpc>
              <a:buClr>
                <a:srgbClr val="62A844"/>
              </a:buClr>
              <a:buFont typeface="Arial" panose="020B0604020202020204" pitchFamily="34" charset="0"/>
              <a:buChar char="•"/>
            </a:pPr>
            <a:r>
              <a:rPr lang="en-US" dirty="0">
                <a:solidFill>
                  <a:srgbClr val="262626"/>
                </a:solidFill>
              </a:rPr>
              <a:t>most visible to guests?</a:t>
            </a:r>
          </a:p>
          <a:p>
            <a:pPr marL="285750" indent="-285750">
              <a:lnSpc>
                <a:spcPts val="1960"/>
              </a:lnSpc>
              <a:buClr>
                <a:srgbClr val="62A844"/>
              </a:buClr>
              <a:buFont typeface="Arial" panose="020B0604020202020204" pitchFamily="34" charset="0"/>
              <a:buChar char="•"/>
            </a:pPr>
            <a:r>
              <a:rPr lang="en-US" dirty="0">
                <a:solidFill>
                  <a:srgbClr val="262626"/>
                </a:solidFill>
              </a:rPr>
              <a:t>easiest to implement?</a:t>
            </a:r>
          </a:p>
          <a:p>
            <a:pPr marL="285750" indent="-285750">
              <a:lnSpc>
                <a:spcPts val="1960"/>
              </a:lnSpc>
              <a:buClr>
                <a:srgbClr val="62A844"/>
              </a:buClr>
              <a:buFont typeface="Arial" panose="020B0604020202020204" pitchFamily="34" charset="0"/>
              <a:buChar char="•"/>
            </a:pPr>
            <a:r>
              <a:rPr lang="en-US" dirty="0">
                <a:solidFill>
                  <a:srgbClr val="262626"/>
                </a:solidFill>
              </a:rPr>
              <a:t>most likely to change </a:t>
            </a:r>
            <a:r>
              <a:rPr lang="en-US" dirty="0" err="1">
                <a:solidFill>
                  <a:srgbClr val="262626"/>
                </a:solidFill>
              </a:rPr>
              <a:t>behaviour</a:t>
            </a:r>
            <a:r>
              <a:rPr lang="en-US" dirty="0">
                <a:solidFill>
                  <a:srgbClr val="262626"/>
                </a:solidFill>
              </a:rPr>
              <a:t>?</a:t>
            </a:r>
          </a:p>
          <a:p>
            <a:pPr marL="285750" indent="-285750">
              <a:lnSpc>
                <a:spcPts val="1960"/>
              </a:lnSpc>
              <a:buClr>
                <a:srgbClr val="62A844"/>
              </a:buClr>
              <a:buFont typeface="Arial" panose="020B0604020202020204" pitchFamily="34" charset="0"/>
              <a:buChar char="•"/>
            </a:pPr>
            <a:r>
              <a:rPr lang="en-US" dirty="0">
                <a:solidFill>
                  <a:srgbClr val="262626"/>
                </a:solidFill>
              </a:rPr>
              <a:t>most likely to build trust?</a:t>
            </a:r>
          </a:p>
        </p:txBody>
      </p:sp>
      <p:sp>
        <p:nvSpPr>
          <p:cNvPr id="2158" name="TextBox 40">
            <a:extLst>
              <a:ext uri="{FF2B5EF4-FFF2-40B4-BE49-F238E27FC236}">
                <a16:creationId xmlns:a16="http://schemas.microsoft.com/office/drawing/2014/main" id="{97946812-8995-8538-D8D9-710093BA020A}"/>
              </a:ext>
            </a:extLst>
          </p:cNvPr>
          <p:cNvSpPr txBox="1"/>
          <p:nvPr/>
        </p:nvSpPr>
        <p:spPr>
          <a:xfrm>
            <a:off x="244464" y="2525101"/>
            <a:ext cx="2590280" cy="1118255"/>
          </a:xfrm>
          <a:prstGeom prst="rect">
            <a:avLst/>
          </a:prstGeom>
          <a:noFill/>
        </p:spPr>
        <p:txBody>
          <a:bodyPr wrap="square">
            <a:spAutoFit/>
          </a:bodyPr>
          <a:lstStyle/>
          <a:p>
            <a:pPr algn="ctr">
              <a:lnSpc>
                <a:spcPts val="1960"/>
              </a:lnSpc>
              <a:defRPr/>
            </a:pPr>
            <a:r>
              <a:rPr lang="en-US" dirty="0">
                <a:solidFill>
                  <a:srgbClr val="262626"/>
                </a:solidFill>
              </a:rPr>
              <a:t>A breakfast buffet highlights seasonal local ingredients and explains where they come from.</a:t>
            </a:r>
            <a:endParaRPr lang="en-US" baseline="30000" dirty="0">
              <a:solidFill>
                <a:srgbClr val="262626"/>
              </a:solidFill>
              <a:ea typeface="Roboto Cn" pitchFamily="2" charset="0"/>
            </a:endParaRPr>
          </a:p>
        </p:txBody>
      </p:sp>
      <p:sp>
        <p:nvSpPr>
          <p:cNvPr id="2159" name="TextBox 40">
            <a:extLst>
              <a:ext uri="{FF2B5EF4-FFF2-40B4-BE49-F238E27FC236}">
                <a16:creationId xmlns:a16="http://schemas.microsoft.com/office/drawing/2014/main" id="{E19530F0-62CA-AA04-57C8-B9E7ADE64491}"/>
              </a:ext>
            </a:extLst>
          </p:cNvPr>
          <p:cNvSpPr txBox="1"/>
          <p:nvPr/>
        </p:nvSpPr>
        <p:spPr>
          <a:xfrm>
            <a:off x="1446108" y="1173854"/>
            <a:ext cx="3126156" cy="861774"/>
          </a:xfrm>
          <a:prstGeom prst="rect">
            <a:avLst/>
          </a:prstGeom>
          <a:noFill/>
        </p:spPr>
        <p:txBody>
          <a:bodyPr wrap="square">
            <a:spAutoFit/>
          </a:bodyPr>
          <a:lstStyle/>
          <a:p>
            <a:pPr algn="ctr">
              <a:lnSpc>
                <a:spcPts val="1960"/>
              </a:lnSpc>
              <a:defRPr/>
            </a:pPr>
            <a:r>
              <a:rPr lang="en-US" dirty="0">
                <a:solidFill>
                  <a:srgbClr val="262626"/>
                </a:solidFill>
              </a:rPr>
              <a:t>Guests are invited to join a small sustainability challenge with a simple reward.</a:t>
            </a:r>
            <a:endParaRPr lang="en-US" baseline="30000" dirty="0">
              <a:solidFill>
                <a:srgbClr val="262626"/>
              </a:solidFill>
              <a:ea typeface="Roboto Cn" pitchFamily="2" charset="0"/>
            </a:endParaRPr>
          </a:p>
        </p:txBody>
      </p:sp>
      <p:sp>
        <p:nvSpPr>
          <p:cNvPr id="2160" name="TextBox 40">
            <a:extLst>
              <a:ext uri="{FF2B5EF4-FFF2-40B4-BE49-F238E27FC236}">
                <a16:creationId xmlns:a16="http://schemas.microsoft.com/office/drawing/2014/main" id="{6583AC25-C79D-8CD3-C39C-5CE758919CFC}"/>
              </a:ext>
            </a:extLst>
          </p:cNvPr>
          <p:cNvSpPr txBox="1"/>
          <p:nvPr/>
        </p:nvSpPr>
        <p:spPr>
          <a:xfrm>
            <a:off x="8098370" y="1167505"/>
            <a:ext cx="2806943" cy="861774"/>
          </a:xfrm>
          <a:prstGeom prst="rect">
            <a:avLst/>
          </a:prstGeom>
          <a:noFill/>
        </p:spPr>
        <p:txBody>
          <a:bodyPr wrap="square">
            <a:spAutoFit/>
          </a:bodyPr>
          <a:lstStyle/>
          <a:p>
            <a:pPr algn="ctr">
              <a:lnSpc>
                <a:spcPts val="1960"/>
              </a:lnSpc>
              <a:defRPr/>
            </a:pPr>
            <a:r>
              <a:rPr lang="en-US" dirty="0">
                <a:solidFill>
                  <a:srgbClr val="262626"/>
                </a:solidFill>
              </a:rPr>
              <a:t>Room signage gives guests a clear, respectful choice about service frequency.</a:t>
            </a:r>
            <a:endParaRPr lang="en-US" baseline="30000" dirty="0">
              <a:solidFill>
                <a:srgbClr val="262626"/>
              </a:solidFill>
              <a:ea typeface="Roboto Cn" pitchFamily="2" charset="0"/>
            </a:endParaRPr>
          </a:p>
        </p:txBody>
      </p:sp>
      <p:sp>
        <p:nvSpPr>
          <p:cNvPr id="2161" name="TextBox 40">
            <a:extLst>
              <a:ext uri="{FF2B5EF4-FFF2-40B4-BE49-F238E27FC236}">
                <a16:creationId xmlns:a16="http://schemas.microsoft.com/office/drawing/2014/main" id="{404F9509-07C7-242D-4260-86C5A2FFABFC}"/>
              </a:ext>
            </a:extLst>
          </p:cNvPr>
          <p:cNvSpPr txBox="1"/>
          <p:nvPr/>
        </p:nvSpPr>
        <p:spPr>
          <a:xfrm>
            <a:off x="10040019" y="2405891"/>
            <a:ext cx="2040272" cy="1118255"/>
          </a:xfrm>
          <a:prstGeom prst="rect">
            <a:avLst/>
          </a:prstGeom>
          <a:noFill/>
        </p:spPr>
        <p:txBody>
          <a:bodyPr wrap="square">
            <a:spAutoFit/>
          </a:bodyPr>
          <a:lstStyle/>
          <a:p>
            <a:pPr algn="ctr">
              <a:lnSpc>
                <a:spcPts val="1960"/>
              </a:lnSpc>
              <a:defRPr/>
            </a:pPr>
            <a:r>
              <a:rPr lang="en-US" dirty="0">
                <a:solidFill>
                  <a:srgbClr val="262626"/>
                </a:solidFill>
              </a:rPr>
              <a:t>Arrival information includes walking, cycling, and local transport options.</a:t>
            </a:r>
            <a:endParaRPr lang="en-US" baseline="30000" dirty="0">
              <a:solidFill>
                <a:srgbClr val="262626"/>
              </a:solidFill>
              <a:ea typeface="Roboto Cn" pitchFamily="2" charset="0"/>
            </a:endParaRPr>
          </a:p>
        </p:txBody>
      </p:sp>
      <p:sp>
        <p:nvSpPr>
          <p:cNvPr id="2" name="Text Placeholder 11">
            <a:extLst>
              <a:ext uri="{FF2B5EF4-FFF2-40B4-BE49-F238E27FC236}">
                <a16:creationId xmlns:a16="http://schemas.microsoft.com/office/drawing/2014/main" id="{36AE24B6-99BC-8089-6633-C6BC95BF7A25}"/>
              </a:ext>
            </a:extLst>
          </p:cNvPr>
          <p:cNvSpPr txBox="1">
            <a:spLocks/>
          </p:cNvSpPr>
          <p:nvPr/>
        </p:nvSpPr>
        <p:spPr>
          <a:xfrm>
            <a:off x="429115" y="240481"/>
            <a:ext cx="869468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Silent Sustainability vs Visible Sustainabilit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5F898815-5A10-BC8E-9901-3CD2B0E5B6B2}"/>
              </a:ext>
            </a:extLst>
          </p:cNvPr>
          <p:cNvCxnSpPr>
            <a:cxnSpLocks/>
          </p:cNvCxnSpPr>
          <p:nvPr/>
        </p:nvCxnSpPr>
        <p:spPr>
          <a:xfrm>
            <a:off x="0" y="982453"/>
            <a:ext cx="884356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B65BC6E5-352C-2A43-4CEE-42A7D46B3D5A}"/>
              </a:ext>
            </a:extLst>
          </p:cNvPr>
          <p:cNvGrpSpPr/>
          <p:nvPr/>
        </p:nvGrpSpPr>
        <p:grpSpPr>
          <a:xfrm>
            <a:off x="3519721" y="3299559"/>
            <a:ext cx="540000" cy="540000"/>
            <a:chOff x="3706278" y="5290063"/>
            <a:chExt cx="540000" cy="540000"/>
          </a:xfrm>
        </p:grpSpPr>
        <p:sp>
          <p:nvSpPr>
            <p:cNvPr id="9" name="Oval 73">
              <a:extLst>
                <a:ext uri="{FF2B5EF4-FFF2-40B4-BE49-F238E27FC236}">
                  <a16:creationId xmlns:a16="http://schemas.microsoft.com/office/drawing/2014/main" id="{E95CBC63-1CBC-3A7C-06BF-8FBDDA7CAFB0}"/>
                </a:ext>
              </a:extLst>
            </p:cNvPr>
            <p:cNvSpPr/>
            <p:nvPr/>
          </p:nvSpPr>
          <p:spPr>
            <a:xfrm>
              <a:off x="3706278" y="5290063"/>
              <a:ext cx="540000" cy="540000"/>
            </a:xfrm>
            <a:prstGeom prst="ellipse">
              <a:avLst/>
            </a:prstGeom>
            <a:solidFill>
              <a:schemeClr val="bg1"/>
            </a:solidFill>
            <a:ln>
              <a:solidFill>
                <a:srgbClr val="3D824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dirty="0"/>
            </a:p>
          </p:txBody>
        </p:sp>
        <p:sp>
          <p:nvSpPr>
            <p:cNvPr id="10" name="TextBox 78">
              <a:extLst>
                <a:ext uri="{FF2B5EF4-FFF2-40B4-BE49-F238E27FC236}">
                  <a16:creationId xmlns:a16="http://schemas.microsoft.com/office/drawing/2014/main" id="{1049576F-D747-5049-95E3-EC0A878C3126}"/>
                </a:ext>
              </a:extLst>
            </p:cNvPr>
            <p:cNvSpPr txBox="1"/>
            <p:nvPr/>
          </p:nvSpPr>
          <p:spPr>
            <a:xfrm>
              <a:off x="3721720" y="5386948"/>
              <a:ext cx="509117" cy="397032"/>
            </a:xfrm>
            <a:prstGeom prst="rect">
              <a:avLst/>
            </a:prstGeom>
            <a:noFill/>
          </p:spPr>
          <p:txBody>
            <a:bodyPr wrap="square">
              <a:spAutoFit/>
            </a:bodyPr>
            <a:lstStyle/>
            <a:p>
              <a:pPr algn="ctr">
                <a:lnSpc>
                  <a:spcPct val="90000"/>
                </a:lnSpc>
                <a:defRPr/>
              </a:pPr>
              <a:r>
                <a:rPr lang="en-IE" sz="2200" b="1" dirty="0">
                  <a:solidFill>
                    <a:srgbClr val="3D8241"/>
                  </a:solidFill>
                  <a:ea typeface="Roboto" pitchFamily="2" charset="0"/>
                </a:rPr>
                <a:t>02</a:t>
              </a:r>
              <a:endParaRPr lang="ru-RU" sz="2200" b="1" dirty="0">
                <a:solidFill>
                  <a:srgbClr val="3D8241"/>
                </a:solidFill>
                <a:ea typeface="Roboto" pitchFamily="2" charset="0"/>
              </a:endParaRPr>
            </a:p>
          </p:txBody>
        </p:sp>
      </p:grpSp>
      <p:grpSp>
        <p:nvGrpSpPr>
          <p:cNvPr id="11" name="Group 10">
            <a:extLst>
              <a:ext uri="{FF2B5EF4-FFF2-40B4-BE49-F238E27FC236}">
                <a16:creationId xmlns:a16="http://schemas.microsoft.com/office/drawing/2014/main" id="{20B6D996-7E7C-DD38-ACBF-C83BA68E5FFA}"/>
              </a:ext>
            </a:extLst>
          </p:cNvPr>
          <p:cNvGrpSpPr/>
          <p:nvPr/>
        </p:nvGrpSpPr>
        <p:grpSpPr>
          <a:xfrm>
            <a:off x="6267724" y="2437641"/>
            <a:ext cx="540000" cy="540000"/>
            <a:chOff x="3706278" y="5290063"/>
            <a:chExt cx="540000" cy="540000"/>
          </a:xfrm>
        </p:grpSpPr>
        <p:sp>
          <p:nvSpPr>
            <p:cNvPr id="12" name="Oval 73">
              <a:extLst>
                <a:ext uri="{FF2B5EF4-FFF2-40B4-BE49-F238E27FC236}">
                  <a16:creationId xmlns:a16="http://schemas.microsoft.com/office/drawing/2014/main" id="{CD6CC534-0AC6-0CD2-2858-2370465F5AFA}"/>
                </a:ext>
              </a:extLst>
            </p:cNvPr>
            <p:cNvSpPr/>
            <p:nvPr/>
          </p:nvSpPr>
          <p:spPr>
            <a:xfrm>
              <a:off x="3706278" y="5290063"/>
              <a:ext cx="540000" cy="540000"/>
            </a:xfrm>
            <a:prstGeom prst="ellipse">
              <a:avLst/>
            </a:prstGeom>
            <a:solidFill>
              <a:schemeClr val="bg1"/>
            </a:solid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13" name="TextBox 78">
              <a:extLst>
                <a:ext uri="{FF2B5EF4-FFF2-40B4-BE49-F238E27FC236}">
                  <a16:creationId xmlns:a16="http://schemas.microsoft.com/office/drawing/2014/main" id="{176FB0D4-9BAA-30AF-1328-F91DCB977513}"/>
                </a:ext>
              </a:extLst>
            </p:cNvPr>
            <p:cNvSpPr txBox="1"/>
            <p:nvPr/>
          </p:nvSpPr>
          <p:spPr>
            <a:xfrm>
              <a:off x="3721720" y="5386948"/>
              <a:ext cx="509117" cy="397032"/>
            </a:xfrm>
            <a:prstGeom prst="rect">
              <a:avLst/>
            </a:prstGeom>
            <a:noFill/>
          </p:spPr>
          <p:txBody>
            <a:bodyPr wrap="square">
              <a:spAutoFit/>
            </a:bodyPr>
            <a:lstStyle/>
            <a:p>
              <a:pPr algn="ctr">
                <a:lnSpc>
                  <a:spcPct val="90000"/>
                </a:lnSpc>
                <a:defRPr/>
              </a:pPr>
              <a:r>
                <a:rPr lang="en-IE" sz="2200" b="1" dirty="0">
                  <a:solidFill>
                    <a:srgbClr val="0289AE"/>
                  </a:solidFill>
                  <a:ea typeface="Roboto" pitchFamily="2" charset="0"/>
                </a:rPr>
                <a:t>03</a:t>
              </a:r>
              <a:endParaRPr lang="ru-RU" sz="2200" b="1" dirty="0">
                <a:solidFill>
                  <a:srgbClr val="0289AE"/>
                </a:solidFill>
                <a:ea typeface="Roboto" pitchFamily="2" charset="0"/>
              </a:endParaRPr>
            </a:p>
          </p:txBody>
        </p:sp>
      </p:grpSp>
      <p:grpSp>
        <p:nvGrpSpPr>
          <p:cNvPr id="14" name="Group 13">
            <a:extLst>
              <a:ext uri="{FF2B5EF4-FFF2-40B4-BE49-F238E27FC236}">
                <a16:creationId xmlns:a16="http://schemas.microsoft.com/office/drawing/2014/main" id="{9F5BF0BE-81FC-F17E-656C-7306B755F4F3}"/>
              </a:ext>
            </a:extLst>
          </p:cNvPr>
          <p:cNvGrpSpPr/>
          <p:nvPr/>
        </p:nvGrpSpPr>
        <p:grpSpPr>
          <a:xfrm>
            <a:off x="8828122" y="3594960"/>
            <a:ext cx="540000" cy="540000"/>
            <a:chOff x="3706278" y="5290063"/>
            <a:chExt cx="540000" cy="540000"/>
          </a:xfrm>
        </p:grpSpPr>
        <p:sp>
          <p:nvSpPr>
            <p:cNvPr id="15" name="Oval 73">
              <a:extLst>
                <a:ext uri="{FF2B5EF4-FFF2-40B4-BE49-F238E27FC236}">
                  <a16:creationId xmlns:a16="http://schemas.microsoft.com/office/drawing/2014/main" id="{8153BCCB-C13F-8DB1-4964-47FBB1016627}"/>
                </a:ext>
              </a:extLst>
            </p:cNvPr>
            <p:cNvSpPr/>
            <p:nvPr/>
          </p:nvSpPr>
          <p:spPr>
            <a:xfrm>
              <a:off x="3706278" y="5290063"/>
              <a:ext cx="540000" cy="540000"/>
            </a:xfrm>
            <a:prstGeom prst="ellipse">
              <a:avLst/>
            </a:prstGeom>
            <a:solidFill>
              <a:schemeClr val="bg1"/>
            </a:solidFill>
            <a:ln>
              <a:solidFill>
                <a:srgbClr val="06677F"/>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dirty="0"/>
            </a:p>
          </p:txBody>
        </p:sp>
        <p:sp>
          <p:nvSpPr>
            <p:cNvPr id="16" name="TextBox 78">
              <a:extLst>
                <a:ext uri="{FF2B5EF4-FFF2-40B4-BE49-F238E27FC236}">
                  <a16:creationId xmlns:a16="http://schemas.microsoft.com/office/drawing/2014/main" id="{A3B102EC-FCF0-A2C5-86AC-5ECABB3A5153}"/>
                </a:ext>
              </a:extLst>
            </p:cNvPr>
            <p:cNvSpPr txBox="1"/>
            <p:nvPr/>
          </p:nvSpPr>
          <p:spPr>
            <a:xfrm>
              <a:off x="3721720" y="5386948"/>
              <a:ext cx="509117" cy="397032"/>
            </a:xfrm>
            <a:prstGeom prst="rect">
              <a:avLst/>
            </a:prstGeom>
            <a:noFill/>
          </p:spPr>
          <p:txBody>
            <a:bodyPr wrap="square">
              <a:spAutoFit/>
            </a:bodyPr>
            <a:lstStyle/>
            <a:p>
              <a:pPr algn="ctr">
                <a:lnSpc>
                  <a:spcPct val="90000"/>
                </a:lnSpc>
                <a:defRPr/>
              </a:pPr>
              <a:r>
                <a:rPr lang="en-IE" sz="2200" b="1" dirty="0">
                  <a:solidFill>
                    <a:srgbClr val="06677F"/>
                  </a:solidFill>
                  <a:ea typeface="Roboto" pitchFamily="2" charset="0"/>
                </a:rPr>
                <a:t>04</a:t>
              </a:r>
              <a:endParaRPr lang="ru-RU" sz="2200" b="1" dirty="0">
                <a:solidFill>
                  <a:srgbClr val="06677F"/>
                </a:solidFill>
                <a:ea typeface="Roboto" pitchFamily="2" charset="0"/>
              </a:endParaRPr>
            </a:p>
          </p:txBody>
        </p:sp>
      </p:grpSp>
    </p:spTree>
    <p:extLst>
      <p:ext uri="{BB962C8B-B14F-4D97-AF65-F5344CB8AC3E}">
        <p14:creationId xmlns:p14="http://schemas.microsoft.com/office/powerpoint/2010/main" val="8282930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07FBA8BB-3A2A-D5A2-6B6E-E238D3C19ECC}"/>
              </a:ext>
            </a:extLst>
          </p:cNvPr>
          <p:cNvSpPr txBox="1"/>
          <p:nvPr/>
        </p:nvSpPr>
        <p:spPr>
          <a:xfrm>
            <a:off x="540000" y="1568474"/>
            <a:ext cx="10800000" cy="307777"/>
          </a:xfrm>
          <a:prstGeom prst="rect">
            <a:avLst/>
          </a:prstGeom>
          <a:noFill/>
        </p:spPr>
        <p:txBody>
          <a:bodyPr wrap="square" lIns="0" tIns="0" rIns="0" bIns="0" anchor="t">
            <a:spAutoFit/>
          </a:bodyPr>
          <a:lstStyle/>
          <a:p>
            <a:pPr algn="l"/>
            <a:r>
              <a:rPr sz="2000" b="0" i="1" dirty="0">
                <a:solidFill>
                  <a:srgbClr val="262626"/>
                </a:solidFill>
                <a:latin typeface="Calibri"/>
              </a:rPr>
              <a:t>Seven terms used across the programme. </a:t>
            </a:r>
          </a:p>
        </p:txBody>
      </p:sp>
      <p:sp>
        <p:nvSpPr>
          <p:cNvPr id="44" name="Rectangle 43">
            <a:extLst>
              <a:ext uri="{FF2B5EF4-FFF2-40B4-BE49-F238E27FC236}">
                <a16:creationId xmlns:a16="http://schemas.microsoft.com/office/drawing/2014/main" id="{6919B249-1F8C-F1AC-6E92-F4203127C8B1}"/>
              </a:ext>
            </a:extLst>
          </p:cNvPr>
          <p:cNvSpPr/>
          <p:nvPr/>
        </p:nvSpPr>
        <p:spPr>
          <a:xfrm>
            <a:off x="468000" y="2020529"/>
            <a:ext cx="10908000" cy="427148"/>
          </a:xfrm>
          <a:prstGeom prst="rect">
            <a:avLst/>
          </a:prstGeom>
          <a:solidFill>
            <a:srgbClr val="0289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48" name="Rectangle 47">
            <a:extLst>
              <a:ext uri="{FF2B5EF4-FFF2-40B4-BE49-F238E27FC236}">
                <a16:creationId xmlns:a16="http://schemas.microsoft.com/office/drawing/2014/main" id="{2862810D-576D-EEFE-56DB-96E19BDB5988}"/>
              </a:ext>
            </a:extLst>
          </p:cNvPr>
          <p:cNvSpPr/>
          <p:nvPr/>
        </p:nvSpPr>
        <p:spPr>
          <a:xfrm>
            <a:off x="468000" y="2447676"/>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8D37495D-8960-81BB-BF6C-7C80E8467DEA}"/>
              </a:ext>
            </a:extLst>
          </p:cNvPr>
          <p:cNvSpPr txBox="1"/>
          <p:nvPr/>
        </p:nvSpPr>
        <p:spPr>
          <a:xfrm>
            <a:off x="540000" y="2576565"/>
            <a:ext cx="1476000" cy="246221"/>
          </a:xfrm>
          <a:prstGeom prst="rect">
            <a:avLst/>
          </a:prstGeom>
          <a:noFill/>
        </p:spPr>
        <p:txBody>
          <a:bodyPr wrap="square" lIns="0" tIns="0" rIns="0" bIns="0" anchor="ctr">
            <a:spAutoFit/>
          </a:bodyPr>
          <a:lstStyle/>
          <a:p>
            <a:pPr algn="l"/>
            <a:r>
              <a:rPr sz="1600" b="1" i="0" dirty="0">
                <a:solidFill>
                  <a:srgbClr val="62A844"/>
                </a:solidFill>
                <a:latin typeface="Calibri" panose="020F0502020204030204" pitchFamily="34" charset="0"/>
                <a:cs typeface="Calibri" panose="020F0502020204030204" pitchFamily="34" charset="0"/>
              </a:rPr>
              <a:t>Greenwashing</a:t>
            </a:r>
          </a:p>
        </p:txBody>
      </p:sp>
      <p:sp>
        <p:nvSpPr>
          <p:cNvPr id="50" name="TextBox 49">
            <a:extLst>
              <a:ext uri="{FF2B5EF4-FFF2-40B4-BE49-F238E27FC236}">
                <a16:creationId xmlns:a16="http://schemas.microsoft.com/office/drawing/2014/main" id="{3E863F19-DF01-9E78-8985-7CBD5A7B8C64}"/>
              </a:ext>
            </a:extLst>
          </p:cNvPr>
          <p:cNvSpPr txBox="1"/>
          <p:nvPr/>
        </p:nvSpPr>
        <p:spPr>
          <a:xfrm>
            <a:off x="2232000" y="2507316"/>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Making sustainability claims that are exaggerated, unverifiable, or unsupported – intentionally or by omission.</a:t>
            </a:r>
          </a:p>
        </p:txBody>
      </p:sp>
      <p:sp>
        <p:nvSpPr>
          <p:cNvPr id="51" name="TextBox 50">
            <a:extLst>
              <a:ext uri="{FF2B5EF4-FFF2-40B4-BE49-F238E27FC236}">
                <a16:creationId xmlns:a16="http://schemas.microsoft.com/office/drawing/2014/main" id="{B78BA18F-975B-7FBA-A8E0-076DAC5F441F}"/>
              </a:ext>
            </a:extLst>
          </p:cNvPr>
          <p:cNvSpPr txBox="1"/>
          <p:nvPr/>
        </p:nvSpPr>
        <p:spPr>
          <a:xfrm>
            <a:off x="9774900" y="2591954"/>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2</a:t>
            </a:r>
          </a:p>
        </p:txBody>
      </p:sp>
      <p:sp>
        <p:nvSpPr>
          <p:cNvPr id="52" name="TextBox 51">
            <a:extLst>
              <a:ext uri="{FF2B5EF4-FFF2-40B4-BE49-F238E27FC236}">
                <a16:creationId xmlns:a16="http://schemas.microsoft.com/office/drawing/2014/main" id="{ABF3863A-FF99-8A1F-B187-32D1E505F2AF}"/>
              </a:ext>
            </a:extLst>
          </p:cNvPr>
          <p:cNvSpPr txBox="1"/>
          <p:nvPr/>
        </p:nvSpPr>
        <p:spPr>
          <a:xfrm>
            <a:off x="540000" y="3080564"/>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ESG</a:t>
            </a:r>
          </a:p>
        </p:txBody>
      </p:sp>
      <p:sp>
        <p:nvSpPr>
          <p:cNvPr id="53" name="TextBox 52">
            <a:extLst>
              <a:ext uri="{FF2B5EF4-FFF2-40B4-BE49-F238E27FC236}">
                <a16:creationId xmlns:a16="http://schemas.microsoft.com/office/drawing/2014/main" id="{D357BDF8-51BE-4B56-0657-B9F127E518B8}"/>
              </a:ext>
            </a:extLst>
          </p:cNvPr>
          <p:cNvSpPr txBox="1"/>
          <p:nvPr/>
        </p:nvSpPr>
        <p:spPr>
          <a:xfrm>
            <a:off x="2232000" y="3011314"/>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Environmental, Social &amp; Governance – the three pillars used to assess a business's non-financial performance and its broader impact.</a:t>
            </a:r>
          </a:p>
        </p:txBody>
      </p:sp>
      <p:sp>
        <p:nvSpPr>
          <p:cNvPr id="54" name="TextBox 53">
            <a:extLst>
              <a:ext uri="{FF2B5EF4-FFF2-40B4-BE49-F238E27FC236}">
                <a16:creationId xmlns:a16="http://schemas.microsoft.com/office/drawing/2014/main" id="{80A952C2-04B0-09E9-BC8D-A2158CDF4607}"/>
              </a:ext>
            </a:extLst>
          </p:cNvPr>
          <p:cNvSpPr txBox="1"/>
          <p:nvPr/>
        </p:nvSpPr>
        <p:spPr>
          <a:xfrm>
            <a:off x="9774900" y="3095953"/>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1</a:t>
            </a:r>
          </a:p>
        </p:txBody>
      </p:sp>
      <p:sp>
        <p:nvSpPr>
          <p:cNvPr id="55" name="Rectangle 54">
            <a:extLst>
              <a:ext uri="{FF2B5EF4-FFF2-40B4-BE49-F238E27FC236}">
                <a16:creationId xmlns:a16="http://schemas.microsoft.com/office/drawing/2014/main" id="{37A1C817-5231-9CEB-B4BC-806DEC3905E8}"/>
              </a:ext>
            </a:extLst>
          </p:cNvPr>
          <p:cNvSpPr/>
          <p:nvPr/>
        </p:nvSpPr>
        <p:spPr>
          <a:xfrm>
            <a:off x="468000" y="3455674"/>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3F8A4F40-0AC4-DBE2-F0D4-39A75EBA0C09}"/>
              </a:ext>
            </a:extLst>
          </p:cNvPr>
          <p:cNvSpPr txBox="1"/>
          <p:nvPr/>
        </p:nvSpPr>
        <p:spPr>
          <a:xfrm>
            <a:off x="540000" y="3584563"/>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Nudge</a:t>
            </a:r>
          </a:p>
        </p:txBody>
      </p:sp>
      <p:sp>
        <p:nvSpPr>
          <p:cNvPr id="57" name="TextBox 56">
            <a:extLst>
              <a:ext uri="{FF2B5EF4-FFF2-40B4-BE49-F238E27FC236}">
                <a16:creationId xmlns:a16="http://schemas.microsoft.com/office/drawing/2014/main" id="{23703233-6E94-FA37-101B-9D0B39AAD819}"/>
              </a:ext>
            </a:extLst>
          </p:cNvPr>
          <p:cNvSpPr txBox="1"/>
          <p:nvPr/>
        </p:nvSpPr>
        <p:spPr>
          <a:xfrm>
            <a:off x="2232000" y="3515313"/>
            <a:ext cx="6984000" cy="384721"/>
          </a:xfrm>
          <a:prstGeom prst="rect">
            <a:avLst/>
          </a:prstGeom>
          <a:noFill/>
        </p:spPr>
        <p:txBody>
          <a:bodyPr wrap="square" lIns="0" tIns="0" rIns="0" bIns="0" anchor="ctr">
            <a:spAutoFit/>
          </a:bodyPr>
          <a:lstStyle/>
          <a:p>
            <a:pPr>
              <a:lnSpc>
                <a:spcPts val="1480"/>
              </a:lnSpc>
            </a:pPr>
            <a:r>
              <a:rPr lang="en-IE" sz="1300" b="0" i="0" dirty="0">
                <a:solidFill>
                  <a:srgbClr val="1C1C1C"/>
                </a:solidFill>
                <a:latin typeface="Calibri" panose="020F0502020204030204" pitchFamily="34" charset="0"/>
                <a:cs typeface="Calibri" panose="020F0502020204030204" pitchFamily="34" charset="0"/>
              </a:rPr>
              <a:t>A small change in how a choice is presented (a default, a reminder, the physical set-up) that shifts behaviour without restricting choice.</a:t>
            </a:r>
          </a:p>
        </p:txBody>
      </p:sp>
      <p:sp>
        <p:nvSpPr>
          <p:cNvPr id="58" name="TextBox 57">
            <a:extLst>
              <a:ext uri="{FF2B5EF4-FFF2-40B4-BE49-F238E27FC236}">
                <a16:creationId xmlns:a16="http://schemas.microsoft.com/office/drawing/2014/main" id="{553D6E73-6195-8D6C-8098-49461CFD902C}"/>
              </a:ext>
            </a:extLst>
          </p:cNvPr>
          <p:cNvSpPr txBox="1"/>
          <p:nvPr/>
        </p:nvSpPr>
        <p:spPr>
          <a:xfrm>
            <a:off x="9774900" y="3599952"/>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1 M3</a:t>
            </a:r>
          </a:p>
        </p:txBody>
      </p:sp>
      <p:sp>
        <p:nvSpPr>
          <p:cNvPr id="59" name="TextBox 58">
            <a:extLst>
              <a:ext uri="{FF2B5EF4-FFF2-40B4-BE49-F238E27FC236}">
                <a16:creationId xmlns:a16="http://schemas.microsoft.com/office/drawing/2014/main" id="{337B4D55-D10D-6359-0494-0ADB71DE78BC}"/>
              </a:ext>
            </a:extLst>
          </p:cNvPr>
          <p:cNvSpPr txBox="1"/>
          <p:nvPr/>
        </p:nvSpPr>
        <p:spPr>
          <a:xfrm>
            <a:off x="540000" y="4088562"/>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Twin transition</a:t>
            </a:r>
          </a:p>
        </p:txBody>
      </p:sp>
      <p:sp>
        <p:nvSpPr>
          <p:cNvPr id="60" name="TextBox 59">
            <a:extLst>
              <a:ext uri="{FF2B5EF4-FFF2-40B4-BE49-F238E27FC236}">
                <a16:creationId xmlns:a16="http://schemas.microsoft.com/office/drawing/2014/main" id="{F92C47C3-7239-554E-952E-D53C135BFE5E}"/>
              </a:ext>
            </a:extLst>
          </p:cNvPr>
          <p:cNvSpPr txBox="1"/>
          <p:nvPr/>
        </p:nvSpPr>
        <p:spPr>
          <a:xfrm>
            <a:off x="2232000" y="4019313"/>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Advancing digital transformation and the green transition together so that each reinforces the other in SMEs.</a:t>
            </a:r>
          </a:p>
        </p:txBody>
      </p:sp>
      <p:sp>
        <p:nvSpPr>
          <p:cNvPr id="61" name="TextBox 60">
            <a:extLst>
              <a:ext uri="{FF2B5EF4-FFF2-40B4-BE49-F238E27FC236}">
                <a16:creationId xmlns:a16="http://schemas.microsoft.com/office/drawing/2014/main" id="{408C6F8D-EAEA-F45E-D65E-8C43188B7E82}"/>
              </a:ext>
            </a:extLst>
          </p:cNvPr>
          <p:cNvSpPr txBox="1"/>
          <p:nvPr/>
        </p:nvSpPr>
        <p:spPr>
          <a:xfrm>
            <a:off x="9774900" y="4103951"/>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1</a:t>
            </a:r>
          </a:p>
        </p:txBody>
      </p:sp>
      <p:sp>
        <p:nvSpPr>
          <p:cNvPr id="62" name="Rectangle 61">
            <a:extLst>
              <a:ext uri="{FF2B5EF4-FFF2-40B4-BE49-F238E27FC236}">
                <a16:creationId xmlns:a16="http://schemas.microsoft.com/office/drawing/2014/main" id="{1F065190-8AE8-D8B4-0325-03ED0ADE6C2A}"/>
              </a:ext>
            </a:extLst>
          </p:cNvPr>
          <p:cNvSpPr/>
          <p:nvPr/>
        </p:nvSpPr>
        <p:spPr>
          <a:xfrm>
            <a:off x="468000" y="4463672"/>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63" name="TextBox 62">
            <a:extLst>
              <a:ext uri="{FF2B5EF4-FFF2-40B4-BE49-F238E27FC236}">
                <a16:creationId xmlns:a16="http://schemas.microsoft.com/office/drawing/2014/main" id="{BADCD283-99DD-2F64-5699-22F0096DD3F4}"/>
              </a:ext>
            </a:extLst>
          </p:cNvPr>
          <p:cNvSpPr txBox="1"/>
          <p:nvPr/>
        </p:nvSpPr>
        <p:spPr>
          <a:xfrm>
            <a:off x="540000" y="4592561"/>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KPI</a:t>
            </a:r>
          </a:p>
        </p:txBody>
      </p:sp>
      <p:sp>
        <p:nvSpPr>
          <p:cNvPr id="64" name="TextBox 63">
            <a:extLst>
              <a:ext uri="{FF2B5EF4-FFF2-40B4-BE49-F238E27FC236}">
                <a16:creationId xmlns:a16="http://schemas.microsoft.com/office/drawing/2014/main" id="{74C72A43-F303-250A-D93E-B009A5C33A4A}"/>
              </a:ext>
            </a:extLst>
          </p:cNvPr>
          <p:cNvSpPr txBox="1"/>
          <p:nvPr/>
        </p:nvSpPr>
        <p:spPr>
          <a:xfrm>
            <a:off x="2232000" y="4523312"/>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Key Performance Indicator – a measurable value that shows how effectively a business is achieving a defined objective.</a:t>
            </a:r>
          </a:p>
        </p:txBody>
      </p:sp>
      <p:sp>
        <p:nvSpPr>
          <p:cNvPr id="65" name="TextBox 64">
            <a:extLst>
              <a:ext uri="{FF2B5EF4-FFF2-40B4-BE49-F238E27FC236}">
                <a16:creationId xmlns:a16="http://schemas.microsoft.com/office/drawing/2014/main" id="{D9B3F70F-34FC-0179-451D-C31062F402E0}"/>
              </a:ext>
            </a:extLst>
          </p:cNvPr>
          <p:cNvSpPr txBox="1"/>
          <p:nvPr/>
        </p:nvSpPr>
        <p:spPr>
          <a:xfrm>
            <a:off x="9774900" y="4607950"/>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2 M2</a:t>
            </a:r>
          </a:p>
        </p:txBody>
      </p:sp>
      <p:sp>
        <p:nvSpPr>
          <p:cNvPr id="66" name="TextBox 65">
            <a:extLst>
              <a:ext uri="{FF2B5EF4-FFF2-40B4-BE49-F238E27FC236}">
                <a16:creationId xmlns:a16="http://schemas.microsoft.com/office/drawing/2014/main" id="{D22486A3-2885-3FAB-FF85-4F3C4FC1214C}"/>
              </a:ext>
            </a:extLst>
          </p:cNvPr>
          <p:cNvSpPr txBox="1"/>
          <p:nvPr/>
        </p:nvSpPr>
        <p:spPr>
          <a:xfrm>
            <a:off x="540000" y="5096560"/>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Circular economy</a:t>
            </a:r>
          </a:p>
        </p:txBody>
      </p:sp>
      <p:sp>
        <p:nvSpPr>
          <p:cNvPr id="67" name="TextBox 66">
            <a:extLst>
              <a:ext uri="{FF2B5EF4-FFF2-40B4-BE49-F238E27FC236}">
                <a16:creationId xmlns:a16="http://schemas.microsoft.com/office/drawing/2014/main" id="{DFEE83F1-6AA3-82CD-D265-880FD1D49EAE}"/>
              </a:ext>
            </a:extLst>
          </p:cNvPr>
          <p:cNvSpPr txBox="1"/>
          <p:nvPr/>
        </p:nvSpPr>
        <p:spPr>
          <a:xfrm>
            <a:off x="2232000" y="5027310"/>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An approach designed to keep materials and products in use for as long as possible through reducing, reusing, repairing, refurbishing and recycling – so that waste becomes a resource.</a:t>
            </a:r>
          </a:p>
        </p:txBody>
      </p:sp>
      <p:sp>
        <p:nvSpPr>
          <p:cNvPr id="68" name="TextBox 67">
            <a:extLst>
              <a:ext uri="{FF2B5EF4-FFF2-40B4-BE49-F238E27FC236}">
                <a16:creationId xmlns:a16="http://schemas.microsoft.com/office/drawing/2014/main" id="{9B92B941-9A06-4154-563A-4794D05C2593}"/>
              </a:ext>
            </a:extLst>
          </p:cNvPr>
          <p:cNvSpPr txBox="1"/>
          <p:nvPr/>
        </p:nvSpPr>
        <p:spPr>
          <a:xfrm>
            <a:off x="9774900" y="5111949"/>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1 M2</a:t>
            </a:r>
          </a:p>
        </p:txBody>
      </p:sp>
      <p:sp>
        <p:nvSpPr>
          <p:cNvPr id="69" name="Rectangle 68">
            <a:extLst>
              <a:ext uri="{FF2B5EF4-FFF2-40B4-BE49-F238E27FC236}">
                <a16:creationId xmlns:a16="http://schemas.microsoft.com/office/drawing/2014/main" id="{7E0CDA54-3AEF-95E0-9FA4-46DF41464F28}"/>
              </a:ext>
            </a:extLst>
          </p:cNvPr>
          <p:cNvSpPr/>
          <p:nvPr/>
        </p:nvSpPr>
        <p:spPr>
          <a:xfrm>
            <a:off x="468000" y="5471670"/>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4CC72C5E-6EF8-B031-127D-F7C7D428E46E}"/>
              </a:ext>
            </a:extLst>
          </p:cNvPr>
          <p:cNvSpPr txBox="1"/>
          <p:nvPr/>
        </p:nvSpPr>
        <p:spPr>
          <a:xfrm>
            <a:off x="540000" y="5600559"/>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Guest journey</a:t>
            </a:r>
          </a:p>
        </p:txBody>
      </p:sp>
      <p:sp>
        <p:nvSpPr>
          <p:cNvPr id="71" name="TextBox 70">
            <a:extLst>
              <a:ext uri="{FF2B5EF4-FFF2-40B4-BE49-F238E27FC236}">
                <a16:creationId xmlns:a16="http://schemas.microsoft.com/office/drawing/2014/main" id="{38AF8727-F06A-5C3F-68AD-D984D9B703E9}"/>
              </a:ext>
            </a:extLst>
          </p:cNvPr>
          <p:cNvSpPr txBox="1"/>
          <p:nvPr/>
        </p:nvSpPr>
        <p:spPr>
          <a:xfrm>
            <a:off x="2232000" y="5531309"/>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The full sequence of a guest's interactions with a business, from awareness through booking, stay and post-stay engagement – used to design sustainability and digital touchpoints coherently.</a:t>
            </a:r>
          </a:p>
        </p:txBody>
      </p:sp>
      <p:sp>
        <p:nvSpPr>
          <p:cNvPr id="72" name="TextBox 71">
            <a:extLst>
              <a:ext uri="{FF2B5EF4-FFF2-40B4-BE49-F238E27FC236}">
                <a16:creationId xmlns:a16="http://schemas.microsoft.com/office/drawing/2014/main" id="{4A0EAD9D-4B88-B023-1A93-40D24FC6816B}"/>
              </a:ext>
            </a:extLst>
          </p:cNvPr>
          <p:cNvSpPr txBox="1"/>
          <p:nvPr/>
        </p:nvSpPr>
        <p:spPr>
          <a:xfrm>
            <a:off x="9774900" y="5615948"/>
            <a:ext cx="2016000" cy="215444"/>
          </a:xfrm>
          <a:prstGeom prst="rect">
            <a:avLst/>
          </a:prstGeom>
          <a:noFill/>
        </p:spPr>
        <p:txBody>
          <a:bodyPr wrap="square" lIns="0" tIns="0" rIns="0" bIns="0" anchor="ctr">
            <a:spAutoFit/>
          </a:bodyPr>
          <a:lstStyle/>
          <a:p>
            <a:pPr algn="l"/>
            <a:r>
              <a:rPr sz="1400" b="0" i="1" dirty="0">
                <a:solidFill>
                  <a:srgbClr val="555555"/>
                </a:solidFill>
                <a:latin typeface="Calibri" panose="020F0502020204030204" pitchFamily="34" charset="0"/>
                <a:cs typeface="Calibri" panose="020F0502020204030204" pitchFamily="34" charset="0"/>
              </a:rPr>
              <a:t>C1 M3</a:t>
            </a:r>
          </a:p>
        </p:txBody>
      </p:sp>
      <p:sp>
        <p:nvSpPr>
          <p:cNvPr id="74" name="TextBox 73">
            <a:extLst>
              <a:ext uri="{FF2B5EF4-FFF2-40B4-BE49-F238E27FC236}">
                <a16:creationId xmlns:a16="http://schemas.microsoft.com/office/drawing/2014/main" id="{005400A9-9C62-E674-7AAF-E4607B1E23B3}"/>
              </a:ext>
            </a:extLst>
          </p:cNvPr>
          <p:cNvSpPr txBox="1"/>
          <p:nvPr/>
        </p:nvSpPr>
        <p:spPr>
          <a:xfrm>
            <a:off x="522000" y="6135335"/>
            <a:ext cx="10800000" cy="215444"/>
          </a:xfrm>
          <a:prstGeom prst="rect">
            <a:avLst/>
          </a:prstGeom>
          <a:noFill/>
        </p:spPr>
        <p:txBody>
          <a:bodyPr wrap="square" lIns="0" tIns="0" rIns="0" bIns="0" anchor="t">
            <a:spAutoFit/>
          </a:bodyPr>
          <a:lstStyle/>
          <a:p>
            <a:pPr algn="l"/>
            <a:r>
              <a:rPr sz="1400" b="1" i="0" dirty="0" err="1">
                <a:solidFill>
                  <a:srgbClr val="0289AE"/>
                </a:solidFill>
                <a:latin typeface="Calibri"/>
              </a:rPr>
              <a:t>EcoSmart</a:t>
            </a:r>
            <a:r>
              <a:rPr sz="1400" b="1" i="0" dirty="0">
                <a:solidFill>
                  <a:srgbClr val="0289AE"/>
                </a:solidFill>
                <a:latin typeface="Calibri"/>
              </a:rPr>
              <a:t> Hospitality – WP3   ·   Shared glossary   ·   identical in all 7 modules</a:t>
            </a:r>
          </a:p>
        </p:txBody>
      </p:sp>
      <p:sp>
        <p:nvSpPr>
          <p:cNvPr id="79" name="Rectangle 78">
            <a:extLst>
              <a:ext uri="{FF2B5EF4-FFF2-40B4-BE49-F238E27FC236}">
                <a16:creationId xmlns:a16="http://schemas.microsoft.com/office/drawing/2014/main" id="{7D5A05A6-0B57-0EF6-4E29-148FB7F12ECC}"/>
              </a:ext>
            </a:extLst>
          </p:cNvPr>
          <p:cNvSpPr/>
          <p:nvPr/>
        </p:nvSpPr>
        <p:spPr>
          <a:xfrm flipH="1" flipV="1">
            <a:off x="0" y="0"/>
            <a:ext cx="12185500" cy="13428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80" name="Graphic 4">
            <a:extLst>
              <a:ext uri="{FF2B5EF4-FFF2-40B4-BE49-F238E27FC236}">
                <a16:creationId xmlns:a16="http://schemas.microsoft.com/office/drawing/2014/main" id="{BC4B6BB3-D7F5-D822-D851-626C0F52BC76}"/>
              </a:ext>
            </a:extLst>
          </p:cNvPr>
          <p:cNvSpPr/>
          <p:nvPr/>
        </p:nvSpPr>
        <p:spPr>
          <a:xfrm rot="5400000">
            <a:off x="1314218" y="50153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81" name="Graphic 80">
            <a:extLst>
              <a:ext uri="{FF2B5EF4-FFF2-40B4-BE49-F238E27FC236}">
                <a16:creationId xmlns:a16="http://schemas.microsoft.com/office/drawing/2014/main" id="{60EE09C8-1789-41F8-540B-A46D2D5356B4}"/>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328384"/>
            <a:ext cx="3531079" cy="1671210"/>
          </a:xfrm>
          <a:prstGeom prst="rect">
            <a:avLst/>
          </a:prstGeom>
        </p:spPr>
      </p:pic>
      <p:sp>
        <p:nvSpPr>
          <p:cNvPr id="82" name="Text Placeholder 11">
            <a:extLst>
              <a:ext uri="{FF2B5EF4-FFF2-40B4-BE49-F238E27FC236}">
                <a16:creationId xmlns:a16="http://schemas.microsoft.com/office/drawing/2014/main" id="{E686BB53-CC7E-1F96-7824-760E0F18889F}"/>
              </a:ext>
            </a:extLst>
          </p:cNvPr>
          <p:cNvSpPr txBox="1">
            <a:spLocks/>
          </p:cNvSpPr>
          <p:nvPr/>
        </p:nvSpPr>
        <p:spPr>
          <a:xfrm>
            <a:off x="579276" y="507221"/>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Shared Glossary</a:t>
            </a:r>
          </a:p>
        </p:txBody>
      </p:sp>
      <p:sp>
        <p:nvSpPr>
          <p:cNvPr id="83" name="TextBox 82">
            <a:extLst>
              <a:ext uri="{FF2B5EF4-FFF2-40B4-BE49-F238E27FC236}">
                <a16:creationId xmlns:a16="http://schemas.microsoft.com/office/drawing/2014/main" id="{905C3AE5-7030-4A73-3C62-BFDCFEF53C39}"/>
              </a:ext>
            </a:extLst>
          </p:cNvPr>
          <p:cNvSpPr txBox="1"/>
          <p:nvPr/>
        </p:nvSpPr>
        <p:spPr>
          <a:xfrm>
            <a:off x="540000" y="2122367"/>
            <a:ext cx="1476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Term</a:t>
            </a:r>
          </a:p>
        </p:txBody>
      </p:sp>
      <p:sp>
        <p:nvSpPr>
          <p:cNvPr id="84" name="TextBox 83">
            <a:extLst>
              <a:ext uri="{FF2B5EF4-FFF2-40B4-BE49-F238E27FC236}">
                <a16:creationId xmlns:a16="http://schemas.microsoft.com/office/drawing/2014/main" id="{F522218D-71C8-CF58-91CE-B7E0DF67D88F}"/>
              </a:ext>
            </a:extLst>
          </p:cNvPr>
          <p:cNvSpPr txBox="1"/>
          <p:nvPr/>
        </p:nvSpPr>
        <p:spPr>
          <a:xfrm>
            <a:off x="2232000" y="2122367"/>
            <a:ext cx="6984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Canonical definition</a:t>
            </a:r>
          </a:p>
        </p:txBody>
      </p:sp>
      <p:sp>
        <p:nvSpPr>
          <p:cNvPr id="85" name="TextBox 84">
            <a:extLst>
              <a:ext uri="{FF2B5EF4-FFF2-40B4-BE49-F238E27FC236}">
                <a16:creationId xmlns:a16="http://schemas.microsoft.com/office/drawing/2014/main" id="{1EC027A6-AFAE-956D-9389-B528CF1E4025}"/>
              </a:ext>
            </a:extLst>
          </p:cNvPr>
          <p:cNvSpPr txBox="1"/>
          <p:nvPr/>
        </p:nvSpPr>
        <p:spPr>
          <a:xfrm>
            <a:off x="9774900" y="2122367"/>
            <a:ext cx="2016000" cy="246221"/>
          </a:xfrm>
          <a:prstGeom prst="rect">
            <a:avLst/>
          </a:prstGeom>
          <a:noFill/>
        </p:spPr>
        <p:txBody>
          <a:bodyPr wrap="square" lIns="0" tIns="0" rIns="0" bIns="0" anchor="ctr">
            <a:spAutoFit/>
          </a:bodyPr>
          <a:lstStyle/>
          <a:p>
            <a:pPr algn="l"/>
            <a:r>
              <a:rPr sz="1600" b="1" i="0" dirty="0">
                <a:solidFill>
                  <a:srgbClr val="FFFFFF"/>
                </a:solidFill>
                <a:latin typeface="Calibri" panose="020F0502020204030204" pitchFamily="34" charset="0"/>
                <a:cs typeface="Calibri" panose="020F0502020204030204" pitchFamily="34" charset="0"/>
              </a:rPr>
              <a:t>Full </a:t>
            </a:r>
            <a:r>
              <a:rPr lang="en-GB" sz="1600" b="1" dirty="0">
                <a:solidFill>
                  <a:srgbClr val="FFFFFF"/>
                </a:solidFill>
                <a:latin typeface="Calibri" panose="020F0502020204030204" pitchFamily="34" charset="0"/>
                <a:cs typeface="Calibri" panose="020F0502020204030204" pitchFamily="34" charset="0"/>
              </a:rPr>
              <a:t>exploration</a:t>
            </a:r>
            <a:r>
              <a:rPr sz="1600" b="1" i="0" dirty="0">
                <a:solidFill>
                  <a:srgbClr val="FFFFFF"/>
                </a:solidFill>
                <a:latin typeface="Calibri" panose="020F0502020204030204" pitchFamily="34" charset="0"/>
                <a:cs typeface="Calibri" panose="020F0502020204030204" pitchFamily="34" charset="0"/>
              </a:rPr>
              <a:t> in</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C7FA8-5452-9F85-27D4-9B388C1820B5}"/>
            </a:ext>
          </a:extLst>
        </p:cNvPr>
        <p:cNvGrpSpPr/>
        <p:nvPr/>
      </p:nvGrpSpPr>
      <p:grpSpPr>
        <a:xfrm>
          <a:off x="0" y="0"/>
          <a:ext cx="0" cy="0"/>
          <a:chOff x="0" y="0"/>
          <a:chExt cx="0" cy="0"/>
        </a:xfrm>
      </p:grpSpPr>
      <p:sp>
        <p:nvSpPr>
          <p:cNvPr id="2147" name="Oval 15">
            <a:extLst>
              <a:ext uri="{FF2B5EF4-FFF2-40B4-BE49-F238E27FC236}">
                <a16:creationId xmlns:a16="http://schemas.microsoft.com/office/drawing/2014/main" id="{79BD9AA6-5B72-0989-6573-09A0AF85E4B6}"/>
              </a:ext>
            </a:extLst>
          </p:cNvPr>
          <p:cNvSpPr/>
          <p:nvPr/>
        </p:nvSpPr>
        <p:spPr>
          <a:xfrm>
            <a:off x="2230391" y="3105845"/>
            <a:ext cx="8164970" cy="3762733"/>
          </a:xfrm>
          <a:custGeom>
            <a:avLst/>
            <a:gdLst>
              <a:gd name="connsiteX0" fmla="*/ 0 w 11857702"/>
              <a:gd name="connsiteY0" fmla="*/ 5928851 h 11857702"/>
              <a:gd name="connsiteX1" fmla="*/ 5928851 w 11857702"/>
              <a:gd name="connsiteY1" fmla="*/ 0 h 11857702"/>
              <a:gd name="connsiteX2" fmla="*/ 11857702 w 11857702"/>
              <a:gd name="connsiteY2" fmla="*/ 5928851 h 11857702"/>
              <a:gd name="connsiteX3" fmla="*/ 5928851 w 11857702"/>
              <a:gd name="connsiteY3" fmla="*/ 11857702 h 11857702"/>
              <a:gd name="connsiteX4" fmla="*/ 0 w 11857702"/>
              <a:gd name="connsiteY4" fmla="*/ 5928851 h 11857702"/>
              <a:gd name="connsiteX0" fmla="*/ 5928851 w 11857702"/>
              <a:gd name="connsiteY0" fmla="*/ 11857702 h 11949142"/>
              <a:gd name="connsiteX1" fmla="*/ 0 w 11857702"/>
              <a:gd name="connsiteY1" fmla="*/ 5928851 h 11949142"/>
              <a:gd name="connsiteX2" fmla="*/ 5928851 w 11857702"/>
              <a:gd name="connsiteY2" fmla="*/ 0 h 11949142"/>
              <a:gd name="connsiteX3" fmla="*/ 11857702 w 11857702"/>
              <a:gd name="connsiteY3" fmla="*/ 5928851 h 11949142"/>
              <a:gd name="connsiteX4" fmla="*/ 6020291 w 11857702"/>
              <a:gd name="connsiteY4" fmla="*/ 11949142 h 11949142"/>
              <a:gd name="connsiteX0" fmla="*/ 5928851 w 11857702"/>
              <a:gd name="connsiteY0" fmla="*/ 11857702 h 11857702"/>
              <a:gd name="connsiteX1" fmla="*/ 0 w 11857702"/>
              <a:gd name="connsiteY1" fmla="*/ 5928851 h 11857702"/>
              <a:gd name="connsiteX2" fmla="*/ 5928851 w 11857702"/>
              <a:gd name="connsiteY2" fmla="*/ 0 h 11857702"/>
              <a:gd name="connsiteX3" fmla="*/ 11857702 w 11857702"/>
              <a:gd name="connsiteY3" fmla="*/ 5928851 h 11857702"/>
              <a:gd name="connsiteX0" fmla="*/ 0 w 11857702"/>
              <a:gd name="connsiteY0" fmla="*/ 5928851 h 5928851"/>
              <a:gd name="connsiteX1" fmla="*/ 5928851 w 11857702"/>
              <a:gd name="connsiteY1" fmla="*/ 0 h 5928851"/>
              <a:gd name="connsiteX2" fmla="*/ 11857702 w 11857702"/>
              <a:gd name="connsiteY2" fmla="*/ 5928851 h 5928851"/>
            </a:gdLst>
            <a:ahLst/>
            <a:cxnLst>
              <a:cxn ang="0">
                <a:pos x="connsiteX0" y="connsiteY0"/>
              </a:cxn>
              <a:cxn ang="0">
                <a:pos x="connsiteX1" y="connsiteY1"/>
              </a:cxn>
              <a:cxn ang="0">
                <a:pos x="connsiteX2" y="connsiteY2"/>
              </a:cxn>
            </a:cxnLst>
            <a:rect l="l" t="t" r="r" b="b"/>
            <a:pathLst>
              <a:path w="11857702" h="5928851">
                <a:moveTo>
                  <a:pt x="0" y="5928851"/>
                </a:moveTo>
                <a:cubicBezTo>
                  <a:pt x="0" y="2654437"/>
                  <a:pt x="2654437" y="0"/>
                  <a:pt x="5928851" y="0"/>
                </a:cubicBezTo>
                <a:cubicBezTo>
                  <a:pt x="9203265" y="0"/>
                  <a:pt x="11857702" y="2654437"/>
                  <a:pt x="11857702" y="5928851"/>
                </a:cubicBezTo>
              </a:path>
            </a:pathLst>
          </a:custGeom>
          <a:noFill/>
          <a:ln w="2540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graphicFrame>
        <p:nvGraphicFramePr>
          <p:cNvPr id="4" name="think-cell data - do not delete" hidden="1">
            <a:extLst>
              <a:ext uri="{FF2B5EF4-FFF2-40B4-BE49-F238E27FC236}">
                <a16:creationId xmlns:a16="http://schemas.microsoft.com/office/drawing/2014/main" id="{BC6C262F-7A39-4E44-8148-A7C0AF49CE7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54" imgH="456" progId="TCLayout.ActiveDocument.1">
                  <p:embed/>
                </p:oleObj>
              </mc:Choice>
              <mc:Fallback>
                <p:oleObj name="think-cell Folie" r:id="rId3" imgW="454" imgH="456" progId="TCLayout.ActiveDocument.1">
                  <p:embed/>
                  <p:pic>
                    <p:nvPicPr>
                      <p:cNvPr id="4" name="think-cell data - do not delete" hidden="1">
                        <a:extLst>
                          <a:ext uri="{FF2B5EF4-FFF2-40B4-BE49-F238E27FC236}">
                            <a16:creationId xmlns:a16="http://schemas.microsoft.com/office/drawing/2014/main" id="{C5851D5D-E22F-3E1D-967C-2BC6E73F42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39" name="Freeform: Shape 34">
            <a:extLst>
              <a:ext uri="{FF2B5EF4-FFF2-40B4-BE49-F238E27FC236}">
                <a16:creationId xmlns:a16="http://schemas.microsoft.com/office/drawing/2014/main" id="{F215BCAC-55F3-22C0-C09E-331072DD5BA1}"/>
              </a:ext>
            </a:extLst>
          </p:cNvPr>
          <p:cNvSpPr>
            <a:spLocks/>
          </p:cNvSpPr>
          <p:nvPr/>
        </p:nvSpPr>
        <p:spPr>
          <a:xfrm rot="7411294">
            <a:off x="1344692" y="4228378"/>
            <a:ext cx="2160000" cy="2160000"/>
          </a:xfrm>
          <a:custGeom>
            <a:avLst/>
            <a:gdLst>
              <a:gd name="connsiteX0" fmla="*/ 2667000 w 5334000"/>
              <a:gd name="connsiteY0" fmla="*/ 5829300 h 5829300"/>
              <a:gd name="connsiteX1" fmla="*/ 0 w 5334000"/>
              <a:gd name="connsiteY1" fmla="*/ 3162300 h 5829300"/>
              <a:gd name="connsiteX2" fmla="*/ 2129507 w 5334000"/>
              <a:gd name="connsiteY2" fmla="*/ 549484 h 5829300"/>
              <a:gd name="connsiteX3" fmla="*/ 2250794 w 5334000"/>
              <a:gd name="connsiteY3" fmla="*/ 530973 h 5829300"/>
              <a:gd name="connsiteX4" fmla="*/ 2666999 w 5334000"/>
              <a:gd name="connsiteY4" fmla="*/ 0 h 5829300"/>
              <a:gd name="connsiteX5" fmla="*/ 3083204 w 5334000"/>
              <a:gd name="connsiteY5" fmla="*/ 530973 h 5829300"/>
              <a:gd name="connsiteX6" fmla="*/ 3204493 w 5334000"/>
              <a:gd name="connsiteY6" fmla="*/ 549484 h 5829300"/>
              <a:gd name="connsiteX7" fmla="*/ 5334000 w 5334000"/>
              <a:gd name="connsiteY7" fmla="*/ 3162300 h 5829300"/>
              <a:gd name="connsiteX8" fmla="*/ 2667000 w 5334000"/>
              <a:gd name="connsiteY8" fmla="*/ 582930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5829300">
                <a:moveTo>
                  <a:pt x="2667000" y="5829300"/>
                </a:moveTo>
                <a:cubicBezTo>
                  <a:pt x="1194057" y="5829300"/>
                  <a:pt x="0" y="4635243"/>
                  <a:pt x="0" y="3162300"/>
                </a:cubicBezTo>
                <a:cubicBezTo>
                  <a:pt x="0" y="1873475"/>
                  <a:pt x="914200" y="798172"/>
                  <a:pt x="2129507" y="549484"/>
                </a:cubicBezTo>
                <a:lnTo>
                  <a:pt x="2250794" y="530973"/>
                </a:lnTo>
                <a:lnTo>
                  <a:pt x="2666999" y="0"/>
                </a:lnTo>
                <a:lnTo>
                  <a:pt x="3083204" y="530973"/>
                </a:lnTo>
                <a:lnTo>
                  <a:pt x="3204493" y="549484"/>
                </a:lnTo>
                <a:cubicBezTo>
                  <a:pt x="4419800" y="798172"/>
                  <a:pt x="5334000" y="1873475"/>
                  <a:pt x="5334000" y="3162300"/>
                </a:cubicBezTo>
                <a:cubicBezTo>
                  <a:pt x="5334000" y="4635243"/>
                  <a:pt x="4139943" y="5829300"/>
                  <a:pt x="2667000" y="5829300"/>
                </a:cubicBezTo>
                <a:close/>
              </a:path>
            </a:pathLst>
          </a:custGeom>
          <a:solidFill>
            <a:srgbClr val="62A844"/>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2140" name="Freeform: Shape 36">
            <a:extLst>
              <a:ext uri="{FF2B5EF4-FFF2-40B4-BE49-F238E27FC236}">
                <a16:creationId xmlns:a16="http://schemas.microsoft.com/office/drawing/2014/main" id="{CC16B026-311A-3ABD-4F7F-94FB0AAECE92}"/>
              </a:ext>
            </a:extLst>
          </p:cNvPr>
          <p:cNvSpPr/>
          <p:nvPr/>
        </p:nvSpPr>
        <p:spPr>
          <a:xfrm rot="11658822" flipH="1">
            <a:off x="6752018" y="2264987"/>
            <a:ext cx="2160000" cy="2160000"/>
          </a:xfrm>
          <a:custGeom>
            <a:avLst/>
            <a:gdLst>
              <a:gd name="connsiteX0" fmla="*/ 2667000 w 5334000"/>
              <a:gd name="connsiteY0" fmla="*/ 5829300 h 5829300"/>
              <a:gd name="connsiteX1" fmla="*/ 0 w 5334000"/>
              <a:gd name="connsiteY1" fmla="*/ 3162300 h 5829300"/>
              <a:gd name="connsiteX2" fmla="*/ 2129507 w 5334000"/>
              <a:gd name="connsiteY2" fmla="*/ 549484 h 5829300"/>
              <a:gd name="connsiteX3" fmla="*/ 2250794 w 5334000"/>
              <a:gd name="connsiteY3" fmla="*/ 530973 h 5829300"/>
              <a:gd name="connsiteX4" fmla="*/ 2666999 w 5334000"/>
              <a:gd name="connsiteY4" fmla="*/ 0 h 5829300"/>
              <a:gd name="connsiteX5" fmla="*/ 3083204 w 5334000"/>
              <a:gd name="connsiteY5" fmla="*/ 530973 h 5829300"/>
              <a:gd name="connsiteX6" fmla="*/ 3204493 w 5334000"/>
              <a:gd name="connsiteY6" fmla="*/ 549484 h 5829300"/>
              <a:gd name="connsiteX7" fmla="*/ 5334000 w 5334000"/>
              <a:gd name="connsiteY7" fmla="*/ 3162300 h 5829300"/>
              <a:gd name="connsiteX8" fmla="*/ 2667000 w 5334000"/>
              <a:gd name="connsiteY8" fmla="*/ 582930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5829300">
                <a:moveTo>
                  <a:pt x="2667000" y="5829300"/>
                </a:moveTo>
                <a:cubicBezTo>
                  <a:pt x="1194057" y="5829300"/>
                  <a:pt x="0" y="4635243"/>
                  <a:pt x="0" y="3162300"/>
                </a:cubicBezTo>
                <a:cubicBezTo>
                  <a:pt x="0" y="1873475"/>
                  <a:pt x="914200" y="798172"/>
                  <a:pt x="2129507" y="549484"/>
                </a:cubicBezTo>
                <a:lnTo>
                  <a:pt x="2250794" y="530973"/>
                </a:lnTo>
                <a:lnTo>
                  <a:pt x="2666999" y="0"/>
                </a:lnTo>
                <a:lnTo>
                  <a:pt x="3083204" y="530973"/>
                </a:lnTo>
                <a:lnTo>
                  <a:pt x="3204493" y="549484"/>
                </a:lnTo>
                <a:cubicBezTo>
                  <a:pt x="4419800" y="798172"/>
                  <a:pt x="5334000" y="1873475"/>
                  <a:pt x="5334000" y="3162300"/>
                </a:cubicBezTo>
                <a:cubicBezTo>
                  <a:pt x="5334000" y="4635243"/>
                  <a:pt x="4139943" y="5829300"/>
                  <a:pt x="2667000" y="5829300"/>
                </a:cubicBezTo>
                <a:close/>
              </a:path>
            </a:pathLst>
          </a:custGeom>
          <a:solidFill>
            <a:srgbClr val="0289AE"/>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000"/>
          </a:p>
        </p:txBody>
      </p:sp>
      <p:sp>
        <p:nvSpPr>
          <p:cNvPr id="2141" name="Freeform: Shape 37">
            <a:extLst>
              <a:ext uri="{FF2B5EF4-FFF2-40B4-BE49-F238E27FC236}">
                <a16:creationId xmlns:a16="http://schemas.microsoft.com/office/drawing/2014/main" id="{5D8EF8F4-FC41-5701-7DEF-FBFC303BC2DF}"/>
              </a:ext>
            </a:extLst>
          </p:cNvPr>
          <p:cNvSpPr/>
          <p:nvPr/>
        </p:nvSpPr>
        <p:spPr>
          <a:xfrm rot="9941178">
            <a:off x="3771750" y="2333230"/>
            <a:ext cx="2160000" cy="2160000"/>
          </a:xfrm>
          <a:custGeom>
            <a:avLst/>
            <a:gdLst>
              <a:gd name="connsiteX0" fmla="*/ 2667000 w 5334000"/>
              <a:gd name="connsiteY0" fmla="*/ 5829300 h 5829300"/>
              <a:gd name="connsiteX1" fmla="*/ 0 w 5334000"/>
              <a:gd name="connsiteY1" fmla="*/ 3162300 h 5829300"/>
              <a:gd name="connsiteX2" fmla="*/ 2129507 w 5334000"/>
              <a:gd name="connsiteY2" fmla="*/ 549484 h 5829300"/>
              <a:gd name="connsiteX3" fmla="*/ 2250794 w 5334000"/>
              <a:gd name="connsiteY3" fmla="*/ 530973 h 5829300"/>
              <a:gd name="connsiteX4" fmla="*/ 2666999 w 5334000"/>
              <a:gd name="connsiteY4" fmla="*/ 0 h 5829300"/>
              <a:gd name="connsiteX5" fmla="*/ 3083204 w 5334000"/>
              <a:gd name="connsiteY5" fmla="*/ 530973 h 5829300"/>
              <a:gd name="connsiteX6" fmla="*/ 3204493 w 5334000"/>
              <a:gd name="connsiteY6" fmla="*/ 549484 h 5829300"/>
              <a:gd name="connsiteX7" fmla="*/ 5334000 w 5334000"/>
              <a:gd name="connsiteY7" fmla="*/ 3162300 h 5829300"/>
              <a:gd name="connsiteX8" fmla="*/ 2667000 w 5334000"/>
              <a:gd name="connsiteY8" fmla="*/ 582930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5829300">
                <a:moveTo>
                  <a:pt x="2667000" y="5829300"/>
                </a:moveTo>
                <a:cubicBezTo>
                  <a:pt x="1194057" y="5829300"/>
                  <a:pt x="0" y="4635243"/>
                  <a:pt x="0" y="3162300"/>
                </a:cubicBezTo>
                <a:cubicBezTo>
                  <a:pt x="0" y="1873475"/>
                  <a:pt x="914200" y="798172"/>
                  <a:pt x="2129507" y="549484"/>
                </a:cubicBezTo>
                <a:lnTo>
                  <a:pt x="2250794" y="530973"/>
                </a:lnTo>
                <a:lnTo>
                  <a:pt x="2666999" y="0"/>
                </a:lnTo>
                <a:lnTo>
                  <a:pt x="3083204" y="530973"/>
                </a:lnTo>
                <a:lnTo>
                  <a:pt x="3204493" y="549484"/>
                </a:lnTo>
                <a:cubicBezTo>
                  <a:pt x="4419800" y="798172"/>
                  <a:pt x="5334000" y="1873475"/>
                  <a:pt x="5334000" y="3162300"/>
                </a:cubicBezTo>
                <a:cubicBezTo>
                  <a:pt x="5334000" y="4635243"/>
                  <a:pt x="4139943" y="5829300"/>
                  <a:pt x="2667000" y="5829300"/>
                </a:cubicBezTo>
                <a:close/>
              </a:path>
            </a:pathLst>
          </a:custGeom>
          <a:solidFill>
            <a:srgbClr val="3D824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000"/>
          </a:p>
        </p:txBody>
      </p:sp>
      <p:sp>
        <p:nvSpPr>
          <p:cNvPr id="2142" name="Freeform: Shape 39">
            <a:extLst>
              <a:ext uri="{FF2B5EF4-FFF2-40B4-BE49-F238E27FC236}">
                <a16:creationId xmlns:a16="http://schemas.microsoft.com/office/drawing/2014/main" id="{96E65A18-4638-C639-DAFD-4DAE03F0C842}"/>
              </a:ext>
            </a:extLst>
          </p:cNvPr>
          <p:cNvSpPr/>
          <p:nvPr/>
        </p:nvSpPr>
        <p:spPr>
          <a:xfrm rot="14188706" flipH="1">
            <a:off x="9025633" y="4300615"/>
            <a:ext cx="2160000" cy="2160000"/>
          </a:xfrm>
          <a:custGeom>
            <a:avLst/>
            <a:gdLst>
              <a:gd name="connsiteX0" fmla="*/ 2667000 w 5334000"/>
              <a:gd name="connsiteY0" fmla="*/ 5829300 h 5829300"/>
              <a:gd name="connsiteX1" fmla="*/ 0 w 5334000"/>
              <a:gd name="connsiteY1" fmla="*/ 3162300 h 5829300"/>
              <a:gd name="connsiteX2" fmla="*/ 2129507 w 5334000"/>
              <a:gd name="connsiteY2" fmla="*/ 549484 h 5829300"/>
              <a:gd name="connsiteX3" fmla="*/ 2250794 w 5334000"/>
              <a:gd name="connsiteY3" fmla="*/ 530973 h 5829300"/>
              <a:gd name="connsiteX4" fmla="*/ 2666999 w 5334000"/>
              <a:gd name="connsiteY4" fmla="*/ 0 h 5829300"/>
              <a:gd name="connsiteX5" fmla="*/ 3083204 w 5334000"/>
              <a:gd name="connsiteY5" fmla="*/ 530973 h 5829300"/>
              <a:gd name="connsiteX6" fmla="*/ 3204493 w 5334000"/>
              <a:gd name="connsiteY6" fmla="*/ 549484 h 5829300"/>
              <a:gd name="connsiteX7" fmla="*/ 5334000 w 5334000"/>
              <a:gd name="connsiteY7" fmla="*/ 3162300 h 5829300"/>
              <a:gd name="connsiteX8" fmla="*/ 2667000 w 5334000"/>
              <a:gd name="connsiteY8" fmla="*/ 582930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5829300">
                <a:moveTo>
                  <a:pt x="2667000" y="5829300"/>
                </a:moveTo>
                <a:cubicBezTo>
                  <a:pt x="1194057" y="5829300"/>
                  <a:pt x="0" y="4635243"/>
                  <a:pt x="0" y="3162300"/>
                </a:cubicBezTo>
                <a:cubicBezTo>
                  <a:pt x="0" y="1873475"/>
                  <a:pt x="914200" y="798172"/>
                  <a:pt x="2129507" y="549484"/>
                </a:cubicBezTo>
                <a:lnTo>
                  <a:pt x="2250794" y="530973"/>
                </a:lnTo>
                <a:lnTo>
                  <a:pt x="2666999" y="0"/>
                </a:lnTo>
                <a:lnTo>
                  <a:pt x="3083204" y="530973"/>
                </a:lnTo>
                <a:lnTo>
                  <a:pt x="3204493" y="549484"/>
                </a:lnTo>
                <a:cubicBezTo>
                  <a:pt x="4419800" y="798172"/>
                  <a:pt x="5334000" y="1873475"/>
                  <a:pt x="5334000" y="3162300"/>
                </a:cubicBezTo>
                <a:cubicBezTo>
                  <a:pt x="5334000" y="4635243"/>
                  <a:pt x="4139943" y="5829300"/>
                  <a:pt x="2667000" y="5829300"/>
                </a:cubicBezTo>
                <a:close/>
              </a:path>
            </a:pathLst>
          </a:custGeom>
          <a:solidFill>
            <a:srgbClr val="06677F"/>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000"/>
          </a:p>
        </p:txBody>
      </p:sp>
      <p:sp>
        <p:nvSpPr>
          <p:cNvPr id="2143" name="TextBox 40">
            <a:extLst>
              <a:ext uri="{FF2B5EF4-FFF2-40B4-BE49-F238E27FC236}">
                <a16:creationId xmlns:a16="http://schemas.microsoft.com/office/drawing/2014/main" id="{D08527E4-7473-C15C-EF8E-EFBCDCE85990}"/>
              </a:ext>
            </a:extLst>
          </p:cNvPr>
          <p:cNvSpPr txBox="1"/>
          <p:nvPr/>
        </p:nvSpPr>
        <p:spPr>
          <a:xfrm>
            <a:off x="1465757" y="4830673"/>
            <a:ext cx="1745446" cy="907364"/>
          </a:xfrm>
          <a:prstGeom prst="rect">
            <a:avLst/>
          </a:prstGeom>
          <a:noFill/>
        </p:spPr>
        <p:txBody>
          <a:bodyPr wrap="square">
            <a:spAutoFit/>
          </a:bodyPr>
          <a:lstStyle/>
          <a:p>
            <a:pPr algn="ctr">
              <a:lnSpc>
                <a:spcPts val="2140"/>
              </a:lnSpc>
              <a:defRPr/>
            </a:pPr>
            <a:r>
              <a:rPr lang="en-US" sz="2200" b="1" dirty="0">
                <a:solidFill>
                  <a:schemeClr val="bg1"/>
                </a:solidFill>
                <a:ea typeface="Roboto Cn" pitchFamily="2" charset="0"/>
              </a:rPr>
              <a:t>Seasonal Breakfast</a:t>
            </a:r>
          </a:p>
          <a:p>
            <a:pPr algn="ctr">
              <a:lnSpc>
                <a:spcPts val="2140"/>
              </a:lnSpc>
              <a:defRPr/>
            </a:pPr>
            <a:endParaRPr lang="en-US" sz="2200" b="1" dirty="0">
              <a:solidFill>
                <a:schemeClr val="bg1"/>
              </a:solidFill>
              <a:ea typeface="Roboto Cn" pitchFamily="2" charset="0"/>
            </a:endParaRPr>
          </a:p>
        </p:txBody>
      </p:sp>
      <p:sp>
        <p:nvSpPr>
          <p:cNvPr id="2144" name="TextBox 41">
            <a:extLst>
              <a:ext uri="{FF2B5EF4-FFF2-40B4-BE49-F238E27FC236}">
                <a16:creationId xmlns:a16="http://schemas.microsoft.com/office/drawing/2014/main" id="{1783108B-BF36-18F4-28A8-1CD015381487}"/>
              </a:ext>
            </a:extLst>
          </p:cNvPr>
          <p:cNvSpPr txBox="1"/>
          <p:nvPr/>
        </p:nvSpPr>
        <p:spPr>
          <a:xfrm>
            <a:off x="3924533" y="3040691"/>
            <a:ext cx="1844894" cy="638060"/>
          </a:xfrm>
          <a:prstGeom prst="rect">
            <a:avLst/>
          </a:prstGeom>
          <a:noFill/>
        </p:spPr>
        <p:txBody>
          <a:bodyPr wrap="square">
            <a:spAutoFit/>
          </a:bodyPr>
          <a:lstStyle>
            <a:defPPr>
              <a:defRPr lang="en-US"/>
            </a:defPPr>
            <a:lvl1pPr>
              <a:defRPr sz="3200" baseline="30000">
                <a:solidFill>
                  <a:schemeClr val="bg1"/>
                </a:solidFill>
                <a:ea typeface="Roboto Cn" pitchFamily="2" charset="0"/>
              </a:defRPr>
            </a:lvl1pPr>
          </a:lstStyle>
          <a:p>
            <a:pPr algn="ctr">
              <a:lnSpc>
                <a:spcPts val="2140"/>
              </a:lnSpc>
            </a:pPr>
            <a:r>
              <a:rPr lang="en-US" sz="2200" b="1" baseline="0" dirty="0"/>
              <a:t>Eco-Challenge at Reception</a:t>
            </a:r>
          </a:p>
        </p:txBody>
      </p:sp>
      <p:sp>
        <p:nvSpPr>
          <p:cNvPr id="2145" name="TextBox 42">
            <a:extLst>
              <a:ext uri="{FF2B5EF4-FFF2-40B4-BE49-F238E27FC236}">
                <a16:creationId xmlns:a16="http://schemas.microsoft.com/office/drawing/2014/main" id="{E13BD932-7F78-8C24-371F-FE1FCC14C94A}"/>
              </a:ext>
            </a:extLst>
          </p:cNvPr>
          <p:cNvSpPr txBox="1"/>
          <p:nvPr/>
        </p:nvSpPr>
        <p:spPr>
          <a:xfrm>
            <a:off x="6946563" y="2986968"/>
            <a:ext cx="1899319" cy="638060"/>
          </a:xfrm>
          <a:prstGeom prst="rect">
            <a:avLst/>
          </a:prstGeom>
          <a:noFill/>
        </p:spPr>
        <p:txBody>
          <a:bodyPr wrap="square">
            <a:spAutoFit/>
          </a:bodyPr>
          <a:lstStyle>
            <a:defPPr>
              <a:defRPr lang="en-US"/>
            </a:defPPr>
            <a:lvl1pPr>
              <a:defRPr sz="3200" baseline="30000">
                <a:solidFill>
                  <a:schemeClr val="bg1"/>
                </a:solidFill>
                <a:ea typeface="Roboto Cn" pitchFamily="2" charset="0"/>
              </a:defRPr>
            </a:lvl1pPr>
          </a:lstStyle>
          <a:p>
            <a:pPr algn="ctr">
              <a:lnSpc>
                <a:spcPts val="2140"/>
              </a:lnSpc>
            </a:pPr>
            <a:r>
              <a:rPr lang="de-DE" sz="2200" b="1" baseline="0" dirty="0"/>
              <a:t>Housekeeping Choice</a:t>
            </a:r>
            <a:endParaRPr lang="en-US" sz="2200" b="1" baseline="0" dirty="0"/>
          </a:p>
        </p:txBody>
      </p:sp>
      <p:sp>
        <p:nvSpPr>
          <p:cNvPr id="2146" name="TextBox 44">
            <a:extLst>
              <a:ext uri="{FF2B5EF4-FFF2-40B4-BE49-F238E27FC236}">
                <a16:creationId xmlns:a16="http://schemas.microsoft.com/office/drawing/2014/main" id="{7D4B89CB-C1F1-7DE5-2ED3-50364360073A}"/>
              </a:ext>
            </a:extLst>
          </p:cNvPr>
          <p:cNvSpPr txBox="1"/>
          <p:nvPr/>
        </p:nvSpPr>
        <p:spPr>
          <a:xfrm>
            <a:off x="9425739" y="4812823"/>
            <a:ext cx="1599270" cy="1176669"/>
          </a:xfrm>
          <a:prstGeom prst="rect">
            <a:avLst/>
          </a:prstGeom>
          <a:noFill/>
        </p:spPr>
        <p:txBody>
          <a:bodyPr wrap="square">
            <a:spAutoFit/>
          </a:bodyPr>
          <a:lstStyle>
            <a:defPPr>
              <a:defRPr lang="en-US"/>
            </a:defPPr>
            <a:lvl1pPr>
              <a:defRPr sz="3200" baseline="30000">
                <a:solidFill>
                  <a:schemeClr val="bg1"/>
                </a:solidFill>
                <a:ea typeface="Roboto Cn" pitchFamily="2" charset="0"/>
              </a:defRPr>
            </a:lvl1pPr>
          </a:lstStyle>
          <a:p>
            <a:pPr algn="ctr">
              <a:lnSpc>
                <a:spcPts val="2140"/>
              </a:lnSpc>
            </a:pPr>
            <a:r>
              <a:rPr lang="de-DE" sz="2200" b="1" baseline="0" dirty="0" err="1"/>
              <a:t>Local</a:t>
            </a:r>
            <a:r>
              <a:rPr lang="de-DE" sz="2200" b="1" baseline="0" dirty="0"/>
              <a:t> Mobility Welcome Pack</a:t>
            </a:r>
            <a:endParaRPr lang="en-US" sz="2200" b="1" baseline="0" dirty="0"/>
          </a:p>
        </p:txBody>
      </p:sp>
      <p:grpSp>
        <p:nvGrpSpPr>
          <p:cNvPr id="5" name="Group 4">
            <a:extLst>
              <a:ext uri="{FF2B5EF4-FFF2-40B4-BE49-F238E27FC236}">
                <a16:creationId xmlns:a16="http://schemas.microsoft.com/office/drawing/2014/main" id="{31599A3F-16F3-DB1B-F760-0E5973F2618E}"/>
              </a:ext>
            </a:extLst>
          </p:cNvPr>
          <p:cNvGrpSpPr/>
          <p:nvPr/>
        </p:nvGrpSpPr>
        <p:grpSpPr>
          <a:xfrm>
            <a:off x="2007616" y="5937117"/>
            <a:ext cx="540000" cy="540000"/>
            <a:chOff x="3706278" y="5290063"/>
            <a:chExt cx="540000" cy="540000"/>
          </a:xfrm>
        </p:grpSpPr>
        <p:sp>
          <p:nvSpPr>
            <p:cNvPr id="2149" name="Oval 73">
              <a:extLst>
                <a:ext uri="{FF2B5EF4-FFF2-40B4-BE49-F238E27FC236}">
                  <a16:creationId xmlns:a16="http://schemas.microsoft.com/office/drawing/2014/main" id="{71973CE0-0DBA-0CA3-CD84-4D5C73749591}"/>
                </a:ext>
              </a:extLst>
            </p:cNvPr>
            <p:cNvSpPr/>
            <p:nvPr/>
          </p:nvSpPr>
          <p:spPr>
            <a:xfrm>
              <a:off x="3706278" y="5290063"/>
              <a:ext cx="540000" cy="540000"/>
            </a:xfrm>
            <a:prstGeom prst="ellipse">
              <a:avLst/>
            </a:prstGeom>
            <a:solidFill>
              <a:schemeClr val="bg1"/>
            </a:solidFill>
            <a:ln>
              <a:solidFill>
                <a:srgbClr val="62A844"/>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2152" name="TextBox 78">
              <a:extLst>
                <a:ext uri="{FF2B5EF4-FFF2-40B4-BE49-F238E27FC236}">
                  <a16:creationId xmlns:a16="http://schemas.microsoft.com/office/drawing/2014/main" id="{D9185CCA-0278-27B8-B378-A5D4032E5A92}"/>
                </a:ext>
              </a:extLst>
            </p:cNvPr>
            <p:cNvSpPr txBox="1"/>
            <p:nvPr/>
          </p:nvSpPr>
          <p:spPr>
            <a:xfrm>
              <a:off x="3721720" y="5386948"/>
              <a:ext cx="509117" cy="397032"/>
            </a:xfrm>
            <a:prstGeom prst="rect">
              <a:avLst/>
            </a:prstGeom>
            <a:noFill/>
          </p:spPr>
          <p:txBody>
            <a:bodyPr wrap="square">
              <a:spAutoFit/>
            </a:bodyPr>
            <a:lstStyle/>
            <a:p>
              <a:pPr algn="ctr">
                <a:lnSpc>
                  <a:spcPct val="90000"/>
                </a:lnSpc>
                <a:defRPr/>
              </a:pPr>
              <a:r>
                <a:rPr lang="ru-RU" sz="2200" b="1" dirty="0">
                  <a:solidFill>
                    <a:srgbClr val="62A844"/>
                  </a:solidFill>
                  <a:ea typeface="Roboto" pitchFamily="2" charset="0"/>
                </a:rPr>
                <a:t>01</a:t>
              </a:r>
            </a:p>
          </p:txBody>
        </p:sp>
      </p:grpSp>
      <p:sp>
        <p:nvSpPr>
          <p:cNvPr id="2" name="Text Placeholder 11">
            <a:extLst>
              <a:ext uri="{FF2B5EF4-FFF2-40B4-BE49-F238E27FC236}">
                <a16:creationId xmlns:a16="http://schemas.microsoft.com/office/drawing/2014/main" id="{4A56E5D9-BE3E-8E4B-2541-73F9834AFB47}"/>
              </a:ext>
            </a:extLst>
          </p:cNvPr>
          <p:cNvSpPr txBox="1">
            <a:spLocks/>
          </p:cNvSpPr>
          <p:nvPr/>
        </p:nvSpPr>
        <p:spPr>
          <a:xfrm>
            <a:off x="429115" y="290588"/>
            <a:ext cx="869468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Silent Sustainability vs Visible Sustainabilit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18CDC81-B361-6441-5773-42B2CB0A3BD6}"/>
              </a:ext>
            </a:extLst>
          </p:cNvPr>
          <p:cNvCxnSpPr>
            <a:cxnSpLocks/>
          </p:cNvCxnSpPr>
          <p:nvPr/>
        </p:nvCxnSpPr>
        <p:spPr>
          <a:xfrm>
            <a:off x="0" y="903191"/>
            <a:ext cx="884356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C7B21C2D-DE5B-E7BC-2E76-27F9222B4A0E}"/>
              </a:ext>
            </a:extLst>
          </p:cNvPr>
          <p:cNvGrpSpPr/>
          <p:nvPr/>
        </p:nvGrpSpPr>
        <p:grpSpPr>
          <a:xfrm>
            <a:off x="3469838" y="3551899"/>
            <a:ext cx="540000" cy="540000"/>
            <a:chOff x="3706278" y="5290063"/>
            <a:chExt cx="540000" cy="540000"/>
          </a:xfrm>
        </p:grpSpPr>
        <p:sp>
          <p:nvSpPr>
            <p:cNvPr id="9" name="Oval 73">
              <a:extLst>
                <a:ext uri="{FF2B5EF4-FFF2-40B4-BE49-F238E27FC236}">
                  <a16:creationId xmlns:a16="http://schemas.microsoft.com/office/drawing/2014/main" id="{E09748D1-E5FC-B4F6-7071-B2B3EE39F48E}"/>
                </a:ext>
              </a:extLst>
            </p:cNvPr>
            <p:cNvSpPr/>
            <p:nvPr/>
          </p:nvSpPr>
          <p:spPr>
            <a:xfrm>
              <a:off x="3706278" y="5290063"/>
              <a:ext cx="540000" cy="540000"/>
            </a:xfrm>
            <a:prstGeom prst="ellipse">
              <a:avLst/>
            </a:prstGeom>
            <a:solidFill>
              <a:schemeClr val="bg1"/>
            </a:solidFill>
            <a:ln>
              <a:solidFill>
                <a:srgbClr val="3D824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dirty="0"/>
            </a:p>
          </p:txBody>
        </p:sp>
        <p:sp>
          <p:nvSpPr>
            <p:cNvPr id="10" name="TextBox 78">
              <a:extLst>
                <a:ext uri="{FF2B5EF4-FFF2-40B4-BE49-F238E27FC236}">
                  <a16:creationId xmlns:a16="http://schemas.microsoft.com/office/drawing/2014/main" id="{29A5DA5F-6FB5-03BB-9163-C098CE6BB454}"/>
                </a:ext>
              </a:extLst>
            </p:cNvPr>
            <p:cNvSpPr txBox="1"/>
            <p:nvPr/>
          </p:nvSpPr>
          <p:spPr>
            <a:xfrm>
              <a:off x="3721720" y="5386948"/>
              <a:ext cx="509117" cy="397032"/>
            </a:xfrm>
            <a:prstGeom prst="rect">
              <a:avLst/>
            </a:prstGeom>
            <a:noFill/>
          </p:spPr>
          <p:txBody>
            <a:bodyPr wrap="square">
              <a:spAutoFit/>
            </a:bodyPr>
            <a:lstStyle/>
            <a:p>
              <a:pPr algn="ctr">
                <a:lnSpc>
                  <a:spcPct val="90000"/>
                </a:lnSpc>
                <a:defRPr/>
              </a:pPr>
              <a:r>
                <a:rPr lang="en-IE" sz="2200" b="1" dirty="0">
                  <a:solidFill>
                    <a:srgbClr val="3D8241"/>
                  </a:solidFill>
                  <a:ea typeface="Roboto" pitchFamily="2" charset="0"/>
                </a:rPr>
                <a:t>02</a:t>
              </a:r>
              <a:endParaRPr lang="ru-RU" sz="2200" b="1" dirty="0">
                <a:solidFill>
                  <a:srgbClr val="3D8241"/>
                </a:solidFill>
                <a:ea typeface="Roboto" pitchFamily="2" charset="0"/>
              </a:endParaRPr>
            </a:p>
          </p:txBody>
        </p:sp>
      </p:grpSp>
      <p:grpSp>
        <p:nvGrpSpPr>
          <p:cNvPr id="11" name="Group 10">
            <a:extLst>
              <a:ext uri="{FF2B5EF4-FFF2-40B4-BE49-F238E27FC236}">
                <a16:creationId xmlns:a16="http://schemas.microsoft.com/office/drawing/2014/main" id="{404E803D-FECD-126C-213D-EDB885C17BFD}"/>
              </a:ext>
            </a:extLst>
          </p:cNvPr>
          <p:cNvGrpSpPr/>
          <p:nvPr/>
        </p:nvGrpSpPr>
        <p:grpSpPr>
          <a:xfrm>
            <a:off x="6473383" y="2809880"/>
            <a:ext cx="540000" cy="540000"/>
            <a:chOff x="3706278" y="5290063"/>
            <a:chExt cx="540000" cy="540000"/>
          </a:xfrm>
        </p:grpSpPr>
        <p:sp>
          <p:nvSpPr>
            <p:cNvPr id="12" name="Oval 73">
              <a:extLst>
                <a:ext uri="{FF2B5EF4-FFF2-40B4-BE49-F238E27FC236}">
                  <a16:creationId xmlns:a16="http://schemas.microsoft.com/office/drawing/2014/main" id="{EE722FB9-E6AC-58FC-FD07-4470DE7391CE}"/>
                </a:ext>
              </a:extLst>
            </p:cNvPr>
            <p:cNvSpPr/>
            <p:nvPr/>
          </p:nvSpPr>
          <p:spPr>
            <a:xfrm>
              <a:off x="3706278" y="5290063"/>
              <a:ext cx="540000" cy="540000"/>
            </a:xfrm>
            <a:prstGeom prst="ellipse">
              <a:avLst/>
            </a:prstGeom>
            <a:solidFill>
              <a:schemeClr val="bg1"/>
            </a:solidFill>
            <a:ln>
              <a:solidFill>
                <a:srgbClr val="0289A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a:p>
          </p:txBody>
        </p:sp>
        <p:sp>
          <p:nvSpPr>
            <p:cNvPr id="13" name="TextBox 78">
              <a:extLst>
                <a:ext uri="{FF2B5EF4-FFF2-40B4-BE49-F238E27FC236}">
                  <a16:creationId xmlns:a16="http://schemas.microsoft.com/office/drawing/2014/main" id="{C3F8380D-94FA-BB21-1EB0-367135B09158}"/>
                </a:ext>
              </a:extLst>
            </p:cNvPr>
            <p:cNvSpPr txBox="1"/>
            <p:nvPr/>
          </p:nvSpPr>
          <p:spPr>
            <a:xfrm>
              <a:off x="3721720" y="5386948"/>
              <a:ext cx="509117" cy="397032"/>
            </a:xfrm>
            <a:prstGeom prst="rect">
              <a:avLst/>
            </a:prstGeom>
            <a:noFill/>
          </p:spPr>
          <p:txBody>
            <a:bodyPr wrap="square">
              <a:spAutoFit/>
            </a:bodyPr>
            <a:lstStyle/>
            <a:p>
              <a:pPr algn="ctr">
                <a:lnSpc>
                  <a:spcPct val="90000"/>
                </a:lnSpc>
                <a:defRPr/>
              </a:pPr>
              <a:r>
                <a:rPr lang="en-IE" sz="2200" b="1" dirty="0">
                  <a:solidFill>
                    <a:srgbClr val="0289AE"/>
                  </a:solidFill>
                  <a:ea typeface="Roboto" pitchFamily="2" charset="0"/>
                </a:rPr>
                <a:t>03</a:t>
              </a:r>
              <a:endParaRPr lang="ru-RU" sz="2200" b="1" dirty="0">
                <a:solidFill>
                  <a:srgbClr val="0289AE"/>
                </a:solidFill>
                <a:ea typeface="Roboto" pitchFamily="2" charset="0"/>
              </a:endParaRPr>
            </a:p>
          </p:txBody>
        </p:sp>
      </p:grpSp>
      <p:grpSp>
        <p:nvGrpSpPr>
          <p:cNvPr id="14" name="Group 13">
            <a:extLst>
              <a:ext uri="{FF2B5EF4-FFF2-40B4-BE49-F238E27FC236}">
                <a16:creationId xmlns:a16="http://schemas.microsoft.com/office/drawing/2014/main" id="{70AECFF8-BA33-9F6F-DA21-A4E5B929928B}"/>
              </a:ext>
            </a:extLst>
          </p:cNvPr>
          <p:cNvGrpSpPr/>
          <p:nvPr/>
        </p:nvGrpSpPr>
        <p:grpSpPr>
          <a:xfrm>
            <a:off x="9131188" y="4262632"/>
            <a:ext cx="540000" cy="540000"/>
            <a:chOff x="3706278" y="5290063"/>
            <a:chExt cx="540000" cy="540000"/>
          </a:xfrm>
        </p:grpSpPr>
        <p:sp>
          <p:nvSpPr>
            <p:cNvPr id="15" name="Oval 73">
              <a:extLst>
                <a:ext uri="{FF2B5EF4-FFF2-40B4-BE49-F238E27FC236}">
                  <a16:creationId xmlns:a16="http://schemas.microsoft.com/office/drawing/2014/main" id="{61D45522-1FE2-3E9A-E2AA-F1B36644BDEE}"/>
                </a:ext>
              </a:extLst>
            </p:cNvPr>
            <p:cNvSpPr/>
            <p:nvPr/>
          </p:nvSpPr>
          <p:spPr>
            <a:xfrm>
              <a:off x="3706278" y="5290063"/>
              <a:ext cx="540000" cy="540000"/>
            </a:xfrm>
            <a:prstGeom prst="ellipse">
              <a:avLst/>
            </a:prstGeom>
            <a:solidFill>
              <a:schemeClr val="bg1"/>
            </a:solidFill>
            <a:ln>
              <a:solidFill>
                <a:srgbClr val="06677F"/>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00" dirty="0"/>
            </a:p>
          </p:txBody>
        </p:sp>
        <p:sp>
          <p:nvSpPr>
            <p:cNvPr id="16" name="TextBox 78">
              <a:extLst>
                <a:ext uri="{FF2B5EF4-FFF2-40B4-BE49-F238E27FC236}">
                  <a16:creationId xmlns:a16="http://schemas.microsoft.com/office/drawing/2014/main" id="{650AD362-702A-AE81-06EE-865C30A357F3}"/>
                </a:ext>
              </a:extLst>
            </p:cNvPr>
            <p:cNvSpPr txBox="1"/>
            <p:nvPr/>
          </p:nvSpPr>
          <p:spPr>
            <a:xfrm>
              <a:off x="3721720" y="5386948"/>
              <a:ext cx="509117" cy="397032"/>
            </a:xfrm>
            <a:prstGeom prst="rect">
              <a:avLst/>
            </a:prstGeom>
            <a:noFill/>
          </p:spPr>
          <p:txBody>
            <a:bodyPr wrap="square">
              <a:spAutoFit/>
            </a:bodyPr>
            <a:lstStyle/>
            <a:p>
              <a:pPr algn="ctr">
                <a:lnSpc>
                  <a:spcPct val="90000"/>
                </a:lnSpc>
                <a:defRPr/>
              </a:pPr>
              <a:r>
                <a:rPr lang="en-IE" sz="2200" b="1" dirty="0">
                  <a:solidFill>
                    <a:srgbClr val="06677F"/>
                  </a:solidFill>
                  <a:ea typeface="Roboto" pitchFamily="2" charset="0"/>
                </a:rPr>
                <a:t>04</a:t>
              </a:r>
              <a:endParaRPr lang="ru-RU" sz="2200" b="1" dirty="0">
                <a:solidFill>
                  <a:srgbClr val="06677F"/>
                </a:solidFill>
                <a:ea typeface="Roboto" pitchFamily="2" charset="0"/>
              </a:endParaRPr>
            </a:p>
          </p:txBody>
        </p:sp>
      </p:grpSp>
      <p:sp>
        <p:nvSpPr>
          <p:cNvPr id="6" name="TextBox 40">
            <a:extLst>
              <a:ext uri="{FF2B5EF4-FFF2-40B4-BE49-F238E27FC236}">
                <a16:creationId xmlns:a16="http://schemas.microsoft.com/office/drawing/2014/main" id="{78BE0F00-94DD-0232-4788-780260236D32}"/>
              </a:ext>
            </a:extLst>
          </p:cNvPr>
          <p:cNvSpPr txBox="1"/>
          <p:nvPr/>
        </p:nvSpPr>
        <p:spPr>
          <a:xfrm>
            <a:off x="233979" y="2973644"/>
            <a:ext cx="2590280" cy="1118255"/>
          </a:xfrm>
          <a:prstGeom prst="rect">
            <a:avLst/>
          </a:prstGeom>
          <a:noFill/>
        </p:spPr>
        <p:txBody>
          <a:bodyPr wrap="square">
            <a:spAutoFit/>
          </a:bodyPr>
          <a:lstStyle/>
          <a:p>
            <a:pPr algn="ctr">
              <a:lnSpc>
                <a:spcPts val="1960"/>
              </a:lnSpc>
              <a:defRPr/>
            </a:pPr>
            <a:r>
              <a:rPr lang="en-US" dirty="0">
                <a:solidFill>
                  <a:srgbClr val="62A844"/>
                </a:solidFill>
              </a:rPr>
              <a:t>A breakfast buffet highlights seasonal local ingredients and explains where they come from.</a:t>
            </a:r>
            <a:endParaRPr lang="en-US" baseline="30000" dirty="0">
              <a:solidFill>
                <a:srgbClr val="62A844"/>
              </a:solidFill>
              <a:ea typeface="Roboto Cn" pitchFamily="2" charset="0"/>
            </a:endParaRPr>
          </a:p>
        </p:txBody>
      </p:sp>
      <p:sp>
        <p:nvSpPr>
          <p:cNvPr id="7" name="TextBox 40">
            <a:extLst>
              <a:ext uri="{FF2B5EF4-FFF2-40B4-BE49-F238E27FC236}">
                <a16:creationId xmlns:a16="http://schemas.microsoft.com/office/drawing/2014/main" id="{A902A1F9-7089-783B-C244-64F584C23107}"/>
              </a:ext>
            </a:extLst>
          </p:cNvPr>
          <p:cNvSpPr txBox="1"/>
          <p:nvPr/>
        </p:nvSpPr>
        <p:spPr>
          <a:xfrm>
            <a:off x="2370125" y="1212554"/>
            <a:ext cx="2388598" cy="1118255"/>
          </a:xfrm>
          <a:prstGeom prst="rect">
            <a:avLst/>
          </a:prstGeom>
          <a:noFill/>
        </p:spPr>
        <p:txBody>
          <a:bodyPr wrap="square">
            <a:spAutoFit/>
          </a:bodyPr>
          <a:lstStyle/>
          <a:p>
            <a:pPr algn="ctr">
              <a:lnSpc>
                <a:spcPts val="1960"/>
              </a:lnSpc>
              <a:defRPr/>
            </a:pPr>
            <a:r>
              <a:rPr lang="en-US" dirty="0">
                <a:solidFill>
                  <a:srgbClr val="3D8241"/>
                </a:solidFill>
              </a:rPr>
              <a:t>Guests are invited to join a small sustainability challenge with a simple reward.</a:t>
            </a:r>
            <a:endParaRPr lang="en-US" baseline="30000" dirty="0">
              <a:solidFill>
                <a:srgbClr val="3D8241"/>
              </a:solidFill>
              <a:ea typeface="Roboto Cn" pitchFamily="2" charset="0"/>
            </a:endParaRPr>
          </a:p>
        </p:txBody>
      </p:sp>
      <p:sp>
        <p:nvSpPr>
          <p:cNvPr id="17" name="TextBox 40">
            <a:extLst>
              <a:ext uri="{FF2B5EF4-FFF2-40B4-BE49-F238E27FC236}">
                <a16:creationId xmlns:a16="http://schemas.microsoft.com/office/drawing/2014/main" id="{1E6F94A2-8074-6BB7-43BE-371394EFD074}"/>
              </a:ext>
            </a:extLst>
          </p:cNvPr>
          <p:cNvSpPr txBox="1"/>
          <p:nvPr/>
        </p:nvSpPr>
        <p:spPr>
          <a:xfrm>
            <a:off x="7959212" y="1173264"/>
            <a:ext cx="2388599" cy="1118255"/>
          </a:xfrm>
          <a:prstGeom prst="rect">
            <a:avLst/>
          </a:prstGeom>
          <a:noFill/>
        </p:spPr>
        <p:txBody>
          <a:bodyPr wrap="square">
            <a:spAutoFit/>
          </a:bodyPr>
          <a:lstStyle/>
          <a:p>
            <a:pPr algn="ctr">
              <a:lnSpc>
                <a:spcPts val="1960"/>
              </a:lnSpc>
              <a:defRPr/>
            </a:pPr>
            <a:r>
              <a:rPr lang="en-US" dirty="0">
                <a:solidFill>
                  <a:srgbClr val="0289AE"/>
                </a:solidFill>
              </a:rPr>
              <a:t>Room signage gives guests a clear, respectful choice about service frequency.</a:t>
            </a:r>
            <a:endParaRPr lang="en-US" baseline="30000" dirty="0">
              <a:solidFill>
                <a:srgbClr val="0289AE"/>
              </a:solidFill>
              <a:ea typeface="Roboto Cn" pitchFamily="2" charset="0"/>
            </a:endParaRPr>
          </a:p>
        </p:txBody>
      </p:sp>
      <p:sp>
        <p:nvSpPr>
          <p:cNvPr id="18" name="TextBox 40">
            <a:extLst>
              <a:ext uri="{FF2B5EF4-FFF2-40B4-BE49-F238E27FC236}">
                <a16:creationId xmlns:a16="http://schemas.microsoft.com/office/drawing/2014/main" id="{F9DB1941-5416-F843-8C88-782C374B535A}"/>
              </a:ext>
            </a:extLst>
          </p:cNvPr>
          <p:cNvSpPr txBox="1"/>
          <p:nvPr/>
        </p:nvSpPr>
        <p:spPr>
          <a:xfrm>
            <a:off x="10020804" y="3119623"/>
            <a:ext cx="2040272" cy="1118255"/>
          </a:xfrm>
          <a:prstGeom prst="rect">
            <a:avLst/>
          </a:prstGeom>
          <a:noFill/>
        </p:spPr>
        <p:txBody>
          <a:bodyPr wrap="square">
            <a:spAutoFit/>
          </a:bodyPr>
          <a:lstStyle/>
          <a:p>
            <a:pPr algn="ctr">
              <a:lnSpc>
                <a:spcPts val="1960"/>
              </a:lnSpc>
              <a:defRPr/>
            </a:pPr>
            <a:r>
              <a:rPr lang="en-US" dirty="0">
                <a:solidFill>
                  <a:srgbClr val="06677F"/>
                </a:solidFill>
              </a:rPr>
              <a:t>Arrival information includes walking, cycling, and local transport options.</a:t>
            </a:r>
            <a:endParaRPr lang="en-US" baseline="30000" dirty="0">
              <a:solidFill>
                <a:srgbClr val="06677F"/>
              </a:solidFill>
              <a:ea typeface="Roboto Cn" pitchFamily="2" charset="0"/>
            </a:endParaRPr>
          </a:p>
        </p:txBody>
      </p:sp>
    </p:spTree>
    <p:extLst>
      <p:ext uri="{BB962C8B-B14F-4D97-AF65-F5344CB8AC3E}">
        <p14:creationId xmlns:p14="http://schemas.microsoft.com/office/powerpoint/2010/main" val="21363857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51959-CB15-40C2-AD58-F7AFA8140FAA}"/>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391D3FD6-70FD-06CD-C1B9-63A1B5A613BE}"/>
              </a:ext>
            </a:extLst>
          </p:cNvPr>
          <p:cNvSpPr txBox="1">
            <a:spLocks/>
          </p:cNvSpPr>
          <p:nvPr/>
        </p:nvSpPr>
        <p:spPr>
          <a:xfrm>
            <a:off x="429115" y="421381"/>
            <a:ext cx="540513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Watch: Green Key Introduction Video</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452E64B3-3033-AE63-914E-2082E1506F38}"/>
              </a:ext>
            </a:extLst>
          </p:cNvPr>
          <p:cNvCxnSpPr>
            <a:cxnSpLocks/>
          </p:cNvCxnSpPr>
          <p:nvPr/>
        </p:nvCxnSpPr>
        <p:spPr>
          <a:xfrm>
            <a:off x="0" y="1536819"/>
            <a:ext cx="568382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9B4C2CF9-F95B-021E-A619-18CEBFFB033D}"/>
              </a:ext>
            </a:extLst>
          </p:cNvPr>
          <p:cNvSpPr/>
          <p:nvPr/>
        </p:nvSpPr>
        <p:spPr>
          <a:xfrm flipH="1">
            <a:off x="586941" y="1838697"/>
            <a:ext cx="5096886" cy="4308872"/>
          </a:xfrm>
          <a:prstGeom prst="rect">
            <a:avLst/>
          </a:prstGeom>
        </p:spPr>
        <p:txBody>
          <a:bodyPr wrap="square">
            <a:spAutoFit/>
          </a:bodyPr>
          <a:lstStyle/>
          <a:p>
            <a:pPr>
              <a:buClr>
                <a:srgbClr val="62A844"/>
              </a:buClr>
            </a:pPr>
            <a:r>
              <a:rPr lang="en-US" dirty="0">
                <a:solidFill>
                  <a:srgbClr val="262626"/>
                </a:solidFill>
              </a:rPr>
              <a:t>Watch the short introduction video on the </a:t>
            </a:r>
            <a:r>
              <a:rPr lang="en-US" b="1" dirty="0">
                <a:solidFill>
                  <a:srgbClr val="262626"/>
                </a:solidFill>
              </a:rPr>
              <a:t>Green Key </a:t>
            </a:r>
            <a:r>
              <a:rPr lang="en-US" b="1" dirty="0" err="1">
                <a:solidFill>
                  <a:srgbClr val="262626"/>
                </a:solidFill>
              </a:rPr>
              <a:t>Programme</a:t>
            </a:r>
            <a:r>
              <a:rPr lang="en-US" dirty="0">
                <a:solidFill>
                  <a:srgbClr val="262626"/>
                </a:solidFill>
              </a:rPr>
              <a:t> page.</a:t>
            </a:r>
          </a:p>
          <a:p>
            <a:pPr>
              <a:buClr>
                <a:srgbClr val="62A844"/>
              </a:buClr>
            </a:pPr>
            <a:endParaRPr lang="en-US" dirty="0">
              <a:solidFill>
                <a:srgbClr val="262626"/>
              </a:solidFill>
            </a:endParaRPr>
          </a:p>
          <a:p>
            <a:pPr>
              <a:buClr>
                <a:srgbClr val="62A844"/>
              </a:buClr>
              <a:buNone/>
            </a:pPr>
            <a:r>
              <a:rPr lang="en-US" sz="2000" b="1" dirty="0">
                <a:solidFill>
                  <a:srgbClr val="0289AE"/>
                </a:solidFill>
              </a:rPr>
              <a:t>Watch for:</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how certification builds guest trust</a:t>
            </a:r>
          </a:p>
          <a:p>
            <a:pPr marL="285750" indent="-285750">
              <a:buClr>
                <a:srgbClr val="62A844"/>
              </a:buClr>
              <a:buFont typeface="Arial" panose="020B0604020202020204" pitchFamily="34" charset="0"/>
              <a:buChar char="•"/>
            </a:pPr>
            <a:r>
              <a:rPr lang="en-US" dirty="0">
                <a:solidFill>
                  <a:srgbClr val="262626"/>
                </a:solidFill>
              </a:rPr>
              <a:t>how staff information and guest information are linked</a:t>
            </a:r>
          </a:p>
          <a:p>
            <a:pPr marL="285750" indent="-285750">
              <a:buClr>
                <a:srgbClr val="62A844"/>
              </a:buClr>
              <a:buFont typeface="Arial" panose="020B0604020202020204" pitchFamily="34" charset="0"/>
              <a:buChar char="•"/>
            </a:pPr>
            <a:r>
              <a:rPr lang="en-US" dirty="0">
                <a:solidFill>
                  <a:srgbClr val="262626"/>
                </a:solidFill>
              </a:rPr>
              <a:t>how sustainability is communicated as part of operational quality</a:t>
            </a:r>
          </a:p>
          <a:p>
            <a:pPr>
              <a:buClr>
                <a:srgbClr val="62A844"/>
              </a:buClr>
              <a:buFont typeface="Arial" panose="020B0604020202020204" pitchFamily="34" charset="0"/>
              <a:buChar char="•"/>
            </a:pPr>
            <a:endParaRPr lang="en-US" dirty="0">
              <a:solidFill>
                <a:srgbClr val="262626"/>
              </a:solidFill>
            </a:endParaRPr>
          </a:p>
          <a:p>
            <a:pPr>
              <a:buClr>
                <a:srgbClr val="62A844"/>
              </a:buClr>
            </a:pPr>
            <a:r>
              <a:rPr lang="en-US" sz="2000" b="1" dirty="0">
                <a:solidFill>
                  <a:srgbClr val="0289AE"/>
                </a:solidFill>
              </a:rPr>
              <a:t>Your task - Write a short note on:</a:t>
            </a:r>
          </a:p>
          <a:p>
            <a:pPr marL="342900" indent="-342900">
              <a:buClr>
                <a:srgbClr val="62A844"/>
              </a:buClr>
              <a:buFont typeface="+mj-lt"/>
              <a:buAutoNum type="arabicPeriod"/>
            </a:pPr>
            <a:r>
              <a:rPr lang="en-US" dirty="0">
                <a:solidFill>
                  <a:srgbClr val="262626"/>
                </a:solidFill>
              </a:rPr>
              <a:t>what makes a sustainability label credible</a:t>
            </a:r>
          </a:p>
          <a:p>
            <a:pPr marL="342900" indent="-342900">
              <a:buClr>
                <a:srgbClr val="62A844"/>
              </a:buClr>
              <a:buFont typeface="+mj-lt"/>
              <a:buAutoNum type="arabicPeriod"/>
            </a:pPr>
            <a:r>
              <a:rPr lang="en-US" dirty="0">
                <a:solidFill>
                  <a:srgbClr val="262626"/>
                </a:solidFill>
              </a:rPr>
              <a:t>what guests need beyond a logo</a:t>
            </a:r>
          </a:p>
          <a:p>
            <a:pPr marL="342900" indent="-342900">
              <a:buClr>
                <a:srgbClr val="62A844"/>
              </a:buClr>
              <a:buFont typeface="+mj-lt"/>
              <a:buAutoNum type="arabicPeriod"/>
            </a:pPr>
            <a:r>
              <a:rPr lang="en-US" dirty="0">
                <a:solidFill>
                  <a:srgbClr val="262626"/>
                </a:solidFill>
              </a:rPr>
              <a:t>how your business could explain a certification more clearly</a:t>
            </a:r>
          </a:p>
        </p:txBody>
      </p:sp>
      <p:pic>
        <p:nvPicPr>
          <p:cNvPr id="15" name="Picture 14">
            <a:extLst>
              <a:ext uri="{FF2B5EF4-FFF2-40B4-BE49-F238E27FC236}">
                <a16:creationId xmlns:a16="http://schemas.microsoft.com/office/drawing/2014/main" id="{3D4C704B-A6CE-4D45-5D67-B090B6A819D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61" t="12298" r="29196" b="16922"/>
          <a:stretch>
            <a:fillRect/>
          </a:stretch>
        </p:blipFill>
        <p:spPr>
          <a:xfrm>
            <a:off x="5834250" y="1096245"/>
            <a:ext cx="6347083" cy="4885527"/>
          </a:xfrm>
          <a:prstGeom prst="rect">
            <a:avLst/>
          </a:prstGeom>
        </p:spPr>
      </p:pic>
      <p:sp>
        <p:nvSpPr>
          <p:cNvPr id="6" name="Rounded Rectangle 5">
            <a:extLst>
              <a:ext uri="{FF2B5EF4-FFF2-40B4-BE49-F238E27FC236}">
                <a16:creationId xmlns:a16="http://schemas.microsoft.com/office/drawing/2014/main" id="{8D5295F5-0AFE-0898-C0DA-8E280E5C3404}"/>
              </a:ext>
            </a:extLst>
          </p:cNvPr>
          <p:cNvSpPr/>
          <p:nvPr/>
        </p:nvSpPr>
        <p:spPr>
          <a:xfrm>
            <a:off x="7124915" y="6002285"/>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C96BC00-48E6-4E95-D18C-3EE70F6DDDFD}"/>
              </a:ext>
            </a:extLst>
          </p:cNvPr>
          <p:cNvSpPr txBox="1"/>
          <p:nvPr/>
        </p:nvSpPr>
        <p:spPr>
          <a:xfrm>
            <a:off x="7250914" y="6065563"/>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8" name="TextBox 7">
            <a:extLst>
              <a:ext uri="{FF2B5EF4-FFF2-40B4-BE49-F238E27FC236}">
                <a16:creationId xmlns:a16="http://schemas.microsoft.com/office/drawing/2014/main" id="{9213E851-48B4-D52B-3D7C-4767B9488B8C}"/>
              </a:ext>
            </a:extLst>
          </p:cNvPr>
          <p:cNvSpPr txBox="1"/>
          <p:nvPr/>
        </p:nvSpPr>
        <p:spPr>
          <a:xfrm>
            <a:off x="8006915" y="6065563"/>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84894EDF-BFA7-13F3-A17E-682364CC1234}"/>
              </a:ext>
            </a:extLst>
          </p:cNvPr>
          <p:cNvSpPr txBox="1"/>
          <p:nvPr/>
        </p:nvSpPr>
        <p:spPr>
          <a:xfrm>
            <a:off x="8600914" y="6065563"/>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igital Marketing for Sustainability</a:t>
            </a:r>
          </a:p>
        </p:txBody>
      </p:sp>
      <p:pic>
        <p:nvPicPr>
          <p:cNvPr id="13" name="Bildplatzhalter 6" descr="The image shows a pristine beach with crystal-clear turquoise waters, surrounded by luxurious high-rise buildings and palm trees, overlooking a clear blue sky.&#10;&#10;KI-generierte Inhalte können fehlerhaft sein.">
            <a:hlinkClick r:id="rId4"/>
            <a:extLst>
              <a:ext uri="{FF2B5EF4-FFF2-40B4-BE49-F238E27FC236}">
                <a16:creationId xmlns:a16="http://schemas.microsoft.com/office/drawing/2014/main" id="{272BBEAB-3771-FC3E-DE93-4B4286BD8DEB}"/>
              </a:ext>
            </a:extLst>
          </p:cNvPr>
          <p:cNvPicPr>
            <a:picLocks noChangeAspect="1"/>
          </p:cNvPicPr>
          <p:nvPr/>
        </p:nvPicPr>
        <p:blipFill rotWithShape="1">
          <a:blip r:embed="rId5"/>
          <a:srcRect l="12633" t="-324" r="15413" b="324"/>
          <a:stretch>
            <a:fillRect/>
          </a:stretch>
        </p:blipFill>
        <p:spPr>
          <a:xfrm>
            <a:off x="7341896" y="1536819"/>
            <a:ext cx="4839437" cy="3772936"/>
          </a:xfrm>
          <a:prstGeom prst="rect">
            <a:avLst/>
          </a:prstGeom>
          <a:solidFill>
            <a:srgbClr val="FFFFFF">
              <a:lumMod val="85000"/>
            </a:srgbClr>
          </a:solidFill>
        </p:spPr>
      </p:pic>
      <p:grpSp>
        <p:nvGrpSpPr>
          <p:cNvPr id="14" name="Group 13">
            <a:extLst>
              <a:ext uri="{FF2B5EF4-FFF2-40B4-BE49-F238E27FC236}">
                <a16:creationId xmlns:a16="http://schemas.microsoft.com/office/drawing/2014/main" id="{9849E01E-E4CF-8ABF-33DB-8F58C83187A3}"/>
              </a:ext>
            </a:extLst>
          </p:cNvPr>
          <p:cNvGrpSpPr/>
          <p:nvPr/>
        </p:nvGrpSpPr>
        <p:grpSpPr>
          <a:xfrm rot="21145702">
            <a:off x="6321010" y="3518800"/>
            <a:ext cx="1456095" cy="1406604"/>
            <a:chOff x="7777737" y="4274827"/>
            <a:chExt cx="1456095" cy="1406604"/>
          </a:xfrm>
        </p:grpSpPr>
        <p:sp>
          <p:nvSpPr>
            <p:cNvPr id="16" name="Oval 15">
              <a:extLst>
                <a:ext uri="{FF2B5EF4-FFF2-40B4-BE49-F238E27FC236}">
                  <a16:creationId xmlns:a16="http://schemas.microsoft.com/office/drawing/2014/main" id="{0A2FD202-9EA6-F7D3-471D-9ECA34192E8A}"/>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341C10B9-F08D-03B1-51AD-89618DF98545}"/>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4">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22903482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ACB3C-8AF1-FBCF-9DC1-2EC314C774BB}"/>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25507F2C-6827-282A-A158-672D4AD6F84C}"/>
              </a:ext>
            </a:extLst>
          </p:cNvPr>
          <p:cNvSpPr/>
          <p:nvPr/>
        </p:nvSpPr>
        <p:spPr>
          <a:xfrm flipH="1">
            <a:off x="688773" y="1069584"/>
            <a:ext cx="3122808"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Guests make sustainable choices more easily when the design reduces friction.</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1FD9499B-6B83-5765-5731-2C17C336762B}"/>
              </a:ext>
            </a:extLst>
          </p:cNvPr>
          <p:cNvSpPr/>
          <p:nvPr/>
        </p:nvSpPr>
        <p:spPr>
          <a:xfrm flipH="1">
            <a:off x="688772" y="3063440"/>
            <a:ext cx="3274948" cy="1169936"/>
          </a:xfrm>
          <a:prstGeom prst="rect">
            <a:avLst/>
          </a:prstGeom>
        </p:spPr>
        <p:txBody>
          <a:bodyPr wrap="square">
            <a:spAutoFit/>
          </a:bodyPr>
          <a:lstStyle/>
          <a:p>
            <a:pPr>
              <a:lnSpc>
                <a:spcPts val="2100"/>
              </a:lnSpc>
            </a:pPr>
            <a:r>
              <a:rPr lang="en-US" sz="2000" dirty="0" err="1">
                <a:solidFill>
                  <a:srgbClr val="262626"/>
                </a:solidFill>
                <a:cs typeface="Segoe UI Light" panose="020B0502040204020203" pitchFamily="34" charset="0"/>
              </a:rPr>
              <a:t>Behavioural</a:t>
            </a:r>
            <a:r>
              <a:rPr lang="en-US" sz="2000" dirty="0">
                <a:solidFill>
                  <a:srgbClr val="262626"/>
                </a:solidFill>
                <a:cs typeface="Segoe UI Light" panose="020B0502040204020203" pitchFamily="34" charset="0"/>
              </a:rPr>
              <a:t> nudges support better decisions while keeping freedom intact.</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ACDBEB19-E475-C2E2-16DB-C3E06F3799DE}"/>
              </a:ext>
            </a:extLst>
          </p:cNvPr>
          <p:cNvSpPr/>
          <p:nvPr/>
        </p:nvSpPr>
        <p:spPr>
          <a:xfrm flipH="1">
            <a:off x="688772" y="5394152"/>
            <a:ext cx="4090949"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Housekeeping, food, local transport, and room communication are powerful touchpoints.</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00CA53A9-B49E-84B8-B9D2-11468989AE34}"/>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F76B0526-FC47-970B-1652-79232947C664}"/>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61518797-BB9B-7638-E472-1CE67C882FCE}"/>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59B446D2-3FA5-5526-DBAF-82BF0090FF0A}"/>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E8B13FFB-54D0-8F96-01E7-91E57B9C313E}"/>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729B0E89-59EB-DD0F-1A55-9D867A0DA651}"/>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A04C9735-B6CA-FDD5-4026-C6ED5256FB2B}"/>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4072AFB4-A8E4-B2C1-1175-AF3E0F3507B2}"/>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D5D59084-DF63-70C1-0DC7-70C8E8172961}"/>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C463C77B-A989-E59A-7740-5EEF3E5DED24}"/>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EAE87192-1A6B-8AE6-B1BC-3ED9C3B0C87C}"/>
              </a:ext>
            </a:extLst>
          </p:cNvPr>
          <p:cNvSpPr>
            <a:spLocks/>
          </p:cNvSpPr>
          <p:nvPr/>
        </p:nvSpPr>
        <p:spPr bwMode="auto">
          <a:xfrm>
            <a:off x="8280849" y="2335890"/>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F60BD9B6-4B18-7C4D-B130-A01B098186FE}"/>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A098BD58-10E9-DAB9-49ED-4C09B99FAC83}"/>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9E72ADB1-E4F9-BC3F-7259-237CF615F976}"/>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1E5A1D3F-112F-D820-318E-6D70F5EB7C09}"/>
              </a:ext>
            </a:extLst>
          </p:cNvPr>
          <p:cNvSpPr>
            <a:spLocks noChangeArrowheads="1"/>
          </p:cNvSpPr>
          <p:nvPr/>
        </p:nvSpPr>
        <p:spPr bwMode="auto">
          <a:xfrm>
            <a:off x="8174160" y="1806372"/>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2AC67C0D-4167-05BD-4F4C-AAC066823789}"/>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F3C935E6-E1A0-07FD-2377-BDB334F18A0E}"/>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42F5FF3B-6060-F95B-F6E1-45E50C247C30}"/>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E7DBD4B1-03E5-2F61-996B-AEA2F6F4B57E}"/>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2" name="Group 111">
            <a:extLst>
              <a:ext uri="{FF2B5EF4-FFF2-40B4-BE49-F238E27FC236}">
                <a16:creationId xmlns:a16="http://schemas.microsoft.com/office/drawing/2014/main" id="{EF1F15E0-E18C-A6C3-E47E-0A1ED41AB880}"/>
              </a:ext>
            </a:extLst>
          </p:cNvPr>
          <p:cNvGrpSpPr/>
          <p:nvPr/>
        </p:nvGrpSpPr>
        <p:grpSpPr>
          <a:xfrm>
            <a:off x="9509793" y="2949374"/>
            <a:ext cx="507781" cy="509758"/>
            <a:chOff x="8859766" y="3475927"/>
            <a:chExt cx="507781" cy="509758"/>
          </a:xfrm>
        </p:grpSpPr>
        <p:sp>
          <p:nvSpPr>
            <p:cNvPr id="17" name="Oval 30">
              <a:extLst>
                <a:ext uri="{FF2B5EF4-FFF2-40B4-BE49-F238E27FC236}">
                  <a16:creationId xmlns:a16="http://schemas.microsoft.com/office/drawing/2014/main" id="{8CE83F59-6B4A-F11B-92F2-372DED5E8CE6}"/>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Oval 39">
              <a:extLst>
                <a:ext uri="{FF2B5EF4-FFF2-40B4-BE49-F238E27FC236}">
                  <a16:creationId xmlns:a16="http://schemas.microsoft.com/office/drawing/2014/main" id="{5B352D09-923A-7BBB-2086-C7A1C08AF040}"/>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D3750A36-AEBB-F0B5-5EB8-2D38601DE628}"/>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Freeform 32">
            <a:extLst>
              <a:ext uri="{FF2B5EF4-FFF2-40B4-BE49-F238E27FC236}">
                <a16:creationId xmlns:a16="http://schemas.microsoft.com/office/drawing/2014/main" id="{4447EF47-D026-3F29-2DA8-B44EC90B6F47}"/>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7F63C880-9FE1-7BCF-25ED-A8268CCE630A}"/>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7C1353F8-ED9F-B499-9A1F-20745AEF030C}"/>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0A54A774-3145-6F25-6BB6-06CEB936A250}"/>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9E7A334E-A12D-1CE8-678E-9A89EB54FA5C}"/>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BEDEC8C2-1116-F8E1-5646-7A32756C6ABA}"/>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419D0925-D7BA-7DA9-3DA9-418D1E785942}"/>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A39CA1C1-4A74-C9D0-39CE-77AAE40BD6E6}"/>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A01B7739-9C42-C232-2D5C-3EAE9C5D4646}"/>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0BEEA645-0EB4-96B4-568E-68339FDBCAA4}"/>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74306CE9-D050-3259-384E-FF70CB70723A}"/>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7C3A6B0F-477D-F7E0-C79C-FD9651694FE0}"/>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77C93EEF-1623-F8FE-0475-E28450EF8645}"/>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733F86F7-2E2C-10D3-6B6A-4539CE0C637C}"/>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A8791228-4F74-E22F-388F-562FB46D2B9F}"/>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2AFCA316-31B3-DC05-ED83-215305674E2B}"/>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5D6E0862-56A8-511B-14D9-4C020E3CA13C}"/>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10581B2A-FCE1-3D3D-C43C-87D3992BAFDD}"/>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3EE9D9EA-2A66-3A05-B0D6-EB76C25974F7}"/>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1" name="Group 110">
            <a:extLst>
              <a:ext uri="{FF2B5EF4-FFF2-40B4-BE49-F238E27FC236}">
                <a16:creationId xmlns:a16="http://schemas.microsoft.com/office/drawing/2014/main" id="{E19EDFBE-ECAE-4122-0F2D-20FFD174F61C}"/>
              </a:ext>
            </a:extLst>
          </p:cNvPr>
          <p:cNvGrpSpPr/>
          <p:nvPr/>
        </p:nvGrpSpPr>
        <p:grpSpPr>
          <a:xfrm>
            <a:off x="8721459" y="612987"/>
            <a:ext cx="509758" cy="507781"/>
            <a:chOff x="8760971" y="1116818"/>
            <a:chExt cx="509758" cy="507781"/>
          </a:xfrm>
        </p:grpSpPr>
        <p:sp>
          <p:nvSpPr>
            <p:cNvPr id="18" name="Oval 31">
              <a:extLst>
                <a:ext uri="{FF2B5EF4-FFF2-40B4-BE49-F238E27FC236}">
                  <a16:creationId xmlns:a16="http://schemas.microsoft.com/office/drawing/2014/main" id="{CC3FF394-6FE3-0945-B409-F8B57532E1BB}"/>
                </a:ext>
              </a:extLst>
            </p:cNvPr>
            <p:cNvSpPr>
              <a:spLocks noChangeArrowheads="1"/>
            </p:cNvSpPr>
            <p:nvPr/>
          </p:nvSpPr>
          <p:spPr bwMode="auto">
            <a:xfrm>
              <a:off x="8760971" y="1116818"/>
              <a:ext cx="509758" cy="507781"/>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8507BC0D-EAC9-5C58-B3D4-F408449EC154}"/>
                </a:ext>
              </a:extLst>
            </p:cNvPr>
            <p:cNvSpPr>
              <a:spLocks/>
            </p:cNvSpPr>
            <p:nvPr/>
          </p:nvSpPr>
          <p:spPr bwMode="auto">
            <a:xfrm>
              <a:off x="8893352" y="1257097"/>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0" name="Group 109">
            <a:extLst>
              <a:ext uri="{FF2B5EF4-FFF2-40B4-BE49-F238E27FC236}">
                <a16:creationId xmlns:a16="http://schemas.microsoft.com/office/drawing/2014/main" id="{52B1E8CE-F201-58A8-593F-2F65BC0D3B69}"/>
              </a:ext>
            </a:extLst>
          </p:cNvPr>
          <p:cNvGrpSpPr/>
          <p:nvPr/>
        </p:nvGrpSpPr>
        <p:grpSpPr>
          <a:xfrm>
            <a:off x="3898517" y="510601"/>
            <a:ext cx="377378" cy="375403"/>
            <a:chOff x="3554727" y="1101010"/>
            <a:chExt cx="377378" cy="375403"/>
          </a:xfrm>
        </p:grpSpPr>
        <p:sp>
          <p:nvSpPr>
            <p:cNvPr id="22" name="Oval 35">
              <a:extLst>
                <a:ext uri="{FF2B5EF4-FFF2-40B4-BE49-F238E27FC236}">
                  <a16:creationId xmlns:a16="http://schemas.microsoft.com/office/drawing/2014/main" id="{2616FA00-1AEB-8781-EB43-286A9120323B}"/>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32E5F296-7414-8186-4301-4A6FCF1625AC}"/>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3DB6749F-77D4-311B-14D7-C43C97386CDA}"/>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FD38A1B8-FF95-7BED-50F5-7604438C07B6}"/>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074DB465-1F1A-3951-E2DA-E5D6C160E23E}"/>
              </a:ext>
            </a:extLst>
          </p:cNvPr>
          <p:cNvGrpSpPr/>
          <p:nvPr/>
        </p:nvGrpSpPr>
        <p:grpSpPr>
          <a:xfrm>
            <a:off x="3262678" y="3885498"/>
            <a:ext cx="509758" cy="507781"/>
            <a:chOff x="3368999" y="3590525"/>
            <a:chExt cx="509758" cy="507781"/>
          </a:xfrm>
        </p:grpSpPr>
        <p:sp>
          <p:nvSpPr>
            <p:cNvPr id="19" name="Oval 32">
              <a:extLst>
                <a:ext uri="{FF2B5EF4-FFF2-40B4-BE49-F238E27FC236}">
                  <a16:creationId xmlns:a16="http://schemas.microsoft.com/office/drawing/2014/main" id="{51053B6F-0167-4EFA-6189-2342D2749B7E}"/>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BD6E669-795B-B3B4-204A-540416C135CA}"/>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699279B9-1557-A1C1-3BF6-3ECA37B567AC}"/>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02EF6CFD-A33F-5CB5-D6AD-B8DF2C27C0BD}"/>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24E83C30-B120-DF63-0FB3-32DEF9ECB933}"/>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59">
            <a:extLst>
              <a:ext uri="{FF2B5EF4-FFF2-40B4-BE49-F238E27FC236}">
                <a16:creationId xmlns:a16="http://schemas.microsoft.com/office/drawing/2014/main" id="{DED921AD-7A42-6768-7D81-00899DA5E91C}"/>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1F9729C2-68A9-C699-E3CD-B6823194C419}"/>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A86B934C-13E7-51DA-A1B4-E6BB5F81B371}"/>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71490773-E165-C40A-FB28-0E964A6D46B2}"/>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7D3A3A7F-E921-A8A1-A2AE-BC39318707DF}"/>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1AE922DF-BB9F-588D-1106-8766750FCCAF}"/>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A05CCBC1-3F00-77E1-CE63-B0794F3D8393}"/>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E932D625-3793-4C90-CC15-D5726639BA20}"/>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40B393F8-266B-63D5-A2F7-E754B7D64F7E}"/>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CA44C80A-D91B-FD4E-34D1-5609F883F796}"/>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6A03D530-BE71-FA1A-2A3D-C9171E875DEA}"/>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A36A8B1C-E068-F2D9-4D28-10315E82F588}"/>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279909BE-938F-D8D1-80DA-F6881C4B8CFE}"/>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EEE5EAD5-000E-DFAA-22E5-1705F800CE1C}"/>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E275CB56-6438-1E4A-C195-907AEA767B8B}"/>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2C528D99-989C-C0DD-D6FB-A8D3E9F8E8AD}"/>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B4003EDB-3D80-BEDC-F8DC-23907D22BBB4}"/>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E17F589E-ED0F-202A-D72E-FD566AE89488}"/>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8AD04EA6-8E63-2875-3297-689A14B16E7A}"/>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F3114C9C-771D-5590-C9E1-F9DB0034A517}"/>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C45CEA8F-FF9A-719F-9452-F9CCB1E33A18}"/>
              </a:ext>
            </a:extLst>
          </p:cNvPr>
          <p:cNvSpPr>
            <a:spLocks/>
          </p:cNvSpPr>
          <p:nvPr/>
        </p:nvSpPr>
        <p:spPr bwMode="auto">
          <a:xfrm>
            <a:off x="8583150" y="2491976"/>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90FEA7B6-2EBF-9B2A-7291-AB6F7F0E3FD7}"/>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DD963DF8-4EE9-CBF4-3C47-09D7B6FA6447}"/>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019D75E4-6424-EBAD-821F-C7F777BDAE1B}"/>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8B65E0F6-3A73-FF6D-2C10-C8EA435D2CB0}"/>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DD99D44C-9A84-0373-B58F-B0649B76519E}"/>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84048910-EE86-73FD-AC46-8C98E78A6720}"/>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E2448A85-D6FE-C6B9-CBFC-B3DB3265940D}"/>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02E0AACE-75F9-B6D2-668B-1D2BB090BEF5}"/>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DFEC2E5E-66A9-223E-4F6B-D236ADB445E7}"/>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B016C0DC-FE06-A79E-5E02-669B103C29E5}"/>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69663426-4956-03FD-8694-394C2965C032}"/>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8D8AFCB4-2F54-BB0F-D573-FA6879D597AF}"/>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E5CF015D-67B5-6175-8414-0F89B93F3178}"/>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8EAD7FDA-E446-DC84-D85E-2B62DC8E5F39}"/>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E556FD4D-3AD5-9823-2693-58A8D981045C}"/>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E86C4FE5-10D8-DA26-1893-4426D79AB374}"/>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CE834AFD-1930-A05F-93D2-B10860403736}"/>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9A3F0F9D-D512-ACCD-9C79-DB7B3566A85C}"/>
              </a:ext>
            </a:extLst>
          </p:cNvPr>
          <p:cNvSpPr>
            <a:spLocks noEditPoints="1"/>
          </p:cNvSpPr>
          <p:nvPr/>
        </p:nvSpPr>
        <p:spPr bwMode="auto">
          <a:xfrm>
            <a:off x="8267021" y="1918993"/>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FB49DC80-C918-6A4A-C967-AD1A4F4C67E3}"/>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CC0E29BA-4AEE-5EE6-79A0-AD6A5BE86481}"/>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61C55682-5A97-7781-D4E2-B24B2AFAC420}"/>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E142941C-4CCC-5FA7-9FC9-9174C72F85B7}"/>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6167A6B7-6807-C7EC-84F5-9EC14189A7B4}"/>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7ABEA4CB-A748-EE32-33E9-14067CBA061E}"/>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C0BE68F8-EF50-A432-8C75-F6007CD6D8EB}"/>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EDEE0A16-224E-2B70-9118-EFB525504A64}"/>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E7B7224C-D379-C394-50F1-01935B5717E8}"/>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1AB91EDF-5CB2-889E-3A9C-8F1F9310347C}"/>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9552AA08-BEBE-B499-6085-10B679A3E028}"/>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FB2D43FA-F3C1-71F3-19A5-9F7834B0AE37}"/>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11E45881-A4A2-8947-64B2-ECD1A40C823C}"/>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A2AFCE98-D8CF-4AA6-FD8D-71FF74453136}"/>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Takeways</a:t>
              </a:r>
            </a:p>
          </p:txBody>
        </p:sp>
      </p:grpSp>
      <p:grpSp>
        <p:nvGrpSpPr>
          <p:cNvPr id="127" name="Group 126">
            <a:extLst>
              <a:ext uri="{FF2B5EF4-FFF2-40B4-BE49-F238E27FC236}">
                <a16:creationId xmlns:a16="http://schemas.microsoft.com/office/drawing/2014/main" id="{450226CA-F82E-23A2-1C9C-305E0B4F0392}"/>
              </a:ext>
            </a:extLst>
          </p:cNvPr>
          <p:cNvGrpSpPr/>
          <p:nvPr/>
        </p:nvGrpSpPr>
        <p:grpSpPr>
          <a:xfrm>
            <a:off x="0" y="360008"/>
            <a:ext cx="1448894" cy="883507"/>
            <a:chOff x="0" y="582317"/>
            <a:chExt cx="1448894" cy="883507"/>
          </a:xfrm>
        </p:grpSpPr>
        <p:cxnSp>
          <p:nvCxnSpPr>
            <p:cNvPr id="120" name="Straight Connector 33">
              <a:extLst>
                <a:ext uri="{FF2B5EF4-FFF2-40B4-BE49-F238E27FC236}">
                  <a16:creationId xmlns:a16="http://schemas.microsoft.com/office/drawing/2014/main" id="{6A00D0C7-7769-24E5-FC7D-E6EE7A6DF605}"/>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1AD9F13A-7690-81DC-020A-F5ACB46A4152}"/>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2EC95FA9-9EC8-7742-0AC7-6B5227BDF465}"/>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17CAA8A2-3E0B-4808-E925-211C8D48AEB7}"/>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77E6ABDE-EF82-F16C-987D-C5BFAB262C91}"/>
              </a:ext>
            </a:extLst>
          </p:cNvPr>
          <p:cNvGrpSpPr/>
          <p:nvPr/>
        </p:nvGrpSpPr>
        <p:grpSpPr>
          <a:xfrm>
            <a:off x="0" y="2345332"/>
            <a:ext cx="1448894" cy="870102"/>
            <a:chOff x="0" y="582324"/>
            <a:chExt cx="1448894" cy="870102"/>
          </a:xfrm>
        </p:grpSpPr>
        <p:cxnSp>
          <p:nvCxnSpPr>
            <p:cNvPr id="129" name="Straight Connector 33">
              <a:extLst>
                <a:ext uri="{FF2B5EF4-FFF2-40B4-BE49-F238E27FC236}">
                  <a16:creationId xmlns:a16="http://schemas.microsoft.com/office/drawing/2014/main" id="{50BE6E34-F3BB-142E-BBDC-9A998320CA03}"/>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AD877B91-5A8D-AACC-2F8A-201EB68E781B}"/>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FFEEE229-EC6A-2D31-15F2-D28384C69289}"/>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692B2528-25D2-4F33-559B-787D5CDF7612}"/>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7B33B0FA-8FF3-3FD3-80F3-7380C6ABBE04}"/>
              </a:ext>
            </a:extLst>
          </p:cNvPr>
          <p:cNvGrpSpPr/>
          <p:nvPr/>
        </p:nvGrpSpPr>
        <p:grpSpPr>
          <a:xfrm>
            <a:off x="0" y="4615379"/>
            <a:ext cx="1450818" cy="896308"/>
            <a:chOff x="0" y="582322"/>
            <a:chExt cx="1450818" cy="896308"/>
          </a:xfrm>
        </p:grpSpPr>
        <p:cxnSp>
          <p:nvCxnSpPr>
            <p:cNvPr id="134" name="Straight Connector 33">
              <a:extLst>
                <a:ext uri="{FF2B5EF4-FFF2-40B4-BE49-F238E27FC236}">
                  <a16:creationId xmlns:a16="http://schemas.microsoft.com/office/drawing/2014/main" id="{09FAA341-017B-E4F7-AA77-90FD8E5B2EC5}"/>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6C02ACF7-AAF6-D7A9-FF2A-E0D4D036A371}"/>
                </a:ext>
              </a:extLst>
            </p:cNvPr>
            <p:cNvGrpSpPr/>
            <p:nvPr/>
          </p:nvGrpSpPr>
          <p:grpSpPr>
            <a:xfrm>
              <a:off x="708800" y="582322"/>
              <a:ext cx="742018" cy="896308"/>
              <a:chOff x="4051865" y="5165558"/>
              <a:chExt cx="949315" cy="1146707"/>
            </a:xfrm>
          </p:grpSpPr>
          <p:sp>
            <p:nvSpPr>
              <p:cNvPr id="136" name="Oval 16">
                <a:extLst>
                  <a:ext uri="{FF2B5EF4-FFF2-40B4-BE49-F238E27FC236}">
                    <a16:creationId xmlns:a16="http://schemas.microsoft.com/office/drawing/2014/main" id="{67308B17-8587-8561-53D8-E2E90D7FF74B}"/>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B79911CC-D166-648A-C76D-55AF2AA093A9}"/>
                  </a:ext>
                </a:extLst>
              </p:cNvPr>
              <p:cNvSpPr txBox="1"/>
              <p:nvPr/>
            </p:nvSpPr>
            <p:spPr bwMode="auto">
              <a:xfrm>
                <a:off x="4091914" y="5223190"/>
                <a:ext cx="909266"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826B228A-1D2B-53F5-A14C-D351811552DB}"/>
              </a:ext>
            </a:extLst>
          </p:cNvPr>
          <p:cNvSpPr/>
          <p:nvPr/>
        </p:nvSpPr>
        <p:spPr>
          <a:xfrm flipH="1">
            <a:off x="9177868" y="1166047"/>
            <a:ext cx="2325359" cy="1439240"/>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Some sustainability should remain silent; some should be made visible.</a:t>
            </a:r>
          </a:p>
          <a:p>
            <a:pPr algn="r">
              <a:lnSpc>
                <a:spcPts val="2100"/>
              </a:lnSpc>
            </a:pPr>
            <a:endParaRPr lang="en-US" sz="2000" dirty="0">
              <a:solidFill>
                <a:srgbClr val="262626"/>
              </a:solidFill>
              <a:cs typeface="Segoe UI Light" panose="020B0502040204020203" pitchFamily="34" charset="0"/>
            </a:endParaRPr>
          </a:p>
        </p:txBody>
      </p:sp>
      <p:sp>
        <p:nvSpPr>
          <p:cNvPr id="151" name="Rectangle 30">
            <a:extLst>
              <a:ext uri="{FF2B5EF4-FFF2-40B4-BE49-F238E27FC236}">
                <a16:creationId xmlns:a16="http://schemas.microsoft.com/office/drawing/2014/main" id="{B16D3B90-D61C-C49E-EF7B-B3135A12B0FC}"/>
              </a:ext>
            </a:extLst>
          </p:cNvPr>
          <p:cNvSpPr/>
          <p:nvPr/>
        </p:nvSpPr>
        <p:spPr>
          <a:xfrm flipH="1">
            <a:off x="8908993" y="3859104"/>
            <a:ext cx="2594232" cy="1169936"/>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Inclusive design is part of good hospitality, not an optional extra.</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A706E218-282D-9087-33A7-4BF856397D08}"/>
              </a:ext>
            </a:extLst>
          </p:cNvPr>
          <p:cNvGrpSpPr/>
          <p:nvPr/>
        </p:nvGrpSpPr>
        <p:grpSpPr>
          <a:xfrm>
            <a:off x="10752228" y="428471"/>
            <a:ext cx="1501995" cy="883506"/>
            <a:chOff x="708799" y="582319"/>
            <a:chExt cx="1501995" cy="883506"/>
          </a:xfrm>
        </p:grpSpPr>
        <p:cxnSp>
          <p:nvCxnSpPr>
            <p:cNvPr id="153" name="Straight Connector 33">
              <a:extLst>
                <a:ext uri="{FF2B5EF4-FFF2-40B4-BE49-F238E27FC236}">
                  <a16:creationId xmlns:a16="http://schemas.microsoft.com/office/drawing/2014/main" id="{C0DFD93A-29DB-44A5-0E01-8BCF77043262}"/>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76DD2D13-237A-6D8B-DFF7-DEB67A49CF31}"/>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86019793-11E6-11BD-978A-6AEB6878995A}"/>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CA9468E2-334D-C659-921B-71D48DB68610}"/>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157" name="Group 156">
            <a:extLst>
              <a:ext uri="{FF2B5EF4-FFF2-40B4-BE49-F238E27FC236}">
                <a16:creationId xmlns:a16="http://schemas.microsoft.com/office/drawing/2014/main" id="{9D95F922-2D63-EF73-1294-F659CAA89801}"/>
              </a:ext>
            </a:extLst>
          </p:cNvPr>
          <p:cNvGrpSpPr/>
          <p:nvPr/>
        </p:nvGrpSpPr>
        <p:grpSpPr>
          <a:xfrm>
            <a:off x="10752228" y="3140997"/>
            <a:ext cx="1467271" cy="880235"/>
            <a:chOff x="708799" y="582325"/>
            <a:chExt cx="1467271" cy="880235"/>
          </a:xfrm>
        </p:grpSpPr>
        <p:cxnSp>
          <p:nvCxnSpPr>
            <p:cNvPr id="158" name="Straight Connector 33">
              <a:extLst>
                <a:ext uri="{FF2B5EF4-FFF2-40B4-BE49-F238E27FC236}">
                  <a16:creationId xmlns:a16="http://schemas.microsoft.com/office/drawing/2014/main" id="{7F9AAA6D-9F8B-DA63-CD47-3D70995D389E}"/>
                </a:ext>
              </a:extLst>
            </p:cNvPr>
            <p:cNvCxnSpPr>
              <a:cxnSpLocks/>
            </p:cNvCxnSpPr>
            <p:nvPr/>
          </p:nvCxnSpPr>
          <p:spPr>
            <a:xfrm flipH="1">
              <a:off x="1320800" y="951782"/>
              <a:ext cx="85527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A2177287-EFF6-51A2-91DA-E6F3F5F1FA7B}"/>
                </a:ext>
              </a:extLst>
            </p:cNvPr>
            <p:cNvGrpSpPr/>
            <p:nvPr/>
          </p:nvGrpSpPr>
          <p:grpSpPr>
            <a:xfrm>
              <a:off x="708799" y="582325"/>
              <a:ext cx="740095" cy="880235"/>
              <a:chOff x="4051865" y="5165558"/>
              <a:chExt cx="946855" cy="1126143"/>
            </a:xfrm>
          </p:grpSpPr>
          <p:sp>
            <p:nvSpPr>
              <p:cNvPr id="160" name="Oval 16">
                <a:extLst>
                  <a:ext uri="{FF2B5EF4-FFF2-40B4-BE49-F238E27FC236}">
                    <a16:creationId xmlns:a16="http://schemas.microsoft.com/office/drawing/2014/main" id="{D4FD32DA-AB03-BD50-D513-7AF5C9F159FF}"/>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61" name="TextBox 26">
                <a:extLst>
                  <a:ext uri="{FF2B5EF4-FFF2-40B4-BE49-F238E27FC236}">
                    <a16:creationId xmlns:a16="http://schemas.microsoft.com/office/drawing/2014/main" id="{75D5BF59-B2E1-5995-6553-441DD9448C92}"/>
                  </a:ext>
                </a:extLst>
              </p:cNvPr>
              <p:cNvSpPr txBox="1"/>
              <p:nvPr/>
            </p:nvSpPr>
            <p:spPr bwMode="auto">
              <a:xfrm>
                <a:off x="4058978" y="5202626"/>
                <a:ext cx="909265"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sp>
        <p:nvSpPr>
          <p:cNvPr id="2" name="TextBox 28">
            <a:extLst>
              <a:ext uri="{FF2B5EF4-FFF2-40B4-BE49-F238E27FC236}">
                <a16:creationId xmlns:a16="http://schemas.microsoft.com/office/drawing/2014/main" id="{53A90777-E2DB-A493-2AFB-CEA52DA4D8B9}"/>
              </a:ext>
            </a:extLst>
          </p:cNvPr>
          <p:cNvSpPr txBox="1"/>
          <p:nvPr/>
        </p:nvSpPr>
        <p:spPr>
          <a:xfrm>
            <a:off x="7846177" y="5394152"/>
            <a:ext cx="3602924" cy="1169936"/>
          </a:xfrm>
          <a:prstGeom prst="rect">
            <a:avLst/>
          </a:prstGeom>
          <a:noFill/>
        </p:spPr>
        <p:txBody>
          <a:bodyPr wrap="square">
            <a:spAutoFit/>
          </a:bodyPr>
          <a:lstStyle/>
          <a:p>
            <a:pPr algn="r">
              <a:lnSpc>
                <a:spcPts val="2100"/>
              </a:lnSpc>
            </a:pPr>
            <a:r>
              <a:rPr lang="en-US" sz="2000" b="1" dirty="0">
                <a:solidFill>
                  <a:srgbClr val="62A844"/>
                </a:solidFill>
              </a:rPr>
              <a:t>The best sustainable touchpoints feel helpful, human, and well designed.</a:t>
            </a:r>
          </a:p>
          <a:p>
            <a:pPr algn="r">
              <a:lnSpc>
                <a:spcPts val="2100"/>
              </a:lnSpc>
            </a:pPr>
            <a:endParaRPr lang="en-US" sz="2000" dirty="0">
              <a:solidFill>
                <a:srgbClr val="62A844"/>
              </a:solidFill>
            </a:endParaRPr>
          </a:p>
        </p:txBody>
      </p:sp>
      <p:sp>
        <p:nvSpPr>
          <p:cNvPr id="113" name="TextBox 112">
            <a:extLst>
              <a:ext uri="{FF2B5EF4-FFF2-40B4-BE49-F238E27FC236}">
                <a16:creationId xmlns:a16="http://schemas.microsoft.com/office/drawing/2014/main" id="{0ED102BF-7BC3-2C9D-6913-74AC571E4B91}"/>
              </a:ext>
            </a:extLst>
          </p:cNvPr>
          <p:cNvSpPr txBox="1"/>
          <p:nvPr/>
        </p:nvSpPr>
        <p:spPr>
          <a:xfrm>
            <a:off x="2866404" y="25992"/>
            <a:ext cx="6126480" cy="427553"/>
          </a:xfrm>
          <a:prstGeom prst="rect">
            <a:avLst/>
          </a:prstGeom>
          <a:noFill/>
        </p:spPr>
        <p:txBody>
          <a:bodyPr wrap="square">
            <a:spAutoFit/>
          </a:bodyPr>
          <a:lstStyle/>
          <a:p>
            <a:pPr algn="ctr">
              <a:lnSpc>
                <a:spcPts val="2480"/>
              </a:lnSpc>
            </a:pPr>
            <a:r>
              <a:rPr lang="en-US" sz="2800" b="1" dirty="0">
                <a:solidFill>
                  <a:srgbClr val="62A844"/>
                </a:solidFill>
              </a:rPr>
              <a:t>Key Takeways so far…</a:t>
            </a:r>
          </a:p>
        </p:txBody>
      </p:sp>
    </p:spTree>
    <p:extLst>
      <p:ext uri="{BB962C8B-B14F-4D97-AF65-F5344CB8AC3E}">
        <p14:creationId xmlns:p14="http://schemas.microsoft.com/office/powerpoint/2010/main" val="11911077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87FB8-B693-CD0F-497F-0A240ED6105E}"/>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88EA85A3-7544-AEED-4891-4AD6EF1A4064}"/>
              </a:ext>
            </a:extLst>
          </p:cNvPr>
          <p:cNvSpPr>
            <a:spLocks noGrp="1"/>
          </p:cNvSpPr>
          <p:nvPr>
            <p:ph type="body" sz="quarter" idx="16"/>
          </p:nvPr>
        </p:nvSpPr>
        <p:spPr>
          <a:xfrm>
            <a:off x="4223369" y="1073150"/>
            <a:ext cx="6669918" cy="4711700"/>
          </a:xfrm>
        </p:spPr>
        <p:txBody>
          <a:bodyPr>
            <a:normAutofit lnSpcReduction="10000"/>
          </a:bodyPr>
          <a:lstStyle/>
          <a:p>
            <a:pPr fontAlgn="t">
              <a:lnSpc>
                <a:spcPts val="4960"/>
              </a:lnSpc>
              <a:spcBef>
                <a:spcPts val="0"/>
              </a:spcBef>
            </a:pPr>
            <a:r>
              <a:rPr lang="en-IE" b="1" dirty="0"/>
              <a:t>Storytelling, Trust and Inclusive Communication</a:t>
            </a:r>
          </a:p>
          <a:p>
            <a:pPr fontAlgn="t">
              <a:lnSpc>
                <a:spcPts val="4960"/>
              </a:lnSpc>
              <a:spcBef>
                <a:spcPts val="0"/>
              </a:spcBef>
            </a:pPr>
            <a:endParaRPr lang="en-IE" b="1" dirty="0"/>
          </a:p>
          <a:p>
            <a:endParaRPr lang="en-US" sz="2200" dirty="0">
              <a:cs typeface="Times New Roman" panose="02020603050405020304" pitchFamily="18" charset="0"/>
            </a:endParaRPr>
          </a:p>
          <a:p>
            <a:pPr>
              <a:lnSpc>
                <a:spcPts val="2580"/>
              </a:lnSpc>
              <a:spcBef>
                <a:spcPts val="0"/>
              </a:spcBef>
            </a:pPr>
            <a:r>
              <a:rPr lang="en-US" sz="2400" b="1" dirty="0"/>
              <a:t>How to communicate sustainability with clarity, warmth and evidence.  </a:t>
            </a:r>
          </a:p>
          <a:p>
            <a:pPr>
              <a:lnSpc>
                <a:spcPts val="2580"/>
              </a:lnSpc>
              <a:spcBef>
                <a:spcPts val="0"/>
              </a:spcBef>
            </a:pPr>
            <a:endParaRPr lang="en-US" sz="2400" b="1" dirty="0"/>
          </a:p>
          <a:p>
            <a:pPr>
              <a:lnSpc>
                <a:spcPts val="2580"/>
              </a:lnSpc>
              <a:spcBef>
                <a:spcPts val="0"/>
              </a:spcBef>
            </a:pPr>
            <a:r>
              <a:rPr lang="en-US" sz="2400" dirty="0"/>
              <a:t>To examine how hospitality businesses can use storytelling, labels, inclusive language, and credible communication to build trust and deepen guest experience.</a:t>
            </a:r>
          </a:p>
          <a:p>
            <a:pPr>
              <a:lnSpc>
                <a:spcPts val="2580"/>
              </a:lnSpc>
              <a:spcBef>
                <a:spcPts val="0"/>
              </a:spcBef>
            </a:pPr>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5F11E6D2-689B-1FC3-BA71-676CE3325A2F}"/>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4</a:t>
            </a:r>
          </a:p>
        </p:txBody>
      </p:sp>
    </p:spTree>
    <p:extLst>
      <p:ext uri="{BB962C8B-B14F-4D97-AF65-F5344CB8AC3E}">
        <p14:creationId xmlns:p14="http://schemas.microsoft.com/office/powerpoint/2010/main" val="7925968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933BFF-E21A-DB3B-E254-7AD85CE8AD69}"/>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5F951A99-397E-835A-45DE-B12695977CF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11343" y="1469506"/>
            <a:ext cx="4350742" cy="3853289"/>
          </a:xfrm>
          <a:prstGeom prst="rect">
            <a:avLst/>
          </a:prstGeom>
        </p:spPr>
      </p:pic>
      <p:sp>
        <p:nvSpPr>
          <p:cNvPr id="2" name="Text Placeholder 11">
            <a:extLst>
              <a:ext uri="{FF2B5EF4-FFF2-40B4-BE49-F238E27FC236}">
                <a16:creationId xmlns:a16="http://schemas.microsoft.com/office/drawing/2014/main" id="{F7BEA6DE-7792-A845-18F4-5D83DD3C6F91}"/>
              </a:ext>
            </a:extLst>
          </p:cNvPr>
          <p:cNvSpPr txBox="1">
            <a:spLocks/>
          </p:cNvSpPr>
          <p:nvPr/>
        </p:nvSpPr>
        <p:spPr>
          <a:xfrm>
            <a:off x="429115" y="354068"/>
            <a:ext cx="745324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Why Communication Often Fails</a:t>
            </a:r>
          </a:p>
        </p:txBody>
      </p:sp>
      <p:cxnSp>
        <p:nvCxnSpPr>
          <p:cNvPr id="3" name="Straight Connector 2">
            <a:extLst>
              <a:ext uri="{FF2B5EF4-FFF2-40B4-BE49-F238E27FC236}">
                <a16:creationId xmlns:a16="http://schemas.microsoft.com/office/drawing/2014/main" id="{2B9971E0-91D4-8925-C66E-AE64B0C330EF}"/>
              </a:ext>
            </a:extLst>
          </p:cNvPr>
          <p:cNvCxnSpPr>
            <a:cxnSpLocks/>
          </p:cNvCxnSpPr>
          <p:nvPr/>
        </p:nvCxnSpPr>
        <p:spPr>
          <a:xfrm>
            <a:off x="0" y="1069820"/>
            <a:ext cx="739622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83CDEE88-3CC1-78BD-FA23-DBB9E8A0F619}"/>
              </a:ext>
            </a:extLst>
          </p:cNvPr>
          <p:cNvSpPr/>
          <p:nvPr/>
        </p:nvSpPr>
        <p:spPr>
          <a:xfrm flipH="1">
            <a:off x="532175" y="1240983"/>
            <a:ext cx="6176109" cy="4452501"/>
          </a:xfrm>
          <a:prstGeom prst="rect">
            <a:avLst/>
          </a:prstGeom>
        </p:spPr>
        <p:txBody>
          <a:bodyPr wrap="square">
            <a:spAutoFit/>
          </a:bodyPr>
          <a:lstStyle/>
          <a:p>
            <a:pPr>
              <a:lnSpc>
                <a:spcPts val="1960"/>
              </a:lnSpc>
              <a:buNone/>
            </a:pPr>
            <a:r>
              <a:rPr lang="en-US" dirty="0">
                <a:solidFill>
                  <a:srgbClr val="262626"/>
                </a:solidFill>
              </a:rPr>
              <a:t>Many hospitality sustainability messages land best when the communication is weak.</a:t>
            </a:r>
          </a:p>
          <a:p>
            <a:pPr>
              <a:lnSpc>
                <a:spcPts val="1960"/>
              </a:lnSpc>
              <a:buNone/>
            </a:pPr>
            <a:endParaRPr lang="en-US" dirty="0">
              <a:solidFill>
                <a:srgbClr val="262626"/>
              </a:solidFill>
            </a:endParaRPr>
          </a:p>
          <a:p>
            <a:pPr>
              <a:lnSpc>
                <a:spcPts val="1960"/>
              </a:lnSpc>
              <a:buNone/>
            </a:pPr>
            <a:r>
              <a:rPr lang="en-US" sz="2000" b="1" dirty="0">
                <a:solidFill>
                  <a:srgbClr val="0289AE"/>
                </a:solidFill>
              </a:rPr>
              <a:t>It may be:</a:t>
            </a:r>
          </a:p>
          <a:p>
            <a:pPr marL="285750" indent="-285750">
              <a:lnSpc>
                <a:spcPts val="1960"/>
              </a:lnSpc>
              <a:buClr>
                <a:srgbClr val="62A844"/>
              </a:buClr>
              <a:buFont typeface="Arial" panose="020B0604020202020204" pitchFamily="34" charset="0"/>
              <a:buChar char="•"/>
            </a:pPr>
            <a:r>
              <a:rPr lang="en-US" dirty="0">
                <a:solidFill>
                  <a:srgbClr val="262626"/>
                </a:solidFill>
              </a:rPr>
              <a:t>vague</a:t>
            </a:r>
          </a:p>
          <a:p>
            <a:pPr marL="285750" indent="-285750">
              <a:lnSpc>
                <a:spcPts val="1960"/>
              </a:lnSpc>
              <a:buClr>
                <a:srgbClr val="62A844"/>
              </a:buClr>
              <a:buFont typeface="Arial" panose="020B0604020202020204" pitchFamily="34" charset="0"/>
              <a:buChar char="•"/>
            </a:pPr>
            <a:r>
              <a:rPr lang="en-US" dirty="0">
                <a:solidFill>
                  <a:srgbClr val="262626"/>
                </a:solidFill>
              </a:rPr>
              <a:t>self-congratulatory</a:t>
            </a:r>
          </a:p>
          <a:p>
            <a:pPr marL="285750" indent="-285750">
              <a:lnSpc>
                <a:spcPts val="1960"/>
              </a:lnSpc>
              <a:buClr>
                <a:srgbClr val="62A844"/>
              </a:buClr>
              <a:buFont typeface="Arial" panose="020B0604020202020204" pitchFamily="34" charset="0"/>
              <a:buChar char="•"/>
            </a:pPr>
            <a:r>
              <a:rPr lang="en-US" dirty="0">
                <a:solidFill>
                  <a:srgbClr val="262626"/>
                </a:solidFill>
              </a:rPr>
              <a:t>text-heavy</a:t>
            </a:r>
          </a:p>
          <a:p>
            <a:pPr marL="285750" indent="-285750">
              <a:lnSpc>
                <a:spcPts val="1960"/>
              </a:lnSpc>
              <a:buClr>
                <a:srgbClr val="62A844"/>
              </a:buClr>
              <a:buFont typeface="Arial" panose="020B0604020202020204" pitchFamily="34" charset="0"/>
              <a:buChar char="•"/>
            </a:pPr>
            <a:r>
              <a:rPr lang="en-US" dirty="0">
                <a:solidFill>
                  <a:srgbClr val="262626"/>
                </a:solidFill>
              </a:rPr>
              <a:t>generic</a:t>
            </a:r>
          </a:p>
          <a:p>
            <a:pPr marL="285750" indent="-285750">
              <a:lnSpc>
                <a:spcPts val="1960"/>
              </a:lnSpc>
              <a:buClr>
                <a:srgbClr val="62A844"/>
              </a:buClr>
              <a:buFont typeface="Arial" panose="020B0604020202020204" pitchFamily="34" charset="0"/>
              <a:buChar char="•"/>
            </a:pPr>
            <a:r>
              <a:rPr lang="en-US" dirty="0">
                <a:solidFill>
                  <a:srgbClr val="262626"/>
                </a:solidFill>
              </a:rPr>
              <a:t>hard to verify</a:t>
            </a:r>
          </a:p>
          <a:p>
            <a:pPr marL="285750" indent="-285750">
              <a:lnSpc>
                <a:spcPts val="1960"/>
              </a:lnSpc>
              <a:buClr>
                <a:srgbClr val="62A844"/>
              </a:buClr>
              <a:buFont typeface="Arial" panose="020B0604020202020204" pitchFamily="34" charset="0"/>
              <a:buChar char="•"/>
            </a:pPr>
            <a:r>
              <a:rPr lang="en-US" dirty="0">
                <a:solidFill>
                  <a:srgbClr val="262626"/>
                </a:solidFill>
              </a:rPr>
              <a:t>disconnected from guest benefit</a:t>
            </a:r>
          </a:p>
          <a:p>
            <a:pPr marL="285750" indent="-285750">
              <a:lnSpc>
                <a:spcPts val="1960"/>
              </a:lnSpc>
              <a:buClr>
                <a:srgbClr val="62A844"/>
              </a:buClr>
              <a:buFont typeface="Arial" panose="020B0604020202020204" pitchFamily="34" charset="0"/>
              <a:buChar char="•"/>
            </a:pPr>
            <a:r>
              <a:rPr lang="en-US" dirty="0">
                <a:solidFill>
                  <a:srgbClr val="262626"/>
                </a:solidFill>
              </a:rPr>
              <a:t>disconnected from local meaning</a:t>
            </a:r>
          </a:p>
          <a:p>
            <a:pPr>
              <a:lnSpc>
                <a:spcPts val="1960"/>
              </a:lnSpc>
              <a:buNone/>
            </a:pPr>
            <a:endParaRPr lang="en-US" dirty="0">
              <a:solidFill>
                <a:srgbClr val="262626"/>
              </a:solidFill>
            </a:endParaRPr>
          </a:p>
          <a:p>
            <a:pPr>
              <a:lnSpc>
                <a:spcPts val="1960"/>
              </a:lnSpc>
              <a:buNone/>
            </a:pPr>
            <a:r>
              <a:rPr lang="en-US" dirty="0">
                <a:solidFill>
                  <a:srgbClr val="262626"/>
                </a:solidFill>
              </a:rPr>
              <a:t>When that happens, guests may not feel inspired. They may feel </a:t>
            </a:r>
            <a:r>
              <a:rPr lang="en-US" dirty="0" err="1">
                <a:solidFill>
                  <a:srgbClr val="262626"/>
                </a:solidFill>
              </a:rPr>
              <a:t>sceptical</a:t>
            </a:r>
            <a:r>
              <a:rPr lang="en-US" dirty="0">
                <a:solidFill>
                  <a:srgbClr val="262626"/>
                </a:solidFill>
              </a:rPr>
              <a:t>.  Strong sustainable experience communication does something different.  </a:t>
            </a:r>
            <a:r>
              <a:rPr lang="en-US" b="1" dirty="0">
                <a:solidFill>
                  <a:srgbClr val="262626"/>
                </a:solidFill>
              </a:rPr>
              <a:t>It explains clearly, shows evidence, respects the guest’s attention, and links the message to both place and experience quality.</a:t>
            </a:r>
          </a:p>
        </p:txBody>
      </p:sp>
      <p:sp>
        <p:nvSpPr>
          <p:cNvPr id="5" name="Rounded Rectangle 4">
            <a:extLst>
              <a:ext uri="{FF2B5EF4-FFF2-40B4-BE49-F238E27FC236}">
                <a16:creationId xmlns:a16="http://schemas.microsoft.com/office/drawing/2014/main" id="{B9A77B87-4991-29C1-6D81-E68126031324}"/>
              </a:ext>
            </a:extLst>
          </p:cNvPr>
          <p:cNvSpPr/>
          <p:nvPr/>
        </p:nvSpPr>
        <p:spPr>
          <a:xfrm>
            <a:off x="6637054" y="6104056"/>
            <a:ext cx="4699321"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7E41005E-73DF-DCFE-2BE3-19F71ADC4997}"/>
              </a:ext>
            </a:extLst>
          </p:cNvPr>
          <p:cNvSpPr txBox="1"/>
          <p:nvPr/>
        </p:nvSpPr>
        <p:spPr>
          <a:xfrm>
            <a:off x="6763054" y="6167334"/>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51A35A06-473C-B82C-6C51-4C46A2224A8A}"/>
              </a:ext>
            </a:extLst>
          </p:cNvPr>
          <p:cNvSpPr txBox="1"/>
          <p:nvPr/>
        </p:nvSpPr>
        <p:spPr>
          <a:xfrm>
            <a:off x="7519055" y="6167334"/>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0B27FC95-E673-F154-44C3-4A9F2FCBC17A}"/>
              </a:ext>
            </a:extLst>
          </p:cNvPr>
          <p:cNvSpPr txBox="1"/>
          <p:nvPr/>
        </p:nvSpPr>
        <p:spPr>
          <a:xfrm>
            <a:off x="8113054" y="6167334"/>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igital Marketing for Sustainability</a:t>
            </a:r>
          </a:p>
        </p:txBody>
      </p:sp>
      <p:pic>
        <p:nvPicPr>
          <p:cNvPr id="22" name="Picture 21">
            <a:extLst>
              <a:ext uri="{FF2B5EF4-FFF2-40B4-BE49-F238E27FC236}">
                <a16:creationId xmlns:a16="http://schemas.microsoft.com/office/drawing/2014/main" id="{7B314EB0-EB7F-AE4E-3222-F87265D26B83}"/>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9859054" y="4280537"/>
            <a:ext cx="705320" cy="427311"/>
          </a:xfrm>
          <a:prstGeom prst="rect">
            <a:avLst/>
          </a:prstGeom>
        </p:spPr>
      </p:pic>
      <p:sp>
        <p:nvSpPr>
          <p:cNvPr id="11" name="TextBox 97">
            <a:extLst>
              <a:ext uri="{FF2B5EF4-FFF2-40B4-BE49-F238E27FC236}">
                <a16:creationId xmlns:a16="http://schemas.microsoft.com/office/drawing/2014/main" id="{C7F6035A-8DDC-41BC-B9A9-11F4B2332ED5}"/>
              </a:ext>
            </a:extLst>
          </p:cNvPr>
          <p:cNvSpPr txBox="1"/>
          <p:nvPr/>
        </p:nvSpPr>
        <p:spPr>
          <a:xfrm>
            <a:off x="490601" y="5864646"/>
            <a:ext cx="5215708" cy="707886"/>
          </a:xfrm>
          <a:prstGeom prst="rect">
            <a:avLst/>
          </a:prstGeom>
          <a:noFill/>
        </p:spPr>
        <p:txBody>
          <a:bodyPr wrap="square">
            <a:spAutoFit/>
          </a:bodyPr>
          <a:lstStyle/>
          <a:p>
            <a:r>
              <a:rPr lang="en-US" sz="2200" b="1" dirty="0">
                <a:solidFill>
                  <a:srgbClr val="62A844"/>
                </a:solidFill>
              </a:rPr>
              <a:t>Say less. Show more. Mean it.</a:t>
            </a:r>
          </a:p>
          <a:p>
            <a:endParaRPr lang="en-US" dirty="0">
              <a:solidFill>
                <a:srgbClr val="62A844"/>
              </a:solidFill>
            </a:endParaRPr>
          </a:p>
        </p:txBody>
      </p:sp>
    </p:spTree>
    <p:extLst>
      <p:ext uri="{BB962C8B-B14F-4D97-AF65-F5344CB8AC3E}">
        <p14:creationId xmlns:p14="http://schemas.microsoft.com/office/powerpoint/2010/main" val="18380112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525E7-EA4A-DB74-1B2D-E8888E74608A}"/>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FD76EF85-E479-0D42-3E5E-A466A0AFEC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90232" y="564004"/>
            <a:ext cx="5347484" cy="4884626"/>
          </a:xfrm>
          <a:prstGeom prst="rect">
            <a:avLst/>
          </a:prstGeom>
        </p:spPr>
      </p:pic>
      <p:sp>
        <p:nvSpPr>
          <p:cNvPr id="2" name="Text Placeholder 11">
            <a:extLst>
              <a:ext uri="{FF2B5EF4-FFF2-40B4-BE49-F238E27FC236}">
                <a16:creationId xmlns:a16="http://schemas.microsoft.com/office/drawing/2014/main" id="{759C15CD-EA2F-C154-16B5-89CA9F3B80FC}"/>
              </a:ext>
            </a:extLst>
          </p:cNvPr>
          <p:cNvSpPr txBox="1">
            <a:spLocks/>
          </p:cNvSpPr>
          <p:nvPr/>
        </p:nvSpPr>
        <p:spPr>
          <a:xfrm>
            <a:off x="429115" y="354068"/>
            <a:ext cx="745324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Storytelling and Sense of Place</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79DA27D4-B0CD-4501-45B7-51A2C85B5857}"/>
              </a:ext>
            </a:extLst>
          </p:cNvPr>
          <p:cNvCxnSpPr>
            <a:cxnSpLocks/>
          </p:cNvCxnSpPr>
          <p:nvPr/>
        </p:nvCxnSpPr>
        <p:spPr>
          <a:xfrm>
            <a:off x="0" y="1069820"/>
            <a:ext cx="739622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E9699F47-321A-F921-60B7-0CEBDD393415}"/>
              </a:ext>
            </a:extLst>
          </p:cNvPr>
          <p:cNvSpPr/>
          <p:nvPr/>
        </p:nvSpPr>
        <p:spPr>
          <a:xfrm flipH="1">
            <a:off x="586944" y="1322367"/>
            <a:ext cx="5308529" cy="4708981"/>
          </a:xfrm>
          <a:prstGeom prst="rect">
            <a:avLst/>
          </a:prstGeom>
        </p:spPr>
        <p:txBody>
          <a:bodyPr wrap="square">
            <a:spAutoFit/>
          </a:bodyPr>
          <a:lstStyle/>
          <a:p>
            <a:pPr>
              <a:lnSpc>
                <a:spcPts val="1960"/>
              </a:lnSpc>
              <a:buClr>
                <a:srgbClr val="62A844"/>
              </a:buClr>
              <a:buNone/>
            </a:pPr>
            <a:r>
              <a:rPr lang="en-US" dirty="0">
                <a:solidFill>
                  <a:srgbClr val="262626"/>
                </a:solidFill>
              </a:rPr>
              <a:t>A strong hospitality experience often creates </a:t>
            </a:r>
            <a:r>
              <a:rPr lang="en-US" b="1" dirty="0">
                <a:solidFill>
                  <a:srgbClr val="262626"/>
                </a:solidFill>
              </a:rPr>
              <a:t>emotional connection through place.</a:t>
            </a:r>
          </a:p>
          <a:p>
            <a:pPr>
              <a:lnSpc>
                <a:spcPts val="1960"/>
              </a:lnSpc>
              <a:buClr>
                <a:srgbClr val="62A844"/>
              </a:buClr>
              <a:buNone/>
            </a:pPr>
            <a:endParaRPr lang="en-US" dirty="0">
              <a:solidFill>
                <a:srgbClr val="262626"/>
              </a:solidFill>
            </a:endParaRPr>
          </a:p>
          <a:p>
            <a:pPr>
              <a:lnSpc>
                <a:spcPts val="1960"/>
              </a:lnSpc>
              <a:buClr>
                <a:srgbClr val="62A844"/>
              </a:buClr>
              <a:buNone/>
            </a:pPr>
            <a:r>
              <a:rPr lang="en-US" sz="2000" b="1" dirty="0">
                <a:solidFill>
                  <a:srgbClr val="0289AE"/>
                </a:solidFill>
              </a:rPr>
              <a:t>Storytelling can bring sustainability to life by connecting guests with:</a:t>
            </a:r>
          </a:p>
          <a:p>
            <a:pPr marL="285750" indent="-285750">
              <a:lnSpc>
                <a:spcPts val="1960"/>
              </a:lnSpc>
              <a:buClr>
                <a:srgbClr val="62A844"/>
              </a:buClr>
              <a:buFont typeface="Arial" panose="020B0604020202020204" pitchFamily="34" charset="0"/>
              <a:buChar char="•"/>
            </a:pPr>
            <a:r>
              <a:rPr lang="en-US" dirty="0">
                <a:solidFill>
                  <a:srgbClr val="262626"/>
                </a:solidFill>
              </a:rPr>
              <a:t>local producers</a:t>
            </a:r>
          </a:p>
          <a:p>
            <a:pPr marL="285750" indent="-285750">
              <a:lnSpc>
                <a:spcPts val="1960"/>
              </a:lnSpc>
              <a:buClr>
                <a:srgbClr val="62A844"/>
              </a:buClr>
              <a:buFont typeface="Arial" panose="020B0604020202020204" pitchFamily="34" charset="0"/>
              <a:buChar char="•"/>
            </a:pPr>
            <a:r>
              <a:rPr lang="en-US" dirty="0">
                <a:solidFill>
                  <a:srgbClr val="262626"/>
                </a:solidFill>
              </a:rPr>
              <a:t>seasonal rhythms</a:t>
            </a:r>
          </a:p>
          <a:p>
            <a:pPr marL="285750" indent="-285750">
              <a:lnSpc>
                <a:spcPts val="1960"/>
              </a:lnSpc>
              <a:buClr>
                <a:srgbClr val="62A844"/>
              </a:buClr>
              <a:buFont typeface="Arial" panose="020B0604020202020204" pitchFamily="34" charset="0"/>
              <a:buChar char="•"/>
            </a:pPr>
            <a:r>
              <a:rPr lang="en-US" dirty="0">
                <a:solidFill>
                  <a:srgbClr val="262626"/>
                </a:solidFill>
              </a:rPr>
              <a:t>biodiversity</a:t>
            </a:r>
          </a:p>
          <a:p>
            <a:pPr marL="285750" indent="-285750">
              <a:lnSpc>
                <a:spcPts val="1960"/>
              </a:lnSpc>
              <a:buClr>
                <a:srgbClr val="62A844"/>
              </a:buClr>
              <a:buFont typeface="Arial" panose="020B0604020202020204" pitchFamily="34" charset="0"/>
              <a:buChar char="•"/>
            </a:pPr>
            <a:r>
              <a:rPr lang="en-US" dirty="0">
                <a:solidFill>
                  <a:srgbClr val="262626"/>
                </a:solidFill>
              </a:rPr>
              <a:t>craft traditions</a:t>
            </a:r>
          </a:p>
          <a:p>
            <a:pPr marL="285750" indent="-285750">
              <a:lnSpc>
                <a:spcPts val="1960"/>
              </a:lnSpc>
              <a:buClr>
                <a:srgbClr val="62A844"/>
              </a:buClr>
              <a:buFont typeface="Arial" panose="020B0604020202020204" pitchFamily="34" charset="0"/>
              <a:buChar char="•"/>
            </a:pPr>
            <a:r>
              <a:rPr lang="en-US" dirty="0">
                <a:solidFill>
                  <a:srgbClr val="262626"/>
                </a:solidFill>
              </a:rPr>
              <a:t>cultural identity</a:t>
            </a:r>
          </a:p>
          <a:p>
            <a:pPr marL="285750" indent="-285750">
              <a:lnSpc>
                <a:spcPts val="1960"/>
              </a:lnSpc>
              <a:buClr>
                <a:srgbClr val="62A844"/>
              </a:buClr>
              <a:buFont typeface="Arial" panose="020B0604020202020204" pitchFamily="34" charset="0"/>
              <a:buChar char="•"/>
            </a:pPr>
            <a:r>
              <a:rPr lang="en-US" dirty="0">
                <a:solidFill>
                  <a:srgbClr val="262626"/>
                </a:solidFill>
              </a:rPr>
              <a:t>community contribution</a:t>
            </a:r>
          </a:p>
          <a:p>
            <a:pPr>
              <a:lnSpc>
                <a:spcPts val="1960"/>
              </a:lnSpc>
              <a:buClr>
                <a:srgbClr val="62A844"/>
              </a:buClr>
              <a:buNone/>
            </a:pPr>
            <a:endParaRPr lang="en-US" dirty="0">
              <a:solidFill>
                <a:srgbClr val="262626"/>
              </a:solidFill>
            </a:endParaRPr>
          </a:p>
          <a:p>
            <a:pPr>
              <a:lnSpc>
                <a:spcPts val="1960"/>
              </a:lnSpc>
              <a:buClr>
                <a:srgbClr val="62A844"/>
              </a:buClr>
              <a:buNone/>
            </a:pPr>
            <a:r>
              <a:rPr lang="en-US" sz="2000" b="1" dirty="0">
                <a:solidFill>
                  <a:srgbClr val="0289AE"/>
                </a:solidFill>
              </a:rPr>
              <a:t>This turns sustainability from an abstract claim into a specific story:</a:t>
            </a:r>
          </a:p>
          <a:p>
            <a:pPr marL="285750" indent="-285750">
              <a:lnSpc>
                <a:spcPts val="1960"/>
              </a:lnSpc>
              <a:buClr>
                <a:srgbClr val="62A844"/>
              </a:buClr>
              <a:buFont typeface="Arial" panose="020B0604020202020204" pitchFamily="34" charset="0"/>
              <a:buChar char="•"/>
            </a:pPr>
            <a:r>
              <a:rPr lang="en-US" dirty="0">
                <a:solidFill>
                  <a:srgbClr val="262626"/>
                </a:solidFill>
              </a:rPr>
              <a:t>who made this</a:t>
            </a:r>
          </a:p>
          <a:p>
            <a:pPr marL="285750" indent="-285750">
              <a:lnSpc>
                <a:spcPts val="1960"/>
              </a:lnSpc>
              <a:buClr>
                <a:srgbClr val="62A844"/>
              </a:buClr>
              <a:buFont typeface="Arial" panose="020B0604020202020204" pitchFamily="34" charset="0"/>
              <a:buChar char="•"/>
            </a:pPr>
            <a:r>
              <a:rPr lang="en-US" dirty="0">
                <a:solidFill>
                  <a:srgbClr val="262626"/>
                </a:solidFill>
              </a:rPr>
              <a:t>where it came from</a:t>
            </a:r>
          </a:p>
          <a:p>
            <a:pPr marL="285750" indent="-285750">
              <a:lnSpc>
                <a:spcPts val="1960"/>
              </a:lnSpc>
              <a:buClr>
                <a:srgbClr val="62A844"/>
              </a:buClr>
              <a:buFont typeface="Arial" panose="020B0604020202020204" pitchFamily="34" charset="0"/>
              <a:buChar char="•"/>
            </a:pPr>
            <a:r>
              <a:rPr lang="en-US" dirty="0">
                <a:solidFill>
                  <a:srgbClr val="262626"/>
                </a:solidFill>
              </a:rPr>
              <a:t>why it matters here</a:t>
            </a:r>
          </a:p>
          <a:p>
            <a:pPr marL="285750" indent="-285750">
              <a:lnSpc>
                <a:spcPts val="1960"/>
              </a:lnSpc>
              <a:buClr>
                <a:srgbClr val="62A844"/>
              </a:buClr>
              <a:buFont typeface="Arial" panose="020B0604020202020204" pitchFamily="34" charset="0"/>
              <a:buChar char="•"/>
            </a:pPr>
            <a:r>
              <a:rPr lang="en-US" dirty="0">
                <a:solidFill>
                  <a:srgbClr val="262626"/>
                </a:solidFill>
              </a:rPr>
              <a:t>how the guest is part of it</a:t>
            </a:r>
          </a:p>
        </p:txBody>
      </p:sp>
      <p:pic>
        <p:nvPicPr>
          <p:cNvPr id="22" name="Picture 21">
            <a:extLst>
              <a:ext uri="{FF2B5EF4-FFF2-40B4-BE49-F238E27FC236}">
                <a16:creationId xmlns:a16="http://schemas.microsoft.com/office/drawing/2014/main" id="{5F9C7F12-E115-D1A0-62DE-50A62B0C4640}"/>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0192194" y="1681639"/>
            <a:ext cx="705320" cy="427311"/>
          </a:xfrm>
          <a:prstGeom prst="rect">
            <a:avLst/>
          </a:prstGeom>
        </p:spPr>
      </p:pic>
      <p:sp>
        <p:nvSpPr>
          <p:cNvPr id="11" name="TextBox 97">
            <a:extLst>
              <a:ext uri="{FF2B5EF4-FFF2-40B4-BE49-F238E27FC236}">
                <a16:creationId xmlns:a16="http://schemas.microsoft.com/office/drawing/2014/main" id="{50DA3F50-6F84-4873-E5B4-1DBB02496883}"/>
              </a:ext>
            </a:extLst>
          </p:cNvPr>
          <p:cNvSpPr txBox="1"/>
          <p:nvPr/>
        </p:nvSpPr>
        <p:spPr>
          <a:xfrm>
            <a:off x="7096549" y="5431226"/>
            <a:ext cx="4134850" cy="1046440"/>
          </a:xfrm>
          <a:prstGeom prst="rect">
            <a:avLst/>
          </a:prstGeom>
          <a:noFill/>
        </p:spPr>
        <p:txBody>
          <a:bodyPr wrap="square">
            <a:spAutoFit/>
          </a:bodyPr>
          <a:lstStyle/>
          <a:p>
            <a:pPr algn="r"/>
            <a:r>
              <a:rPr lang="en-US" sz="2200" b="1" dirty="0">
                <a:solidFill>
                  <a:srgbClr val="62A844"/>
                </a:solidFill>
              </a:rPr>
              <a:t>Stories create meaning. </a:t>
            </a:r>
          </a:p>
          <a:p>
            <a:pPr algn="r"/>
            <a:r>
              <a:rPr lang="en-US" sz="2200" b="1" dirty="0">
                <a:solidFill>
                  <a:srgbClr val="62A844"/>
                </a:solidFill>
              </a:rPr>
              <a:t>Meaning strengthens memory.</a:t>
            </a:r>
          </a:p>
          <a:p>
            <a:pPr algn="r"/>
            <a:endParaRPr lang="en-US" dirty="0">
              <a:solidFill>
                <a:srgbClr val="62A844"/>
              </a:solidFill>
            </a:endParaRPr>
          </a:p>
        </p:txBody>
      </p:sp>
    </p:spTree>
    <p:extLst>
      <p:ext uri="{BB962C8B-B14F-4D97-AF65-F5344CB8AC3E}">
        <p14:creationId xmlns:p14="http://schemas.microsoft.com/office/powerpoint/2010/main" val="41529752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4C6AE-3912-55E2-F860-E97281336717}"/>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85272214-47AC-CF29-047E-A70DB8B6CA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10576" y="1021962"/>
            <a:ext cx="5259274" cy="4639976"/>
          </a:xfrm>
          <a:prstGeom prst="rect">
            <a:avLst/>
          </a:prstGeom>
        </p:spPr>
      </p:pic>
      <p:sp>
        <p:nvSpPr>
          <p:cNvPr id="2" name="Text Placeholder 11">
            <a:extLst>
              <a:ext uri="{FF2B5EF4-FFF2-40B4-BE49-F238E27FC236}">
                <a16:creationId xmlns:a16="http://schemas.microsoft.com/office/drawing/2014/main" id="{C809DED0-19EB-863E-B4FE-EBC89B8B0337}"/>
              </a:ext>
            </a:extLst>
          </p:cNvPr>
          <p:cNvSpPr txBox="1">
            <a:spLocks/>
          </p:cNvSpPr>
          <p:nvPr/>
        </p:nvSpPr>
        <p:spPr>
          <a:xfrm>
            <a:off x="429115" y="354068"/>
            <a:ext cx="745324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Eco-Labels, Certifications and Proof</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DA6DDD31-7929-D2B9-0B1D-19C8AA54133B}"/>
              </a:ext>
            </a:extLst>
          </p:cNvPr>
          <p:cNvCxnSpPr>
            <a:cxnSpLocks/>
          </p:cNvCxnSpPr>
          <p:nvPr/>
        </p:nvCxnSpPr>
        <p:spPr>
          <a:xfrm>
            <a:off x="0" y="1069820"/>
            <a:ext cx="7396223"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00EC1792-D66B-0422-AB55-ADE07D2CC756}"/>
              </a:ext>
            </a:extLst>
          </p:cNvPr>
          <p:cNvSpPr/>
          <p:nvPr/>
        </p:nvSpPr>
        <p:spPr>
          <a:xfrm flipH="1">
            <a:off x="586943" y="1322367"/>
            <a:ext cx="6050110" cy="4708981"/>
          </a:xfrm>
          <a:prstGeom prst="rect">
            <a:avLst/>
          </a:prstGeom>
        </p:spPr>
        <p:txBody>
          <a:bodyPr wrap="square">
            <a:spAutoFit/>
          </a:bodyPr>
          <a:lstStyle/>
          <a:p>
            <a:pPr>
              <a:lnSpc>
                <a:spcPts val="1960"/>
              </a:lnSpc>
              <a:buClr>
                <a:srgbClr val="62A844"/>
              </a:buClr>
              <a:buNone/>
            </a:pPr>
            <a:r>
              <a:rPr lang="en-US" dirty="0">
                <a:solidFill>
                  <a:srgbClr val="262626"/>
                </a:solidFill>
              </a:rPr>
              <a:t>Certifications can help guests interpret sustainability claims more easily - but only if they are explained clearly.</a:t>
            </a:r>
          </a:p>
          <a:p>
            <a:pPr>
              <a:lnSpc>
                <a:spcPts val="1960"/>
              </a:lnSpc>
              <a:buClr>
                <a:srgbClr val="62A844"/>
              </a:buClr>
              <a:buNone/>
            </a:pPr>
            <a:endParaRPr lang="en-US" dirty="0">
              <a:solidFill>
                <a:srgbClr val="262626"/>
              </a:solidFill>
            </a:endParaRPr>
          </a:p>
          <a:p>
            <a:pPr>
              <a:lnSpc>
                <a:spcPts val="1960"/>
              </a:lnSpc>
              <a:buClr>
                <a:srgbClr val="62A844"/>
              </a:buClr>
              <a:buNone/>
            </a:pPr>
            <a:r>
              <a:rPr lang="en-US" sz="2000" b="1" dirty="0">
                <a:solidFill>
                  <a:srgbClr val="0289AE"/>
                </a:solidFill>
              </a:rPr>
              <a:t>A label should answer:</a:t>
            </a:r>
          </a:p>
          <a:p>
            <a:pPr marL="285750" indent="-285750">
              <a:lnSpc>
                <a:spcPts val="1960"/>
              </a:lnSpc>
              <a:buClr>
                <a:srgbClr val="62A844"/>
              </a:buClr>
              <a:buFont typeface="Arial" panose="020B0604020202020204" pitchFamily="34" charset="0"/>
              <a:buChar char="•"/>
            </a:pPr>
            <a:r>
              <a:rPr lang="en-US" dirty="0">
                <a:solidFill>
                  <a:srgbClr val="262626"/>
                </a:solidFill>
              </a:rPr>
              <a:t>What does this certification mean?</a:t>
            </a:r>
          </a:p>
          <a:p>
            <a:pPr marL="285750" indent="-285750">
              <a:lnSpc>
                <a:spcPts val="1960"/>
              </a:lnSpc>
              <a:buClr>
                <a:srgbClr val="62A844"/>
              </a:buClr>
              <a:buFont typeface="Arial" panose="020B0604020202020204" pitchFamily="34" charset="0"/>
              <a:buChar char="•"/>
            </a:pPr>
            <a:r>
              <a:rPr lang="en-US" dirty="0">
                <a:solidFill>
                  <a:srgbClr val="262626"/>
                </a:solidFill>
              </a:rPr>
              <a:t>Who verifies it?</a:t>
            </a:r>
          </a:p>
          <a:p>
            <a:pPr marL="285750" indent="-285750">
              <a:lnSpc>
                <a:spcPts val="1960"/>
              </a:lnSpc>
              <a:buClr>
                <a:srgbClr val="62A844"/>
              </a:buClr>
              <a:buFont typeface="Arial" panose="020B0604020202020204" pitchFamily="34" charset="0"/>
              <a:buChar char="•"/>
            </a:pPr>
            <a:r>
              <a:rPr lang="en-US" dirty="0">
                <a:solidFill>
                  <a:srgbClr val="262626"/>
                </a:solidFill>
              </a:rPr>
              <a:t>What standards are covered?</a:t>
            </a:r>
          </a:p>
          <a:p>
            <a:pPr marL="285750" indent="-285750">
              <a:lnSpc>
                <a:spcPts val="1960"/>
              </a:lnSpc>
              <a:buClr>
                <a:srgbClr val="62A844"/>
              </a:buClr>
              <a:buFont typeface="Arial" panose="020B0604020202020204" pitchFamily="34" charset="0"/>
              <a:buChar char="•"/>
            </a:pPr>
            <a:r>
              <a:rPr lang="en-US" dirty="0">
                <a:solidFill>
                  <a:srgbClr val="262626"/>
                </a:solidFill>
              </a:rPr>
              <a:t>How does it affect the guest experience?</a:t>
            </a:r>
          </a:p>
          <a:p>
            <a:pPr>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buNone/>
            </a:pPr>
            <a:r>
              <a:rPr lang="en-US" b="1" dirty="0">
                <a:solidFill>
                  <a:srgbClr val="262626"/>
                </a:solidFill>
              </a:rPr>
              <a:t>Good communication explains the meaning behind the badge in guest-friendly language.</a:t>
            </a:r>
            <a:br>
              <a:rPr lang="en-US" dirty="0">
                <a:solidFill>
                  <a:srgbClr val="262626"/>
                </a:solidFill>
              </a:rPr>
            </a:br>
            <a:endParaRPr lang="en-US" dirty="0">
              <a:solidFill>
                <a:srgbClr val="262626"/>
              </a:solidFill>
            </a:endParaRPr>
          </a:p>
          <a:p>
            <a:pPr>
              <a:lnSpc>
                <a:spcPts val="1960"/>
              </a:lnSpc>
              <a:buClr>
                <a:srgbClr val="62A844"/>
              </a:buClr>
              <a:buNone/>
            </a:pPr>
            <a:r>
              <a:rPr lang="en-US" dirty="0">
                <a:solidFill>
                  <a:srgbClr val="262626"/>
                </a:solidFill>
              </a:rPr>
              <a:t>This matters because certification and </a:t>
            </a:r>
            <a:r>
              <a:rPr lang="en-US" dirty="0" err="1">
                <a:solidFill>
                  <a:srgbClr val="262626"/>
                </a:solidFill>
              </a:rPr>
              <a:t>standardisation</a:t>
            </a:r>
            <a:r>
              <a:rPr lang="en-US" dirty="0">
                <a:solidFill>
                  <a:srgbClr val="262626"/>
                </a:solidFill>
              </a:rPr>
              <a:t> influence trust. </a:t>
            </a:r>
            <a:r>
              <a:rPr lang="en-US" dirty="0" err="1">
                <a:solidFill>
                  <a:srgbClr val="262626"/>
                </a:solidFill>
              </a:rPr>
              <a:t>Booking.com’s</a:t>
            </a:r>
            <a:r>
              <a:rPr lang="en-US" dirty="0">
                <a:solidFill>
                  <a:srgbClr val="262626"/>
                </a:solidFill>
              </a:rPr>
              <a:t> 2024 sustainable travel research, </a:t>
            </a:r>
            <a:r>
              <a:rPr lang="en-US" dirty="0" err="1">
                <a:solidFill>
                  <a:srgbClr val="262626"/>
                </a:solidFill>
              </a:rPr>
              <a:t>summarised</a:t>
            </a:r>
            <a:r>
              <a:rPr lang="en-US" dirty="0">
                <a:solidFill>
                  <a:srgbClr val="262626"/>
                </a:solidFill>
              </a:rPr>
              <a:t> by GSTC, reported that </a:t>
            </a:r>
            <a:r>
              <a:rPr lang="en-US" b="1" dirty="0">
                <a:solidFill>
                  <a:srgbClr val="06677F"/>
                </a:solidFill>
              </a:rPr>
              <a:t>45% of </a:t>
            </a:r>
            <a:r>
              <a:rPr lang="en-US" b="1" dirty="0" err="1">
                <a:solidFill>
                  <a:srgbClr val="06677F"/>
                </a:solidFill>
              </a:rPr>
              <a:t>travellers</a:t>
            </a:r>
            <a:r>
              <a:rPr lang="en-US" b="1" dirty="0">
                <a:solidFill>
                  <a:srgbClr val="06677F"/>
                </a:solidFill>
              </a:rPr>
              <a:t> find it more appealing when accommodation is labelled as more sustainable</a:t>
            </a:r>
            <a:r>
              <a:rPr lang="en-US" dirty="0">
                <a:solidFill>
                  <a:srgbClr val="06677F"/>
                </a:solidFill>
              </a:rPr>
              <a:t>, </a:t>
            </a:r>
            <a:r>
              <a:rPr lang="en-US" dirty="0">
                <a:solidFill>
                  <a:srgbClr val="262626"/>
                </a:solidFill>
              </a:rPr>
              <a:t>and</a:t>
            </a:r>
            <a:r>
              <a:rPr lang="en-US" dirty="0">
                <a:solidFill>
                  <a:srgbClr val="06677F"/>
                </a:solidFill>
              </a:rPr>
              <a:t> </a:t>
            </a:r>
            <a:r>
              <a:rPr lang="en-US" b="1" dirty="0">
                <a:solidFill>
                  <a:srgbClr val="06677F"/>
                </a:solidFill>
              </a:rPr>
              <a:t>67% agree that booking sites should use the same sustainable certifications or labels</a:t>
            </a:r>
            <a:r>
              <a:rPr lang="en-US" dirty="0">
                <a:solidFill>
                  <a:srgbClr val="06677F"/>
                </a:solidFill>
              </a:rPr>
              <a:t>. </a:t>
            </a:r>
          </a:p>
        </p:txBody>
      </p:sp>
      <p:pic>
        <p:nvPicPr>
          <p:cNvPr id="22" name="Picture 21">
            <a:extLst>
              <a:ext uri="{FF2B5EF4-FFF2-40B4-BE49-F238E27FC236}">
                <a16:creationId xmlns:a16="http://schemas.microsoft.com/office/drawing/2014/main" id="{ADDF922F-6805-2EDB-4ADB-98B55C1B5DC4}"/>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0152268" y="4140773"/>
            <a:ext cx="705320" cy="427311"/>
          </a:xfrm>
          <a:prstGeom prst="rect">
            <a:avLst/>
          </a:prstGeom>
        </p:spPr>
      </p:pic>
      <p:sp>
        <p:nvSpPr>
          <p:cNvPr id="6" name="Textfeld 7">
            <a:extLst>
              <a:ext uri="{FF2B5EF4-FFF2-40B4-BE49-F238E27FC236}">
                <a16:creationId xmlns:a16="http://schemas.microsoft.com/office/drawing/2014/main" id="{2215C541-3EBB-A27C-8D34-877934B1D10A}"/>
              </a:ext>
            </a:extLst>
          </p:cNvPr>
          <p:cNvSpPr txBox="1"/>
          <p:nvPr/>
        </p:nvSpPr>
        <p:spPr>
          <a:xfrm>
            <a:off x="586943" y="6231646"/>
            <a:ext cx="10636106" cy="348813"/>
          </a:xfrm>
          <a:prstGeom prst="rect">
            <a:avLst/>
          </a:prstGeom>
          <a:noFill/>
        </p:spPr>
        <p:txBody>
          <a:bodyPr wrap="square">
            <a:spAutoFit/>
          </a:bodyPr>
          <a:lstStyle/>
          <a:p>
            <a:pPr>
              <a:lnSpc>
                <a:spcPts val="1960"/>
              </a:lnSpc>
            </a:pPr>
            <a:r>
              <a:rPr lang="de-DE" dirty="0">
                <a:solidFill>
                  <a:srgbClr val="0289AE"/>
                </a:solidFill>
              </a:rPr>
              <a:t>https://green-forum.ec.europa.eu/green-business/emas/emas-sustainable-tourism/consumer-corner_en</a:t>
            </a:r>
          </a:p>
        </p:txBody>
      </p:sp>
      <p:sp>
        <p:nvSpPr>
          <p:cNvPr id="7" name="Rounded Rectangle 6">
            <a:extLst>
              <a:ext uri="{FF2B5EF4-FFF2-40B4-BE49-F238E27FC236}">
                <a16:creationId xmlns:a16="http://schemas.microsoft.com/office/drawing/2014/main" id="{5708C8A0-5969-BA05-361A-BA4EABBC2001}"/>
              </a:ext>
            </a:extLst>
          </p:cNvPr>
          <p:cNvSpPr/>
          <p:nvPr/>
        </p:nvSpPr>
        <p:spPr>
          <a:xfrm>
            <a:off x="7160747" y="5689216"/>
            <a:ext cx="4287620"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3BED7F5A-C1FF-B97A-F673-C311CF0590A0}"/>
              </a:ext>
            </a:extLst>
          </p:cNvPr>
          <p:cNvSpPr txBox="1"/>
          <p:nvPr/>
        </p:nvSpPr>
        <p:spPr>
          <a:xfrm>
            <a:off x="7286746" y="5752494"/>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9" name="TextBox 8">
            <a:extLst>
              <a:ext uri="{FF2B5EF4-FFF2-40B4-BE49-F238E27FC236}">
                <a16:creationId xmlns:a16="http://schemas.microsoft.com/office/drawing/2014/main" id="{69990BB7-EDA8-57BC-F03C-523ECE990560}"/>
              </a:ext>
            </a:extLst>
          </p:cNvPr>
          <p:cNvSpPr txBox="1"/>
          <p:nvPr/>
        </p:nvSpPr>
        <p:spPr>
          <a:xfrm>
            <a:off x="8042747" y="5752494"/>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EE19DBE9-7113-4A98-AF2D-E2D5BD800A17}"/>
              </a:ext>
            </a:extLst>
          </p:cNvPr>
          <p:cNvSpPr txBox="1"/>
          <p:nvPr/>
        </p:nvSpPr>
        <p:spPr>
          <a:xfrm>
            <a:off x="8636746" y="5752494"/>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igital Marketing for Sustainability</a:t>
            </a:r>
          </a:p>
        </p:txBody>
      </p:sp>
    </p:spTree>
    <p:extLst>
      <p:ext uri="{BB962C8B-B14F-4D97-AF65-F5344CB8AC3E}">
        <p14:creationId xmlns:p14="http://schemas.microsoft.com/office/powerpoint/2010/main" val="33814827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A74A2-7072-7B8B-8839-9B55E2026553}"/>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0FF63DA5-D2CA-0885-EB8C-EFE597A8CC2E}"/>
              </a:ext>
            </a:extLst>
          </p:cNvPr>
          <p:cNvPicPr>
            <a:picLocks noChangeAspect="1"/>
          </p:cNvPicPr>
          <p:nvPr/>
        </p:nvPicPr>
        <p:blipFill>
          <a:blip r:embed="rId3" cstate="screen">
            <a:extLst>
              <a:ext uri="{28A0092B-C50C-407E-A947-70E740481C1C}">
                <a14:useLocalDpi xmlns:a14="http://schemas.microsoft.com/office/drawing/2010/main"/>
              </a:ext>
            </a:extLst>
          </a:blip>
          <a:srcRect l="2379" t="12666" r="3542" b="14351"/>
          <a:stretch>
            <a:fillRect/>
          </a:stretch>
        </p:blipFill>
        <p:spPr>
          <a:xfrm>
            <a:off x="5401985" y="3889044"/>
            <a:ext cx="6097584" cy="2879909"/>
          </a:xfrm>
          <a:prstGeom prst="rect">
            <a:avLst/>
          </a:prstGeom>
        </p:spPr>
      </p:pic>
      <p:sp>
        <p:nvSpPr>
          <p:cNvPr id="2" name="Text Placeholder 11">
            <a:extLst>
              <a:ext uri="{FF2B5EF4-FFF2-40B4-BE49-F238E27FC236}">
                <a16:creationId xmlns:a16="http://schemas.microsoft.com/office/drawing/2014/main" id="{FF8F55AE-BB29-20F3-0929-9379A0BDFE2A}"/>
              </a:ext>
            </a:extLst>
          </p:cNvPr>
          <p:cNvSpPr txBox="1">
            <a:spLocks/>
          </p:cNvSpPr>
          <p:nvPr/>
        </p:nvSpPr>
        <p:spPr>
          <a:xfrm>
            <a:off x="429115" y="354068"/>
            <a:ext cx="745324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Greenwashing and Credibilit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84FC911C-4066-5BA7-F198-2055BC333E59}"/>
              </a:ext>
            </a:extLst>
          </p:cNvPr>
          <p:cNvCxnSpPr>
            <a:cxnSpLocks/>
          </p:cNvCxnSpPr>
          <p:nvPr/>
        </p:nvCxnSpPr>
        <p:spPr>
          <a:xfrm>
            <a:off x="0" y="911787"/>
            <a:ext cx="628215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CE977F7F-9158-1F09-1AEF-BB4C9035E234}"/>
              </a:ext>
            </a:extLst>
          </p:cNvPr>
          <p:cNvSpPr/>
          <p:nvPr/>
        </p:nvSpPr>
        <p:spPr>
          <a:xfrm flipH="1">
            <a:off x="586940" y="1128244"/>
            <a:ext cx="10861427" cy="3426579"/>
          </a:xfrm>
          <a:prstGeom prst="rect">
            <a:avLst/>
          </a:prstGeom>
        </p:spPr>
        <p:txBody>
          <a:bodyPr wrap="square">
            <a:spAutoFit/>
          </a:bodyPr>
          <a:lstStyle/>
          <a:p>
            <a:pPr>
              <a:lnSpc>
                <a:spcPts val="1960"/>
              </a:lnSpc>
              <a:buClr>
                <a:srgbClr val="62A844"/>
              </a:buClr>
              <a:buNone/>
            </a:pPr>
            <a:r>
              <a:rPr lang="en-US" sz="2000" b="1" dirty="0">
                <a:solidFill>
                  <a:srgbClr val="0289AE"/>
                </a:solidFill>
              </a:rPr>
              <a:t>A sustainability message becomes risky when it is:</a:t>
            </a:r>
          </a:p>
          <a:p>
            <a:pPr marL="285750" indent="-285750">
              <a:lnSpc>
                <a:spcPts val="1960"/>
              </a:lnSpc>
              <a:buClr>
                <a:srgbClr val="62A844"/>
              </a:buClr>
              <a:buFont typeface="Arial" panose="020B0604020202020204" pitchFamily="34" charset="0"/>
              <a:buChar char="•"/>
            </a:pPr>
            <a:r>
              <a:rPr lang="en-US" dirty="0">
                <a:solidFill>
                  <a:srgbClr val="262626"/>
                </a:solidFill>
              </a:rPr>
              <a:t>vague</a:t>
            </a:r>
          </a:p>
          <a:p>
            <a:pPr marL="285750" indent="-285750">
              <a:lnSpc>
                <a:spcPts val="1960"/>
              </a:lnSpc>
              <a:buClr>
                <a:srgbClr val="62A844"/>
              </a:buClr>
              <a:buFont typeface="Arial" panose="020B0604020202020204" pitchFamily="34" charset="0"/>
              <a:buChar char="•"/>
            </a:pPr>
            <a:r>
              <a:rPr lang="en-US" dirty="0">
                <a:solidFill>
                  <a:srgbClr val="262626"/>
                </a:solidFill>
              </a:rPr>
              <a:t>unsupported</a:t>
            </a:r>
          </a:p>
          <a:p>
            <a:pPr marL="285750" indent="-285750">
              <a:lnSpc>
                <a:spcPts val="1960"/>
              </a:lnSpc>
              <a:buClr>
                <a:srgbClr val="62A844"/>
              </a:buClr>
              <a:buFont typeface="Arial" panose="020B0604020202020204" pitchFamily="34" charset="0"/>
              <a:buChar char="•"/>
            </a:pPr>
            <a:r>
              <a:rPr lang="en-US" dirty="0">
                <a:solidFill>
                  <a:srgbClr val="262626"/>
                </a:solidFill>
              </a:rPr>
              <a:t>exaggerated</a:t>
            </a:r>
          </a:p>
          <a:p>
            <a:pPr marL="285750" indent="-285750">
              <a:lnSpc>
                <a:spcPts val="1960"/>
              </a:lnSpc>
              <a:buClr>
                <a:srgbClr val="62A844"/>
              </a:buClr>
              <a:buFont typeface="Arial" panose="020B0604020202020204" pitchFamily="34" charset="0"/>
              <a:buChar char="•"/>
            </a:pPr>
            <a:r>
              <a:rPr lang="en-US" dirty="0">
                <a:solidFill>
                  <a:srgbClr val="262626"/>
                </a:solidFill>
              </a:rPr>
              <a:t>selective</a:t>
            </a:r>
          </a:p>
          <a:p>
            <a:pPr marL="285750" indent="-285750">
              <a:lnSpc>
                <a:spcPts val="1960"/>
              </a:lnSpc>
              <a:buClr>
                <a:srgbClr val="62A844"/>
              </a:buClr>
              <a:buFont typeface="Arial" panose="020B0604020202020204" pitchFamily="34" charset="0"/>
              <a:buChar char="•"/>
            </a:pPr>
            <a:r>
              <a:rPr lang="en-US" dirty="0">
                <a:solidFill>
                  <a:srgbClr val="262626"/>
                </a:solidFill>
              </a:rPr>
              <a:t>visually misleading</a:t>
            </a:r>
          </a:p>
          <a:p>
            <a:pPr marL="285750" indent="-285750">
              <a:lnSpc>
                <a:spcPts val="1960"/>
              </a:lnSpc>
              <a:buClr>
                <a:srgbClr val="62A844"/>
              </a:buClr>
              <a:buFont typeface="Arial" panose="020B0604020202020204" pitchFamily="34" charset="0"/>
              <a:buChar char="•"/>
            </a:pPr>
            <a:r>
              <a:rPr lang="en-US" dirty="0">
                <a:solidFill>
                  <a:srgbClr val="262626"/>
                </a:solidFill>
              </a:rPr>
              <a:t>disconnected from evidence</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gn="just">
              <a:lnSpc>
                <a:spcPts val="1960"/>
              </a:lnSpc>
              <a:buClr>
                <a:srgbClr val="62A844"/>
              </a:buClr>
              <a:buNone/>
            </a:pPr>
            <a:r>
              <a:rPr lang="en-US" dirty="0">
                <a:solidFill>
                  <a:srgbClr val="262626"/>
                </a:solidFill>
              </a:rPr>
              <a:t>Guests increasingly make decisions through labels, booking platforms, websites, and quick impressions.  The European Commission noted that many green claims are vague or unsupported, and newer EU rules are intended to ban vague environmental claims and unreliable sustainability logos. OECD work in 2025 also identifies misleading green claims as a growing consumer-protection issue. </a:t>
            </a:r>
          </a:p>
          <a:p>
            <a:pPr>
              <a:lnSpc>
                <a:spcPts val="1960"/>
              </a:lnSpc>
              <a:buClr>
                <a:srgbClr val="62A844"/>
              </a:buClr>
              <a:buNone/>
            </a:pPr>
            <a:endParaRPr lang="en-US" dirty="0">
              <a:solidFill>
                <a:srgbClr val="262626"/>
              </a:solidFill>
            </a:endParaRPr>
          </a:p>
        </p:txBody>
      </p:sp>
      <p:sp>
        <p:nvSpPr>
          <p:cNvPr id="7" name="Rounded Rectangle 6">
            <a:extLst>
              <a:ext uri="{FF2B5EF4-FFF2-40B4-BE49-F238E27FC236}">
                <a16:creationId xmlns:a16="http://schemas.microsoft.com/office/drawing/2014/main" id="{C9391BCC-7AD2-704B-5F20-D9121EE1C828}"/>
              </a:ext>
            </a:extLst>
          </p:cNvPr>
          <p:cNvSpPr/>
          <p:nvPr/>
        </p:nvSpPr>
        <p:spPr>
          <a:xfrm>
            <a:off x="6799799" y="6247049"/>
            <a:ext cx="4287620"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21A08CB3-1B8E-9A3B-D491-33579A6CE8F7}"/>
              </a:ext>
            </a:extLst>
          </p:cNvPr>
          <p:cNvSpPr txBox="1"/>
          <p:nvPr/>
        </p:nvSpPr>
        <p:spPr>
          <a:xfrm>
            <a:off x="6925798" y="6310327"/>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9" name="TextBox 8">
            <a:extLst>
              <a:ext uri="{FF2B5EF4-FFF2-40B4-BE49-F238E27FC236}">
                <a16:creationId xmlns:a16="http://schemas.microsoft.com/office/drawing/2014/main" id="{EB6DFA44-E4FE-AA7B-788A-DAE5B41D902F}"/>
              </a:ext>
            </a:extLst>
          </p:cNvPr>
          <p:cNvSpPr txBox="1"/>
          <p:nvPr/>
        </p:nvSpPr>
        <p:spPr>
          <a:xfrm>
            <a:off x="7681799" y="6310327"/>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3E99CB2D-74CE-E22A-FBD3-90950ABEB747}"/>
              </a:ext>
            </a:extLst>
          </p:cNvPr>
          <p:cNvSpPr txBox="1"/>
          <p:nvPr/>
        </p:nvSpPr>
        <p:spPr>
          <a:xfrm>
            <a:off x="8275798" y="6310327"/>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igital Marketing for Sustainability</a:t>
            </a:r>
          </a:p>
        </p:txBody>
      </p:sp>
      <p:sp>
        <p:nvSpPr>
          <p:cNvPr id="11" name="Textfeld 7">
            <a:extLst>
              <a:ext uri="{FF2B5EF4-FFF2-40B4-BE49-F238E27FC236}">
                <a16:creationId xmlns:a16="http://schemas.microsoft.com/office/drawing/2014/main" id="{B5E3CACD-9145-A5EA-A88A-A6E5320030DA}"/>
              </a:ext>
            </a:extLst>
          </p:cNvPr>
          <p:cNvSpPr txBox="1"/>
          <p:nvPr/>
        </p:nvSpPr>
        <p:spPr>
          <a:xfrm>
            <a:off x="535738" y="4554823"/>
            <a:ext cx="4649874" cy="2154436"/>
          </a:xfrm>
          <a:prstGeom prst="rect">
            <a:avLst/>
          </a:prstGeom>
          <a:noFill/>
        </p:spPr>
        <p:txBody>
          <a:bodyPr wrap="square">
            <a:spAutoFit/>
          </a:bodyPr>
          <a:lstStyle/>
          <a:p>
            <a:r>
              <a:rPr lang="de-DE" dirty="0">
                <a:solidFill>
                  <a:srgbClr val="62A844"/>
                </a:solidFill>
                <a:hlinkClick r:id="rId4">
                  <a:extLst>
                    <a:ext uri="{A12FA001-AC4F-418D-AE19-62706E023703}">
                      <ahyp:hlinkClr xmlns:ahyp="http://schemas.microsoft.com/office/drawing/2018/hyperlinkcolor" val="tx"/>
                    </a:ext>
                  </a:extLst>
                </a:hlinkClick>
              </a:rPr>
              <a:t>https://environment.ec.europa.eu/topics/circular-economy-topics/green-claims_en</a:t>
            </a:r>
            <a:endParaRPr lang="de-DE" dirty="0">
              <a:solidFill>
                <a:srgbClr val="62A844"/>
              </a:solidFill>
            </a:endParaRPr>
          </a:p>
          <a:p>
            <a:endParaRPr lang="de-DE" sz="800" dirty="0">
              <a:solidFill>
                <a:srgbClr val="62A844"/>
              </a:solidFill>
              <a:hlinkClick r:id="rId5">
                <a:extLst>
                  <a:ext uri="{A12FA001-AC4F-418D-AE19-62706E023703}">
                    <ahyp:hlinkClr xmlns:ahyp="http://schemas.microsoft.com/office/drawing/2018/hyperlinkcolor" val="tx"/>
                  </a:ext>
                </a:extLst>
              </a:hlinkClick>
            </a:endParaRPr>
          </a:p>
          <a:p>
            <a:r>
              <a:rPr lang="de-DE" dirty="0">
                <a:solidFill>
                  <a:srgbClr val="62A844"/>
                </a:solidFill>
                <a:hlinkClick r:id="rId5">
                  <a:extLst>
                    <a:ext uri="{A12FA001-AC4F-418D-AE19-62706E023703}">
                      <ahyp:hlinkClr xmlns:ahyp="http://schemas.microsoft.com/office/drawing/2018/hyperlinkcolor" val="tx"/>
                    </a:ext>
                  </a:extLst>
                </a:hlinkClick>
              </a:rPr>
              <a:t>https://energy.ec.europa.eu/news/new-eu-rules-empower-consumers-green-transition-enter-force-2024-03-27_en</a:t>
            </a:r>
            <a:endParaRPr lang="de-DE" dirty="0">
              <a:solidFill>
                <a:srgbClr val="62A844"/>
              </a:solidFill>
            </a:endParaRPr>
          </a:p>
          <a:p>
            <a:endParaRPr lang="de-DE" dirty="0">
              <a:solidFill>
                <a:srgbClr val="62A844"/>
              </a:solidFill>
            </a:endParaRPr>
          </a:p>
          <a:p>
            <a:endParaRPr lang="de-DE" dirty="0">
              <a:solidFill>
                <a:srgbClr val="62A844"/>
              </a:solidFill>
            </a:endParaRPr>
          </a:p>
        </p:txBody>
      </p:sp>
      <p:sp>
        <p:nvSpPr>
          <p:cNvPr id="14" name="Rectangle 30">
            <a:extLst>
              <a:ext uri="{FF2B5EF4-FFF2-40B4-BE49-F238E27FC236}">
                <a16:creationId xmlns:a16="http://schemas.microsoft.com/office/drawing/2014/main" id="{4DAC88E6-4889-156C-97C2-059C18DB65E2}"/>
              </a:ext>
            </a:extLst>
          </p:cNvPr>
          <p:cNvSpPr/>
          <p:nvPr/>
        </p:nvSpPr>
        <p:spPr>
          <a:xfrm flipH="1">
            <a:off x="7108159" y="1127138"/>
            <a:ext cx="3407441" cy="1631216"/>
          </a:xfrm>
          <a:prstGeom prst="rect">
            <a:avLst/>
          </a:prstGeom>
        </p:spPr>
        <p:txBody>
          <a:bodyPr wrap="square">
            <a:spAutoFit/>
          </a:bodyPr>
          <a:lstStyle/>
          <a:p>
            <a:pPr>
              <a:lnSpc>
                <a:spcPts val="1960"/>
              </a:lnSpc>
              <a:buClr>
                <a:srgbClr val="62A844"/>
              </a:buClr>
              <a:buNone/>
            </a:pPr>
            <a:r>
              <a:rPr lang="en-US" sz="2000" b="1" dirty="0">
                <a:solidFill>
                  <a:srgbClr val="0289AE"/>
                </a:solidFill>
              </a:rPr>
              <a:t>Credibility Checklist:</a:t>
            </a:r>
            <a:endParaRPr lang="en-US" sz="2000" dirty="0">
              <a:solidFill>
                <a:srgbClr val="0289AE"/>
              </a:solidFill>
            </a:endParaRPr>
          </a:p>
          <a:p>
            <a:pPr marL="285750" indent="-285750">
              <a:lnSpc>
                <a:spcPts val="1960"/>
              </a:lnSpc>
              <a:buClr>
                <a:srgbClr val="62A844"/>
              </a:buClr>
              <a:buFont typeface="Arial" panose="020B0604020202020204" pitchFamily="34" charset="0"/>
              <a:buChar char="•"/>
            </a:pPr>
            <a:r>
              <a:rPr lang="en-US" dirty="0">
                <a:solidFill>
                  <a:srgbClr val="262626"/>
                </a:solidFill>
              </a:rPr>
              <a:t>specific claim</a:t>
            </a:r>
          </a:p>
          <a:p>
            <a:pPr marL="285750" indent="-285750">
              <a:lnSpc>
                <a:spcPts val="1960"/>
              </a:lnSpc>
              <a:buClr>
                <a:srgbClr val="62A844"/>
              </a:buClr>
              <a:buFont typeface="Arial" panose="020B0604020202020204" pitchFamily="34" charset="0"/>
              <a:buChar char="•"/>
            </a:pPr>
            <a:r>
              <a:rPr lang="en-US" dirty="0">
                <a:solidFill>
                  <a:srgbClr val="262626"/>
                </a:solidFill>
              </a:rPr>
              <a:t>evidence available</a:t>
            </a:r>
          </a:p>
          <a:p>
            <a:pPr marL="285750" indent="-285750">
              <a:lnSpc>
                <a:spcPts val="1960"/>
              </a:lnSpc>
              <a:buClr>
                <a:srgbClr val="62A844"/>
              </a:buClr>
              <a:buFont typeface="Arial" panose="020B0604020202020204" pitchFamily="34" charset="0"/>
              <a:buChar char="•"/>
            </a:pPr>
            <a:r>
              <a:rPr lang="en-US" dirty="0">
                <a:solidFill>
                  <a:srgbClr val="262626"/>
                </a:solidFill>
              </a:rPr>
              <a:t>clear scope</a:t>
            </a:r>
          </a:p>
          <a:p>
            <a:pPr marL="285750" indent="-285750">
              <a:lnSpc>
                <a:spcPts val="1960"/>
              </a:lnSpc>
              <a:buClr>
                <a:srgbClr val="62A844"/>
              </a:buClr>
              <a:buFont typeface="Arial" panose="020B0604020202020204" pitchFamily="34" charset="0"/>
              <a:buChar char="•"/>
            </a:pPr>
            <a:r>
              <a:rPr lang="en-US" dirty="0">
                <a:solidFill>
                  <a:srgbClr val="262626"/>
                </a:solidFill>
              </a:rPr>
              <a:t>verifiable source</a:t>
            </a:r>
          </a:p>
          <a:p>
            <a:pPr marL="285750" indent="-285750">
              <a:lnSpc>
                <a:spcPts val="1960"/>
              </a:lnSpc>
              <a:buClr>
                <a:srgbClr val="62A844"/>
              </a:buClr>
              <a:buFont typeface="Arial" panose="020B0604020202020204" pitchFamily="34" charset="0"/>
              <a:buChar char="•"/>
            </a:pPr>
            <a:r>
              <a:rPr lang="en-US" dirty="0">
                <a:solidFill>
                  <a:srgbClr val="262626"/>
                </a:solidFill>
              </a:rPr>
              <a:t>no overstatement</a:t>
            </a:r>
          </a:p>
        </p:txBody>
      </p:sp>
    </p:spTree>
    <p:extLst>
      <p:ext uri="{BB962C8B-B14F-4D97-AF65-F5344CB8AC3E}">
        <p14:creationId xmlns:p14="http://schemas.microsoft.com/office/powerpoint/2010/main" val="16998086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81914-CA06-FE3C-887E-C13051E827E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6A25B68B-8A67-D715-2E92-FA70C50886D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5832" y="116440"/>
            <a:ext cx="4967052" cy="4134830"/>
          </a:xfrm>
          <a:prstGeom prst="rect">
            <a:avLst/>
          </a:prstGeom>
        </p:spPr>
      </p:pic>
      <p:sp>
        <p:nvSpPr>
          <p:cNvPr id="2" name="Text Placeholder 11">
            <a:extLst>
              <a:ext uri="{FF2B5EF4-FFF2-40B4-BE49-F238E27FC236}">
                <a16:creationId xmlns:a16="http://schemas.microsoft.com/office/drawing/2014/main" id="{0E81955A-2091-B0F6-737A-5C81FDC71C60}"/>
              </a:ext>
            </a:extLst>
          </p:cNvPr>
          <p:cNvSpPr txBox="1">
            <a:spLocks/>
          </p:cNvSpPr>
          <p:nvPr/>
        </p:nvSpPr>
        <p:spPr>
          <a:xfrm>
            <a:off x="429116" y="354068"/>
            <a:ext cx="509338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Digital Touchpoints, Reviews and Online Trust</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D0B67CB9-C375-DFB7-A0C0-24C4BDAF63C2}"/>
              </a:ext>
            </a:extLst>
          </p:cNvPr>
          <p:cNvCxnSpPr>
            <a:cxnSpLocks/>
          </p:cNvCxnSpPr>
          <p:nvPr/>
        </p:nvCxnSpPr>
        <p:spPr>
          <a:xfrm>
            <a:off x="0" y="1479066"/>
            <a:ext cx="6794881"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9D86FB1C-3185-1885-7F37-10D088DEF4CE}"/>
              </a:ext>
            </a:extLst>
          </p:cNvPr>
          <p:cNvSpPr/>
          <p:nvPr/>
        </p:nvSpPr>
        <p:spPr>
          <a:xfrm flipH="1">
            <a:off x="586943" y="1960816"/>
            <a:ext cx="6050110" cy="4196020"/>
          </a:xfrm>
          <a:prstGeom prst="rect">
            <a:avLst/>
          </a:prstGeom>
        </p:spPr>
        <p:txBody>
          <a:bodyPr wrap="square">
            <a:spAutoFit/>
          </a:bodyPr>
          <a:lstStyle/>
          <a:p>
            <a:pPr>
              <a:lnSpc>
                <a:spcPts val="1960"/>
              </a:lnSpc>
              <a:buClr>
                <a:srgbClr val="62A844"/>
              </a:buClr>
              <a:buNone/>
            </a:pPr>
            <a:r>
              <a:rPr lang="en-US" sz="2000" b="1" dirty="0">
                <a:solidFill>
                  <a:srgbClr val="0289AE"/>
                </a:solidFill>
              </a:rPr>
              <a:t>Guest experience begins before arrival — often online.</a:t>
            </a:r>
          </a:p>
          <a:p>
            <a:pPr>
              <a:lnSpc>
                <a:spcPts val="1960"/>
              </a:lnSpc>
              <a:buClr>
                <a:srgbClr val="62A844"/>
              </a:buClr>
              <a:buNone/>
            </a:pPr>
            <a:r>
              <a:rPr lang="en-US" sz="2000" b="1" dirty="0">
                <a:solidFill>
                  <a:srgbClr val="0289AE"/>
                </a:solidFill>
              </a:rPr>
              <a:t>Important digital touchpoints include:</a:t>
            </a:r>
          </a:p>
          <a:p>
            <a:pPr marL="285750" indent="-285750">
              <a:lnSpc>
                <a:spcPts val="1960"/>
              </a:lnSpc>
              <a:buClr>
                <a:srgbClr val="62A844"/>
              </a:buClr>
              <a:buFont typeface="Arial" panose="020B0604020202020204" pitchFamily="34" charset="0"/>
              <a:buChar char="•"/>
            </a:pPr>
            <a:r>
              <a:rPr lang="en-US" dirty="0">
                <a:solidFill>
                  <a:srgbClr val="262626"/>
                </a:solidFill>
              </a:rPr>
              <a:t>website copy</a:t>
            </a:r>
          </a:p>
          <a:p>
            <a:pPr marL="285750" indent="-285750">
              <a:lnSpc>
                <a:spcPts val="1960"/>
              </a:lnSpc>
              <a:buClr>
                <a:srgbClr val="62A844"/>
              </a:buClr>
              <a:buFont typeface="Arial" panose="020B0604020202020204" pitchFamily="34" charset="0"/>
              <a:buChar char="•"/>
            </a:pPr>
            <a:r>
              <a:rPr lang="en-US" dirty="0">
                <a:solidFill>
                  <a:srgbClr val="262626"/>
                </a:solidFill>
              </a:rPr>
              <a:t>booking platform descriptions</a:t>
            </a:r>
          </a:p>
          <a:p>
            <a:pPr marL="285750" indent="-285750">
              <a:lnSpc>
                <a:spcPts val="1960"/>
              </a:lnSpc>
              <a:buClr>
                <a:srgbClr val="62A844"/>
              </a:buClr>
              <a:buFont typeface="Arial" panose="020B0604020202020204" pitchFamily="34" charset="0"/>
              <a:buChar char="•"/>
            </a:pPr>
            <a:r>
              <a:rPr lang="en-US" dirty="0">
                <a:solidFill>
                  <a:srgbClr val="262626"/>
                </a:solidFill>
              </a:rPr>
              <a:t>confirmation emails</a:t>
            </a:r>
          </a:p>
          <a:p>
            <a:pPr marL="285750" indent="-285750">
              <a:lnSpc>
                <a:spcPts val="1960"/>
              </a:lnSpc>
              <a:buClr>
                <a:srgbClr val="62A844"/>
              </a:buClr>
              <a:buFont typeface="Arial" panose="020B0604020202020204" pitchFamily="34" charset="0"/>
              <a:buChar char="•"/>
            </a:pPr>
            <a:r>
              <a:rPr lang="en-US" dirty="0">
                <a:solidFill>
                  <a:srgbClr val="262626"/>
                </a:solidFill>
              </a:rPr>
              <a:t>pre-arrival guidance</a:t>
            </a:r>
          </a:p>
          <a:p>
            <a:pPr marL="285750" indent="-285750">
              <a:lnSpc>
                <a:spcPts val="1960"/>
              </a:lnSpc>
              <a:buClr>
                <a:srgbClr val="62A844"/>
              </a:buClr>
              <a:buFont typeface="Arial" panose="020B0604020202020204" pitchFamily="34" charset="0"/>
              <a:buChar char="•"/>
            </a:pPr>
            <a:r>
              <a:rPr lang="en-US" dirty="0">
                <a:solidFill>
                  <a:srgbClr val="262626"/>
                </a:solidFill>
              </a:rPr>
              <a:t>app messages</a:t>
            </a:r>
          </a:p>
          <a:p>
            <a:pPr marL="285750" indent="-285750">
              <a:lnSpc>
                <a:spcPts val="1960"/>
              </a:lnSpc>
              <a:buClr>
                <a:srgbClr val="62A844"/>
              </a:buClr>
              <a:buFont typeface="Arial" panose="020B0604020202020204" pitchFamily="34" charset="0"/>
              <a:buChar char="•"/>
            </a:pPr>
            <a:r>
              <a:rPr lang="en-US" dirty="0">
                <a:solidFill>
                  <a:srgbClr val="262626"/>
                </a:solidFill>
              </a:rPr>
              <a:t>QR-based information</a:t>
            </a:r>
          </a:p>
          <a:p>
            <a:pPr marL="285750" indent="-285750">
              <a:lnSpc>
                <a:spcPts val="1960"/>
              </a:lnSpc>
              <a:buClr>
                <a:srgbClr val="62A844"/>
              </a:buClr>
              <a:buFont typeface="Arial" panose="020B0604020202020204" pitchFamily="34" charset="0"/>
              <a:buChar char="•"/>
            </a:pPr>
            <a:r>
              <a:rPr lang="en-US" dirty="0">
                <a:solidFill>
                  <a:srgbClr val="262626"/>
                </a:solidFill>
              </a:rPr>
              <a:t>review responses</a:t>
            </a:r>
          </a:p>
          <a:p>
            <a:pPr marL="285750" indent="-285750">
              <a:lnSpc>
                <a:spcPts val="1960"/>
              </a:lnSpc>
              <a:buClr>
                <a:srgbClr val="62A844"/>
              </a:buClr>
              <a:buFont typeface="Arial" panose="020B0604020202020204" pitchFamily="34" charset="0"/>
              <a:buChar char="•"/>
            </a:pPr>
            <a:endParaRPr lang="en-US" b="1" dirty="0">
              <a:solidFill>
                <a:srgbClr val="262626"/>
              </a:solidFill>
            </a:endParaRPr>
          </a:p>
          <a:p>
            <a:pPr>
              <a:lnSpc>
                <a:spcPts val="1960"/>
              </a:lnSpc>
              <a:buClr>
                <a:srgbClr val="62A844"/>
              </a:buClr>
              <a:buNone/>
            </a:pPr>
            <a:r>
              <a:rPr lang="en-US" sz="2000" b="1" dirty="0">
                <a:solidFill>
                  <a:srgbClr val="0289AE"/>
                </a:solidFill>
              </a:rPr>
              <a:t>Best Practice:</a:t>
            </a:r>
          </a:p>
          <a:p>
            <a:pPr marL="285750" indent="-285750">
              <a:lnSpc>
                <a:spcPts val="1960"/>
              </a:lnSpc>
              <a:buClr>
                <a:srgbClr val="62A844"/>
              </a:buClr>
              <a:buFont typeface="Arial" panose="020B0604020202020204" pitchFamily="34" charset="0"/>
              <a:buChar char="•"/>
            </a:pPr>
            <a:r>
              <a:rPr lang="en-US" dirty="0">
                <a:solidFill>
                  <a:srgbClr val="262626"/>
                </a:solidFill>
              </a:rPr>
              <a:t>use simple, specific claims</a:t>
            </a:r>
          </a:p>
          <a:p>
            <a:pPr marL="285750" indent="-285750">
              <a:lnSpc>
                <a:spcPts val="1960"/>
              </a:lnSpc>
              <a:buClr>
                <a:srgbClr val="62A844"/>
              </a:buClr>
              <a:buFont typeface="Arial" panose="020B0604020202020204" pitchFamily="34" charset="0"/>
              <a:buChar char="•"/>
            </a:pPr>
            <a:r>
              <a:rPr lang="en-US" dirty="0">
                <a:solidFill>
                  <a:srgbClr val="262626"/>
                </a:solidFill>
              </a:rPr>
              <a:t>explain benefits and options clearly</a:t>
            </a:r>
          </a:p>
          <a:p>
            <a:pPr marL="285750" indent="-285750">
              <a:lnSpc>
                <a:spcPts val="1960"/>
              </a:lnSpc>
              <a:buClr>
                <a:srgbClr val="62A844"/>
              </a:buClr>
              <a:buFont typeface="Arial" panose="020B0604020202020204" pitchFamily="34" charset="0"/>
              <a:buChar char="•"/>
            </a:pPr>
            <a:r>
              <a:rPr lang="en-US" dirty="0">
                <a:solidFill>
                  <a:srgbClr val="262626"/>
                </a:solidFill>
              </a:rPr>
              <a:t>keep choice design clear and honest</a:t>
            </a:r>
          </a:p>
          <a:p>
            <a:pPr marL="285750" indent="-285750">
              <a:lnSpc>
                <a:spcPts val="1960"/>
              </a:lnSpc>
              <a:buClr>
                <a:srgbClr val="62A844"/>
              </a:buClr>
              <a:buFont typeface="Arial" panose="020B0604020202020204" pitchFamily="34" charset="0"/>
              <a:buChar char="•"/>
            </a:pPr>
            <a:r>
              <a:rPr lang="en-US" dirty="0">
                <a:solidFill>
                  <a:srgbClr val="262626"/>
                </a:solidFill>
              </a:rPr>
              <a:t>keep language consistent across channels</a:t>
            </a:r>
          </a:p>
          <a:p>
            <a:pPr marL="285750" indent="-285750">
              <a:lnSpc>
                <a:spcPts val="1960"/>
              </a:lnSpc>
              <a:buClr>
                <a:srgbClr val="62A844"/>
              </a:buClr>
              <a:buFont typeface="Arial" panose="020B0604020202020204" pitchFamily="34" charset="0"/>
              <a:buChar char="•"/>
            </a:pPr>
            <a:r>
              <a:rPr lang="en-US" dirty="0">
                <a:solidFill>
                  <a:srgbClr val="262626"/>
                </a:solidFill>
              </a:rPr>
              <a:t>answer guest questions in a warm and factual way</a:t>
            </a:r>
          </a:p>
        </p:txBody>
      </p:sp>
      <p:pic>
        <p:nvPicPr>
          <p:cNvPr id="22" name="Picture 21">
            <a:extLst>
              <a:ext uri="{FF2B5EF4-FFF2-40B4-BE49-F238E27FC236}">
                <a16:creationId xmlns:a16="http://schemas.microsoft.com/office/drawing/2014/main" id="{8A03B2BD-482A-DF17-DB38-B7F41518BC62}"/>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0489068" y="3051025"/>
            <a:ext cx="705320" cy="427311"/>
          </a:xfrm>
          <a:prstGeom prst="rect">
            <a:avLst/>
          </a:prstGeom>
        </p:spPr>
      </p:pic>
      <p:sp>
        <p:nvSpPr>
          <p:cNvPr id="7" name="Rounded Rectangle 6">
            <a:extLst>
              <a:ext uri="{FF2B5EF4-FFF2-40B4-BE49-F238E27FC236}">
                <a16:creationId xmlns:a16="http://schemas.microsoft.com/office/drawing/2014/main" id="{5B2F5F82-E697-C7D9-E5FD-C1DB26A848C1}"/>
              </a:ext>
            </a:extLst>
          </p:cNvPr>
          <p:cNvSpPr/>
          <p:nvPr/>
        </p:nvSpPr>
        <p:spPr>
          <a:xfrm>
            <a:off x="8330479" y="5878114"/>
            <a:ext cx="2991521"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7CC9F9F4-8844-C660-CE0D-178B403AB604}"/>
              </a:ext>
            </a:extLst>
          </p:cNvPr>
          <p:cNvSpPr txBox="1"/>
          <p:nvPr/>
        </p:nvSpPr>
        <p:spPr>
          <a:xfrm>
            <a:off x="8456478" y="5941392"/>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9" name="TextBox 8">
            <a:extLst>
              <a:ext uri="{FF2B5EF4-FFF2-40B4-BE49-F238E27FC236}">
                <a16:creationId xmlns:a16="http://schemas.microsoft.com/office/drawing/2014/main" id="{6E59FDCA-C9FB-DD7D-DD59-C4BBAB1330C9}"/>
              </a:ext>
            </a:extLst>
          </p:cNvPr>
          <p:cNvSpPr txBox="1"/>
          <p:nvPr/>
        </p:nvSpPr>
        <p:spPr>
          <a:xfrm>
            <a:off x="9212479" y="5941392"/>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4C5945F9-3520-0EDA-C72C-B99CD859EA00}"/>
              </a:ext>
            </a:extLst>
          </p:cNvPr>
          <p:cNvSpPr txBox="1"/>
          <p:nvPr/>
        </p:nvSpPr>
        <p:spPr>
          <a:xfrm>
            <a:off x="9806478" y="5941392"/>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AI in Hospitality</a:t>
            </a:r>
          </a:p>
        </p:txBody>
      </p:sp>
      <p:sp>
        <p:nvSpPr>
          <p:cNvPr id="14" name="TextBox 97">
            <a:extLst>
              <a:ext uri="{FF2B5EF4-FFF2-40B4-BE49-F238E27FC236}">
                <a16:creationId xmlns:a16="http://schemas.microsoft.com/office/drawing/2014/main" id="{DC7AD0C3-8ECC-6666-DBCC-DB9D3031752D}"/>
              </a:ext>
            </a:extLst>
          </p:cNvPr>
          <p:cNvSpPr txBox="1"/>
          <p:nvPr/>
        </p:nvSpPr>
        <p:spPr>
          <a:xfrm>
            <a:off x="7380093" y="4314548"/>
            <a:ext cx="4159045" cy="900631"/>
          </a:xfrm>
          <a:prstGeom prst="rect">
            <a:avLst/>
          </a:prstGeom>
          <a:solidFill>
            <a:schemeClr val="bg1"/>
          </a:solidFill>
        </p:spPr>
        <p:txBody>
          <a:bodyPr wrap="square">
            <a:spAutoFit/>
          </a:bodyPr>
          <a:lstStyle/>
          <a:p>
            <a:pPr algn="r">
              <a:lnSpc>
                <a:spcPts val="2100"/>
              </a:lnSpc>
            </a:pPr>
            <a:r>
              <a:rPr lang="en-US" sz="2000" b="1" dirty="0">
                <a:solidFill>
                  <a:srgbClr val="62A844"/>
                </a:solidFill>
              </a:rPr>
              <a:t>If sustainability language online feels confusing or over-claimed, guest trust weakens before arrival.</a:t>
            </a:r>
            <a:endParaRPr lang="en-US" sz="2000" dirty="0">
              <a:solidFill>
                <a:srgbClr val="62A844"/>
              </a:solidFill>
            </a:endParaRPr>
          </a:p>
        </p:txBody>
      </p:sp>
    </p:spTree>
    <p:extLst>
      <p:ext uri="{BB962C8B-B14F-4D97-AF65-F5344CB8AC3E}">
        <p14:creationId xmlns:p14="http://schemas.microsoft.com/office/powerpoint/2010/main" val="28916488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EC5C0-6CAB-0314-6301-5CE659531D57}"/>
            </a:ext>
          </a:extLst>
        </p:cNvPr>
        <p:cNvGrpSpPr/>
        <p:nvPr/>
      </p:nvGrpSpPr>
      <p:grpSpPr>
        <a:xfrm>
          <a:off x="0" y="0"/>
          <a:ext cx="0" cy="0"/>
          <a:chOff x="0" y="0"/>
          <a:chExt cx="0" cy="0"/>
        </a:xfrm>
      </p:grpSpPr>
      <p:sp>
        <p:nvSpPr>
          <p:cNvPr id="13" name="Freeform 12">
            <a:extLst>
              <a:ext uri="{FF2B5EF4-FFF2-40B4-BE49-F238E27FC236}">
                <a16:creationId xmlns:a16="http://schemas.microsoft.com/office/drawing/2014/main" id="{AB36BC8D-082C-C8D6-6C27-D2CEAEA21FBC}"/>
              </a:ext>
            </a:extLst>
          </p:cNvPr>
          <p:cNvSpPr/>
          <p:nvPr/>
        </p:nvSpPr>
        <p:spPr>
          <a:xfrm>
            <a:off x="0" y="896681"/>
            <a:ext cx="12192000" cy="918882"/>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7" name="TextBox 16">
            <a:extLst>
              <a:ext uri="{FF2B5EF4-FFF2-40B4-BE49-F238E27FC236}">
                <a16:creationId xmlns:a16="http://schemas.microsoft.com/office/drawing/2014/main" id="{EB253C7B-89FC-983B-621A-7BA5B20F2097}"/>
              </a:ext>
            </a:extLst>
          </p:cNvPr>
          <p:cNvSpPr txBox="1"/>
          <p:nvPr/>
        </p:nvSpPr>
        <p:spPr>
          <a:xfrm>
            <a:off x="711412" y="2450377"/>
            <a:ext cx="6432114" cy="4093428"/>
          </a:xfrm>
          <a:prstGeom prst="rect">
            <a:avLst/>
          </a:prstGeom>
          <a:noFill/>
        </p:spPr>
        <p:txBody>
          <a:bodyPr wrap="square" lIns="91440" tIns="45720" rIns="91440" bIns="45720" rtlCol="0" anchor="t">
            <a:spAutoFit/>
          </a:bodyPr>
          <a:lstStyle/>
          <a:p>
            <a:pPr>
              <a:lnSpc>
                <a:spcPts val="2580"/>
              </a:lnSpc>
            </a:pPr>
            <a:r>
              <a:rPr lang="en-US" sz="2400" dirty="0">
                <a:solidFill>
                  <a:srgbClr val="262626"/>
                </a:solidFill>
              </a:rPr>
              <a:t>OECD notes that digital interfaces and the way choices are presented can steer consumers; good design supports good decisions, while “dark commercial patterns” manipulate them.</a:t>
            </a:r>
          </a:p>
          <a:p>
            <a:pPr>
              <a:lnSpc>
                <a:spcPts val="2580"/>
              </a:lnSpc>
            </a:pPr>
            <a:endParaRPr lang="en-US" sz="2400" dirty="0">
              <a:solidFill>
                <a:srgbClr val="262626"/>
              </a:solidFill>
            </a:endParaRPr>
          </a:p>
          <a:p>
            <a:pPr>
              <a:lnSpc>
                <a:spcPts val="2580"/>
              </a:lnSpc>
            </a:pPr>
            <a:r>
              <a:rPr lang="en-US" sz="2000" b="1" dirty="0">
                <a:solidFill>
                  <a:srgbClr val="0289AE"/>
                </a:solidFill>
              </a:rPr>
              <a:t>Improving online disclosures with </a:t>
            </a:r>
            <a:r>
              <a:rPr lang="en-US" sz="2000" b="1" dirty="0" err="1">
                <a:solidFill>
                  <a:srgbClr val="0289AE"/>
                </a:solidFill>
              </a:rPr>
              <a:t>behavioural</a:t>
            </a:r>
            <a:r>
              <a:rPr lang="en-US" sz="2000" b="1" dirty="0">
                <a:solidFill>
                  <a:srgbClr val="0289AE"/>
                </a:solidFill>
              </a:rPr>
              <a:t> insights:</a:t>
            </a:r>
          </a:p>
          <a:p>
            <a:pPr>
              <a:lnSpc>
                <a:spcPts val="2580"/>
              </a:lnSpc>
            </a:pPr>
            <a:r>
              <a:rPr lang="de-DE" sz="2000" dirty="0">
                <a:solidFill>
                  <a:srgbClr val="262626"/>
                </a:solidFill>
                <a:hlinkClick r:id="rId3">
                  <a:extLst>
                    <a:ext uri="{A12FA001-AC4F-418D-AE19-62706E023703}">
                      <ahyp:hlinkClr xmlns:ahyp="http://schemas.microsoft.com/office/drawing/2018/hyperlinkcolor" val="tx"/>
                    </a:ext>
                  </a:extLst>
                </a:hlinkClick>
              </a:rPr>
              <a:t>https://www.oecd.org/en/publications/improving-online-disclosures-with-behavioural-insights_39026ff4-en.html</a:t>
            </a:r>
            <a:endParaRPr lang="de-DE" sz="2000" dirty="0">
              <a:solidFill>
                <a:srgbClr val="262626"/>
              </a:solidFill>
            </a:endParaRPr>
          </a:p>
          <a:p>
            <a:pPr>
              <a:lnSpc>
                <a:spcPts val="2580"/>
              </a:lnSpc>
            </a:pPr>
            <a:r>
              <a:rPr lang="de-DE" sz="2000" b="1" dirty="0">
                <a:solidFill>
                  <a:srgbClr val="0289AE"/>
                </a:solidFill>
              </a:rPr>
              <a:t>Dark Commercial Patterns:</a:t>
            </a:r>
          </a:p>
          <a:p>
            <a:pPr>
              <a:lnSpc>
                <a:spcPts val="2580"/>
              </a:lnSpc>
            </a:pPr>
            <a:r>
              <a:rPr lang="de-DE" sz="2000" dirty="0">
                <a:solidFill>
                  <a:srgbClr val="262626"/>
                </a:solidFill>
                <a:hlinkClick r:id="rId4">
                  <a:extLst>
                    <a:ext uri="{A12FA001-AC4F-418D-AE19-62706E023703}">
                      <ahyp:hlinkClr xmlns:ahyp="http://schemas.microsoft.com/office/drawing/2018/hyperlinkcolor" val="tx"/>
                    </a:ext>
                  </a:extLst>
                </a:hlinkClick>
              </a:rPr>
              <a:t>https://www.oecd.org/en/topics/sub-issues/dark-commercial-patterns.html</a:t>
            </a:r>
            <a:endParaRPr lang="de-DE" sz="2000" dirty="0">
              <a:solidFill>
                <a:srgbClr val="262626"/>
              </a:solidFill>
            </a:endParaRPr>
          </a:p>
          <a:p>
            <a:pPr>
              <a:lnSpc>
                <a:spcPts val="2580"/>
              </a:lnSpc>
            </a:pPr>
            <a:endParaRPr lang="de-DE" sz="2400" dirty="0">
              <a:solidFill>
                <a:srgbClr val="262626"/>
              </a:solidFill>
            </a:endParaRPr>
          </a:p>
        </p:txBody>
      </p:sp>
      <p:sp>
        <p:nvSpPr>
          <p:cNvPr id="18" name="TextBox 17">
            <a:extLst>
              <a:ext uri="{FF2B5EF4-FFF2-40B4-BE49-F238E27FC236}">
                <a16:creationId xmlns:a16="http://schemas.microsoft.com/office/drawing/2014/main" id="{6F186C56-AD59-3EC4-E1A7-CF8EA1A9079A}"/>
              </a:ext>
            </a:extLst>
          </p:cNvPr>
          <p:cNvSpPr txBox="1"/>
          <p:nvPr/>
        </p:nvSpPr>
        <p:spPr>
          <a:xfrm>
            <a:off x="711412" y="1060848"/>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9" name="Graphic 4">
            <a:extLst>
              <a:ext uri="{FF2B5EF4-FFF2-40B4-BE49-F238E27FC236}">
                <a16:creationId xmlns:a16="http://schemas.microsoft.com/office/drawing/2014/main" id="{464F915F-9C82-C81B-E7E0-2141E5ABF18C}"/>
              </a:ext>
            </a:extLst>
          </p:cNvPr>
          <p:cNvSpPr/>
          <p:nvPr/>
        </p:nvSpPr>
        <p:spPr>
          <a:xfrm rot="5400000">
            <a:off x="1314218" y="98499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0" name="Graphic 19">
            <a:extLst>
              <a:ext uri="{FF2B5EF4-FFF2-40B4-BE49-F238E27FC236}">
                <a16:creationId xmlns:a16="http://schemas.microsoft.com/office/drawing/2014/main" id="{178EE3C5-6643-59C1-9345-4AB667D743DA}"/>
              </a:ext>
            </a:extLst>
          </p:cNvPr>
          <p:cNvPicPr>
            <a:picLocks noChangeAspect="1"/>
          </p:cNvPicPr>
          <p:nvPr/>
        </p:nvPicPr>
        <p:blipFill>
          <a:blip>
            <a:extLst>
              <a:ext uri="{96DAC541-7B7A-43D3-8B79-37D633B846F1}">
                <asvg:svgBlip xmlns:asvg="http://schemas.microsoft.com/office/drawing/2016/SVG/main" r:embed="rId5"/>
              </a:ext>
            </a:extLst>
          </a:blip>
          <a:srcRect l="32264" t="48938" r="39869" b="41747"/>
          <a:stretch>
            <a:fillRect/>
          </a:stretch>
        </p:blipFill>
        <p:spPr>
          <a:xfrm>
            <a:off x="5458250" y="0"/>
            <a:ext cx="6754568" cy="3196842"/>
          </a:xfrm>
          <a:prstGeom prst="rect">
            <a:avLst/>
          </a:prstGeom>
        </p:spPr>
      </p:pic>
      <p:pic>
        <p:nvPicPr>
          <p:cNvPr id="21" name="Picture 20" descr="iPhone6_mockup_front_white.png">
            <a:extLst>
              <a:ext uri="{FF2B5EF4-FFF2-40B4-BE49-F238E27FC236}">
                <a16:creationId xmlns:a16="http://schemas.microsoft.com/office/drawing/2014/main" id="{69459559-9639-F55E-B3F0-F58519B55C9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90358" y="-208031"/>
            <a:ext cx="4094254" cy="6404164"/>
          </a:xfrm>
          <a:prstGeom prst="rect">
            <a:avLst/>
          </a:prstGeom>
        </p:spPr>
      </p:pic>
      <p:sp>
        <p:nvSpPr>
          <p:cNvPr id="3" name="Rounded Rectangle 2">
            <a:extLst>
              <a:ext uri="{FF2B5EF4-FFF2-40B4-BE49-F238E27FC236}">
                <a16:creationId xmlns:a16="http://schemas.microsoft.com/office/drawing/2014/main" id="{D149E3A1-6327-35EF-94EF-72978DCAAF70}"/>
              </a:ext>
            </a:extLst>
          </p:cNvPr>
          <p:cNvSpPr/>
          <p:nvPr/>
        </p:nvSpPr>
        <p:spPr>
          <a:xfrm>
            <a:off x="7124915" y="6002285"/>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34E4FB30-3745-3366-54F8-D5C609106438}"/>
              </a:ext>
            </a:extLst>
          </p:cNvPr>
          <p:cNvSpPr txBox="1"/>
          <p:nvPr/>
        </p:nvSpPr>
        <p:spPr>
          <a:xfrm>
            <a:off x="7250914" y="6065563"/>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5" name="TextBox 4">
            <a:extLst>
              <a:ext uri="{FF2B5EF4-FFF2-40B4-BE49-F238E27FC236}">
                <a16:creationId xmlns:a16="http://schemas.microsoft.com/office/drawing/2014/main" id="{6F1E47E0-E5F6-C4FE-607E-B8D2B8CFD9C9}"/>
              </a:ext>
            </a:extLst>
          </p:cNvPr>
          <p:cNvSpPr txBox="1"/>
          <p:nvPr/>
        </p:nvSpPr>
        <p:spPr>
          <a:xfrm>
            <a:off x="8006915" y="6065563"/>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C1F15C87-29A5-45EE-175F-2D5F4D3F0119}"/>
              </a:ext>
            </a:extLst>
          </p:cNvPr>
          <p:cNvSpPr txBox="1"/>
          <p:nvPr/>
        </p:nvSpPr>
        <p:spPr>
          <a:xfrm>
            <a:off x="8600914" y="6065563"/>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igital Marketing for Sustainability</a:t>
            </a:r>
          </a:p>
        </p:txBody>
      </p:sp>
      <p:pic>
        <p:nvPicPr>
          <p:cNvPr id="6" name="Bildplatzhalter 5" descr="The image displays a webpage layout with sections on dark patterns, their impact on consumer decisions, and related topics, including policy and research.&#10;&#10;KI-generierte Inhalte können fehlerhaft sein.">
            <a:extLst>
              <a:ext uri="{FF2B5EF4-FFF2-40B4-BE49-F238E27FC236}">
                <a16:creationId xmlns:a16="http://schemas.microsoft.com/office/drawing/2014/main" id="{48385922-8570-4738-2A70-57413981C443}"/>
              </a:ext>
            </a:extLst>
          </p:cNvPr>
          <p:cNvPicPr>
            <a:picLocks noChangeAspect="1"/>
          </p:cNvPicPr>
          <p:nvPr/>
        </p:nvPicPr>
        <p:blipFill>
          <a:blip r:embed="rId7"/>
          <a:srcRect t="5389" b="5389"/>
          <a:stretch/>
        </p:blipFill>
        <p:spPr>
          <a:xfrm>
            <a:off x="8754186" y="670214"/>
            <a:ext cx="2545413" cy="4516715"/>
          </a:xfrm>
          <a:prstGeom prst="rect">
            <a:avLst/>
          </a:prstGeom>
          <a:solidFill>
            <a:srgbClr val="FFFFFF">
              <a:lumMod val="85000"/>
            </a:srgbClr>
          </a:solidFill>
        </p:spPr>
      </p:pic>
    </p:spTree>
    <p:extLst>
      <p:ext uri="{BB962C8B-B14F-4D97-AF65-F5344CB8AC3E}">
        <p14:creationId xmlns:p14="http://schemas.microsoft.com/office/powerpoint/2010/main" val="2100260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a:xfrm>
            <a:off x="1608003" y="1786741"/>
            <a:ext cx="8238361" cy="689519"/>
          </a:xfrm>
        </p:spPr>
        <p:txBody>
          <a:bodyPr/>
          <a:lstStyle/>
          <a:p>
            <a:r>
              <a:rPr lang="en-US" sz="2400" dirty="0"/>
              <a:t>Understanding Sustainable Customer Experience Design</a:t>
            </a:r>
            <a:endParaRPr lang="en-US" sz="2400" dirty="0">
              <a:cs typeface="Times New Roman" panose="02020603050405020304" pitchFamily="18" charset="0"/>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1608003" y="2516115"/>
            <a:ext cx="8238361" cy="689519"/>
          </a:xfrm>
        </p:spPr>
        <p:txBody>
          <a:bodyPr/>
          <a:lstStyle/>
          <a:p>
            <a:r>
              <a:rPr lang="de-DE" sz="2400" dirty="0"/>
              <a:t>Mapping </a:t>
            </a:r>
            <a:r>
              <a:rPr lang="de-DE" sz="2400" dirty="0" err="1"/>
              <a:t>the</a:t>
            </a:r>
            <a:r>
              <a:rPr lang="de-DE" sz="2400" dirty="0"/>
              <a:t> Guest Journey</a:t>
            </a:r>
            <a:endParaRPr lang="en-US" sz="2400" dirty="0">
              <a:cs typeface="Times New Roman" panose="02020603050405020304" pitchFamily="18" charset="0"/>
            </a:endParaRPr>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1608003" y="3210318"/>
            <a:ext cx="8238361" cy="689519"/>
          </a:xfrm>
        </p:spPr>
        <p:txBody>
          <a:bodyPr/>
          <a:lstStyle/>
          <a:p>
            <a:r>
              <a:rPr lang="en-US" sz="2400" dirty="0"/>
              <a:t>Designing Sustainable Touchpoints and Nudges</a:t>
            </a:r>
            <a:endParaRPr lang="en-US" sz="2400" dirty="0">
              <a:cs typeface="Times New Roman" panose="02020603050405020304" pitchFamily="18" charset="0"/>
            </a:endParaRPr>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1608003" y="3922110"/>
            <a:ext cx="8238361" cy="689519"/>
          </a:xfrm>
        </p:spPr>
        <p:txBody>
          <a:bodyPr/>
          <a:lstStyle/>
          <a:p>
            <a:r>
              <a:rPr lang="en-US" sz="2400" dirty="0"/>
              <a:t>Storytelling, Trust and Inclusive Communication</a:t>
            </a:r>
            <a:endParaRPr lang="en-US" sz="2400" dirty="0">
              <a:cs typeface="Times New Roman" panose="02020603050405020304" pitchFamily="18" charset="0"/>
            </a:endParaRPr>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p:txBody>
          <a:bodyPr/>
          <a:lstStyle/>
          <a:p>
            <a:r>
              <a:rPr lang="en-US" dirty="0"/>
              <a:t>05</a:t>
            </a:r>
          </a:p>
        </p:txBody>
      </p:sp>
      <p:sp>
        <p:nvSpPr>
          <p:cNvPr id="26" name="Text Placeholder 25">
            <a:extLst>
              <a:ext uri="{FF2B5EF4-FFF2-40B4-BE49-F238E27FC236}">
                <a16:creationId xmlns:a16="http://schemas.microsoft.com/office/drawing/2014/main" id="{AF2A8952-1670-2F4B-B3F8-033CA2659F15}"/>
              </a:ext>
            </a:extLst>
          </p:cNvPr>
          <p:cNvSpPr>
            <a:spLocks noGrp="1"/>
          </p:cNvSpPr>
          <p:nvPr>
            <p:ph type="body" sz="quarter" idx="36"/>
          </p:nvPr>
        </p:nvSpPr>
        <p:spPr>
          <a:xfrm>
            <a:off x="1608003" y="4616963"/>
            <a:ext cx="9499372" cy="689519"/>
          </a:xfrm>
        </p:spPr>
        <p:txBody>
          <a:bodyPr/>
          <a:lstStyle/>
          <a:p>
            <a:r>
              <a:rPr lang="en-US" sz="2400" dirty="0"/>
              <a:t>Applied Practice: Building a Conscious Guest Experience Concept</a:t>
            </a:r>
            <a:endParaRPr lang="en-US" sz="2400" dirty="0">
              <a:cs typeface="Times New Roman" panose="02020603050405020304" pitchFamily="18" charset="0"/>
            </a:endParaRPr>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7"/>
          </p:nvPr>
        </p:nvSpPr>
        <p:spPr>
          <a:xfrm>
            <a:off x="539627" y="319716"/>
            <a:ext cx="5041923" cy="720752"/>
          </a:xfrm>
          <a:prstGeom prst="rect">
            <a:avLst/>
          </a:prstGeom>
        </p:spPr>
        <p:txBody>
          <a:bodyPr/>
          <a:lstStyle/>
          <a:p>
            <a:r>
              <a:rPr lang="en-US" sz="2800" b="1" dirty="0">
                <a:cs typeface="Times New Roman" panose="02020603050405020304" pitchFamily="18" charset="0"/>
              </a:rPr>
              <a:t>Contents</a:t>
            </a:r>
          </a:p>
        </p:txBody>
      </p:sp>
    </p:spTree>
    <p:extLst>
      <p:ext uri="{BB962C8B-B14F-4D97-AF65-F5344CB8AC3E}">
        <p14:creationId xmlns:p14="http://schemas.microsoft.com/office/powerpoint/2010/main" val="302860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94F663-635F-FAD9-E9F8-2BAF906953B9}"/>
            </a:ext>
          </a:extLst>
        </p:cNvPr>
        <p:cNvGrpSpPr/>
        <p:nvPr/>
      </p:nvGrpSpPr>
      <p:grpSpPr>
        <a:xfrm>
          <a:off x="0" y="0"/>
          <a:ext cx="0" cy="0"/>
          <a:chOff x="0" y="0"/>
          <a:chExt cx="0" cy="0"/>
        </a:xfrm>
      </p:grpSpPr>
      <p:pic>
        <p:nvPicPr>
          <p:cNvPr id="11" name="Graphic 10">
            <a:extLst>
              <a:ext uri="{FF2B5EF4-FFF2-40B4-BE49-F238E27FC236}">
                <a16:creationId xmlns:a16="http://schemas.microsoft.com/office/drawing/2014/main" id="{2B8ECF69-21DA-766D-4244-B52325F0F333}"/>
              </a:ext>
            </a:extLst>
          </p:cNvPr>
          <p:cNvPicPr>
            <a:picLocks noChangeAspect="1"/>
          </p:cNvPicPr>
          <p:nvPr/>
        </p:nvPicPr>
        <p:blipFill>
          <a:blip>
            <a:extLst>
              <a:ext uri="{96DAC541-7B7A-43D3-8B79-37D633B846F1}">
                <asvg:svgBlip xmlns:asvg="http://schemas.microsoft.com/office/drawing/2016/SVG/main" r:embed="rId3"/>
              </a:ext>
            </a:extLst>
          </a:blip>
          <a:srcRect l="32264" t="48938" r="39869" b="41747"/>
          <a:stretch>
            <a:fillRect/>
          </a:stretch>
        </p:blipFill>
        <p:spPr>
          <a:xfrm>
            <a:off x="5437432" y="0"/>
            <a:ext cx="6754568" cy="3196842"/>
          </a:xfrm>
          <a:prstGeom prst="rect">
            <a:avLst/>
          </a:prstGeom>
        </p:spPr>
      </p:pic>
      <p:sp>
        <p:nvSpPr>
          <p:cNvPr id="2" name="Text Placeholder 11">
            <a:extLst>
              <a:ext uri="{FF2B5EF4-FFF2-40B4-BE49-F238E27FC236}">
                <a16:creationId xmlns:a16="http://schemas.microsoft.com/office/drawing/2014/main" id="{B4352F07-3373-AB51-4031-504047B3F11B}"/>
              </a:ext>
            </a:extLst>
          </p:cNvPr>
          <p:cNvSpPr txBox="1">
            <a:spLocks/>
          </p:cNvSpPr>
          <p:nvPr/>
        </p:nvSpPr>
        <p:spPr>
          <a:xfrm>
            <a:off x="429115" y="421381"/>
            <a:ext cx="498454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Accessible and Inclusive Communicatio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9E8A0E17-3B32-9DD2-585D-CDF19B8916E5}"/>
              </a:ext>
            </a:extLst>
          </p:cNvPr>
          <p:cNvCxnSpPr>
            <a:cxnSpLocks/>
          </p:cNvCxnSpPr>
          <p:nvPr/>
        </p:nvCxnSpPr>
        <p:spPr>
          <a:xfrm>
            <a:off x="0" y="1536819"/>
            <a:ext cx="568382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936A8B41-8B79-E4EA-358E-C343D2B85022}"/>
              </a:ext>
            </a:extLst>
          </p:cNvPr>
          <p:cNvSpPr/>
          <p:nvPr/>
        </p:nvSpPr>
        <p:spPr>
          <a:xfrm flipH="1">
            <a:off x="586941" y="1838697"/>
            <a:ext cx="4563793" cy="3785652"/>
          </a:xfrm>
          <a:prstGeom prst="rect">
            <a:avLst/>
          </a:prstGeom>
        </p:spPr>
        <p:txBody>
          <a:bodyPr wrap="square">
            <a:spAutoFit/>
          </a:bodyPr>
          <a:lstStyle/>
          <a:p>
            <a:pPr>
              <a:buNone/>
            </a:pPr>
            <a:r>
              <a:rPr lang="en-US" sz="2000" dirty="0">
                <a:solidFill>
                  <a:srgbClr val="262626"/>
                </a:solidFill>
              </a:rPr>
              <a:t>UN Tourism describes accessibility as a central part of responsible and sustainable tourism policy and also as a business opportunity for destinations and companies. It </a:t>
            </a:r>
            <a:r>
              <a:rPr lang="en-US" sz="2000" dirty="0" err="1">
                <a:solidFill>
                  <a:srgbClr val="262626"/>
                </a:solidFill>
              </a:rPr>
              <a:t>emphasises</a:t>
            </a:r>
            <a:r>
              <a:rPr lang="en-US" sz="2000" dirty="0">
                <a:solidFill>
                  <a:srgbClr val="262626"/>
                </a:solidFill>
              </a:rPr>
              <a:t> that accessible information across the whole value chain is essential for a seamless experience.</a:t>
            </a:r>
          </a:p>
          <a:p>
            <a:pPr>
              <a:buNone/>
            </a:pPr>
            <a:endParaRPr lang="en-US" sz="2000" dirty="0">
              <a:solidFill>
                <a:srgbClr val="262626"/>
              </a:solidFill>
            </a:endParaRPr>
          </a:p>
          <a:p>
            <a:pPr>
              <a:buNone/>
            </a:pPr>
            <a:r>
              <a:rPr lang="en-US" sz="2000" dirty="0">
                <a:solidFill>
                  <a:srgbClr val="0289AE"/>
                </a:solidFill>
                <a:hlinkClick r:id="rId4">
                  <a:extLst>
                    <a:ext uri="{A12FA001-AC4F-418D-AE19-62706E023703}">
                      <ahyp:hlinkClr xmlns:ahyp="http://schemas.microsoft.com/office/drawing/2018/hyperlinkcolor" val="tx"/>
                    </a:ext>
                  </a:extLst>
                </a:hlinkClick>
              </a:rPr>
              <a:t>https://www.untourism.int/accessibility-tourism</a:t>
            </a:r>
            <a:endParaRPr lang="en-US" sz="2000" dirty="0">
              <a:solidFill>
                <a:srgbClr val="0289AE"/>
              </a:solidFill>
            </a:endParaRPr>
          </a:p>
          <a:p>
            <a:pPr>
              <a:buNone/>
            </a:pPr>
            <a:endParaRPr lang="en-US" sz="2000" dirty="0">
              <a:solidFill>
                <a:srgbClr val="262626"/>
              </a:solidFill>
            </a:endParaRPr>
          </a:p>
          <a:p>
            <a:pPr>
              <a:buNone/>
            </a:pPr>
            <a:endParaRPr lang="en-US" sz="2000" dirty="0">
              <a:solidFill>
                <a:srgbClr val="262626"/>
              </a:solidFill>
            </a:endParaRPr>
          </a:p>
        </p:txBody>
      </p:sp>
      <p:pic>
        <p:nvPicPr>
          <p:cNvPr id="15" name="Picture 14">
            <a:extLst>
              <a:ext uri="{FF2B5EF4-FFF2-40B4-BE49-F238E27FC236}">
                <a16:creationId xmlns:a16="http://schemas.microsoft.com/office/drawing/2014/main" id="{CEB25D17-6071-18AE-59A4-16E3B9881FB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761" t="12298" r="29196" b="16922"/>
          <a:stretch>
            <a:fillRect/>
          </a:stretch>
        </p:blipFill>
        <p:spPr>
          <a:xfrm>
            <a:off x="5834250" y="1096245"/>
            <a:ext cx="6347083" cy="4885527"/>
          </a:xfrm>
          <a:prstGeom prst="rect">
            <a:avLst/>
          </a:prstGeom>
        </p:spPr>
      </p:pic>
      <p:pic>
        <p:nvPicPr>
          <p:cNvPr id="7" name="Picture 6">
            <a:hlinkClick r:id="rId4"/>
            <a:extLst>
              <a:ext uri="{FF2B5EF4-FFF2-40B4-BE49-F238E27FC236}">
                <a16:creationId xmlns:a16="http://schemas.microsoft.com/office/drawing/2014/main" id="{60AF71C4-1C94-08C7-6FA5-42FBEC84E42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3430" b="3430"/>
          <a:stretch>
            <a:fillRect/>
          </a:stretch>
        </p:blipFill>
        <p:spPr>
          <a:xfrm>
            <a:off x="7260057" y="1548395"/>
            <a:ext cx="4921276" cy="3752810"/>
          </a:xfrm>
          <a:prstGeom prst="rect">
            <a:avLst/>
          </a:prstGeom>
        </p:spPr>
      </p:pic>
      <p:grpSp>
        <p:nvGrpSpPr>
          <p:cNvPr id="8" name="Group 7">
            <a:extLst>
              <a:ext uri="{FF2B5EF4-FFF2-40B4-BE49-F238E27FC236}">
                <a16:creationId xmlns:a16="http://schemas.microsoft.com/office/drawing/2014/main" id="{FB7676A5-AE87-9ECC-02C2-140BBD405A51}"/>
              </a:ext>
            </a:extLst>
          </p:cNvPr>
          <p:cNvGrpSpPr/>
          <p:nvPr/>
        </p:nvGrpSpPr>
        <p:grpSpPr>
          <a:xfrm rot="21145702">
            <a:off x="6331054" y="3628808"/>
            <a:ext cx="1456095" cy="1406604"/>
            <a:chOff x="7777737" y="4274827"/>
            <a:chExt cx="1456095" cy="1406604"/>
          </a:xfrm>
        </p:grpSpPr>
        <p:sp>
          <p:nvSpPr>
            <p:cNvPr id="9" name="Oval 8">
              <a:extLst>
                <a:ext uri="{FF2B5EF4-FFF2-40B4-BE49-F238E27FC236}">
                  <a16:creationId xmlns:a16="http://schemas.microsoft.com/office/drawing/2014/main" id="{B70D1403-0B1C-C873-C603-C8CD886C77CC}"/>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FA6A8E0-03C3-2876-768E-9E16BD9AC39C}"/>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4">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17401912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DD76A-2E74-4E50-F294-A8CEC8603228}"/>
            </a:ext>
          </a:extLst>
        </p:cNvPr>
        <p:cNvGrpSpPr/>
        <p:nvPr/>
      </p:nvGrpSpPr>
      <p:grpSpPr>
        <a:xfrm>
          <a:off x="0" y="0"/>
          <a:ext cx="0" cy="0"/>
          <a:chOff x="0" y="0"/>
          <a:chExt cx="0" cy="0"/>
        </a:xfrm>
      </p:grpSpPr>
      <p:pic>
        <p:nvPicPr>
          <p:cNvPr id="7" name="Graphic 6">
            <a:extLst>
              <a:ext uri="{FF2B5EF4-FFF2-40B4-BE49-F238E27FC236}">
                <a16:creationId xmlns:a16="http://schemas.microsoft.com/office/drawing/2014/main" id="{724CFA6C-CFB1-0E62-19A4-99A22269CF72}"/>
              </a:ext>
            </a:extLst>
          </p:cNvPr>
          <p:cNvPicPr>
            <a:picLocks noChangeAspect="1"/>
          </p:cNvPicPr>
          <p:nvPr/>
        </p:nvPicPr>
        <p:blipFill>
          <a:blip>
            <a:extLst>
              <a:ext uri="{96DAC541-7B7A-43D3-8B79-37D633B846F1}">
                <asvg:svgBlip xmlns:asvg="http://schemas.microsoft.com/office/drawing/2016/SVG/main" r:embed="rId3"/>
              </a:ext>
            </a:extLst>
          </a:blip>
          <a:srcRect l="32264" t="48938" r="39869" b="41747"/>
          <a:stretch>
            <a:fillRect/>
          </a:stretch>
        </p:blipFill>
        <p:spPr>
          <a:xfrm>
            <a:off x="5437432" y="0"/>
            <a:ext cx="6754568" cy="3196842"/>
          </a:xfrm>
          <a:prstGeom prst="rect">
            <a:avLst/>
          </a:prstGeom>
        </p:spPr>
      </p:pic>
      <p:sp>
        <p:nvSpPr>
          <p:cNvPr id="2" name="Text Placeholder 11">
            <a:extLst>
              <a:ext uri="{FF2B5EF4-FFF2-40B4-BE49-F238E27FC236}">
                <a16:creationId xmlns:a16="http://schemas.microsoft.com/office/drawing/2014/main" id="{65387585-96A7-1B3E-6842-9B16FC96153E}"/>
              </a:ext>
            </a:extLst>
          </p:cNvPr>
          <p:cNvSpPr txBox="1">
            <a:spLocks/>
          </p:cNvSpPr>
          <p:nvPr/>
        </p:nvSpPr>
        <p:spPr>
          <a:xfrm>
            <a:off x="429115" y="421381"/>
            <a:ext cx="498454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Accessible and Inclusive Communicatio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3F266885-935C-F557-E926-941D61880AB5}"/>
              </a:ext>
            </a:extLst>
          </p:cNvPr>
          <p:cNvCxnSpPr>
            <a:cxnSpLocks/>
          </p:cNvCxnSpPr>
          <p:nvPr/>
        </p:nvCxnSpPr>
        <p:spPr>
          <a:xfrm>
            <a:off x="0" y="1536819"/>
            <a:ext cx="568382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9C173CD1-FD8D-8A3E-201A-30D1EBA85746}"/>
              </a:ext>
            </a:extLst>
          </p:cNvPr>
          <p:cNvSpPr/>
          <p:nvPr/>
        </p:nvSpPr>
        <p:spPr>
          <a:xfrm flipH="1">
            <a:off x="586941" y="1838697"/>
            <a:ext cx="4934183" cy="3683060"/>
          </a:xfrm>
          <a:prstGeom prst="rect">
            <a:avLst/>
          </a:prstGeom>
        </p:spPr>
        <p:txBody>
          <a:bodyPr wrap="square">
            <a:spAutoFit/>
          </a:bodyPr>
          <a:lstStyle/>
          <a:p>
            <a:pPr>
              <a:lnSpc>
                <a:spcPts val="1960"/>
              </a:lnSpc>
              <a:buClr>
                <a:srgbClr val="62A844"/>
              </a:buClr>
              <a:buNone/>
            </a:pPr>
            <a:r>
              <a:rPr lang="en-US" sz="2000" b="1" dirty="0">
                <a:solidFill>
                  <a:srgbClr val="262626"/>
                </a:solidFill>
              </a:rPr>
              <a:t>Inclusive hospitality communication makes more people feel confident, respected and able to participate.</a:t>
            </a:r>
            <a:br>
              <a:rPr lang="en-US" dirty="0">
                <a:solidFill>
                  <a:srgbClr val="262626"/>
                </a:solidFill>
              </a:rPr>
            </a:br>
            <a:endParaRPr lang="en-US" dirty="0">
              <a:solidFill>
                <a:srgbClr val="262626"/>
              </a:solidFill>
            </a:endParaRPr>
          </a:p>
          <a:p>
            <a:pPr>
              <a:lnSpc>
                <a:spcPts val="1960"/>
              </a:lnSpc>
              <a:buClr>
                <a:srgbClr val="62A844"/>
              </a:buClr>
              <a:buNone/>
            </a:pPr>
            <a:endParaRPr lang="en-US" dirty="0">
              <a:solidFill>
                <a:srgbClr val="262626"/>
              </a:solidFill>
            </a:endParaRPr>
          </a:p>
          <a:p>
            <a:pPr>
              <a:lnSpc>
                <a:spcPts val="1960"/>
              </a:lnSpc>
              <a:buClr>
                <a:srgbClr val="62A844"/>
              </a:buClr>
              <a:buNone/>
            </a:pPr>
            <a:r>
              <a:rPr lang="en-US" sz="2000" b="1" dirty="0">
                <a:solidFill>
                  <a:srgbClr val="0289AE"/>
                </a:solidFill>
              </a:rPr>
              <a:t>This includes:</a:t>
            </a:r>
          </a:p>
          <a:p>
            <a:pPr marL="285750" indent="-285750">
              <a:lnSpc>
                <a:spcPts val="1960"/>
              </a:lnSpc>
              <a:buClr>
                <a:srgbClr val="62A844"/>
              </a:buClr>
              <a:buFont typeface="Arial" panose="020B0604020202020204" pitchFamily="34" charset="0"/>
              <a:buChar char="•"/>
            </a:pPr>
            <a:r>
              <a:rPr lang="en-US" dirty="0">
                <a:solidFill>
                  <a:srgbClr val="262626"/>
                </a:solidFill>
              </a:rPr>
              <a:t>readable signage</a:t>
            </a:r>
          </a:p>
          <a:p>
            <a:pPr marL="285750" indent="-285750">
              <a:lnSpc>
                <a:spcPts val="1960"/>
              </a:lnSpc>
              <a:buClr>
                <a:srgbClr val="62A844"/>
              </a:buClr>
              <a:buFont typeface="Arial" panose="020B0604020202020204" pitchFamily="34" charset="0"/>
              <a:buChar char="•"/>
            </a:pPr>
            <a:r>
              <a:rPr lang="en-US" dirty="0">
                <a:solidFill>
                  <a:srgbClr val="262626"/>
                </a:solidFill>
              </a:rPr>
              <a:t>plain language</a:t>
            </a:r>
          </a:p>
          <a:p>
            <a:pPr marL="285750" indent="-285750">
              <a:lnSpc>
                <a:spcPts val="1960"/>
              </a:lnSpc>
              <a:buClr>
                <a:srgbClr val="62A844"/>
              </a:buClr>
              <a:buFont typeface="Arial" panose="020B0604020202020204" pitchFamily="34" charset="0"/>
              <a:buChar char="•"/>
            </a:pPr>
            <a:r>
              <a:rPr lang="en-US" dirty="0">
                <a:solidFill>
                  <a:srgbClr val="262626"/>
                </a:solidFill>
              </a:rPr>
              <a:t>multilingual support where needed</a:t>
            </a:r>
          </a:p>
          <a:p>
            <a:pPr marL="285750" indent="-285750">
              <a:lnSpc>
                <a:spcPts val="1960"/>
              </a:lnSpc>
              <a:buClr>
                <a:srgbClr val="62A844"/>
              </a:buClr>
              <a:buFont typeface="Arial" panose="020B0604020202020204" pitchFamily="34" charset="0"/>
              <a:buChar char="•"/>
            </a:pPr>
            <a:r>
              <a:rPr lang="en-US" dirty="0">
                <a:solidFill>
                  <a:srgbClr val="262626"/>
                </a:solidFill>
              </a:rPr>
              <a:t>clear dietary and mobility information</a:t>
            </a:r>
          </a:p>
          <a:p>
            <a:pPr marL="285750" indent="-285750">
              <a:lnSpc>
                <a:spcPts val="1960"/>
              </a:lnSpc>
              <a:buClr>
                <a:srgbClr val="62A844"/>
              </a:buClr>
              <a:buFont typeface="Arial" panose="020B0604020202020204" pitchFamily="34" charset="0"/>
              <a:buChar char="•"/>
            </a:pPr>
            <a:r>
              <a:rPr lang="en-US" dirty="0">
                <a:solidFill>
                  <a:srgbClr val="262626"/>
                </a:solidFill>
              </a:rPr>
              <a:t>digital and non-digital alternatives</a:t>
            </a:r>
          </a:p>
          <a:p>
            <a:pPr marL="285750" indent="-285750">
              <a:lnSpc>
                <a:spcPts val="1960"/>
              </a:lnSpc>
              <a:buClr>
                <a:srgbClr val="62A844"/>
              </a:buClr>
              <a:buFont typeface="Arial" panose="020B0604020202020204" pitchFamily="34" charset="0"/>
              <a:buChar char="•"/>
            </a:pPr>
            <a:r>
              <a:rPr lang="en-US" dirty="0">
                <a:solidFill>
                  <a:srgbClr val="262626"/>
                </a:solidFill>
              </a:rPr>
              <a:t>visual clarity</a:t>
            </a:r>
          </a:p>
          <a:p>
            <a:pPr marL="285750" indent="-285750">
              <a:lnSpc>
                <a:spcPts val="1960"/>
              </a:lnSpc>
              <a:buClr>
                <a:srgbClr val="62A844"/>
              </a:buClr>
              <a:buFont typeface="Arial" panose="020B0604020202020204" pitchFamily="34" charset="0"/>
              <a:buChar char="•"/>
            </a:pPr>
            <a:r>
              <a:rPr lang="en-US" dirty="0">
                <a:solidFill>
                  <a:srgbClr val="262626"/>
                </a:solidFill>
              </a:rPr>
              <a:t>cultural sensitivity</a:t>
            </a:r>
          </a:p>
          <a:p>
            <a:pPr marL="285750" indent="-285750">
              <a:lnSpc>
                <a:spcPts val="1960"/>
              </a:lnSpc>
              <a:buClr>
                <a:srgbClr val="62A844"/>
              </a:buClr>
              <a:buFont typeface="Arial" panose="020B0604020202020204" pitchFamily="34" charset="0"/>
              <a:buChar char="•"/>
            </a:pPr>
            <a:r>
              <a:rPr lang="en-US" dirty="0">
                <a:solidFill>
                  <a:srgbClr val="262626"/>
                </a:solidFill>
              </a:rPr>
              <a:t>sensory awareness</a:t>
            </a:r>
            <a:endParaRPr lang="en-US" dirty="0"/>
          </a:p>
        </p:txBody>
      </p:sp>
      <p:pic>
        <p:nvPicPr>
          <p:cNvPr id="15" name="Picture 14">
            <a:extLst>
              <a:ext uri="{FF2B5EF4-FFF2-40B4-BE49-F238E27FC236}">
                <a16:creationId xmlns:a16="http://schemas.microsoft.com/office/drawing/2014/main" id="{7A0FEFDC-524C-281F-1CEE-A946A9F8FF7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761" t="12298" r="29196" b="16922"/>
          <a:stretch>
            <a:fillRect/>
          </a:stretch>
        </p:blipFill>
        <p:spPr>
          <a:xfrm>
            <a:off x="5834250" y="1536819"/>
            <a:ext cx="6347083" cy="4885527"/>
          </a:xfrm>
          <a:prstGeom prst="rect">
            <a:avLst/>
          </a:prstGeom>
        </p:spPr>
      </p:pic>
      <p:pic>
        <p:nvPicPr>
          <p:cNvPr id="6" name="Grafik 15" descr="Four individuals, one in a wheelchair, are seated in a circle, each holding a large, colorful speech balloon, symbolizing a discussion or brainstorming session.&#10;&#10;KI-generierte Inhalte können fehlerhaft sein.">
            <a:extLst>
              <a:ext uri="{FF2B5EF4-FFF2-40B4-BE49-F238E27FC236}">
                <a16:creationId xmlns:a16="http://schemas.microsoft.com/office/drawing/2014/main" id="{52D5860C-AAF9-83C7-441D-E3B798B41D7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4835" r="4835"/>
          <a:stretch>
            <a:fillRect/>
          </a:stretch>
        </p:blipFill>
        <p:spPr>
          <a:xfrm>
            <a:off x="7317888" y="1977392"/>
            <a:ext cx="4874112" cy="3752811"/>
          </a:xfrm>
          <a:prstGeom prst="rect">
            <a:avLst/>
          </a:prstGeom>
        </p:spPr>
      </p:pic>
    </p:spTree>
    <p:extLst>
      <p:ext uri="{BB962C8B-B14F-4D97-AF65-F5344CB8AC3E}">
        <p14:creationId xmlns:p14="http://schemas.microsoft.com/office/powerpoint/2010/main" val="4442479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D1B9E8-CDBF-F16D-4390-5B65D802FD1D}"/>
            </a:ext>
          </a:extLst>
        </p:cNvPr>
        <p:cNvGrpSpPr/>
        <p:nvPr/>
      </p:nvGrpSpPr>
      <p:grpSpPr>
        <a:xfrm>
          <a:off x="0" y="0"/>
          <a:ext cx="0" cy="0"/>
          <a:chOff x="0" y="0"/>
          <a:chExt cx="0" cy="0"/>
        </a:xfrm>
      </p:grpSpPr>
      <p:sp>
        <p:nvSpPr>
          <p:cNvPr id="13" name="Freeform 12">
            <a:extLst>
              <a:ext uri="{FF2B5EF4-FFF2-40B4-BE49-F238E27FC236}">
                <a16:creationId xmlns:a16="http://schemas.microsoft.com/office/drawing/2014/main" id="{7813E796-C84B-8180-8287-DBEEA2733957}"/>
              </a:ext>
            </a:extLst>
          </p:cNvPr>
          <p:cNvSpPr/>
          <p:nvPr/>
        </p:nvSpPr>
        <p:spPr>
          <a:xfrm>
            <a:off x="0" y="896681"/>
            <a:ext cx="12192000" cy="1286126"/>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7" name="TextBox 16">
            <a:extLst>
              <a:ext uri="{FF2B5EF4-FFF2-40B4-BE49-F238E27FC236}">
                <a16:creationId xmlns:a16="http://schemas.microsoft.com/office/drawing/2014/main" id="{9BB4BA82-B6F3-8BD7-1086-F77E7FE10137}"/>
              </a:ext>
            </a:extLst>
          </p:cNvPr>
          <p:cNvSpPr txBox="1"/>
          <p:nvPr/>
        </p:nvSpPr>
        <p:spPr>
          <a:xfrm>
            <a:off x="5483550" y="2450377"/>
            <a:ext cx="6039968" cy="4401205"/>
          </a:xfrm>
          <a:prstGeom prst="rect">
            <a:avLst/>
          </a:prstGeom>
          <a:noFill/>
        </p:spPr>
        <p:txBody>
          <a:bodyPr wrap="square" lIns="91440" tIns="45720" rIns="91440" bIns="45720" rtlCol="0" anchor="t">
            <a:spAutoFit/>
          </a:bodyPr>
          <a:lstStyle/>
          <a:p>
            <a:r>
              <a:rPr lang="en-US" sz="2200" b="1" dirty="0">
                <a:solidFill>
                  <a:srgbClr val="0289AE"/>
                </a:solidFill>
              </a:rPr>
              <a:t>UN Tourism: Accessible travel “a game changer” for destinations and businesses</a:t>
            </a:r>
          </a:p>
          <a:p>
            <a:endParaRPr lang="en-US" sz="2000" b="1" dirty="0">
              <a:solidFill>
                <a:srgbClr val="0289AE"/>
              </a:solidFill>
            </a:endParaRPr>
          </a:p>
          <a:p>
            <a:r>
              <a:rPr lang="en-US" dirty="0">
                <a:solidFill>
                  <a:srgbClr val="262626"/>
                </a:solidFill>
              </a:rPr>
              <a:t>Small investments in accessibility and innovation can deliver be a game-changer for tourism destinations everywhere. But, despite 1.3 billion worldwide people already experiencing significant disability, many destinations and tourism businesses are still failing to embrace the many benefits of welcoming these </a:t>
            </a:r>
            <a:r>
              <a:rPr lang="en-US" dirty="0" err="1">
                <a:solidFill>
                  <a:srgbClr val="262626"/>
                </a:solidFill>
              </a:rPr>
              <a:t>travellers</a:t>
            </a:r>
            <a:r>
              <a:rPr lang="en-US" dirty="0">
                <a:solidFill>
                  <a:srgbClr val="262626"/>
                </a:solidFill>
              </a:rPr>
              <a:t>. </a:t>
            </a:r>
          </a:p>
          <a:p>
            <a:endParaRPr lang="en-US" dirty="0">
              <a:solidFill>
                <a:srgbClr val="262626"/>
              </a:solidFill>
            </a:endParaRPr>
          </a:p>
          <a:p>
            <a:r>
              <a:rPr lang="en-US" dirty="0">
                <a:solidFill>
                  <a:srgbClr val="262626"/>
                </a:solidFill>
                <a:hlinkClick r:id="rId3">
                  <a:extLst>
                    <a:ext uri="{A12FA001-AC4F-418D-AE19-62706E023703}">
                      <ahyp:hlinkClr xmlns:ahyp="http://schemas.microsoft.com/office/drawing/2018/hyperlinkcolor" val="tx"/>
                    </a:ext>
                  </a:extLst>
                </a:hlinkClick>
              </a:rPr>
              <a:t>https://www.untourism.int/news/un-tourism-accessible-travel-a-game-changer-for-destinations-and-businesses</a:t>
            </a:r>
            <a:endParaRPr lang="en-US" dirty="0">
              <a:solidFill>
                <a:srgbClr val="262626"/>
              </a:solidFill>
            </a:endParaRPr>
          </a:p>
          <a:p>
            <a:endParaRPr lang="en-US" dirty="0">
              <a:solidFill>
                <a:srgbClr val="262626"/>
              </a:solidFill>
            </a:endParaRPr>
          </a:p>
          <a:p>
            <a:endParaRPr lang="en-US" dirty="0">
              <a:solidFill>
                <a:srgbClr val="262626"/>
              </a:solidFill>
            </a:endParaRPr>
          </a:p>
          <a:p>
            <a:endParaRPr lang="en-US" dirty="0">
              <a:solidFill>
                <a:srgbClr val="262626"/>
              </a:solidFill>
            </a:endParaRPr>
          </a:p>
        </p:txBody>
      </p:sp>
      <p:sp>
        <p:nvSpPr>
          <p:cNvPr id="18" name="TextBox 17">
            <a:extLst>
              <a:ext uri="{FF2B5EF4-FFF2-40B4-BE49-F238E27FC236}">
                <a16:creationId xmlns:a16="http://schemas.microsoft.com/office/drawing/2014/main" id="{4A263190-8265-5AB4-B935-8404705D4C4E}"/>
              </a:ext>
            </a:extLst>
          </p:cNvPr>
          <p:cNvSpPr txBox="1"/>
          <p:nvPr/>
        </p:nvSpPr>
        <p:spPr>
          <a:xfrm>
            <a:off x="5483550" y="1231967"/>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9" name="Graphic 4">
            <a:extLst>
              <a:ext uri="{FF2B5EF4-FFF2-40B4-BE49-F238E27FC236}">
                <a16:creationId xmlns:a16="http://schemas.microsoft.com/office/drawing/2014/main" id="{7E12D524-40A1-C954-765B-F9120C4B4FD7}"/>
              </a:ext>
            </a:extLst>
          </p:cNvPr>
          <p:cNvSpPr/>
          <p:nvPr/>
        </p:nvSpPr>
        <p:spPr>
          <a:xfrm rot="5400000">
            <a:off x="1314218" y="98499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0" name="Graphic 19">
            <a:extLst>
              <a:ext uri="{FF2B5EF4-FFF2-40B4-BE49-F238E27FC236}">
                <a16:creationId xmlns:a16="http://schemas.microsoft.com/office/drawing/2014/main" id="{3080BDF4-12FA-F964-E58D-C7D3F3757B97}"/>
              </a:ext>
            </a:extLst>
          </p:cNvPr>
          <p:cNvPicPr>
            <a:picLocks noChangeAspect="1"/>
          </p:cNvPicPr>
          <p:nvPr/>
        </p:nvPicPr>
        <p:blipFill>
          <a:blip>
            <a:extLst>
              <a:ext uri="{96DAC541-7B7A-43D3-8B79-37D633B846F1}">
                <asvg:svgBlip xmlns:asvg="http://schemas.microsoft.com/office/drawing/2016/SVG/main" r:embed="rId4"/>
              </a:ext>
            </a:extLst>
          </a:blip>
          <a:srcRect l="32264" t="48938" r="39869" b="41747"/>
          <a:stretch>
            <a:fillRect/>
          </a:stretch>
        </p:blipFill>
        <p:spPr>
          <a:xfrm flipH="1">
            <a:off x="-20818" y="0"/>
            <a:ext cx="6754568" cy="3196842"/>
          </a:xfrm>
          <a:prstGeom prst="rect">
            <a:avLst/>
          </a:prstGeom>
        </p:spPr>
      </p:pic>
      <p:pic>
        <p:nvPicPr>
          <p:cNvPr id="7" name="Picture 6">
            <a:extLst>
              <a:ext uri="{FF2B5EF4-FFF2-40B4-BE49-F238E27FC236}">
                <a16:creationId xmlns:a16="http://schemas.microsoft.com/office/drawing/2014/main" id="{9837B62E-34C8-5584-4E64-7792DD2051F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761" t="12298" r="29196" b="16922"/>
          <a:stretch>
            <a:fillRect/>
          </a:stretch>
        </p:blipFill>
        <p:spPr>
          <a:xfrm flipH="1">
            <a:off x="-32157" y="1660358"/>
            <a:ext cx="6038094" cy="4647690"/>
          </a:xfrm>
          <a:prstGeom prst="rect">
            <a:avLst/>
          </a:prstGeom>
        </p:spPr>
      </p:pic>
      <p:pic>
        <p:nvPicPr>
          <p:cNvPr id="8" name="Bildplatzhalter 6">
            <a:hlinkClick r:id="rId6"/>
            <a:extLst>
              <a:ext uri="{FF2B5EF4-FFF2-40B4-BE49-F238E27FC236}">
                <a16:creationId xmlns:a16="http://schemas.microsoft.com/office/drawing/2014/main" id="{DCC787E1-8E2A-B6DF-637E-939C48CF3FF4}"/>
              </a:ext>
            </a:extLst>
          </p:cNvPr>
          <p:cNvPicPr>
            <a:picLocks noChangeAspect="1"/>
          </p:cNvPicPr>
          <p:nvPr/>
        </p:nvPicPr>
        <p:blipFill rotWithShape="1">
          <a:blip r:embed="rId7"/>
          <a:srcRect l="1194" t="695" r="19828" b="-695"/>
          <a:stretch>
            <a:fillRect/>
          </a:stretch>
        </p:blipFill>
        <p:spPr>
          <a:xfrm>
            <a:off x="0" y="2038000"/>
            <a:ext cx="4636074" cy="3587311"/>
          </a:xfrm>
          <a:prstGeom prst="rect">
            <a:avLst/>
          </a:prstGeom>
          <a:solidFill>
            <a:srgbClr val="FFFFFF">
              <a:lumMod val="85000"/>
            </a:srgbClr>
          </a:solidFill>
        </p:spPr>
      </p:pic>
      <p:grpSp>
        <p:nvGrpSpPr>
          <p:cNvPr id="9" name="Group 8">
            <a:extLst>
              <a:ext uri="{FF2B5EF4-FFF2-40B4-BE49-F238E27FC236}">
                <a16:creationId xmlns:a16="http://schemas.microsoft.com/office/drawing/2014/main" id="{A90C9C97-F970-B8EF-88A9-4187EC04DF2E}"/>
              </a:ext>
            </a:extLst>
          </p:cNvPr>
          <p:cNvGrpSpPr/>
          <p:nvPr/>
        </p:nvGrpSpPr>
        <p:grpSpPr>
          <a:xfrm rot="21145702">
            <a:off x="2258842" y="5244968"/>
            <a:ext cx="1456095" cy="1406604"/>
            <a:chOff x="7777737" y="4274827"/>
            <a:chExt cx="1456095" cy="1406604"/>
          </a:xfrm>
        </p:grpSpPr>
        <p:sp>
          <p:nvSpPr>
            <p:cNvPr id="11" name="Oval 10">
              <a:extLst>
                <a:ext uri="{FF2B5EF4-FFF2-40B4-BE49-F238E27FC236}">
                  <a16:creationId xmlns:a16="http://schemas.microsoft.com/office/drawing/2014/main" id="{882F31B1-E21B-EF2E-6968-3A5E0885FFCD}"/>
                </a:ext>
              </a:extLst>
            </p:cNvPr>
            <p:cNvSpPr/>
            <p:nvPr/>
          </p:nvSpPr>
          <p:spPr>
            <a:xfrm>
              <a:off x="7777737" y="4274827"/>
              <a:ext cx="1406604" cy="1406604"/>
            </a:xfrm>
            <a:prstGeom prst="ellipse">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8B77B517-6C70-EEFC-E8C1-4F25C42CDEEE}"/>
                </a:ext>
              </a:extLst>
            </p:cNvPr>
            <p:cNvSpPr txBox="1"/>
            <p:nvPr/>
          </p:nvSpPr>
          <p:spPr>
            <a:xfrm>
              <a:off x="7777737" y="4652326"/>
              <a:ext cx="1456095" cy="759182"/>
            </a:xfrm>
            <a:prstGeom prst="rect">
              <a:avLst/>
            </a:prstGeom>
            <a:noFill/>
          </p:spPr>
          <p:txBody>
            <a:bodyPr wrap="square" lIns="91440" tIns="45720" rIns="91440" bIns="45720" rtlCol="0" anchor="t">
              <a:spAutoFit/>
            </a:bodyPr>
            <a:lstStyle/>
            <a:p>
              <a:pPr algn="ctr">
                <a:lnSpc>
                  <a:spcPts val="2580"/>
                </a:lnSpc>
              </a:pPr>
              <a:r>
                <a:rPr lang="en-IE" sz="2400" b="1" dirty="0">
                  <a:solidFill>
                    <a:schemeClr val="bg1"/>
                  </a:solidFill>
                </a:rPr>
                <a:t>CLICK TO </a:t>
              </a:r>
              <a:r>
                <a:rPr lang="en-IE" sz="2400" b="1" dirty="0">
                  <a:solidFill>
                    <a:schemeClr val="bg1"/>
                  </a:solidFill>
                  <a:hlinkClick r:id="rId3">
                    <a:extLst>
                      <a:ext uri="{A12FA001-AC4F-418D-AE19-62706E023703}">
                        <ahyp:hlinkClr xmlns:ahyp="http://schemas.microsoft.com/office/drawing/2018/hyperlinkcolor" val="tx"/>
                      </a:ext>
                    </a:extLst>
                  </a:hlinkClick>
                </a:rPr>
                <a:t>VIEW</a:t>
              </a:r>
              <a:endParaRPr lang="de-DE" sz="2400" b="1" dirty="0">
                <a:solidFill>
                  <a:schemeClr val="bg1"/>
                </a:solidFill>
              </a:endParaRPr>
            </a:p>
          </p:txBody>
        </p:sp>
      </p:grpSp>
    </p:spTree>
    <p:extLst>
      <p:ext uri="{BB962C8B-B14F-4D97-AF65-F5344CB8AC3E}">
        <p14:creationId xmlns:p14="http://schemas.microsoft.com/office/powerpoint/2010/main" val="25559643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B1D99-DA84-268D-B6B4-A573FB53216D}"/>
            </a:ext>
          </a:extLst>
        </p:cNvPr>
        <p:cNvGrpSpPr/>
        <p:nvPr/>
      </p:nvGrpSpPr>
      <p:grpSpPr>
        <a:xfrm>
          <a:off x="0" y="0"/>
          <a:ext cx="0" cy="0"/>
          <a:chOff x="0" y="0"/>
          <a:chExt cx="0" cy="0"/>
        </a:xfrm>
      </p:grpSpPr>
      <p:sp>
        <p:nvSpPr>
          <p:cNvPr id="13" name="Freeform 12">
            <a:extLst>
              <a:ext uri="{FF2B5EF4-FFF2-40B4-BE49-F238E27FC236}">
                <a16:creationId xmlns:a16="http://schemas.microsoft.com/office/drawing/2014/main" id="{9240F2F6-0E33-98C9-A234-BB260E3124A7}"/>
              </a:ext>
            </a:extLst>
          </p:cNvPr>
          <p:cNvSpPr/>
          <p:nvPr/>
        </p:nvSpPr>
        <p:spPr>
          <a:xfrm>
            <a:off x="0" y="896681"/>
            <a:ext cx="12192000" cy="1286126"/>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7" name="TextBox 16">
            <a:extLst>
              <a:ext uri="{FF2B5EF4-FFF2-40B4-BE49-F238E27FC236}">
                <a16:creationId xmlns:a16="http://schemas.microsoft.com/office/drawing/2014/main" id="{C091E18E-68B5-1356-105F-11CA78BA1DA3}"/>
              </a:ext>
            </a:extLst>
          </p:cNvPr>
          <p:cNvSpPr txBox="1"/>
          <p:nvPr/>
        </p:nvSpPr>
        <p:spPr>
          <a:xfrm>
            <a:off x="5836840" y="2450377"/>
            <a:ext cx="5746172" cy="4196020"/>
          </a:xfrm>
          <a:prstGeom prst="rect">
            <a:avLst/>
          </a:prstGeom>
          <a:noFill/>
        </p:spPr>
        <p:txBody>
          <a:bodyPr wrap="square" lIns="91440" tIns="45720" rIns="91440" bIns="45720" rtlCol="0" anchor="t">
            <a:spAutoFit/>
          </a:bodyPr>
          <a:lstStyle/>
          <a:p>
            <a:pPr>
              <a:lnSpc>
                <a:spcPts val="1960"/>
              </a:lnSpc>
              <a:buClr>
                <a:srgbClr val="62A844"/>
              </a:buClr>
            </a:pPr>
            <a:r>
              <a:rPr lang="en-US" dirty="0">
                <a:solidFill>
                  <a:srgbClr val="262626"/>
                </a:solidFill>
              </a:rPr>
              <a:t>Watch the </a:t>
            </a:r>
            <a:r>
              <a:rPr lang="en-US" b="1" dirty="0" err="1">
                <a:solidFill>
                  <a:srgbClr val="262626"/>
                </a:solidFill>
              </a:rPr>
              <a:t>AccessibleEU</a:t>
            </a:r>
            <a:r>
              <a:rPr lang="en-US" b="1" dirty="0">
                <a:solidFill>
                  <a:srgbClr val="262626"/>
                </a:solidFill>
              </a:rPr>
              <a:t> / UN Tourism</a:t>
            </a:r>
            <a:r>
              <a:rPr lang="en-US" dirty="0">
                <a:solidFill>
                  <a:srgbClr val="262626"/>
                </a:solidFill>
              </a:rPr>
              <a:t> seminar videos on </a:t>
            </a:r>
            <a:br>
              <a:rPr lang="en-US" dirty="0">
                <a:solidFill>
                  <a:srgbClr val="262626"/>
                </a:solidFill>
              </a:rPr>
            </a:br>
            <a:r>
              <a:rPr lang="en-US" b="1" dirty="0">
                <a:solidFill>
                  <a:srgbClr val="262626"/>
                </a:solidFill>
              </a:rPr>
              <a:t>“Accessible Tourism: Harnessing the benefits of inclusive destinations for companies and people”</a:t>
            </a:r>
            <a:r>
              <a:rPr lang="en-US" dirty="0">
                <a:solidFill>
                  <a:srgbClr val="262626"/>
                </a:solidFill>
              </a:rPr>
              <a:t>. The videos are available </a:t>
            </a:r>
            <a:r>
              <a:rPr lang="en-US" b="1" dirty="0">
                <a:solidFill>
                  <a:srgbClr val="262626"/>
                </a:solidFill>
                <a:hlinkClick r:id="rId3">
                  <a:extLst>
                    <a:ext uri="{A12FA001-AC4F-418D-AE19-62706E023703}">
                      <ahyp:hlinkClr xmlns:ahyp="http://schemas.microsoft.com/office/drawing/2018/hyperlinkcolor" val="tx"/>
                    </a:ext>
                  </a:extLst>
                </a:hlinkClick>
              </a:rPr>
              <a:t>here</a:t>
            </a:r>
            <a:r>
              <a:rPr lang="en-US" b="1" dirty="0">
                <a:solidFill>
                  <a:srgbClr val="262626"/>
                </a:solidFill>
              </a:rPr>
              <a:t>.</a:t>
            </a:r>
          </a:p>
          <a:p>
            <a:pPr>
              <a:lnSpc>
                <a:spcPts val="1960"/>
              </a:lnSpc>
              <a:buClr>
                <a:srgbClr val="62A844"/>
              </a:buClr>
            </a:pPr>
            <a:endParaRPr lang="en-US" b="1" dirty="0">
              <a:solidFill>
                <a:srgbClr val="262626"/>
              </a:solidFill>
            </a:endParaRPr>
          </a:p>
          <a:p>
            <a:pPr>
              <a:lnSpc>
                <a:spcPts val="1960"/>
              </a:lnSpc>
              <a:buClr>
                <a:srgbClr val="62A844"/>
              </a:buClr>
              <a:buNone/>
            </a:pPr>
            <a:r>
              <a:rPr lang="en-US" sz="2000" b="1" dirty="0">
                <a:solidFill>
                  <a:srgbClr val="0289AE"/>
                </a:solidFill>
              </a:rPr>
              <a:t>Watch For:</a:t>
            </a:r>
            <a:endParaRPr lang="en-US" sz="2000" dirty="0">
              <a:solidFill>
                <a:srgbClr val="0289AE"/>
              </a:solidFill>
            </a:endParaRPr>
          </a:p>
          <a:p>
            <a:pPr marL="285750" indent="-285750">
              <a:lnSpc>
                <a:spcPts val="1960"/>
              </a:lnSpc>
              <a:buClr>
                <a:srgbClr val="62A844"/>
              </a:buClr>
              <a:buFont typeface="Arial" panose="020B0604020202020204" pitchFamily="34" charset="0"/>
              <a:buChar char="•"/>
            </a:pPr>
            <a:r>
              <a:rPr lang="en-US" dirty="0">
                <a:solidFill>
                  <a:srgbClr val="262626"/>
                </a:solidFill>
              </a:rPr>
              <a:t>how accessibility improves service quality</a:t>
            </a:r>
          </a:p>
          <a:p>
            <a:pPr marL="285750" indent="-285750">
              <a:lnSpc>
                <a:spcPts val="1960"/>
              </a:lnSpc>
              <a:buClr>
                <a:srgbClr val="62A844"/>
              </a:buClr>
              <a:buFont typeface="Arial" panose="020B0604020202020204" pitchFamily="34" charset="0"/>
              <a:buChar char="•"/>
            </a:pPr>
            <a:r>
              <a:rPr lang="en-US" dirty="0">
                <a:solidFill>
                  <a:srgbClr val="262626"/>
                </a:solidFill>
              </a:rPr>
              <a:t>why inclusion matters commercially as well as ethically</a:t>
            </a:r>
          </a:p>
          <a:p>
            <a:pPr marL="285750" indent="-285750">
              <a:lnSpc>
                <a:spcPts val="1960"/>
              </a:lnSpc>
              <a:buClr>
                <a:srgbClr val="62A844"/>
              </a:buClr>
              <a:buFont typeface="Arial" panose="020B0604020202020204" pitchFamily="34" charset="0"/>
              <a:buChar char="•"/>
            </a:pPr>
            <a:r>
              <a:rPr lang="en-US" dirty="0">
                <a:solidFill>
                  <a:srgbClr val="262626"/>
                </a:solidFill>
              </a:rPr>
              <a:t>how universal design principles can improve tourism experiences for more people</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pPr>
            <a:r>
              <a:rPr lang="en-US" sz="2000" b="1" dirty="0">
                <a:solidFill>
                  <a:srgbClr val="0289AE"/>
                </a:solidFill>
              </a:rPr>
              <a:t>Your task - Identify:</a:t>
            </a:r>
          </a:p>
          <a:p>
            <a:pPr marL="342900" indent="-342900">
              <a:lnSpc>
                <a:spcPts val="1960"/>
              </a:lnSpc>
              <a:buClr>
                <a:srgbClr val="62A844"/>
              </a:buClr>
              <a:buFont typeface="+mj-lt"/>
              <a:buAutoNum type="arabicPeriod"/>
            </a:pPr>
            <a:r>
              <a:rPr lang="en-US" dirty="0">
                <a:solidFill>
                  <a:srgbClr val="262626"/>
                </a:solidFill>
              </a:rPr>
              <a:t>one barrier that could exist in a hotel or restaurant</a:t>
            </a:r>
          </a:p>
          <a:p>
            <a:pPr marL="342900" indent="-342900">
              <a:lnSpc>
                <a:spcPts val="1960"/>
              </a:lnSpc>
              <a:buClr>
                <a:srgbClr val="62A844"/>
              </a:buClr>
              <a:buFont typeface="+mj-lt"/>
              <a:buAutoNum type="arabicPeriod"/>
            </a:pPr>
            <a:r>
              <a:rPr lang="en-US" dirty="0">
                <a:solidFill>
                  <a:srgbClr val="262626"/>
                </a:solidFill>
              </a:rPr>
              <a:t>one low-cost improvement</a:t>
            </a:r>
          </a:p>
          <a:p>
            <a:pPr marL="342900" indent="-342900">
              <a:lnSpc>
                <a:spcPts val="1960"/>
              </a:lnSpc>
              <a:buClr>
                <a:srgbClr val="62A844"/>
              </a:buClr>
              <a:buFont typeface="+mj-lt"/>
              <a:buAutoNum type="arabicPeriod"/>
            </a:pPr>
            <a:r>
              <a:rPr lang="en-US" dirty="0">
                <a:solidFill>
                  <a:srgbClr val="262626"/>
                </a:solidFill>
              </a:rPr>
              <a:t>one communication change that would make the guest journey more inclusive</a:t>
            </a:r>
          </a:p>
        </p:txBody>
      </p:sp>
      <p:sp>
        <p:nvSpPr>
          <p:cNvPr id="18" name="TextBox 17">
            <a:extLst>
              <a:ext uri="{FF2B5EF4-FFF2-40B4-BE49-F238E27FC236}">
                <a16:creationId xmlns:a16="http://schemas.microsoft.com/office/drawing/2014/main" id="{2AFF45C2-DB98-5E67-58E2-7D74A65BCB8D}"/>
              </a:ext>
            </a:extLst>
          </p:cNvPr>
          <p:cNvSpPr txBox="1"/>
          <p:nvPr/>
        </p:nvSpPr>
        <p:spPr>
          <a:xfrm>
            <a:off x="5836840" y="1231967"/>
            <a:ext cx="10213848" cy="615553"/>
          </a:xfrm>
          <a:prstGeom prst="rect">
            <a:avLst/>
          </a:prstGeom>
          <a:noFill/>
        </p:spPr>
        <p:txBody>
          <a:bodyPr wrap="square">
            <a:spAutoFit/>
          </a:bodyPr>
          <a:lstStyle/>
          <a:p>
            <a:r>
              <a:rPr lang="en-US" sz="3400" b="1" dirty="0">
                <a:solidFill>
                  <a:schemeClr val="bg1"/>
                </a:solidFill>
                <a:cs typeface="Times New Roman" panose="02020603050405020304" pitchFamily="18" charset="0"/>
              </a:rPr>
              <a:t>Further Reading:</a:t>
            </a:r>
          </a:p>
        </p:txBody>
      </p:sp>
      <p:sp>
        <p:nvSpPr>
          <p:cNvPr id="19" name="Graphic 4">
            <a:extLst>
              <a:ext uri="{FF2B5EF4-FFF2-40B4-BE49-F238E27FC236}">
                <a16:creationId xmlns:a16="http://schemas.microsoft.com/office/drawing/2014/main" id="{6F3A1DF6-8F6D-DCEE-4AF4-0ED7424C4367}"/>
              </a:ext>
            </a:extLst>
          </p:cNvPr>
          <p:cNvSpPr/>
          <p:nvPr/>
        </p:nvSpPr>
        <p:spPr>
          <a:xfrm rot="5400000">
            <a:off x="1314218" y="98499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20" name="Graphic 19">
            <a:extLst>
              <a:ext uri="{FF2B5EF4-FFF2-40B4-BE49-F238E27FC236}">
                <a16:creationId xmlns:a16="http://schemas.microsoft.com/office/drawing/2014/main" id="{5E37B3AE-C5E9-1078-CB81-CDBD9EE5D408}"/>
              </a:ext>
            </a:extLst>
          </p:cNvPr>
          <p:cNvPicPr>
            <a:picLocks noChangeAspect="1"/>
          </p:cNvPicPr>
          <p:nvPr/>
        </p:nvPicPr>
        <p:blipFill>
          <a:blip>
            <a:extLst>
              <a:ext uri="{96DAC541-7B7A-43D3-8B79-37D633B846F1}">
                <asvg:svgBlip xmlns:asvg="http://schemas.microsoft.com/office/drawing/2016/SVG/main" r:embed="rId4"/>
              </a:ext>
            </a:extLst>
          </a:blip>
          <a:srcRect l="32264" t="48938" r="39869" b="41747"/>
          <a:stretch>
            <a:fillRect/>
          </a:stretch>
        </p:blipFill>
        <p:spPr>
          <a:xfrm flipH="1">
            <a:off x="-20818" y="0"/>
            <a:ext cx="6754568" cy="3196842"/>
          </a:xfrm>
          <a:prstGeom prst="rect">
            <a:avLst/>
          </a:prstGeom>
        </p:spPr>
      </p:pic>
      <p:pic>
        <p:nvPicPr>
          <p:cNvPr id="7" name="Picture 6">
            <a:extLst>
              <a:ext uri="{FF2B5EF4-FFF2-40B4-BE49-F238E27FC236}">
                <a16:creationId xmlns:a16="http://schemas.microsoft.com/office/drawing/2014/main" id="{21E0C2EA-F7E0-4C4C-C06B-BF67DEF1768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761" t="12298" r="29196" b="16922"/>
          <a:stretch>
            <a:fillRect/>
          </a:stretch>
        </p:blipFill>
        <p:spPr>
          <a:xfrm flipH="1">
            <a:off x="-32157" y="1660358"/>
            <a:ext cx="6038094" cy="4647690"/>
          </a:xfrm>
          <a:prstGeom prst="rect">
            <a:avLst/>
          </a:prstGeom>
        </p:spPr>
      </p:pic>
      <p:pic>
        <p:nvPicPr>
          <p:cNvPr id="2" name="Bildplatzhalter 6">
            <a:hlinkClick r:id="rId3"/>
            <a:extLst>
              <a:ext uri="{FF2B5EF4-FFF2-40B4-BE49-F238E27FC236}">
                <a16:creationId xmlns:a16="http://schemas.microsoft.com/office/drawing/2014/main" id="{3D7EBC0D-CCBD-B0A1-E883-C24B7418669F}"/>
              </a:ext>
            </a:extLst>
          </p:cNvPr>
          <p:cNvPicPr>
            <a:picLocks noChangeAspect="1"/>
          </p:cNvPicPr>
          <p:nvPr/>
        </p:nvPicPr>
        <p:blipFill rotWithShape="1">
          <a:blip r:embed="rId6"/>
          <a:srcRect t="610" r="28389" b="-610"/>
          <a:stretch>
            <a:fillRect/>
          </a:stretch>
        </p:blipFill>
        <p:spPr>
          <a:xfrm>
            <a:off x="-32157" y="2074806"/>
            <a:ext cx="4613323" cy="3615320"/>
          </a:xfrm>
          <a:prstGeom prst="rect">
            <a:avLst/>
          </a:prstGeom>
          <a:solidFill>
            <a:srgbClr val="FFFFFF">
              <a:lumMod val="85000"/>
            </a:srgbClr>
          </a:solidFill>
        </p:spPr>
      </p:pic>
    </p:spTree>
    <p:extLst>
      <p:ext uri="{BB962C8B-B14F-4D97-AF65-F5344CB8AC3E}">
        <p14:creationId xmlns:p14="http://schemas.microsoft.com/office/powerpoint/2010/main" val="41174938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6CB89-5AED-E69C-7FF6-02F356521B76}"/>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B4B647C3-34AB-6FFD-D715-A1F0E139C737}"/>
              </a:ext>
            </a:extLst>
          </p:cNvPr>
          <p:cNvPicPr>
            <a:picLocks noChangeAspect="1"/>
          </p:cNvPicPr>
          <p:nvPr/>
        </p:nvPicPr>
        <p:blipFill>
          <a:blip r:embed="rId3" cstate="screen">
            <a:extLst>
              <a:ext uri="{28A0092B-C50C-407E-A947-70E740481C1C}">
                <a14:useLocalDpi xmlns:a14="http://schemas.microsoft.com/office/drawing/2010/main"/>
              </a:ext>
            </a:extLst>
          </a:blip>
          <a:srcRect r="5074"/>
          <a:stretch>
            <a:fillRect/>
          </a:stretch>
        </p:blipFill>
        <p:spPr>
          <a:xfrm>
            <a:off x="6655275" y="1793670"/>
            <a:ext cx="5162067" cy="4122198"/>
          </a:xfrm>
          <a:prstGeom prst="rect">
            <a:avLst/>
          </a:prstGeom>
        </p:spPr>
      </p:pic>
      <p:sp>
        <p:nvSpPr>
          <p:cNvPr id="2" name="Text Placeholder 11">
            <a:extLst>
              <a:ext uri="{FF2B5EF4-FFF2-40B4-BE49-F238E27FC236}">
                <a16:creationId xmlns:a16="http://schemas.microsoft.com/office/drawing/2014/main" id="{0BE3C711-1386-008C-1249-4763DC4A5ADE}"/>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Reflection and Discussion</a:t>
            </a:r>
          </a:p>
          <a:p>
            <a:pPr marL="0" indent="0">
              <a:lnSpc>
                <a:spcPts val="3520"/>
              </a:lnSpc>
              <a:spcBef>
                <a:spcPts val="0"/>
              </a:spcBef>
              <a:buNone/>
            </a:pPr>
            <a:r>
              <a:rPr lang="en-US" sz="3400" b="1" dirty="0">
                <a:solidFill>
                  <a:srgbClr val="262626"/>
                </a:solidFill>
                <a:cs typeface="Times New Roman" panose="02020603050405020304" pitchFamily="18" charset="0"/>
              </a:rPr>
              <a:t> </a:t>
            </a:r>
          </a:p>
        </p:txBody>
      </p:sp>
      <p:cxnSp>
        <p:nvCxnSpPr>
          <p:cNvPr id="3" name="Straight Connector 2">
            <a:extLst>
              <a:ext uri="{FF2B5EF4-FFF2-40B4-BE49-F238E27FC236}">
                <a16:creationId xmlns:a16="http://schemas.microsoft.com/office/drawing/2014/main" id="{C1F92A35-9D06-92D0-095C-C8A586EE0DFF}"/>
              </a:ext>
            </a:extLst>
          </p:cNvPr>
          <p:cNvCxnSpPr>
            <a:cxnSpLocks/>
          </p:cNvCxnSpPr>
          <p:nvPr/>
        </p:nvCxnSpPr>
        <p:spPr>
          <a:xfrm>
            <a:off x="0" y="1275808"/>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A7C61F0D-5A87-F0C2-9551-82CAF215E529}"/>
              </a:ext>
            </a:extLst>
          </p:cNvPr>
          <p:cNvSpPr/>
          <p:nvPr/>
        </p:nvSpPr>
        <p:spPr>
          <a:xfrm flipH="1">
            <a:off x="617479" y="2783479"/>
            <a:ext cx="6091583" cy="4196020"/>
          </a:xfrm>
          <a:prstGeom prst="rect">
            <a:avLst/>
          </a:prstGeom>
        </p:spPr>
        <p:txBody>
          <a:bodyPr wrap="square" numCol="2" spcCol="180000">
            <a:spAutoFit/>
          </a:bodyPr>
          <a:lstStyle/>
          <a:p>
            <a:pPr>
              <a:lnSpc>
                <a:spcPts val="1960"/>
              </a:lnSpc>
              <a:buClr>
                <a:srgbClr val="62A844"/>
              </a:buClr>
              <a:buNone/>
            </a:pPr>
            <a:r>
              <a:rPr lang="en-US" sz="2000" b="1" dirty="0">
                <a:solidFill>
                  <a:srgbClr val="0289AE"/>
                </a:solidFill>
              </a:rPr>
              <a:t>Ask:</a:t>
            </a:r>
            <a:endParaRPr lang="en-US" sz="2000" dirty="0">
              <a:solidFill>
                <a:srgbClr val="0289AE"/>
              </a:solidFill>
            </a:endParaRPr>
          </a:p>
          <a:p>
            <a:pPr marL="285750" indent="-285750">
              <a:lnSpc>
                <a:spcPts val="1960"/>
              </a:lnSpc>
              <a:buClr>
                <a:srgbClr val="62A844"/>
              </a:buClr>
              <a:buFont typeface="Arial" panose="020B0604020202020204" pitchFamily="34" charset="0"/>
              <a:buChar char="•"/>
            </a:pPr>
            <a:r>
              <a:rPr lang="en-US" dirty="0">
                <a:solidFill>
                  <a:srgbClr val="262626"/>
                </a:solidFill>
              </a:rPr>
              <a:t>Is it clear?</a:t>
            </a:r>
          </a:p>
          <a:p>
            <a:pPr marL="285750" indent="-285750">
              <a:lnSpc>
                <a:spcPts val="1960"/>
              </a:lnSpc>
              <a:buClr>
                <a:srgbClr val="62A844"/>
              </a:buClr>
              <a:buFont typeface="Arial" panose="020B0604020202020204" pitchFamily="34" charset="0"/>
              <a:buChar char="•"/>
            </a:pPr>
            <a:r>
              <a:rPr lang="en-US" dirty="0">
                <a:solidFill>
                  <a:srgbClr val="262626"/>
                </a:solidFill>
              </a:rPr>
              <a:t>Is it warm?</a:t>
            </a:r>
          </a:p>
          <a:p>
            <a:pPr marL="285750" indent="-285750">
              <a:lnSpc>
                <a:spcPts val="1960"/>
              </a:lnSpc>
              <a:buClr>
                <a:srgbClr val="62A844"/>
              </a:buClr>
              <a:buFont typeface="Arial" panose="020B0604020202020204" pitchFamily="34" charset="0"/>
              <a:buChar char="•"/>
            </a:pPr>
            <a:r>
              <a:rPr lang="en-US" dirty="0">
                <a:solidFill>
                  <a:srgbClr val="262626"/>
                </a:solidFill>
              </a:rPr>
              <a:t>Is it credible?</a:t>
            </a:r>
          </a:p>
          <a:p>
            <a:pPr marL="285750" indent="-285750">
              <a:lnSpc>
                <a:spcPts val="1960"/>
              </a:lnSpc>
              <a:buClr>
                <a:srgbClr val="62A844"/>
              </a:buClr>
              <a:buFont typeface="Arial" panose="020B0604020202020204" pitchFamily="34" charset="0"/>
              <a:buChar char="•"/>
            </a:pPr>
            <a:r>
              <a:rPr lang="en-US" dirty="0">
                <a:solidFill>
                  <a:srgbClr val="262626"/>
                </a:solidFill>
              </a:rPr>
              <a:t>Is it inclusive?</a:t>
            </a:r>
          </a:p>
          <a:p>
            <a:pPr marL="285750" indent="-285750">
              <a:lnSpc>
                <a:spcPts val="1960"/>
              </a:lnSpc>
              <a:buClr>
                <a:srgbClr val="62A844"/>
              </a:buClr>
              <a:buFont typeface="Arial" panose="020B0604020202020204" pitchFamily="34" charset="0"/>
              <a:buChar char="•"/>
            </a:pPr>
            <a:r>
              <a:rPr lang="en-US" dirty="0">
                <a:solidFill>
                  <a:srgbClr val="262626"/>
                </a:solidFill>
              </a:rPr>
              <a:t>Does it explain sustainability in a way the guest can </a:t>
            </a:r>
            <a:br>
              <a:rPr lang="en-US" dirty="0">
                <a:solidFill>
                  <a:srgbClr val="262626"/>
                </a:solidFill>
              </a:rPr>
            </a:br>
            <a:r>
              <a:rPr lang="en-US" dirty="0">
                <a:solidFill>
                  <a:srgbClr val="262626"/>
                </a:solidFill>
              </a:rPr>
              <a:t>understand quickly?</a:t>
            </a:r>
          </a:p>
          <a:p>
            <a:pPr>
              <a:lnSpc>
                <a:spcPts val="1960"/>
              </a:lnSpc>
              <a:buClr>
                <a:srgbClr val="62A844"/>
              </a:buClr>
              <a:buNone/>
            </a:pPr>
            <a:endParaRPr lang="en-US" b="1" dirty="0">
              <a:solidFill>
                <a:srgbClr val="262626"/>
              </a:solidFill>
            </a:endParaRPr>
          </a:p>
          <a:p>
            <a:pPr>
              <a:lnSpc>
                <a:spcPts val="1960"/>
              </a:lnSpc>
              <a:buClr>
                <a:srgbClr val="62A844"/>
              </a:buClr>
              <a:buNone/>
            </a:pPr>
            <a:endParaRPr lang="en-US" b="1" dirty="0">
              <a:solidFill>
                <a:srgbClr val="262626"/>
              </a:solidFill>
            </a:endParaRPr>
          </a:p>
          <a:p>
            <a:pPr>
              <a:lnSpc>
                <a:spcPts val="1960"/>
              </a:lnSpc>
              <a:buClr>
                <a:srgbClr val="62A844"/>
              </a:buClr>
              <a:buNone/>
            </a:pPr>
            <a:endParaRPr lang="en-US" b="1" dirty="0">
              <a:solidFill>
                <a:srgbClr val="262626"/>
              </a:solidFill>
            </a:endParaRPr>
          </a:p>
          <a:p>
            <a:pPr>
              <a:lnSpc>
                <a:spcPts val="1960"/>
              </a:lnSpc>
              <a:buClr>
                <a:srgbClr val="62A844"/>
              </a:buClr>
              <a:buNone/>
            </a:pPr>
            <a:endParaRPr lang="en-US" b="1" dirty="0">
              <a:solidFill>
                <a:srgbClr val="262626"/>
              </a:solidFill>
            </a:endParaRPr>
          </a:p>
          <a:p>
            <a:pPr>
              <a:lnSpc>
                <a:spcPts val="1960"/>
              </a:lnSpc>
              <a:buClr>
                <a:srgbClr val="62A844"/>
              </a:buClr>
              <a:buNone/>
            </a:pPr>
            <a:endParaRPr lang="en-US" b="1" dirty="0">
              <a:solidFill>
                <a:srgbClr val="262626"/>
              </a:solidFill>
            </a:endParaRPr>
          </a:p>
          <a:p>
            <a:pPr>
              <a:lnSpc>
                <a:spcPts val="1960"/>
              </a:lnSpc>
              <a:buClr>
                <a:srgbClr val="62A844"/>
              </a:buClr>
              <a:buNone/>
            </a:pPr>
            <a:endParaRPr lang="en-US" b="1" dirty="0">
              <a:solidFill>
                <a:srgbClr val="262626"/>
              </a:solidFill>
            </a:endParaRPr>
          </a:p>
          <a:p>
            <a:pPr>
              <a:lnSpc>
                <a:spcPts val="1960"/>
              </a:lnSpc>
              <a:buClr>
                <a:srgbClr val="62A844"/>
              </a:buClr>
              <a:buNone/>
            </a:pPr>
            <a:br>
              <a:rPr lang="en-US" b="1" dirty="0">
                <a:solidFill>
                  <a:srgbClr val="262626"/>
                </a:solidFill>
              </a:rPr>
            </a:br>
            <a:r>
              <a:rPr lang="en-US" sz="2000" b="1" dirty="0">
                <a:solidFill>
                  <a:srgbClr val="0289AE"/>
                </a:solidFill>
              </a:rPr>
              <a:t>Improve the message so that it becomes:</a:t>
            </a:r>
          </a:p>
          <a:p>
            <a:pPr marL="285750" indent="-285750">
              <a:lnSpc>
                <a:spcPts val="1960"/>
              </a:lnSpc>
              <a:buClr>
                <a:srgbClr val="62A844"/>
              </a:buClr>
              <a:buFont typeface="Arial" panose="020B0604020202020204" pitchFamily="34" charset="0"/>
              <a:buChar char="•"/>
            </a:pPr>
            <a:r>
              <a:rPr lang="en-US" dirty="0">
                <a:solidFill>
                  <a:srgbClr val="262626"/>
                </a:solidFill>
              </a:rPr>
              <a:t>more guest-</a:t>
            </a:r>
            <a:r>
              <a:rPr lang="en-US" dirty="0" err="1">
                <a:solidFill>
                  <a:srgbClr val="262626"/>
                </a:solidFill>
              </a:rPr>
              <a:t>centred</a:t>
            </a:r>
            <a:endParaRPr lang="en-US" dirty="0">
              <a:solidFill>
                <a:srgbClr val="262626"/>
              </a:solidFill>
            </a:endParaRPr>
          </a:p>
          <a:p>
            <a:pPr marL="285750" indent="-285750">
              <a:lnSpc>
                <a:spcPts val="1960"/>
              </a:lnSpc>
              <a:buClr>
                <a:srgbClr val="62A844"/>
              </a:buClr>
              <a:buFont typeface="Arial" panose="020B0604020202020204" pitchFamily="34" charset="0"/>
              <a:buChar char="•"/>
            </a:pPr>
            <a:r>
              <a:rPr lang="en-US" dirty="0">
                <a:solidFill>
                  <a:srgbClr val="262626"/>
                </a:solidFill>
              </a:rPr>
              <a:t>more specific</a:t>
            </a:r>
          </a:p>
          <a:p>
            <a:pPr marL="285750" indent="-285750">
              <a:lnSpc>
                <a:spcPts val="1960"/>
              </a:lnSpc>
              <a:buClr>
                <a:srgbClr val="62A844"/>
              </a:buClr>
              <a:buFont typeface="Arial" panose="020B0604020202020204" pitchFamily="34" charset="0"/>
              <a:buChar char="•"/>
            </a:pPr>
            <a:r>
              <a:rPr lang="en-US" dirty="0">
                <a:solidFill>
                  <a:srgbClr val="262626"/>
                </a:solidFill>
              </a:rPr>
              <a:t>more visually clear</a:t>
            </a:r>
          </a:p>
          <a:p>
            <a:pPr marL="285750" indent="-285750">
              <a:lnSpc>
                <a:spcPts val="1960"/>
              </a:lnSpc>
              <a:buClr>
                <a:srgbClr val="62A844"/>
              </a:buClr>
              <a:buFont typeface="Arial" panose="020B0604020202020204" pitchFamily="34" charset="0"/>
              <a:buChar char="•"/>
            </a:pPr>
            <a:r>
              <a:rPr lang="en-US" dirty="0">
                <a:solidFill>
                  <a:srgbClr val="262626"/>
                </a:solidFill>
              </a:rPr>
              <a:t>more trustworthy</a:t>
            </a:r>
          </a:p>
          <a:p>
            <a:pPr marL="285750" indent="-285750">
              <a:lnSpc>
                <a:spcPts val="1960"/>
              </a:lnSpc>
              <a:buClr>
                <a:srgbClr val="62A844"/>
              </a:buClr>
              <a:buFont typeface="Arial" panose="020B0604020202020204" pitchFamily="34" charset="0"/>
              <a:buChar char="•"/>
            </a:pPr>
            <a:r>
              <a:rPr lang="en-US" dirty="0">
                <a:solidFill>
                  <a:srgbClr val="262626"/>
                </a:solidFill>
              </a:rPr>
              <a:t>more aligned with the actual experience</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buNone/>
            </a:pPr>
            <a:r>
              <a:rPr lang="en-US" sz="2000" b="1" dirty="0">
                <a:solidFill>
                  <a:srgbClr val="0289AE"/>
                </a:solidFill>
              </a:rPr>
              <a:t>Output:</a:t>
            </a:r>
            <a:br>
              <a:rPr lang="en-US" dirty="0">
                <a:solidFill>
                  <a:srgbClr val="262626"/>
                </a:solidFill>
              </a:rPr>
            </a:br>
            <a:r>
              <a:rPr lang="en-US" dirty="0">
                <a:solidFill>
                  <a:srgbClr val="262626"/>
                </a:solidFill>
              </a:rPr>
              <a:t>Prepare a before/after comparison.</a:t>
            </a:r>
          </a:p>
        </p:txBody>
      </p:sp>
      <p:sp>
        <p:nvSpPr>
          <p:cNvPr id="5" name="Rounded Rectangle 4">
            <a:extLst>
              <a:ext uri="{FF2B5EF4-FFF2-40B4-BE49-F238E27FC236}">
                <a16:creationId xmlns:a16="http://schemas.microsoft.com/office/drawing/2014/main" id="{A3D62CF7-9489-FBC1-8DD9-C0173546144F}"/>
              </a:ext>
            </a:extLst>
          </p:cNvPr>
          <p:cNvSpPr/>
          <p:nvPr/>
        </p:nvSpPr>
        <p:spPr>
          <a:xfrm>
            <a:off x="7124915" y="6002285"/>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BA390818-C514-8359-7151-B4CCF460192A}"/>
              </a:ext>
            </a:extLst>
          </p:cNvPr>
          <p:cNvSpPr txBox="1"/>
          <p:nvPr/>
        </p:nvSpPr>
        <p:spPr>
          <a:xfrm>
            <a:off x="7250914" y="6065563"/>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31B3A339-D548-74DB-D407-9F99DEDE77D1}"/>
              </a:ext>
            </a:extLst>
          </p:cNvPr>
          <p:cNvSpPr txBox="1"/>
          <p:nvPr/>
        </p:nvSpPr>
        <p:spPr>
          <a:xfrm>
            <a:off x="8006915" y="6065563"/>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CB19F0BB-541A-FFD3-E36A-DEC1DDF705CA}"/>
              </a:ext>
            </a:extLst>
          </p:cNvPr>
          <p:cNvSpPr txBox="1"/>
          <p:nvPr/>
        </p:nvSpPr>
        <p:spPr>
          <a:xfrm>
            <a:off x="8600914" y="6065563"/>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sp>
        <p:nvSpPr>
          <p:cNvPr id="10" name="Rectangle 30">
            <a:extLst>
              <a:ext uri="{FF2B5EF4-FFF2-40B4-BE49-F238E27FC236}">
                <a16:creationId xmlns:a16="http://schemas.microsoft.com/office/drawing/2014/main" id="{7124699F-B0D1-8AC7-9E09-B99466A66C09}"/>
              </a:ext>
            </a:extLst>
          </p:cNvPr>
          <p:cNvSpPr/>
          <p:nvPr/>
        </p:nvSpPr>
        <p:spPr>
          <a:xfrm flipH="1">
            <a:off x="617480" y="1793670"/>
            <a:ext cx="6091583" cy="605294"/>
          </a:xfrm>
          <a:prstGeom prst="rect">
            <a:avLst/>
          </a:prstGeom>
        </p:spPr>
        <p:txBody>
          <a:bodyPr wrap="square">
            <a:spAutoFit/>
          </a:bodyPr>
          <a:lstStyle/>
          <a:p>
            <a:pPr>
              <a:lnSpc>
                <a:spcPts val="1960"/>
              </a:lnSpc>
              <a:buClr>
                <a:srgbClr val="62A844"/>
              </a:buClr>
              <a:buNone/>
            </a:pPr>
            <a:r>
              <a:rPr lang="en-US" dirty="0">
                <a:solidFill>
                  <a:srgbClr val="262626"/>
                </a:solidFill>
              </a:rPr>
              <a:t>Review one guest-facing message, sign, menu note, app screen, or room card from your </a:t>
            </a:r>
            <a:r>
              <a:rPr lang="en-US" dirty="0" err="1">
                <a:solidFill>
                  <a:srgbClr val="262626"/>
                </a:solidFill>
              </a:rPr>
              <a:t>organisation</a:t>
            </a:r>
            <a:r>
              <a:rPr lang="en-US" dirty="0">
                <a:solidFill>
                  <a:srgbClr val="262626"/>
                </a:solidFill>
              </a:rPr>
              <a:t> or from a case study.</a:t>
            </a:r>
          </a:p>
        </p:txBody>
      </p:sp>
    </p:spTree>
    <p:extLst>
      <p:ext uri="{BB962C8B-B14F-4D97-AF65-F5344CB8AC3E}">
        <p14:creationId xmlns:p14="http://schemas.microsoft.com/office/powerpoint/2010/main" val="2562343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ACE70-38CF-7E8E-9E32-1DFBF7FDCFAC}"/>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E42E6B7B-0009-F1B9-A77F-0646610C6337}"/>
              </a:ext>
            </a:extLst>
          </p:cNvPr>
          <p:cNvSpPr/>
          <p:nvPr/>
        </p:nvSpPr>
        <p:spPr>
          <a:xfrm flipH="1">
            <a:off x="688772" y="1069584"/>
            <a:ext cx="3796553"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Strong sustainable communication builds trust through clarity, evidence, and tone.</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9090BC63-C8C5-7594-46AE-E9E5F25EEF47}"/>
              </a:ext>
            </a:extLst>
          </p:cNvPr>
          <p:cNvSpPr/>
          <p:nvPr/>
        </p:nvSpPr>
        <p:spPr>
          <a:xfrm flipH="1">
            <a:off x="688772" y="3063440"/>
            <a:ext cx="3274948"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Storytelling can connect sustainability to place, culture, and memory.</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E22B3BCB-0C82-8D44-6F0B-15D2D8CF5EDE}"/>
              </a:ext>
            </a:extLst>
          </p:cNvPr>
          <p:cNvSpPr/>
          <p:nvPr/>
        </p:nvSpPr>
        <p:spPr>
          <a:xfrm flipH="1">
            <a:off x="688772" y="5394152"/>
            <a:ext cx="4090949" cy="900631"/>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Certifications help most when their meaning is explained simply.</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6DFC81E6-42D1-419F-928B-C8BB5F61F663}"/>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7AB9CD63-1E66-2F7D-1617-E32F90EB2473}"/>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825F246F-FDFC-8BB1-854A-E48529BB9E94}"/>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C8D635B8-6637-686A-7216-F75A88296EF1}"/>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2E535056-CEB8-476A-9D9C-0CCDCEA00BA1}"/>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1EC16BE9-3BDC-5176-DD8E-B7BC65777DF0}"/>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C059DFFC-8453-E053-1BE3-7496DFA482EF}"/>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C4F4EAAD-9BD3-E4ED-4ACC-33D01B0D2350}"/>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06ABE535-FD0B-1493-9BF6-F93A8569F38B}"/>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F590A8C2-4533-E953-399E-26DECA21956B}"/>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96FA9A06-B59B-D20D-0CF4-368A460D1D05}"/>
              </a:ext>
            </a:extLst>
          </p:cNvPr>
          <p:cNvSpPr>
            <a:spLocks/>
          </p:cNvSpPr>
          <p:nvPr/>
        </p:nvSpPr>
        <p:spPr bwMode="auto">
          <a:xfrm>
            <a:off x="8280849" y="2335890"/>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001FEC57-612A-E578-7026-DB7F1CACAE4D}"/>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4C95826C-BFDC-847C-11CE-D91C720DAB1F}"/>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B4861826-1F01-A5DF-F087-C97EB7BB968B}"/>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6FE04C61-E5DD-E310-6AF6-21E5DB808323}"/>
              </a:ext>
            </a:extLst>
          </p:cNvPr>
          <p:cNvSpPr>
            <a:spLocks noChangeArrowheads="1"/>
          </p:cNvSpPr>
          <p:nvPr/>
        </p:nvSpPr>
        <p:spPr bwMode="auto">
          <a:xfrm>
            <a:off x="8174160" y="1806372"/>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EFFDDF59-3915-A5FA-A315-46C806FB2E6E}"/>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2786940B-7B9B-3141-1FAA-C25303CCD490}"/>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027CA65B-69CA-6219-D5CE-A911EECD4ED8}"/>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2" name="Group 111">
            <a:extLst>
              <a:ext uri="{FF2B5EF4-FFF2-40B4-BE49-F238E27FC236}">
                <a16:creationId xmlns:a16="http://schemas.microsoft.com/office/drawing/2014/main" id="{9508972F-51A8-228A-300F-272860385BFB}"/>
              </a:ext>
            </a:extLst>
          </p:cNvPr>
          <p:cNvGrpSpPr/>
          <p:nvPr/>
        </p:nvGrpSpPr>
        <p:grpSpPr>
          <a:xfrm>
            <a:off x="9509793" y="2949374"/>
            <a:ext cx="507781" cy="509758"/>
            <a:chOff x="8859766" y="3475927"/>
            <a:chExt cx="507781" cy="509758"/>
          </a:xfrm>
        </p:grpSpPr>
        <p:sp>
          <p:nvSpPr>
            <p:cNvPr id="17" name="Oval 30">
              <a:extLst>
                <a:ext uri="{FF2B5EF4-FFF2-40B4-BE49-F238E27FC236}">
                  <a16:creationId xmlns:a16="http://schemas.microsoft.com/office/drawing/2014/main" id="{22ECA6FD-598A-066D-A37D-4C56C453BBCC}"/>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Oval 39">
              <a:extLst>
                <a:ext uri="{FF2B5EF4-FFF2-40B4-BE49-F238E27FC236}">
                  <a16:creationId xmlns:a16="http://schemas.microsoft.com/office/drawing/2014/main" id="{1C6C3096-6721-3D96-6637-FC59C96B8A6B}"/>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9E769852-9936-F29B-C698-102701E5ADFE}"/>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Freeform 32">
            <a:extLst>
              <a:ext uri="{FF2B5EF4-FFF2-40B4-BE49-F238E27FC236}">
                <a16:creationId xmlns:a16="http://schemas.microsoft.com/office/drawing/2014/main" id="{0AE59409-9529-EDBC-5CA1-53E1F966C35B}"/>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EB9D3058-B06A-C1B9-DDD8-A198E485E4E0}"/>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6E0898EE-ACFF-98BE-05E6-A6A1DA599C6E}"/>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A3A9B2AA-FCB8-E4FB-9C57-6D7639E6A9D4}"/>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0A47E844-3D86-5B0B-17CB-C1F668CCBE4E}"/>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D41234CF-800F-F730-7366-AA139600AB57}"/>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81FBE7EC-AE30-7762-BE25-FFD2CB457D62}"/>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B41D48E5-8684-5649-475F-0C3DD12B9215}"/>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9A8C6859-EBFA-0EB6-8DD6-EE7F6D3405F6}"/>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DD69A0EE-17E0-B936-61B9-70CB3AF73D6F}"/>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29D93509-7442-AC3E-3DF5-B72EC7C0D7F8}"/>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2A627E0A-F69C-C183-57A2-43295B1F03EA}"/>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A2E02690-7F5C-203B-0398-4835A20C1F60}"/>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8DA94C99-87EB-34A0-C627-1C25D4D32D12}"/>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438C4029-FF8B-AF23-D3F4-9F22E914370E}"/>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A3D6CDF8-3993-E98D-0D3D-6F85FD07FCC8}"/>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CC865A8C-C621-580A-808E-1631D272BED0}"/>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75D76E9B-497E-7FA4-4355-B37C1F4D3FDF}"/>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E172F997-77B3-3CFF-EA70-AA9874390C3C}"/>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1" name="Group 110">
            <a:extLst>
              <a:ext uri="{FF2B5EF4-FFF2-40B4-BE49-F238E27FC236}">
                <a16:creationId xmlns:a16="http://schemas.microsoft.com/office/drawing/2014/main" id="{9A274463-F657-366B-15E2-6C4F6C173468}"/>
              </a:ext>
            </a:extLst>
          </p:cNvPr>
          <p:cNvGrpSpPr/>
          <p:nvPr/>
        </p:nvGrpSpPr>
        <p:grpSpPr>
          <a:xfrm>
            <a:off x="8583150" y="322543"/>
            <a:ext cx="509758" cy="507781"/>
            <a:chOff x="8760971" y="1116818"/>
            <a:chExt cx="509758" cy="507781"/>
          </a:xfrm>
        </p:grpSpPr>
        <p:sp>
          <p:nvSpPr>
            <p:cNvPr id="18" name="Oval 31">
              <a:extLst>
                <a:ext uri="{FF2B5EF4-FFF2-40B4-BE49-F238E27FC236}">
                  <a16:creationId xmlns:a16="http://schemas.microsoft.com/office/drawing/2014/main" id="{672CB766-29F3-8691-5075-0E4F12A3555B}"/>
                </a:ext>
              </a:extLst>
            </p:cNvPr>
            <p:cNvSpPr>
              <a:spLocks noChangeArrowheads="1"/>
            </p:cNvSpPr>
            <p:nvPr/>
          </p:nvSpPr>
          <p:spPr bwMode="auto">
            <a:xfrm>
              <a:off x="8760971" y="1116818"/>
              <a:ext cx="509758" cy="507781"/>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42143F8C-C21E-1BC7-1F15-89F527A01186}"/>
                </a:ext>
              </a:extLst>
            </p:cNvPr>
            <p:cNvSpPr>
              <a:spLocks/>
            </p:cNvSpPr>
            <p:nvPr/>
          </p:nvSpPr>
          <p:spPr bwMode="auto">
            <a:xfrm>
              <a:off x="8893352" y="1257097"/>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0" name="Group 109">
            <a:extLst>
              <a:ext uri="{FF2B5EF4-FFF2-40B4-BE49-F238E27FC236}">
                <a16:creationId xmlns:a16="http://schemas.microsoft.com/office/drawing/2014/main" id="{744DD05B-A1CE-21D2-078D-C90C61856CDF}"/>
              </a:ext>
            </a:extLst>
          </p:cNvPr>
          <p:cNvGrpSpPr/>
          <p:nvPr/>
        </p:nvGrpSpPr>
        <p:grpSpPr>
          <a:xfrm>
            <a:off x="3898517" y="510601"/>
            <a:ext cx="377378" cy="375403"/>
            <a:chOff x="3554727" y="1101010"/>
            <a:chExt cx="377378" cy="375403"/>
          </a:xfrm>
        </p:grpSpPr>
        <p:sp>
          <p:nvSpPr>
            <p:cNvPr id="22" name="Oval 35">
              <a:extLst>
                <a:ext uri="{FF2B5EF4-FFF2-40B4-BE49-F238E27FC236}">
                  <a16:creationId xmlns:a16="http://schemas.microsoft.com/office/drawing/2014/main" id="{79847738-22AC-4DA5-E688-71714E3C357F}"/>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07554B0E-6959-C45D-4C8B-C9AB590496A6}"/>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62C25B36-056A-C848-0F4D-69C6661E7B4C}"/>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F189E905-24CD-671E-313B-94CA6D0E93AF}"/>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D8B62DD4-A6A9-6DF7-B2F9-D6B5AF56E5E4}"/>
              </a:ext>
            </a:extLst>
          </p:cNvPr>
          <p:cNvGrpSpPr/>
          <p:nvPr/>
        </p:nvGrpSpPr>
        <p:grpSpPr>
          <a:xfrm>
            <a:off x="3064394" y="3997540"/>
            <a:ext cx="509758" cy="507781"/>
            <a:chOff x="3368999" y="3590525"/>
            <a:chExt cx="509758" cy="507781"/>
          </a:xfrm>
        </p:grpSpPr>
        <p:sp>
          <p:nvSpPr>
            <p:cNvPr id="19" name="Oval 32">
              <a:extLst>
                <a:ext uri="{FF2B5EF4-FFF2-40B4-BE49-F238E27FC236}">
                  <a16:creationId xmlns:a16="http://schemas.microsoft.com/office/drawing/2014/main" id="{59CE2653-713B-F6CA-9AFD-E0EE09D6F392}"/>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FAB4E1C5-770E-A136-272F-D16EF1376AA8}"/>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8612D3AF-02CF-49D0-BA9E-4BDC22FA039E}"/>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3AC9E53C-4B2F-3E52-78B6-95D3E1E571E3}"/>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EBDA70E0-86D7-003A-72E2-0D9D7CBE6C1B}"/>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59">
            <a:extLst>
              <a:ext uri="{FF2B5EF4-FFF2-40B4-BE49-F238E27FC236}">
                <a16:creationId xmlns:a16="http://schemas.microsoft.com/office/drawing/2014/main" id="{C0997F19-D403-BCEA-D92C-BE8A91CBE751}"/>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8732B5D4-FEF9-FD35-C11B-7F9B1CE040F8}"/>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80E3254F-F1D8-DC32-3842-3614F60CACFB}"/>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047D3C5C-F799-0905-9F02-C6AE289A6D69}"/>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802523DB-A242-FCEF-CB89-A8D753058DE2}"/>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84BBB55D-7DF4-AF2D-0AFA-25AEA86E2142}"/>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00EFDA92-4A63-E604-931B-37B9994D24AC}"/>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CEB71E0F-870B-96F2-6B00-A4E1D431FC70}"/>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BE9030B7-E398-8085-9C6F-A2217241EF0A}"/>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253BD510-0866-7A96-A98C-64D42CE5D276}"/>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F9688471-B0B5-FE8A-870F-13284EFCA010}"/>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477FFE0A-03E3-B098-F2A3-1C98957CAFC1}"/>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A2C81561-90B0-5DB6-E8E0-BC84C2B177E7}"/>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178CAACE-43B3-B2EE-D2BA-863C7B19C944}"/>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9616E518-A273-17D0-F4DD-C7F01923E4E4}"/>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E533D2EF-527C-C417-2727-7B1373F064EE}"/>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4B0000A1-47B8-B814-D7A3-62BCD5371D6A}"/>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D155FA75-883C-A936-6A44-5E7984FE4557}"/>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0B2FC36A-7662-154E-977A-582A8976A84B}"/>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2ED40AF5-3797-C5D5-4914-FF40242DAD6A}"/>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DF3BE63F-E0C6-DCE3-0AC7-5680DD7EE56B}"/>
              </a:ext>
            </a:extLst>
          </p:cNvPr>
          <p:cNvSpPr>
            <a:spLocks/>
          </p:cNvSpPr>
          <p:nvPr/>
        </p:nvSpPr>
        <p:spPr bwMode="auto">
          <a:xfrm>
            <a:off x="8583150" y="2491976"/>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800522C6-687C-BFF2-4E48-0D0919919845}"/>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662D7386-0DEB-55CF-0E47-F0E997D0AA66}"/>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EB2C0B7C-944C-58A4-C1E9-A5C2B8A13B44}"/>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10E0A328-6E75-C4F1-8E3D-19D1709FC5A4}"/>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FD2BC7DE-D69A-EAEB-23A9-B9C16B7939CB}"/>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7DE48C97-2599-B6C7-415D-85D174430F2B}"/>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49A93436-35A8-7334-D999-A2F1E216713F}"/>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067B89C2-52F3-51DF-1420-4D06AB03FDDD}"/>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22C6BEDA-B23A-1C0F-8BAE-0B8D43624951}"/>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DCF5D085-7F33-F987-6219-439FA02277C6}"/>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36CE9303-9D33-5500-E04C-94708BEC2F4E}"/>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13325030-019F-8367-6BB8-72AED2BF559B}"/>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3" name="Group 112">
            <a:extLst>
              <a:ext uri="{FF2B5EF4-FFF2-40B4-BE49-F238E27FC236}">
                <a16:creationId xmlns:a16="http://schemas.microsoft.com/office/drawing/2014/main" id="{78586E0A-E86E-7232-28D9-D10599247EE8}"/>
              </a:ext>
            </a:extLst>
          </p:cNvPr>
          <p:cNvGrpSpPr/>
          <p:nvPr/>
        </p:nvGrpSpPr>
        <p:grpSpPr>
          <a:xfrm>
            <a:off x="7652547" y="4370400"/>
            <a:ext cx="377378" cy="375403"/>
            <a:chOff x="7956820" y="4444072"/>
            <a:chExt cx="377378" cy="375403"/>
          </a:xfrm>
        </p:grpSpPr>
        <p:sp>
          <p:nvSpPr>
            <p:cNvPr id="24" name="Oval 37">
              <a:extLst>
                <a:ext uri="{FF2B5EF4-FFF2-40B4-BE49-F238E27FC236}">
                  <a16:creationId xmlns:a16="http://schemas.microsoft.com/office/drawing/2014/main" id="{4E840F87-BBDE-67CF-2FFC-731F76BA76A9}"/>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4B2E24CE-454E-7614-1831-46153FE275B3}"/>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B304C9E3-71D1-0D1E-9636-6F3A2B58B390}"/>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0" name="Freeform 94">
            <a:extLst>
              <a:ext uri="{FF2B5EF4-FFF2-40B4-BE49-F238E27FC236}">
                <a16:creationId xmlns:a16="http://schemas.microsoft.com/office/drawing/2014/main" id="{F6686319-9C58-76E4-8AF5-BDA23669C72B}"/>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AAC4982C-FF0D-A946-F780-3F50387AD690}"/>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DAE9CA31-24B5-CE06-05F5-89D104C6B145}"/>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3F586FCC-A9BF-EDF0-8A48-CD16FEDD8CD9}"/>
              </a:ext>
            </a:extLst>
          </p:cNvPr>
          <p:cNvSpPr>
            <a:spLocks noEditPoints="1"/>
          </p:cNvSpPr>
          <p:nvPr/>
        </p:nvSpPr>
        <p:spPr bwMode="auto">
          <a:xfrm>
            <a:off x="8267021" y="1918993"/>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EF397584-ADA2-B62E-952C-E45CA2849097}"/>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2F4F7A37-3FE0-A9F4-1844-69F2895A8E7B}"/>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FF01D0DF-D235-2370-7966-5428197BFF18}"/>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5E42B7AD-476C-1496-F7EF-84E76B7A4895}"/>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A3FF48E7-4B67-F0B3-3307-486B7ED9A790}"/>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FF4E4DBF-CDAE-017B-E381-C3271F099825}"/>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3E962E7A-99AD-697A-42AC-F8868AA50BDA}"/>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9313A222-4737-2852-D117-B39AB1A0BB3F}"/>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37CE47AD-2B69-C133-F394-EB2AAC1FB711}"/>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541BCBF4-69F4-EC2F-F668-F43E62844B71}"/>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8B8FD466-7986-D594-04C6-E3DA00F35C4E}"/>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70FF0EFD-FA60-074A-DD95-86094643443F}"/>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5B42B9BA-F493-4052-D8FC-1C162268E6D5}"/>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97F983A6-D983-0A79-F9BA-D0B102575A27}"/>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Takeways</a:t>
              </a:r>
            </a:p>
          </p:txBody>
        </p:sp>
      </p:grpSp>
      <p:grpSp>
        <p:nvGrpSpPr>
          <p:cNvPr id="127" name="Group 126">
            <a:extLst>
              <a:ext uri="{FF2B5EF4-FFF2-40B4-BE49-F238E27FC236}">
                <a16:creationId xmlns:a16="http://schemas.microsoft.com/office/drawing/2014/main" id="{E97BCB94-48B7-3CB9-5C6D-3785303C1857}"/>
              </a:ext>
            </a:extLst>
          </p:cNvPr>
          <p:cNvGrpSpPr/>
          <p:nvPr/>
        </p:nvGrpSpPr>
        <p:grpSpPr>
          <a:xfrm>
            <a:off x="0" y="360008"/>
            <a:ext cx="1448894" cy="883507"/>
            <a:chOff x="0" y="582317"/>
            <a:chExt cx="1448894" cy="883507"/>
          </a:xfrm>
        </p:grpSpPr>
        <p:cxnSp>
          <p:nvCxnSpPr>
            <p:cNvPr id="120" name="Straight Connector 33">
              <a:extLst>
                <a:ext uri="{FF2B5EF4-FFF2-40B4-BE49-F238E27FC236}">
                  <a16:creationId xmlns:a16="http://schemas.microsoft.com/office/drawing/2014/main" id="{C759A61C-8278-A440-9310-CF99BCDE36C0}"/>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129E2491-3FA8-6D57-B53A-035FC8501807}"/>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3663F6C5-2124-F249-EE6C-964F312B8937}"/>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0E8595F6-0E0A-0722-3396-86BAD91B8E76}"/>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6AF2203B-478C-EF05-3C90-4081727A1181}"/>
              </a:ext>
            </a:extLst>
          </p:cNvPr>
          <p:cNvGrpSpPr/>
          <p:nvPr/>
        </p:nvGrpSpPr>
        <p:grpSpPr>
          <a:xfrm>
            <a:off x="0" y="2345332"/>
            <a:ext cx="1448894" cy="870102"/>
            <a:chOff x="0" y="582324"/>
            <a:chExt cx="1448894" cy="870102"/>
          </a:xfrm>
        </p:grpSpPr>
        <p:cxnSp>
          <p:nvCxnSpPr>
            <p:cNvPr id="129" name="Straight Connector 33">
              <a:extLst>
                <a:ext uri="{FF2B5EF4-FFF2-40B4-BE49-F238E27FC236}">
                  <a16:creationId xmlns:a16="http://schemas.microsoft.com/office/drawing/2014/main" id="{3AAF9EC1-9FCE-D0C1-7AE6-8627D4E5F8DA}"/>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9D14D7D7-1389-A823-8CC3-14ED2062155F}"/>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CE6066A5-79E8-CC09-D605-F13023D007BD}"/>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017E59E4-E80F-C1CF-52D3-0F13376AAD4E}"/>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BF1545B8-5474-22D3-0D07-5558F88C4820}"/>
              </a:ext>
            </a:extLst>
          </p:cNvPr>
          <p:cNvGrpSpPr/>
          <p:nvPr/>
        </p:nvGrpSpPr>
        <p:grpSpPr>
          <a:xfrm>
            <a:off x="0" y="4615379"/>
            <a:ext cx="1450818" cy="896308"/>
            <a:chOff x="0" y="582322"/>
            <a:chExt cx="1450818" cy="896308"/>
          </a:xfrm>
        </p:grpSpPr>
        <p:cxnSp>
          <p:nvCxnSpPr>
            <p:cNvPr id="134" name="Straight Connector 33">
              <a:extLst>
                <a:ext uri="{FF2B5EF4-FFF2-40B4-BE49-F238E27FC236}">
                  <a16:creationId xmlns:a16="http://schemas.microsoft.com/office/drawing/2014/main" id="{A736CD40-A08A-EFD2-7754-6841118AB709}"/>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0FBBE3C7-56C4-CBA4-CEA9-27CAB8122C30}"/>
                </a:ext>
              </a:extLst>
            </p:cNvPr>
            <p:cNvGrpSpPr/>
            <p:nvPr/>
          </p:nvGrpSpPr>
          <p:grpSpPr>
            <a:xfrm>
              <a:off x="708800" y="582322"/>
              <a:ext cx="742018" cy="896308"/>
              <a:chOff x="4051865" y="5165558"/>
              <a:chExt cx="949315" cy="1146707"/>
            </a:xfrm>
          </p:grpSpPr>
          <p:sp>
            <p:nvSpPr>
              <p:cNvPr id="136" name="Oval 16">
                <a:extLst>
                  <a:ext uri="{FF2B5EF4-FFF2-40B4-BE49-F238E27FC236}">
                    <a16:creationId xmlns:a16="http://schemas.microsoft.com/office/drawing/2014/main" id="{6078B93F-1748-D6BE-3ED7-2D840632F220}"/>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BE27B245-2639-4641-EB16-50CBB26B59FB}"/>
                  </a:ext>
                </a:extLst>
              </p:cNvPr>
              <p:cNvSpPr txBox="1"/>
              <p:nvPr/>
            </p:nvSpPr>
            <p:spPr bwMode="auto">
              <a:xfrm>
                <a:off x="4091914" y="5223190"/>
                <a:ext cx="909266"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8245C4DA-DCB4-E623-A7D2-B6734D13FA43}"/>
              </a:ext>
            </a:extLst>
          </p:cNvPr>
          <p:cNvSpPr/>
          <p:nvPr/>
        </p:nvSpPr>
        <p:spPr>
          <a:xfrm flipH="1">
            <a:off x="8760971" y="1166047"/>
            <a:ext cx="2742255" cy="1439240"/>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Greenwashing weakens guest trust and is increasingly under regulatory pressure.</a:t>
            </a:r>
          </a:p>
          <a:p>
            <a:pPr algn="r">
              <a:lnSpc>
                <a:spcPts val="2100"/>
              </a:lnSpc>
            </a:pPr>
            <a:endParaRPr lang="en-US" sz="2000" dirty="0">
              <a:solidFill>
                <a:srgbClr val="262626"/>
              </a:solidFill>
              <a:cs typeface="Segoe UI Light" panose="020B0502040204020203" pitchFamily="34" charset="0"/>
            </a:endParaRPr>
          </a:p>
        </p:txBody>
      </p:sp>
      <p:sp>
        <p:nvSpPr>
          <p:cNvPr id="151" name="Rectangle 30">
            <a:extLst>
              <a:ext uri="{FF2B5EF4-FFF2-40B4-BE49-F238E27FC236}">
                <a16:creationId xmlns:a16="http://schemas.microsoft.com/office/drawing/2014/main" id="{B0ED3A5F-4497-2C80-5B1A-A3839BD5E4D7}"/>
              </a:ext>
            </a:extLst>
          </p:cNvPr>
          <p:cNvSpPr/>
          <p:nvPr/>
        </p:nvSpPr>
        <p:spPr>
          <a:xfrm flipH="1">
            <a:off x="8041781" y="3859104"/>
            <a:ext cx="3461444" cy="1439240"/>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Inclusive communication improves the experience for more guests and strengthens hospitality quality.</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18F3CF8B-87C1-ECB6-5069-E4417B398D2D}"/>
              </a:ext>
            </a:extLst>
          </p:cNvPr>
          <p:cNvGrpSpPr/>
          <p:nvPr/>
        </p:nvGrpSpPr>
        <p:grpSpPr>
          <a:xfrm>
            <a:off x="10752228" y="428471"/>
            <a:ext cx="1501995" cy="883506"/>
            <a:chOff x="708799" y="582319"/>
            <a:chExt cx="1501995" cy="883506"/>
          </a:xfrm>
        </p:grpSpPr>
        <p:cxnSp>
          <p:nvCxnSpPr>
            <p:cNvPr id="153" name="Straight Connector 33">
              <a:extLst>
                <a:ext uri="{FF2B5EF4-FFF2-40B4-BE49-F238E27FC236}">
                  <a16:creationId xmlns:a16="http://schemas.microsoft.com/office/drawing/2014/main" id="{B3B01DD1-339C-0479-6B30-0B077D396967}"/>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C40957F8-DDAC-D216-9E6C-2FD9DDD73829}"/>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A880F86A-881C-9825-AE8B-A2533832BEAD}"/>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A0C70076-3E69-2B1D-134E-4C4C688B6CEB}"/>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157" name="Group 156">
            <a:extLst>
              <a:ext uri="{FF2B5EF4-FFF2-40B4-BE49-F238E27FC236}">
                <a16:creationId xmlns:a16="http://schemas.microsoft.com/office/drawing/2014/main" id="{63AD59AE-DB8B-DC5A-B8DF-FF14F4F63CE8}"/>
              </a:ext>
            </a:extLst>
          </p:cNvPr>
          <p:cNvGrpSpPr/>
          <p:nvPr/>
        </p:nvGrpSpPr>
        <p:grpSpPr>
          <a:xfrm>
            <a:off x="10752228" y="3140997"/>
            <a:ext cx="1467271" cy="880235"/>
            <a:chOff x="708799" y="582325"/>
            <a:chExt cx="1467271" cy="880235"/>
          </a:xfrm>
        </p:grpSpPr>
        <p:cxnSp>
          <p:nvCxnSpPr>
            <p:cNvPr id="158" name="Straight Connector 33">
              <a:extLst>
                <a:ext uri="{FF2B5EF4-FFF2-40B4-BE49-F238E27FC236}">
                  <a16:creationId xmlns:a16="http://schemas.microsoft.com/office/drawing/2014/main" id="{7C7EDC03-E2E9-EA13-61AF-6F64936C6CD4}"/>
                </a:ext>
              </a:extLst>
            </p:cNvPr>
            <p:cNvCxnSpPr>
              <a:cxnSpLocks/>
            </p:cNvCxnSpPr>
            <p:nvPr/>
          </p:nvCxnSpPr>
          <p:spPr>
            <a:xfrm flipH="1">
              <a:off x="1320800" y="951782"/>
              <a:ext cx="85527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3E2216FB-450F-C96F-9AC7-4169101ACD41}"/>
                </a:ext>
              </a:extLst>
            </p:cNvPr>
            <p:cNvGrpSpPr/>
            <p:nvPr/>
          </p:nvGrpSpPr>
          <p:grpSpPr>
            <a:xfrm>
              <a:off x="708799" y="582325"/>
              <a:ext cx="740095" cy="880235"/>
              <a:chOff x="4051865" y="5165558"/>
              <a:chExt cx="946855" cy="1126143"/>
            </a:xfrm>
          </p:grpSpPr>
          <p:sp>
            <p:nvSpPr>
              <p:cNvPr id="160" name="Oval 16">
                <a:extLst>
                  <a:ext uri="{FF2B5EF4-FFF2-40B4-BE49-F238E27FC236}">
                    <a16:creationId xmlns:a16="http://schemas.microsoft.com/office/drawing/2014/main" id="{38B6EB12-5D35-F263-CD7E-9CEE3BB63EFF}"/>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61" name="TextBox 26">
                <a:extLst>
                  <a:ext uri="{FF2B5EF4-FFF2-40B4-BE49-F238E27FC236}">
                    <a16:creationId xmlns:a16="http://schemas.microsoft.com/office/drawing/2014/main" id="{C084D3DD-681F-6E1A-F669-973B02D4FD71}"/>
                  </a:ext>
                </a:extLst>
              </p:cNvPr>
              <p:cNvSpPr txBox="1"/>
              <p:nvPr/>
            </p:nvSpPr>
            <p:spPr bwMode="auto">
              <a:xfrm>
                <a:off x="4058978" y="5202626"/>
                <a:ext cx="909265" cy="1089075"/>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5</a:t>
                </a:r>
              </a:p>
            </p:txBody>
          </p:sp>
        </p:grpSp>
      </p:grpSp>
      <p:sp>
        <p:nvSpPr>
          <p:cNvPr id="2" name="TextBox 28">
            <a:extLst>
              <a:ext uri="{FF2B5EF4-FFF2-40B4-BE49-F238E27FC236}">
                <a16:creationId xmlns:a16="http://schemas.microsoft.com/office/drawing/2014/main" id="{32F2A44F-6714-A9F0-EB46-2957507BC4E8}"/>
              </a:ext>
            </a:extLst>
          </p:cNvPr>
          <p:cNvSpPr txBox="1"/>
          <p:nvPr/>
        </p:nvSpPr>
        <p:spPr>
          <a:xfrm>
            <a:off x="7196136" y="5394152"/>
            <a:ext cx="4252965" cy="900631"/>
          </a:xfrm>
          <a:prstGeom prst="rect">
            <a:avLst/>
          </a:prstGeom>
          <a:noFill/>
        </p:spPr>
        <p:txBody>
          <a:bodyPr wrap="square">
            <a:spAutoFit/>
          </a:bodyPr>
          <a:lstStyle/>
          <a:p>
            <a:pPr algn="r">
              <a:lnSpc>
                <a:spcPts val="2100"/>
              </a:lnSpc>
            </a:pPr>
            <a:r>
              <a:rPr lang="en-US" sz="2000" b="1" dirty="0">
                <a:solidFill>
                  <a:srgbClr val="62A844"/>
                </a:solidFill>
              </a:rPr>
              <a:t>Credible, human communication is part of sustainable design.</a:t>
            </a:r>
          </a:p>
          <a:p>
            <a:pPr algn="r">
              <a:lnSpc>
                <a:spcPts val="2100"/>
              </a:lnSpc>
            </a:pPr>
            <a:endParaRPr lang="en-US" sz="2000" dirty="0">
              <a:solidFill>
                <a:srgbClr val="62A844"/>
              </a:solidFill>
            </a:endParaRPr>
          </a:p>
        </p:txBody>
      </p:sp>
      <p:sp>
        <p:nvSpPr>
          <p:cNvPr id="114" name="TextBox 113">
            <a:extLst>
              <a:ext uri="{FF2B5EF4-FFF2-40B4-BE49-F238E27FC236}">
                <a16:creationId xmlns:a16="http://schemas.microsoft.com/office/drawing/2014/main" id="{E7CAF309-D0B0-9A7F-5E8D-079144220ACA}"/>
              </a:ext>
            </a:extLst>
          </p:cNvPr>
          <p:cNvSpPr txBox="1"/>
          <p:nvPr/>
        </p:nvSpPr>
        <p:spPr>
          <a:xfrm>
            <a:off x="2866404" y="25992"/>
            <a:ext cx="6126480" cy="427553"/>
          </a:xfrm>
          <a:prstGeom prst="rect">
            <a:avLst/>
          </a:prstGeom>
          <a:noFill/>
        </p:spPr>
        <p:txBody>
          <a:bodyPr wrap="square">
            <a:spAutoFit/>
          </a:bodyPr>
          <a:lstStyle/>
          <a:p>
            <a:pPr algn="ctr">
              <a:lnSpc>
                <a:spcPts val="2480"/>
              </a:lnSpc>
            </a:pPr>
            <a:r>
              <a:rPr lang="en-US" sz="2800" b="1" dirty="0">
                <a:solidFill>
                  <a:srgbClr val="62A844"/>
                </a:solidFill>
              </a:rPr>
              <a:t>Key Takeways so far…</a:t>
            </a:r>
          </a:p>
        </p:txBody>
      </p:sp>
    </p:spTree>
    <p:extLst>
      <p:ext uri="{BB962C8B-B14F-4D97-AF65-F5344CB8AC3E}">
        <p14:creationId xmlns:p14="http://schemas.microsoft.com/office/powerpoint/2010/main" val="38181233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319A7-71D5-F982-4DF4-9E0A7279445F}"/>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5A006A98-8549-A717-612C-99931485D357}"/>
              </a:ext>
            </a:extLst>
          </p:cNvPr>
          <p:cNvSpPr>
            <a:spLocks noGrp="1"/>
          </p:cNvSpPr>
          <p:nvPr>
            <p:ph type="body" sz="quarter" idx="16"/>
          </p:nvPr>
        </p:nvSpPr>
        <p:spPr>
          <a:xfrm>
            <a:off x="4223368" y="864566"/>
            <a:ext cx="7504805" cy="5128867"/>
          </a:xfrm>
        </p:spPr>
        <p:txBody>
          <a:bodyPr>
            <a:normAutofit/>
          </a:bodyPr>
          <a:lstStyle/>
          <a:p>
            <a:pPr fontAlgn="t">
              <a:lnSpc>
                <a:spcPts val="4960"/>
              </a:lnSpc>
              <a:spcBef>
                <a:spcPts val="0"/>
              </a:spcBef>
            </a:pPr>
            <a:r>
              <a:rPr lang="en-IE" b="1" dirty="0"/>
              <a:t>Applied Practice: Building        a Conscious Guest Experience Concept</a:t>
            </a:r>
          </a:p>
          <a:p>
            <a:pPr fontAlgn="t">
              <a:lnSpc>
                <a:spcPts val="4960"/>
              </a:lnSpc>
              <a:spcBef>
                <a:spcPts val="0"/>
              </a:spcBef>
            </a:pPr>
            <a:endParaRPr lang="en-IE" b="1" dirty="0"/>
          </a:p>
          <a:p>
            <a:r>
              <a:rPr lang="en-US" sz="2400" b="1" dirty="0"/>
              <a:t> Turning guest journey insight into a practical hospitality design proposal. </a:t>
            </a:r>
            <a:r>
              <a:rPr lang="en-US" sz="2400" dirty="0"/>
              <a:t>To apply the module by designing a guest experience concept that improves sustainability, inclusivity, communication, and guest satisfaction</a:t>
            </a:r>
          </a:p>
          <a:p>
            <a:pPr>
              <a:lnSpc>
                <a:spcPts val="2580"/>
              </a:lnSpc>
              <a:spcBef>
                <a:spcPts val="0"/>
              </a:spcBef>
            </a:pPr>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3D606E4A-9A84-C245-44DE-E78A3C024E2A}"/>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5</a:t>
            </a:r>
          </a:p>
        </p:txBody>
      </p:sp>
    </p:spTree>
    <p:extLst>
      <p:ext uri="{BB962C8B-B14F-4D97-AF65-F5344CB8AC3E}">
        <p14:creationId xmlns:p14="http://schemas.microsoft.com/office/powerpoint/2010/main" val="30916258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C801A-087E-456B-F8A4-3BB0EEA2EC32}"/>
            </a:ext>
          </a:extLst>
        </p:cNvPr>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9E93D89-7FD2-A0F7-04F6-648C4773A35F}"/>
              </a:ext>
            </a:extLst>
          </p:cNvPr>
          <p:cNvCxnSpPr>
            <a:cxnSpLocks/>
          </p:cNvCxnSpPr>
          <p:nvPr/>
        </p:nvCxnSpPr>
        <p:spPr>
          <a:xfrm>
            <a:off x="0" y="1149737"/>
            <a:ext cx="638754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1">
            <a:extLst>
              <a:ext uri="{FF2B5EF4-FFF2-40B4-BE49-F238E27FC236}">
                <a16:creationId xmlns:a16="http://schemas.microsoft.com/office/drawing/2014/main" id="{E81A205D-6C58-C0F9-E91A-BE533B2AC78C}"/>
              </a:ext>
            </a:extLst>
          </p:cNvPr>
          <p:cNvSpPr txBox="1">
            <a:spLocks/>
          </p:cNvSpPr>
          <p:nvPr/>
        </p:nvSpPr>
        <p:spPr>
          <a:xfrm>
            <a:off x="429114" y="525832"/>
            <a:ext cx="949949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600" b="1" dirty="0">
                <a:solidFill>
                  <a:srgbClr val="06677F"/>
                </a:solidFill>
                <a:cs typeface="Times New Roman" panose="02020603050405020304" pitchFamily="18" charset="0"/>
              </a:rPr>
              <a:t>Activity: </a:t>
            </a:r>
            <a:r>
              <a:rPr lang="en-IE" sz="3600" b="1" dirty="0"/>
              <a:t>Sustainable Guest Experience Challenge</a:t>
            </a:r>
            <a:endParaRPr lang="en-US" sz="3400" b="1" dirty="0">
              <a:solidFill>
                <a:srgbClr val="262626"/>
              </a:solidFill>
              <a:cs typeface="Times New Roman" panose="02020603050405020304" pitchFamily="18" charset="0"/>
            </a:endParaRPr>
          </a:p>
        </p:txBody>
      </p:sp>
      <p:sp>
        <p:nvSpPr>
          <p:cNvPr id="7" name="TextBox 97">
            <a:extLst>
              <a:ext uri="{FF2B5EF4-FFF2-40B4-BE49-F238E27FC236}">
                <a16:creationId xmlns:a16="http://schemas.microsoft.com/office/drawing/2014/main" id="{F0D78F84-4D35-A7CF-108C-163CEACF9ECE}"/>
              </a:ext>
            </a:extLst>
          </p:cNvPr>
          <p:cNvSpPr txBox="1"/>
          <p:nvPr/>
        </p:nvSpPr>
        <p:spPr>
          <a:xfrm>
            <a:off x="429115" y="1641270"/>
            <a:ext cx="9432000" cy="4860000"/>
          </a:xfrm>
          <a:prstGeom prst="rect">
            <a:avLst/>
          </a:prstGeom>
          <a:noFill/>
        </p:spPr>
        <p:txBody>
          <a:bodyPr wrap="square" numCol="2" spcCol="180000">
            <a:spAutoFit/>
          </a:bodyPr>
          <a:lstStyle/>
          <a:p>
            <a:pPr>
              <a:lnSpc>
                <a:spcPts val="1960"/>
              </a:lnSpc>
              <a:buClr>
                <a:srgbClr val="62A844"/>
              </a:buClr>
              <a:buNone/>
            </a:pPr>
            <a:r>
              <a:rPr lang="en-US" sz="2000" b="1" dirty="0">
                <a:solidFill>
                  <a:srgbClr val="0289AE"/>
                </a:solidFill>
              </a:rPr>
              <a:t>Choose one setting:</a:t>
            </a:r>
          </a:p>
          <a:p>
            <a:pPr marL="285750" indent="-285750">
              <a:lnSpc>
                <a:spcPts val="1960"/>
              </a:lnSpc>
              <a:buClr>
                <a:srgbClr val="62A844"/>
              </a:buClr>
              <a:buFont typeface="Arial" panose="020B0604020202020204" pitchFamily="34" charset="0"/>
              <a:buChar char="•"/>
            </a:pPr>
            <a:r>
              <a:rPr lang="en-US" dirty="0">
                <a:solidFill>
                  <a:srgbClr val="262626"/>
                </a:solidFill>
              </a:rPr>
              <a:t>rural guesthouse</a:t>
            </a:r>
          </a:p>
          <a:p>
            <a:pPr marL="285750" indent="-285750">
              <a:lnSpc>
                <a:spcPts val="1960"/>
              </a:lnSpc>
              <a:buClr>
                <a:srgbClr val="62A844"/>
              </a:buClr>
              <a:buFont typeface="Arial" panose="020B0604020202020204" pitchFamily="34" charset="0"/>
              <a:buChar char="•"/>
            </a:pPr>
            <a:r>
              <a:rPr lang="en-US" dirty="0">
                <a:solidFill>
                  <a:srgbClr val="262626"/>
                </a:solidFill>
              </a:rPr>
              <a:t>boutique hotel</a:t>
            </a:r>
          </a:p>
          <a:p>
            <a:pPr marL="285750" indent="-285750">
              <a:lnSpc>
                <a:spcPts val="1960"/>
              </a:lnSpc>
              <a:buClr>
                <a:srgbClr val="62A844"/>
              </a:buClr>
              <a:buFont typeface="Arial" panose="020B0604020202020204" pitchFamily="34" charset="0"/>
              <a:buChar char="•"/>
            </a:pPr>
            <a:r>
              <a:rPr lang="en-US" dirty="0">
                <a:solidFill>
                  <a:srgbClr val="262626"/>
                </a:solidFill>
              </a:rPr>
              <a:t>city hotel</a:t>
            </a:r>
          </a:p>
          <a:p>
            <a:pPr marL="285750" indent="-285750">
              <a:lnSpc>
                <a:spcPts val="1960"/>
              </a:lnSpc>
              <a:buClr>
                <a:srgbClr val="62A844"/>
              </a:buClr>
              <a:buFont typeface="Arial" panose="020B0604020202020204" pitchFamily="34" charset="0"/>
              <a:buChar char="•"/>
            </a:pPr>
            <a:r>
              <a:rPr lang="en-US" dirty="0">
                <a:solidFill>
                  <a:srgbClr val="262626"/>
                </a:solidFill>
              </a:rPr>
              <a:t>B&amp;B</a:t>
            </a:r>
          </a:p>
          <a:p>
            <a:pPr marL="285750" indent="-285750">
              <a:lnSpc>
                <a:spcPts val="1960"/>
              </a:lnSpc>
              <a:buClr>
                <a:srgbClr val="62A844"/>
              </a:buClr>
              <a:buFont typeface="Arial" panose="020B0604020202020204" pitchFamily="34" charset="0"/>
              <a:buChar char="•"/>
            </a:pPr>
            <a:r>
              <a:rPr lang="en-US" dirty="0">
                <a:solidFill>
                  <a:srgbClr val="262626"/>
                </a:solidFill>
              </a:rPr>
              <a:t>restaurant with local sourcing</a:t>
            </a:r>
          </a:p>
          <a:p>
            <a:pPr marL="285750" indent="-285750">
              <a:lnSpc>
                <a:spcPts val="1960"/>
              </a:lnSpc>
              <a:buClr>
                <a:srgbClr val="62A844"/>
              </a:buClr>
              <a:buFont typeface="Arial" panose="020B0604020202020204" pitchFamily="34" charset="0"/>
              <a:buChar char="•"/>
            </a:pPr>
            <a:r>
              <a:rPr lang="en-US" dirty="0">
                <a:solidFill>
                  <a:srgbClr val="262626"/>
                </a:solidFill>
              </a:rPr>
              <a:t>eco-conscious café</a:t>
            </a:r>
          </a:p>
          <a:p>
            <a:pPr marL="285750" indent="-285750">
              <a:lnSpc>
                <a:spcPts val="1960"/>
              </a:lnSpc>
              <a:buClr>
                <a:srgbClr val="62A844"/>
              </a:buClr>
              <a:buFont typeface="Arial" panose="020B0604020202020204" pitchFamily="34" charset="0"/>
              <a:buChar char="•"/>
            </a:pPr>
            <a:r>
              <a:rPr lang="en-US" dirty="0">
                <a:solidFill>
                  <a:srgbClr val="262626"/>
                </a:solidFill>
              </a:rPr>
              <a:t>wellness or spa property</a:t>
            </a:r>
          </a:p>
          <a:p>
            <a:pPr marL="285750" indent="-285750">
              <a:lnSpc>
                <a:spcPts val="1960"/>
              </a:lnSpc>
              <a:buClr>
                <a:srgbClr val="62A844"/>
              </a:buClr>
              <a:buFont typeface="Arial" panose="020B0604020202020204" pitchFamily="34" charset="0"/>
              <a:buChar char="•"/>
            </a:pPr>
            <a:endParaRPr lang="en-US" dirty="0">
              <a:solidFill>
                <a:srgbClr val="0289AE"/>
              </a:solidFill>
            </a:endParaRPr>
          </a:p>
          <a:p>
            <a:pPr>
              <a:lnSpc>
                <a:spcPts val="1960"/>
              </a:lnSpc>
              <a:buClr>
                <a:srgbClr val="62A844"/>
              </a:buClr>
              <a:buNone/>
            </a:pPr>
            <a:r>
              <a:rPr lang="en-US" sz="2000" b="1" dirty="0">
                <a:solidFill>
                  <a:srgbClr val="0289AE"/>
                </a:solidFill>
              </a:rPr>
              <a:t>Your Task:</a:t>
            </a:r>
            <a:endParaRPr lang="en-US" sz="2000" dirty="0">
              <a:solidFill>
                <a:srgbClr val="0289AE"/>
              </a:solidFill>
            </a:endParaRPr>
          </a:p>
          <a:p>
            <a:pPr marL="285750" indent="-285750">
              <a:lnSpc>
                <a:spcPts val="1960"/>
              </a:lnSpc>
              <a:buClr>
                <a:srgbClr val="62A844"/>
              </a:buClr>
              <a:buFont typeface="Arial" panose="020B0604020202020204" pitchFamily="34" charset="0"/>
              <a:buChar char="•"/>
            </a:pPr>
            <a:r>
              <a:rPr lang="en-US" dirty="0">
                <a:solidFill>
                  <a:srgbClr val="262626"/>
                </a:solidFill>
              </a:rPr>
              <a:t>map the guest journey</a:t>
            </a:r>
          </a:p>
          <a:p>
            <a:pPr marL="285750" indent="-285750">
              <a:lnSpc>
                <a:spcPts val="1960"/>
              </a:lnSpc>
              <a:buClr>
                <a:srgbClr val="62A844"/>
              </a:buClr>
              <a:buFont typeface="Arial" panose="020B0604020202020204" pitchFamily="34" charset="0"/>
              <a:buChar char="•"/>
            </a:pPr>
            <a:r>
              <a:rPr lang="en-US" dirty="0">
                <a:solidFill>
                  <a:srgbClr val="262626"/>
                </a:solidFill>
              </a:rPr>
              <a:t>identify 3 sustainability-enhancing touchpoints</a:t>
            </a:r>
          </a:p>
          <a:p>
            <a:pPr marL="285750" indent="-285750">
              <a:lnSpc>
                <a:spcPts val="1960"/>
              </a:lnSpc>
              <a:buClr>
                <a:srgbClr val="62A844"/>
              </a:buClr>
              <a:buFont typeface="Arial" panose="020B0604020202020204" pitchFamily="34" charset="0"/>
              <a:buChar char="•"/>
            </a:pPr>
            <a:r>
              <a:rPr lang="en-US" dirty="0">
                <a:solidFill>
                  <a:srgbClr val="262626"/>
                </a:solidFill>
              </a:rPr>
              <a:t>propose 2 design improvements</a:t>
            </a:r>
          </a:p>
          <a:p>
            <a:pPr marL="285750" indent="-285750">
              <a:lnSpc>
                <a:spcPts val="1960"/>
              </a:lnSpc>
              <a:buClr>
                <a:srgbClr val="62A844"/>
              </a:buClr>
              <a:buFont typeface="Arial" panose="020B0604020202020204" pitchFamily="34" charset="0"/>
              <a:buChar char="•"/>
            </a:pPr>
            <a:r>
              <a:rPr lang="en-US" dirty="0">
                <a:solidFill>
                  <a:srgbClr val="262626"/>
                </a:solidFill>
              </a:rPr>
              <a:t>create 1 guest communication element</a:t>
            </a:r>
          </a:p>
          <a:p>
            <a:pPr marL="285750" indent="-285750">
              <a:lnSpc>
                <a:spcPts val="1960"/>
              </a:lnSpc>
              <a:buClr>
                <a:srgbClr val="62A844"/>
              </a:buClr>
              <a:buFont typeface="Arial" panose="020B0604020202020204" pitchFamily="34" charset="0"/>
              <a:buChar char="•"/>
            </a:pPr>
            <a:r>
              <a:rPr lang="en-US" dirty="0">
                <a:solidFill>
                  <a:srgbClr val="262626"/>
                </a:solidFill>
              </a:rPr>
              <a:t>explain how the concept improves both sustainability and customer satisfaction</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buNone/>
            </a:pPr>
            <a:r>
              <a:rPr lang="en-US" sz="2000" b="1" dirty="0">
                <a:solidFill>
                  <a:srgbClr val="0289AE"/>
                </a:solidFill>
              </a:rPr>
              <a:t>Required Output:</a:t>
            </a:r>
          </a:p>
          <a:p>
            <a:pPr marL="285750" indent="-285750">
              <a:lnSpc>
                <a:spcPts val="1960"/>
              </a:lnSpc>
              <a:buClr>
                <a:srgbClr val="62A844"/>
              </a:buClr>
              <a:buFont typeface="Arial" panose="020B0604020202020204" pitchFamily="34" charset="0"/>
              <a:buChar char="•"/>
            </a:pPr>
            <a:r>
              <a:rPr lang="en-US" dirty="0">
                <a:solidFill>
                  <a:srgbClr val="262626"/>
                </a:solidFill>
              </a:rPr>
              <a:t>guest journey map</a:t>
            </a:r>
          </a:p>
          <a:p>
            <a:pPr marL="285750" indent="-285750">
              <a:lnSpc>
                <a:spcPts val="1960"/>
              </a:lnSpc>
              <a:buClr>
                <a:srgbClr val="62A844"/>
              </a:buClr>
              <a:buFont typeface="Arial" panose="020B0604020202020204" pitchFamily="34" charset="0"/>
              <a:buChar char="•"/>
            </a:pPr>
            <a:r>
              <a:rPr lang="en-US" dirty="0">
                <a:solidFill>
                  <a:srgbClr val="262626"/>
                </a:solidFill>
              </a:rPr>
              <a:t>two design ideas</a:t>
            </a:r>
          </a:p>
          <a:p>
            <a:pPr marL="285750" indent="-285750">
              <a:lnSpc>
                <a:spcPts val="1960"/>
              </a:lnSpc>
              <a:buClr>
                <a:srgbClr val="62A844"/>
              </a:buClr>
              <a:buFont typeface="Arial" panose="020B0604020202020204" pitchFamily="34" charset="0"/>
              <a:buChar char="•"/>
            </a:pPr>
            <a:r>
              <a:rPr lang="en-US" dirty="0">
                <a:solidFill>
                  <a:srgbClr val="262626"/>
                </a:solidFill>
              </a:rPr>
              <a:t>one communication concept</a:t>
            </a:r>
          </a:p>
          <a:p>
            <a:pPr marL="285750" indent="-285750">
              <a:lnSpc>
                <a:spcPts val="1960"/>
              </a:lnSpc>
              <a:buClr>
                <a:srgbClr val="62A844"/>
              </a:buClr>
              <a:buFont typeface="Arial" panose="020B0604020202020204" pitchFamily="34" charset="0"/>
              <a:buChar char="•"/>
            </a:pPr>
            <a:r>
              <a:rPr lang="en-US" dirty="0">
                <a:solidFill>
                  <a:srgbClr val="262626"/>
                </a:solidFill>
              </a:rPr>
              <a:t>short explanation of expected impact</a:t>
            </a:r>
          </a:p>
        </p:txBody>
      </p:sp>
      <p:pic>
        <p:nvPicPr>
          <p:cNvPr id="4" name="Picture 3">
            <a:extLst>
              <a:ext uri="{FF2B5EF4-FFF2-40B4-BE49-F238E27FC236}">
                <a16:creationId xmlns:a16="http://schemas.microsoft.com/office/drawing/2014/main" id="{045028CA-E8C3-0EAB-0A21-5555216BA33D}"/>
              </a:ext>
            </a:extLst>
          </p:cNvPr>
          <p:cNvPicPr>
            <a:picLocks noChangeAspect="1"/>
          </p:cNvPicPr>
          <p:nvPr/>
        </p:nvPicPr>
        <p:blipFill>
          <a:blip r:embed="rId2" cstate="screen">
            <a:extLst>
              <a:ext uri="{28A0092B-C50C-407E-A947-70E740481C1C}">
                <a14:useLocalDpi xmlns:a14="http://schemas.microsoft.com/office/drawing/2010/main"/>
              </a:ext>
            </a:extLst>
          </a:blip>
          <a:srcRect t="13015"/>
          <a:stretch>
            <a:fillRect/>
          </a:stretch>
        </p:blipFill>
        <p:spPr>
          <a:xfrm>
            <a:off x="5085892" y="3173944"/>
            <a:ext cx="5116599" cy="3425940"/>
          </a:xfrm>
          <a:prstGeom prst="rect">
            <a:avLst/>
          </a:prstGeom>
        </p:spPr>
      </p:pic>
    </p:spTree>
    <p:extLst>
      <p:ext uri="{BB962C8B-B14F-4D97-AF65-F5344CB8AC3E}">
        <p14:creationId xmlns:p14="http://schemas.microsoft.com/office/powerpoint/2010/main" val="2297951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FB259-AE0B-6FE1-ED16-17EA557D450C}"/>
            </a:ext>
          </a:extLst>
        </p:cNvPr>
        <p:cNvGrpSpPr/>
        <p:nvPr/>
      </p:nvGrpSpPr>
      <p:grpSpPr>
        <a:xfrm>
          <a:off x="0" y="0"/>
          <a:ext cx="0" cy="0"/>
          <a:chOff x="0" y="0"/>
          <a:chExt cx="0" cy="0"/>
        </a:xfrm>
      </p:grpSpPr>
      <p:pic>
        <p:nvPicPr>
          <p:cNvPr id="5" name="Graphic 4">
            <a:extLst>
              <a:ext uri="{FF2B5EF4-FFF2-40B4-BE49-F238E27FC236}">
                <a16:creationId xmlns:a16="http://schemas.microsoft.com/office/drawing/2014/main" id="{E27E9FD7-EF37-5F95-438E-705ED21098A0}"/>
              </a:ext>
            </a:extLst>
          </p:cNvPr>
          <p:cNvPicPr>
            <a:picLocks noChangeAspect="1"/>
          </p:cNvPicPr>
          <p:nvPr/>
        </p:nvPicPr>
        <p:blipFill>
          <a:blip>
            <a:extLst>
              <a:ext uri="{96DAC541-7B7A-43D3-8B79-37D633B846F1}">
                <asvg:svgBlip xmlns:asvg="http://schemas.microsoft.com/office/drawing/2016/SVG/main" r:embed="rId2"/>
              </a:ext>
            </a:extLst>
          </a:blip>
          <a:srcRect l="31584" t="38697" r="39868" b="43173"/>
          <a:stretch/>
        </p:blipFill>
        <p:spPr>
          <a:xfrm rot="16200000">
            <a:off x="8207527" y="211545"/>
            <a:ext cx="4196018" cy="3772929"/>
          </a:xfrm>
          <a:prstGeom prst="rect">
            <a:avLst/>
          </a:prstGeom>
        </p:spPr>
      </p:pic>
      <p:cxnSp>
        <p:nvCxnSpPr>
          <p:cNvPr id="3" name="Straight Connector 2">
            <a:extLst>
              <a:ext uri="{FF2B5EF4-FFF2-40B4-BE49-F238E27FC236}">
                <a16:creationId xmlns:a16="http://schemas.microsoft.com/office/drawing/2014/main" id="{5BD1372B-C3E0-E6F3-4068-04F83CF5030B}"/>
              </a:ext>
            </a:extLst>
          </p:cNvPr>
          <p:cNvCxnSpPr>
            <a:cxnSpLocks/>
          </p:cNvCxnSpPr>
          <p:nvPr/>
        </p:nvCxnSpPr>
        <p:spPr>
          <a:xfrm>
            <a:off x="0" y="1527689"/>
            <a:ext cx="638754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1">
            <a:extLst>
              <a:ext uri="{FF2B5EF4-FFF2-40B4-BE49-F238E27FC236}">
                <a16:creationId xmlns:a16="http://schemas.microsoft.com/office/drawing/2014/main" id="{7A67B4F8-3571-BA8E-4825-171A3ECBF2B1}"/>
              </a:ext>
            </a:extLst>
          </p:cNvPr>
          <p:cNvSpPr txBox="1">
            <a:spLocks/>
          </p:cNvSpPr>
          <p:nvPr/>
        </p:nvSpPr>
        <p:spPr>
          <a:xfrm>
            <a:off x="429115" y="525832"/>
            <a:ext cx="6740312"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Worked Example: A Rural Guesthouse Experience Concept</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sp>
        <p:nvSpPr>
          <p:cNvPr id="7" name="TextBox 97">
            <a:extLst>
              <a:ext uri="{FF2B5EF4-FFF2-40B4-BE49-F238E27FC236}">
                <a16:creationId xmlns:a16="http://schemas.microsoft.com/office/drawing/2014/main" id="{3A06E8D0-463D-4530-943C-67AE3DEB6336}"/>
              </a:ext>
            </a:extLst>
          </p:cNvPr>
          <p:cNvSpPr txBox="1"/>
          <p:nvPr/>
        </p:nvSpPr>
        <p:spPr>
          <a:xfrm>
            <a:off x="457156" y="1702041"/>
            <a:ext cx="7707721" cy="4708981"/>
          </a:xfrm>
          <a:prstGeom prst="rect">
            <a:avLst/>
          </a:prstGeom>
          <a:solidFill>
            <a:schemeClr val="bg1"/>
          </a:solidFill>
        </p:spPr>
        <p:txBody>
          <a:bodyPr wrap="square">
            <a:spAutoFit/>
          </a:bodyPr>
          <a:lstStyle/>
          <a:p>
            <a:pPr>
              <a:lnSpc>
                <a:spcPts val="1960"/>
              </a:lnSpc>
            </a:pPr>
            <a:r>
              <a:rPr lang="en-US" dirty="0">
                <a:solidFill>
                  <a:srgbClr val="262626"/>
                </a:solidFill>
              </a:rPr>
              <a:t>Imagine a rural guesthouse that wants sustainability to feel warm, memorable and woven into the story.  The pre-arrival email encourages train or shared-mobility travel and introduces nearby producers. At arrival, the guest receives a simple local map and a welcome note explaining the guesthouse’s seasonal food philosophy. </a:t>
            </a:r>
          </a:p>
          <a:p>
            <a:pPr>
              <a:lnSpc>
                <a:spcPts val="1960"/>
              </a:lnSpc>
            </a:pPr>
            <a:endParaRPr lang="en-US" dirty="0">
              <a:solidFill>
                <a:srgbClr val="262626"/>
              </a:solidFill>
            </a:endParaRPr>
          </a:p>
          <a:p>
            <a:pPr>
              <a:lnSpc>
                <a:spcPts val="1960"/>
              </a:lnSpc>
            </a:pPr>
            <a:r>
              <a:rPr lang="en-US" dirty="0">
                <a:solidFill>
                  <a:srgbClr val="262626"/>
                </a:solidFill>
              </a:rPr>
              <a:t>In the room, the housekeeping-frequency choice is presented as a comfort-and-impact option rather than a restriction. At breakfast, ingredients are linked to local farms through short story cards. At departure, guests are invited to share one local discovery and are thanked for supporting a lower-impact, community-connected stay.</a:t>
            </a:r>
          </a:p>
          <a:p>
            <a:pPr>
              <a:lnSpc>
                <a:spcPts val="1960"/>
              </a:lnSpc>
            </a:pPr>
            <a:endParaRPr lang="en-US" dirty="0">
              <a:solidFill>
                <a:srgbClr val="262626"/>
              </a:solidFill>
            </a:endParaRPr>
          </a:p>
          <a:p>
            <a:pPr>
              <a:lnSpc>
                <a:spcPts val="1960"/>
              </a:lnSpc>
            </a:pPr>
            <a:r>
              <a:rPr lang="en-US" sz="2000" b="1" dirty="0">
                <a:solidFill>
                  <a:srgbClr val="0289AE"/>
                </a:solidFill>
              </a:rPr>
              <a:t>This concept works because it combines:</a:t>
            </a:r>
          </a:p>
          <a:p>
            <a:pPr marL="285750" indent="-285750">
              <a:lnSpc>
                <a:spcPts val="1960"/>
              </a:lnSpc>
              <a:buClr>
                <a:srgbClr val="62A844"/>
              </a:buClr>
              <a:buFont typeface="Arial" panose="020B0604020202020204" pitchFamily="34" charset="0"/>
              <a:buChar char="•"/>
            </a:pPr>
            <a:r>
              <a:rPr lang="en-US" dirty="0">
                <a:solidFill>
                  <a:srgbClr val="262626"/>
                </a:solidFill>
              </a:rPr>
              <a:t>clarity</a:t>
            </a:r>
          </a:p>
          <a:p>
            <a:pPr marL="285750" indent="-285750">
              <a:lnSpc>
                <a:spcPts val="1960"/>
              </a:lnSpc>
              <a:buClr>
                <a:srgbClr val="62A844"/>
              </a:buClr>
              <a:buFont typeface="Arial" panose="020B0604020202020204" pitchFamily="34" charset="0"/>
              <a:buChar char="•"/>
            </a:pPr>
            <a:r>
              <a:rPr lang="en-US" dirty="0">
                <a:solidFill>
                  <a:srgbClr val="262626"/>
                </a:solidFill>
              </a:rPr>
              <a:t>local meaning</a:t>
            </a:r>
          </a:p>
          <a:p>
            <a:pPr marL="285750" indent="-285750">
              <a:lnSpc>
                <a:spcPts val="1960"/>
              </a:lnSpc>
              <a:buClr>
                <a:srgbClr val="62A844"/>
              </a:buClr>
              <a:buFont typeface="Arial" panose="020B0604020202020204" pitchFamily="34" charset="0"/>
              <a:buChar char="•"/>
            </a:pPr>
            <a:r>
              <a:rPr lang="en-US" dirty="0">
                <a:solidFill>
                  <a:srgbClr val="262626"/>
                </a:solidFill>
              </a:rPr>
              <a:t>gentle </a:t>
            </a:r>
            <a:r>
              <a:rPr lang="en-US" dirty="0" err="1">
                <a:solidFill>
                  <a:srgbClr val="262626"/>
                </a:solidFill>
              </a:rPr>
              <a:t>behavioural</a:t>
            </a:r>
            <a:r>
              <a:rPr lang="en-US" dirty="0">
                <a:solidFill>
                  <a:srgbClr val="262626"/>
                </a:solidFill>
              </a:rPr>
              <a:t> design</a:t>
            </a:r>
          </a:p>
          <a:p>
            <a:pPr marL="285750" indent="-285750">
              <a:lnSpc>
                <a:spcPts val="1960"/>
              </a:lnSpc>
              <a:buClr>
                <a:srgbClr val="62A844"/>
              </a:buClr>
              <a:buFont typeface="Arial" panose="020B0604020202020204" pitchFamily="34" charset="0"/>
              <a:buChar char="•"/>
            </a:pPr>
            <a:r>
              <a:rPr lang="en-US" dirty="0">
                <a:solidFill>
                  <a:srgbClr val="262626"/>
                </a:solidFill>
              </a:rPr>
              <a:t>visible but credible sustainability</a:t>
            </a:r>
          </a:p>
          <a:p>
            <a:pPr marL="285750" indent="-285750">
              <a:lnSpc>
                <a:spcPts val="1960"/>
              </a:lnSpc>
              <a:buClr>
                <a:srgbClr val="62A844"/>
              </a:buClr>
              <a:buFont typeface="Arial" panose="020B0604020202020204" pitchFamily="34" charset="0"/>
              <a:buChar char="•"/>
            </a:pPr>
            <a:r>
              <a:rPr lang="en-US" dirty="0">
                <a:solidFill>
                  <a:srgbClr val="262626"/>
                </a:solidFill>
              </a:rPr>
              <a:t>guest participation that feels invited</a:t>
            </a:r>
          </a:p>
        </p:txBody>
      </p:sp>
      <p:pic>
        <p:nvPicPr>
          <p:cNvPr id="9" name="Picture 8" descr="iPhone6_mockup_front_white.png">
            <a:extLst>
              <a:ext uri="{FF2B5EF4-FFF2-40B4-BE49-F238E27FC236}">
                <a16:creationId xmlns:a16="http://schemas.microsoft.com/office/drawing/2014/main" id="{1F4C9E73-D32E-AD74-4715-A3AF6D041C0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68850" y="226918"/>
            <a:ext cx="4094254" cy="6404164"/>
          </a:xfrm>
          <a:prstGeom prst="rect">
            <a:avLst/>
          </a:prstGeom>
        </p:spPr>
      </p:pic>
      <p:pic>
        <p:nvPicPr>
          <p:cNvPr id="11" name="Grafik 15">
            <a:extLst>
              <a:ext uri="{FF2B5EF4-FFF2-40B4-BE49-F238E27FC236}">
                <a16:creationId xmlns:a16="http://schemas.microsoft.com/office/drawing/2014/main" id="{629D5241-8C94-354B-737A-9BBA9FFC674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31033" r="31033"/>
          <a:stretch>
            <a:fillRect/>
          </a:stretch>
        </p:blipFill>
        <p:spPr>
          <a:xfrm>
            <a:off x="8560904" y="1238343"/>
            <a:ext cx="2478157" cy="4354074"/>
          </a:xfrm>
          <a:prstGeom prst="rect">
            <a:avLst/>
          </a:prstGeom>
        </p:spPr>
      </p:pic>
    </p:spTree>
    <p:extLst>
      <p:ext uri="{BB962C8B-B14F-4D97-AF65-F5344CB8AC3E}">
        <p14:creationId xmlns:p14="http://schemas.microsoft.com/office/powerpoint/2010/main" val="26690704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F80E7-305C-D252-0528-FA18796B02B9}"/>
            </a:ext>
          </a:extLst>
        </p:cNvPr>
        <p:cNvGrpSpPr/>
        <p:nvPr/>
      </p:nvGrpSpPr>
      <p:grpSpPr>
        <a:xfrm>
          <a:off x="0" y="0"/>
          <a:ext cx="0" cy="0"/>
          <a:chOff x="0" y="0"/>
          <a:chExt cx="0" cy="0"/>
        </a:xfrm>
      </p:grpSpPr>
      <p:pic>
        <p:nvPicPr>
          <p:cNvPr id="94" name="Graphic 93">
            <a:extLst>
              <a:ext uri="{FF2B5EF4-FFF2-40B4-BE49-F238E27FC236}">
                <a16:creationId xmlns:a16="http://schemas.microsoft.com/office/drawing/2014/main" id="{D6E15BE9-3BD5-242C-E6E1-81CBD01728E4}"/>
              </a:ext>
            </a:extLst>
          </p:cNvPr>
          <p:cNvPicPr>
            <a:picLocks noChangeAspect="1"/>
          </p:cNvPicPr>
          <p:nvPr/>
        </p:nvPicPr>
        <p:blipFill>
          <a:blip>
            <a:extLst>
              <a:ext uri="{96DAC541-7B7A-43D3-8B79-37D633B846F1}">
                <asvg:svgBlip xmlns:asvg="http://schemas.microsoft.com/office/drawing/2016/SVG/main" r:embed="rId2"/>
              </a:ext>
            </a:extLst>
          </a:blip>
          <a:srcRect l="31584" t="38697" r="39868" b="43173"/>
          <a:stretch/>
        </p:blipFill>
        <p:spPr>
          <a:xfrm>
            <a:off x="8259320" y="3289605"/>
            <a:ext cx="3968548" cy="3568395"/>
          </a:xfrm>
          <a:prstGeom prst="rect">
            <a:avLst/>
          </a:prstGeom>
        </p:spPr>
      </p:pic>
      <p:sp>
        <p:nvSpPr>
          <p:cNvPr id="6" name="TextBox 97">
            <a:extLst>
              <a:ext uri="{FF2B5EF4-FFF2-40B4-BE49-F238E27FC236}">
                <a16:creationId xmlns:a16="http://schemas.microsoft.com/office/drawing/2014/main" id="{1E978CF9-027C-AC88-ABF6-7FBFB9967B34}"/>
              </a:ext>
            </a:extLst>
          </p:cNvPr>
          <p:cNvSpPr txBox="1"/>
          <p:nvPr/>
        </p:nvSpPr>
        <p:spPr>
          <a:xfrm>
            <a:off x="278992" y="1197026"/>
            <a:ext cx="12020803" cy="400110"/>
          </a:xfrm>
          <a:prstGeom prst="rect">
            <a:avLst/>
          </a:prstGeom>
          <a:solidFill>
            <a:schemeClr val="bg1"/>
          </a:solidFill>
        </p:spPr>
        <p:txBody>
          <a:bodyPr wrap="square">
            <a:spAutoFit/>
          </a:bodyPr>
          <a:lstStyle/>
          <a:p>
            <a:pPr>
              <a:buNone/>
            </a:pPr>
            <a:r>
              <a:rPr lang="en-US" sz="2000" dirty="0">
                <a:solidFill>
                  <a:srgbClr val="262626"/>
                </a:solidFill>
              </a:rPr>
              <a:t>Prepare a short </a:t>
            </a:r>
            <a:r>
              <a:rPr lang="en-US" sz="2000" b="1" dirty="0">
                <a:solidFill>
                  <a:srgbClr val="262626"/>
                </a:solidFill>
              </a:rPr>
              <a:t>3–5 slide concept presentation</a:t>
            </a:r>
            <a:r>
              <a:rPr lang="en-US" sz="2000" dirty="0">
                <a:solidFill>
                  <a:srgbClr val="262626"/>
                </a:solidFill>
              </a:rPr>
              <a:t> or </a:t>
            </a:r>
            <a:r>
              <a:rPr lang="en-US" sz="2000" b="1" dirty="0">
                <a:solidFill>
                  <a:srgbClr val="262626"/>
                </a:solidFill>
              </a:rPr>
              <a:t>one-page action sheet</a:t>
            </a:r>
            <a:r>
              <a:rPr lang="en-US" sz="2000" dirty="0">
                <a:solidFill>
                  <a:srgbClr val="262626"/>
                </a:solidFill>
              </a:rPr>
              <a:t> including:</a:t>
            </a:r>
          </a:p>
        </p:txBody>
      </p:sp>
      <p:sp>
        <p:nvSpPr>
          <p:cNvPr id="20" name="Rectangle 30">
            <a:extLst>
              <a:ext uri="{FF2B5EF4-FFF2-40B4-BE49-F238E27FC236}">
                <a16:creationId xmlns:a16="http://schemas.microsoft.com/office/drawing/2014/main" id="{CCCA0F81-7320-321B-95BE-1911AB956950}"/>
              </a:ext>
            </a:extLst>
          </p:cNvPr>
          <p:cNvSpPr/>
          <p:nvPr/>
        </p:nvSpPr>
        <p:spPr>
          <a:xfrm flipH="1">
            <a:off x="255930" y="6077343"/>
            <a:ext cx="7750516" cy="369332"/>
          </a:xfrm>
          <a:prstGeom prst="rect">
            <a:avLst/>
          </a:prstGeom>
        </p:spPr>
        <p:txBody>
          <a:bodyPr wrap="square">
            <a:spAutoFit/>
          </a:bodyPr>
          <a:lstStyle/>
          <a:p>
            <a:r>
              <a:rPr lang="en-US" b="1" dirty="0">
                <a:solidFill>
                  <a:srgbClr val="62A844"/>
                </a:solidFill>
              </a:rPr>
              <a:t>Extension option: </a:t>
            </a:r>
            <a:r>
              <a:rPr lang="en-US" dirty="0">
                <a:solidFill>
                  <a:srgbClr val="62A844"/>
                </a:solidFill>
              </a:rPr>
              <a:t>Pilot one change and report the early result.</a:t>
            </a:r>
          </a:p>
        </p:txBody>
      </p:sp>
      <p:sp>
        <p:nvSpPr>
          <p:cNvPr id="3" name="Rectangle 23">
            <a:extLst>
              <a:ext uri="{FF2B5EF4-FFF2-40B4-BE49-F238E27FC236}">
                <a16:creationId xmlns:a16="http://schemas.microsoft.com/office/drawing/2014/main" id="{2BF10396-31B1-B509-3E59-FCCD07709C2C}"/>
              </a:ext>
            </a:extLst>
          </p:cNvPr>
          <p:cNvSpPr/>
          <p:nvPr/>
        </p:nvSpPr>
        <p:spPr>
          <a:xfrm>
            <a:off x="7926986" y="1849259"/>
            <a:ext cx="2304000"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7" name="Rectangle 16">
            <a:extLst>
              <a:ext uri="{FF2B5EF4-FFF2-40B4-BE49-F238E27FC236}">
                <a16:creationId xmlns:a16="http://schemas.microsoft.com/office/drawing/2014/main" id="{E259240B-8D55-F1C2-1F89-9813DFE28C38}"/>
              </a:ext>
            </a:extLst>
          </p:cNvPr>
          <p:cNvSpPr/>
          <p:nvPr/>
        </p:nvSpPr>
        <p:spPr>
          <a:xfrm>
            <a:off x="5407476" y="1849260"/>
            <a:ext cx="2304000"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8" name="Oval 18">
            <a:extLst>
              <a:ext uri="{FF2B5EF4-FFF2-40B4-BE49-F238E27FC236}">
                <a16:creationId xmlns:a16="http://schemas.microsoft.com/office/drawing/2014/main" id="{D23F4F32-1666-CB5C-AD32-6E50524CBF79}"/>
              </a:ext>
            </a:extLst>
          </p:cNvPr>
          <p:cNvSpPr/>
          <p:nvPr/>
        </p:nvSpPr>
        <p:spPr>
          <a:xfrm>
            <a:off x="7341921" y="1918480"/>
            <a:ext cx="538934" cy="538934"/>
          </a:xfrm>
          <a:prstGeom prst="ellipse">
            <a:avLst/>
          </a:prstGeom>
          <a:solidFill>
            <a:srgbClr val="62A84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gt;</a:t>
            </a:r>
          </a:p>
        </p:txBody>
      </p:sp>
      <p:sp>
        <p:nvSpPr>
          <p:cNvPr id="9" name="Rectangle 9">
            <a:extLst>
              <a:ext uri="{FF2B5EF4-FFF2-40B4-BE49-F238E27FC236}">
                <a16:creationId xmlns:a16="http://schemas.microsoft.com/office/drawing/2014/main" id="{A1A888B7-171A-5461-E5BB-ED27D85E9211}"/>
              </a:ext>
            </a:extLst>
          </p:cNvPr>
          <p:cNvSpPr/>
          <p:nvPr/>
        </p:nvSpPr>
        <p:spPr>
          <a:xfrm>
            <a:off x="2887967" y="1849261"/>
            <a:ext cx="2304000"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10" name="Oval 11">
            <a:extLst>
              <a:ext uri="{FF2B5EF4-FFF2-40B4-BE49-F238E27FC236}">
                <a16:creationId xmlns:a16="http://schemas.microsoft.com/office/drawing/2014/main" id="{74DF9A8B-4D26-BE08-86C7-AC730A8580CE}"/>
              </a:ext>
            </a:extLst>
          </p:cNvPr>
          <p:cNvSpPr/>
          <p:nvPr/>
        </p:nvSpPr>
        <p:spPr>
          <a:xfrm>
            <a:off x="4825441" y="1918481"/>
            <a:ext cx="538934" cy="538934"/>
          </a:xfrm>
          <a:prstGeom prst="ellipse">
            <a:avLst/>
          </a:prstGeom>
          <a:solidFill>
            <a:srgbClr val="62A84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gt;</a:t>
            </a:r>
          </a:p>
        </p:txBody>
      </p:sp>
      <p:sp>
        <p:nvSpPr>
          <p:cNvPr id="11" name="Rectangle 1">
            <a:extLst>
              <a:ext uri="{FF2B5EF4-FFF2-40B4-BE49-F238E27FC236}">
                <a16:creationId xmlns:a16="http://schemas.microsoft.com/office/drawing/2014/main" id="{20069D24-D335-90E5-D09B-4E00CFF2817A}"/>
              </a:ext>
            </a:extLst>
          </p:cNvPr>
          <p:cNvSpPr/>
          <p:nvPr/>
        </p:nvSpPr>
        <p:spPr>
          <a:xfrm>
            <a:off x="368458" y="1849262"/>
            <a:ext cx="2304000"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12" name="Oval 6">
            <a:extLst>
              <a:ext uri="{FF2B5EF4-FFF2-40B4-BE49-F238E27FC236}">
                <a16:creationId xmlns:a16="http://schemas.microsoft.com/office/drawing/2014/main" id="{A6121E08-5912-D46E-E609-00B547B25BE4}"/>
              </a:ext>
            </a:extLst>
          </p:cNvPr>
          <p:cNvSpPr/>
          <p:nvPr/>
        </p:nvSpPr>
        <p:spPr>
          <a:xfrm>
            <a:off x="2328614" y="1918482"/>
            <a:ext cx="538934" cy="538934"/>
          </a:xfrm>
          <a:prstGeom prst="ellipse">
            <a:avLst/>
          </a:prstGeom>
          <a:solidFill>
            <a:srgbClr val="62A84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gt;</a:t>
            </a:r>
          </a:p>
        </p:txBody>
      </p:sp>
      <p:sp>
        <p:nvSpPr>
          <p:cNvPr id="13" name="Text Placeholder 8">
            <a:extLst>
              <a:ext uri="{FF2B5EF4-FFF2-40B4-BE49-F238E27FC236}">
                <a16:creationId xmlns:a16="http://schemas.microsoft.com/office/drawing/2014/main" id="{EBD9A4F1-B661-26CE-A8AD-9B0980F0CAC2}"/>
              </a:ext>
            </a:extLst>
          </p:cNvPr>
          <p:cNvSpPr txBox="1">
            <a:spLocks/>
          </p:cNvSpPr>
          <p:nvPr/>
        </p:nvSpPr>
        <p:spPr>
          <a:xfrm>
            <a:off x="462567" y="1974252"/>
            <a:ext cx="1533171" cy="13153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720"/>
              </a:lnSpc>
              <a:spcBef>
                <a:spcPts val="0"/>
              </a:spcBef>
              <a:buNone/>
            </a:pPr>
            <a:r>
              <a:rPr lang="en-US" sz="1600" b="1" dirty="0">
                <a:solidFill>
                  <a:srgbClr val="0289AE"/>
                </a:solidFill>
              </a:rPr>
              <a:t>A Guest Journey Map</a:t>
            </a:r>
          </a:p>
          <a:p>
            <a:pPr marL="0" indent="0">
              <a:lnSpc>
                <a:spcPts val="1720"/>
              </a:lnSpc>
              <a:spcBef>
                <a:spcPts val="0"/>
              </a:spcBef>
              <a:buNone/>
            </a:pPr>
            <a:endParaRPr lang="en-US" sz="1600" b="1" dirty="0">
              <a:solidFill>
                <a:srgbClr val="0289AE"/>
              </a:solidFill>
              <a:latin typeface="+mj-lt"/>
            </a:endParaRPr>
          </a:p>
        </p:txBody>
      </p:sp>
      <p:sp>
        <p:nvSpPr>
          <p:cNvPr id="18" name="Text Placeholder 32">
            <a:extLst>
              <a:ext uri="{FF2B5EF4-FFF2-40B4-BE49-F238E27FC236}">
                <a16:creationId xmlns:a16="http://schemas.microsoft.com/office/drawing/2014/main" id="{0602F510-7400-29AF-15BC-7678D3A3DDE0}"/>
              </a:ext>
            </a:extLst>
          </p:cNvPr>
          <p:cNvSpPr txBox="1">
            <a:spLocks/>
          </p:cNvSpPr>
          <p:nvPr/>
        </p:nvSpPr>
        <p:spPr>
          <a:xfrm>
            <a:off x="2959394" y="1974252"/>
            <a:ext cx="1600539" cy="1315353"/>
          </a:xfrm>
          <a:prstGeom prst="rect">
            <a:avLst/>
          </a:prstGeom>
        </p:spPr>
        <p:txBody>
          <a:bodyPr/>
          <a:lstStyle>
            <a:defPPr>
              <a:defRPr lang="en-US"/>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ts val="1720"/>
              </a:lnSpc>
              <a:spcBef>
                <a:spcPts val="0"/>
              </a:spcBef>
            </a:pPr>
            <a:r>
              <a:rPr lang="en-US" sz="1600" b="1" dirty="0">
                <a:solidFill>
                  <a:srgbClr val="0289AE"/>
                </a:solidFill>
              </a:rPr>
              <a:t>Two Experience Design Ideas</a:t>
            </a:r>
          </a:p>
          <a:p>
            <a:pPr>
              <a:lnSpc>
                <a:spcPts val="1720"/>
              </a:lnSpc>
              <a:spcBef>
                <a:spcPts val="0"/>
              </a:spcBef>
            </a:pPr>
            <a:endParaRPr lang="en-US" sz="1600" b="1" dirty="0">
              <a:solidFill>
                <a:srgbClr val="0289AE"/>
              </a:solidFill>
            </a:endParaRPr>
          </a:p>
        </p:txBody>
      </p:sp>
      <p:sp>
        <p:nvSpPr>
          <p:cNvPr id="25" name="Text Placeholder 40">
            <a:extLst>
              <a:ext uri="{FF2B5EF4-FFF2-40B4-BE49-F238E27FC236}">
                <a16:creationId xmlns:a16="http://schemas.microsoft.com/office/drawing/2014/main" id="{16FEC77E-7623-89F4-F002-977F68F15E41}"/>
              </a:ext>
            </a:extLst>
          </p:cNvPr>
          <p:cNvSpPr txBox="1">
            <a:spLocks/>
          </p:cNvSpPr>
          <p:nvPr/>
        </p:nvSpPr>
        <p:spPr>
          <a:xfrm>
            <a:off x="5523675" y="1974252"/>
            <a:ext cx="1648867" cy="1315353"/>
          </a:xfrm>
          <a:prstGeom prst="rect">
            <a:avLst/>
          </a:prstGeom>
        </p:spPr>
        <p:txBody>
          <a:bodyPr/>
          <a:lstStyle>
            <a:defPPr>
              <a:defRPr lang="en-US"/>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ts val="1720"/>
              </a:lnSpc>
              <a:spcBef>
                <a:spcPts val="0"/>
              </a:spcBef>
            </a:pPr>
            <a:r>
              <a:rPr lang="de-DE" sz="1600" b="1" dirty="0" err="1">
                <a:solidFill>
                  <a:srgbClr val="0289AE"/>
                </a:solidFill>
              </a:rPr>
              <a:t>One</a:t>
            </a:r>
            <a:r>
              <a:rPr lang="de-DE" sz="1600" b="1" dirty="0">
                <a:solidFill>
                  <a:srgbClr val="0289AE"/>
                </a:solidFill>
              </a:rPr>
              <a:t> Guest Communication Output</a:t>
            </a:r>
          </a:p>
          <a:p>
            <a:pPr>
              <a:lnSpc>
                <a:spcPts val="1720"/>
              </a:lnSpc>
              <a:spcBef>
                <a:spcPts val="0"/>
              </a:spcBef>
            </a:pPr>
            <a:endParaRPr lang="en-US" sz="1600" b="1" dirty="0">
              <a:solidFill>
                <a:srgbClr val="0289AE"/>
              </a:solidFill>
            </a:endParaRPr>
          </a:p>
        </p:txBody>
      </p:sp>
      <p:grpSp>
        <p:nvGrpSpPr>
          <p:cNvPr id="32" name="Group 31">
            <a:extLst>
              <a:ext uri="{FF2B5EF4-FFF2-40B4-BE49-F238E27FC236}">
                <a16:creationId xmlns:a16="http://schemas.microsoft.com/office/drawing/2014/main" id="{A69FD231-A8A7-F4D8-701E-C550F2319002}"/>
              </a:ext>
            </a:extLst>
          </p:cNvPr>
          <p:cNvGrpSpPr/>
          <p:nvPr/>
        </p:nvGrpSpPr>
        <p:grpSpPr>
          <a:xfrm>
            <a:off x="560958" y="3414596"/>
            <a:ext cx="1952043" cy="1980650"/>
            <a:chOff x="5028889" y="6149665"/>
            <a:chExt cx="1595287" cy="1980650"/>
          </a:xfrm>
        </p:grpSpPr>
        <p:grpSp>
          <p:nvGrpSpPr>
            <p:cNvPr id="33" name="Group 32">
              <a:extLst>
                <a:ext uri="{FF2B5EF4-FFF2-40B4-BE49-F238E27FC236}">
                  <a16:creationId xmlns:a16="http://schemas.microsoft.com/office/drawing/2014/main" id="{9E38F45B-7077-999D-7E08-3B9FE5FD0C45}"/>
                </a:ext>
              </a:extLst>
            </p:cNvPr>
            <p:cNvGrpSpPr/>
            <p:nvPr/>
          </p:nvGrpSpPr>
          <p:grpSpPr>
            <a:xfrm>
              <a:off x="5028889" y="6149665"/>
              <a:ext cx="1595287" cy="792260"/>
              <a:chOff x="1076334" y="5023887"/>
              <a:chExt cx="3415455" cy="785706"/>
            </a:xfrm>
          </p:grpSpPr>
          <p:cxnSp>
            <p:nvCxnSpPr>
              <p:cNvPr id="38" name="Straight Connector 37">
                <a:extLst>
                  <a:ext uri="{FF2B5EF4-FFF2-40B4-BE49-F238E27FC236}">
                    <a16:creationId xmlns:a16="http://schemas.microsoft.com/office/drawing/2014/main" id="{1534FDD1-5544-7C50-6B0A-57CC464428FD}"/>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AE1AED7-E86C-FFED-4894-3A6425D424E9}"/>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9A1C8A3-C885-A8D8-3694-F0E02297800A}"/>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EC82F8BF-08B2-A1E0-BEC1-940DCDDBB21F}"/>
                </a:ext>
              </a:extLst>
            </p:cNvPr>
            <p:cNvGrpSpPr/>
            <p:nvPr/>
          </p:nvGrpSpPr>
          <p:grpSpPr>
            <a:xfrm>
              <a:off x="5028889" y="7338055"/>
              <a:ext cx="1595287" cy="792260"/>
              <a:chOff x="1076334" y="5023887"/>
              <a:chExt cx="3415455" cy="785706"/>
            </a:xfrm>
          </p:grpSpPr>
          <p:cxnSp>
            <p:nvCxnSpPr>
              <p:cNvPr id="35" name="Straight Connector 34">
                <a:extLst>
                  <a:ext uri="{FF2B5EF4-FFF2-40B4-BE49-F238E27FC236}">
                    <a16:creationId xmlns:a16="http://schemas.microsoft.com/office/drawing/2014/main" id="{C5035E2B-1F33-2B06-9E54-2C126AAE1CE9}"/>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84FDDCA-86FD-F0FC-6183-F6C516DBE208}"/>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5924513-6B30-1216-D4E0-8CE91EE6555A}"/>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sp>
        <p:nvSpPr>
          <p:cNvPr id="42" name="Text Placeholder 11">
            <a:extLst>
              <a:ext uri="{FF2B5EF4-FFF2-40B4-BE49-F238E27FC236}">
                <a16:creationId xmlns:a16="http://schemas.microsoft.com/office/drawing/2014/main" id="{9F46FF7C-5490-206B-A8D7-3EFCC4210318}"/>
              </a:ext>
            </a:extLst>
          </p:cNvPr>
          <p:cNvSpPr txBox="1">
            <a:spLocks/>
          </p:cNvSpPr>
          <p:nvPr/>
        </p:nvSpPr>
        <p:spPr>
          <a:xfrm>
            <a:off x="429115" y="252856"/>
            <a:ext cx="7198320" cy="764209"/>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Assessment Task</a:t>
            </a:r>
          </a:p>
        </p:txBody>
      </p:sp>
      <p:cxnSp>
        <p:nvCxnSpPr>
          <p:cNvPr id="47" name="Straight Connector 46">
            <a:extLst>
              <a:ext uri="{FF2B5EF4-FFF2-40B4-BE49-F238E27FC236}">
                <a16:creationId xmlns:a16="http://schemas.microsoft.com/office/drawing/2014/main" id="{4FC711B4-96CE-F371-4D6C-4457FF1E4419}"/>
              </a:ext>
            </a:extLst>
          </p:cNvPr>
          <p:cNvCxnSpPr>
            <a:cxnSpLocks/>
          </p:cNvCxnSpPr>
          <p:nvPr/>
        </p:nvCxnSpPr>
        <p:spPr>
          <a:xfrm>
            <a:off x="0" y="936660"/>
            <a:ext cx="596590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1FFCD9F2-FCB7-04D5-30AE-4F178A67AD84}"/>
              </a:ext>
            </a:extLst>
          </p:cNvPr>
          <p:cNvGrpSpPr/>
          <p:nvPr/>
        </p:nvGrpSpPr>
        <p:grpSpPr>
          <a:xfrm>
            <a:off x="3056573" y="3414596"/>
            <a:ext cx="1952043" cy="1980650"/>
            <a:chOff x="5028889" y="6149665"/>
            <a:chExt cx="1595287" cy="1980650"/>
          </a:xfrm>
        </p:grpSpPr>
        <p:grpSp>
          <p:nvGrpSpPr>
            <p:cNvPr id="50" name="Group 49">
              <a:extLst>
                <a:ext uri="{FF2B5EF4-FFF2-40B4-BE49-F238E27FC236}">
                  <a16:creationId xmlns:a16="http://schemas.microsoft.com/office/drawing/2014/main" id="{C154AE50-1AC1-D19E-24FE-DD11DF1BDBA3}"/>
                </a:ext>
              </a:extLst>
            </p:cNvPr>
            <p:cNvGrpSpPr/>
            <p:nvPr/>
          </p:nvGrpSpPr>
          <p:grpSpPr>
            <a:xfrm>
              <a:off x="5028889" y="6149665"/>
              <a:ext cx="1595287" cy="792260"/>
              <a:chOff x="1076334" y="5023887"/>
              <a:chExt cx="3415455" cy="785706"/>
            </a:xfrm>
          </p:grpSpPr>
          <p:cxnSp>
            <p:nvCxnSpPr>
              <p:cNvPr id="55" name="Straight Connector 54">
                <a:extLst>
                  <a:ext uri="{FF2B5EF4-FFF2-40B4-BE49-F238E27FC236}">
                    <a16:creationId xmlns:a16="http://schemas.microsoft.com/office/drawing/2014/main" id="{DA5AD7F7-39DF-4165-8AC5-2C501340A5DD}"/>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347DDAD-51F6-3375-30BB-B369C0CF9C33}"/>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6133B76-4921-C68E-3357-5774DEC7EA13}"/>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28E9D584-F993-3CF4-F452-F22C2270ADE1}"/>
                </a:ext>
              </a:extLst>
            </p:cNvPr>
            <p:cNvGrpSpPr/>
            <p:nvPr/>
          </p:nvGrpSpPr>
          <p:grpSpPr>
            <a:xfrm>
              <a:off x="5028889" y="7338055"/>
              <a:ext cx="1595287" cy="792260"/>
              <a:chOff x="1076334" y="5023887"/>
              <a:chExt cx="3415455" cy="785706"/>
            </a:xfrm>
          </p:grpSpPr>
          <p:cxnSp>
            <p:nvCxnSpPr>
              <p:cNvPr id="52" name="Straight Connector 51">
                <a:extLst>
                  <a:ext uri="{FF2B5EF4-FFF2-40B4-BE49-F238E27FC236}">
                    <a16:creationId xmlns:a16="http://schemas.microsoft.com/office/drawing/2014/main" id="{D3352694-1D64-9F01-334A-29D964FAF21D}"/>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C9208C8-BA07-F456-B76C-9BBF7F445437}"/>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8D2EAB-6B44-68B0-BC99-4A9BD67C322E}"/>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58" name="Group 57">
            <a:extLst>
              <a:ext uri="{FF2B5EF4-FFF2-40B4-BE49-F238E27FC236}">
                <a16:creationId xmlns:a16="http://schemas.microsoft.com/office/drawing/2014/main" id="{7B37FEDB-770C-2013-13F9-F28BAD96D600}"/>
              </a:ext>
            </a:extLst>
          </p:cNvPr>
          <p:cNvGrpSpPr/>
          <p:nvPr/>
        </p:nvGrpSpPr>
        <p:grpSpPr>
          <a:xfrm>
            <a:off x="5619642" y="3414596"/>
            <a:ext cx="1952043" cy="1980650"/>
            <a:chOff x="5028889" y="6149665"/>
            <a:chExt cx="1595287" cy="1980650"/>
          </a:xfrm>
        </p:grpSpPr>
        <p:grpSp>
          <p:nvGrpSpPr>
            <p:cNvPr id="59" name="Group 58">
              <a:extLst>
                <a:ext uri="{FF2B5EF4-FFF2-40B4-BE49-F238E27FC236}">
                  <a16:creationId xmlns:a16="http://schemas.microsoft.com/office/drawing/2014/main" id="{1E447051-95E0-6CCE-1675-A02B10F76894}"/>
                </a:ext>
              </a:extLst>
            </p:cNvPr>
            <p:cNvGrpSpPr/>
            <p:nvPr/>
          </p:nvGrpSpPr>
          <p:grpSpPr>
            <a:xfrm>
              <a:off x="5028889" y="6149665"/>
              <a:ext cx="1595287" cy="792260"/>
              <a:chOff x="1076334" y="5023887"/>
              <a:chExt cx="3415455" cy="785706"/>
            </a:xfrm>
          </p:grpSpPr>
          <p:cxnSp>
            <p:nvCxnSpPr>
              <p:cNvPr id="64" name="Straight Connector 63">
                <a:extLst>
                  <a:ext uri="{FF2B5EF4-FFF2-40B4-BE49-F238E27FC236}">
                    <a16:creationId xmlns:a16="http://schemas.microsoft.com/office/drawing/2014/main" id="{AF3CC2AB-9F3E-C2AB-D590-77430BEE0A48}"/>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10D245A-A276-66C6-59FA-279F7DB3BBDC}"/>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5A31E9-6846-8C68-3BFB-C73E0486C5CD}"/>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126FDCC2-E060-BFA5-B1E0-8A2C6399B945}"/>
                </a:ext>
              </a:extLst>
            </p:cNvPr>
            <p:cNvGrpSpPr/>
            <p:nvPr/>
          </p:nvGrpSpPr>
          <p:grpSpPr>
            <a:xfrm>
              <a:off x="5028889" y="7338055"/>
              <a:ext cx="1595287" cy="792260"/>
              <a:chOff x="1076334" y="5023887"/>
              <a:chExt cx="3415455" cy="785706"/>
            </a:xfrm>
          </p:grpSpPr>
          <p:cxnSp>
            <p:nvCxnSpPr>
              <p:cNvPr id="61" name="Straight Connector 60">
                <a:extLst>
                  <a:ext uri="{FF2B5EF4-FFF2-40B4-BE49-F238E27FC236}">
                    <a16:creationId xmlns:a16="http://schemas.microsoft.com/office/drawing/2014/main" id="{4C276176-41D6-B68B-3293-CF46E4C43FD6}"/>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86ABCF0-A331-A35A-9D02-E2C706D92F5D}"/>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FB20F51-FCDD-E23C-48E5-22492A29FB50}"/>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67" name="Group 66">
            <a:extLst>
              <a:ext uri="{FF2B5EF4-FFF2-40B4-BE49-F238E27FC236}">
                <a16:creationId xmlns:a16="http://schemas.microsoft.com/office/drawing/2014/main" id="{D5E8B389-8C88-EC64-094F-DA363FD8529C}"/>
              </a:ext>
            </a:extLst>
          </p:cNvPr>
          <p:cNvGrpSpPr/>
          <p:nvPr/>
        </p:nvGrpSpPr>
        <p:grpSpPr>
          <a:xfrm>
            <a:off x="8129563" y="3414596"/>
            <a:ext cx="1952043" cy="1980650"/>
            <a:chOff x="5028889" y="6149665"/>
            <a:chExt cx="1595287" cy="1980650"/>
          </a:xfrm>
        </p:grpSpPr>
        <p:grpSp>
          <p:nvGrpSpPr>
            <p:cNvPr id="68" name="Group 67">
              <a:extLst>
                <a:ext uri="{FF2B5EF4-FFF2-40B4-BE49-F238E27FC236}">
                  <a16:creationId xmlns:a16="http://schemas.microsoft.com/office/drawing/2014/main" id="{25AFBF64-9F36-AB08-B99C-1722F1D36DF9}"/>
                </a:ext>
              </a:extLst>
            </p:cNvPr>
            <p:cNvGrpSpPr/>
            <p:nvPr/>
          </p:nvGrpSpPr>
          <p:grpSpPr>
            <a:xfrm>
              <a:off x="5028889" y="6149665"/>
              <a:ext cx="1595287" cy="792260"/>
              <a:chOff x="1076334" y="5023887"/>
              <a:chExt cx="3415455" cy="785706"/>
            </a:xfrm>
          </p:grpSpPr>
          <p:cxnSp>
            <p:nvCxnSpPr>
              <p:cNvPr id="73" name="Straight Connector 72">
                <a:extLst>
                  <a:ext uri="{FF2B5EF4-FFF2-40B4-BE49-F238E27FC236}">
                    <a16:creationId xmlns:a16="http://schemas.microsoft.com/office/drawing/2014/main" id="{3A47CE4C-2B52-F128-1787-E212C2CC9A27}"/>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C099A2D-375A-2C76-5300-3426DD7F5697}"/>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3D120B6-5B3E-2B0B-7199-88DE0125C2CF}"/>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4990C174-6C3F-1D3A-1C67-E93157D18D03}"/>
                </a:ext>
              </a:extLst>
            </p:cNvPr>
            <p:cNvGrpSpPr/>
            <p:nvPr/>
          </p:nvGrpSpPr>
          <p:grpSpPr>
            <a:xfrm>
              <a:off x="5028889" y="7338055"/>
              <a:ext cx="1595287" cy="792260"/>
              <a:chOff x="1076334" y="5023887"/>
              <a:chExt cx="3415455" cy="785706"/>
            </a:xfrm>
          </p:grpSpPr>
          <p:cxnSp>
            <p:nvCxnSpPr>
              <p:cNvPr id="70" name="Straight Connector 69">
                <a:extLst>
                  <a:ext uri="{FF2B5EF4-FFF2-40B4-BE49-F238E27FC236}">
                    <a16:creationId xmlns:a16="http://schemas.microsoft.com/office/drawing/2014/main" id="{A8C715C0-E076-1FF4-8BFC-A4CE808B91D6}"/>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C313E3C-5C15-5AF7-C8AF-254A23C0E859}"/>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1D0C4D-62D8-14D9-C76A-B06E8F89B0EF}"/>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sp>
        <p:nvSpPr>
          <p:cNvPr id="46" name="Text Placeholder 43">
            <a:extLst>
              <a:ext uri="{FF2B5EF4-FFF2-40B4-BE49-F238E27FC236}">
                <a16:creationId xmlns:a16="http://schemas.microsoft.com/office/drawing/2014/main" id="{8BC2B5E8-4CE9-78BE-31A3-C6B7816A4F37}"/>
              </a:ext>
            </a:extLst>
          </p:cNvPr>
          <p:cNvSpPr txBox="1">
            <a:spLocks/>
          </p:cNvSpPr>
          <p:nvPr/>
        </p:nvSpPr>
        <p:spPr>
          <a:xfrm>
            <a:off x="8034808" y="1974252"/>
            <a:ext cx="1828578" cy="1315353"/>
          </a:xfrm>
          <a:prstGeom prst="rect">
            <a:avLst/>
          </a:prstGeom>
        </p:spPr>
        <p:txBody>
          <a:bodyPr/>
          <a:lstStyle>
            <a:defPPr>
              <a:defRPr lang="en-US"/>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ts val="1720"/>
              </a:lnSpc>
              <a:spcBef>
                <a:spcPts val="0"/>
              </a:spcBef>
            </a:pPr>
            <a:r>
              <a:rPr lang="de-DE" sz="1600" b="1" dirty="0" err="1">
                <a:solidFill>
                  <a:srgbClr val="0289AE"/>
                </a:solidFill>
              </a:rPr>
              <a:t>Expected</a:t>
            </a:r>
            <a:r>
              <a:rPr lang="de-DE" sz="1600" b="1" dirty="0">
                <a:solidFill>
                  <a:srgbClr val="0289AE"/>
                </a:solidFill>
              </a:rPr>
              <a:t> Benefits </a:t>
            </a:r>
            <a:r>
              <a:rPr lang="de-DE" sz="1600" b="1" dirty="0" err="1">
                <a:solidFill>
                  <a:srgbClr val="0289AE"/>
                </a:solidFill>
              </a:rPr>
              <a:t>For</a:t>
            </a:r>
            <a:r>
              <a:rPr lang="de-DE" sz="1600" b="1" dirty="0">
                <a:solidFill>
                  <a:srgbClr val="0289AE"/>
                </a:solidFill>
              </a:rPr>
              <a:t> Guests and </a:t>
            </a:r>
            <a:r>
              <a:rPr lang="de-DE" sz="1600" b="1" dirty="0" err="1">
                <a:solidFill>
                  <a:srgbClr val="0289AE"/>
                </a:solidFill>
              </a:rPr>
              <a:t>the</a:t>
            </a:r>
            <a:r>
              <a:rPr lang="de-DE" sz="1600" b="1" dirty="0">
                <a:solidFill>
                  <a:srgbClr val="0289AE"/>
                </a:solidFill>
              </a:rPr>
              <a:t> Business</a:t>
            </a:r>
          </a:p>
          <a:p>
            <a:pPr>
              <a:lnSpc>
                <a:spcPts val="1720"/>
              </a:lnSpc>
              <a:spcBef>
                <a:spcPts val="0"/>
              </a:spcBef>
            </a:pPr>
            <a:endParaRPr lang="en-US" sz="1600" b="1" dirty="0">
              <a:solidFill>
                <a:srgbClr val="0289AE"/>
              </a:solidFill>
            </a:endParaRPr>
          </a:p>
        </p:txBody>
      </p:sp>
    </p:spTree>
    <p:extLst>
      <p:ext uri="{BB962C8B-B14F-4D97-AF65-F5344CB8AC3E}">
        <p14:creationId xmlns:p14="http://schemas.microsoft.com/office/powerpoint/2010/main" val="34006380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303E4-AA5A-43EC-1893-EB045DA7CAE3}"/>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346A0546-7E32-1A0D-1EED-24B528423571}"/>
              </a:ext>
            </a:extLst>
          </p:cNvPr>
          <p:cNvSpPr>
            <a:spLocks noGrp="1"/>
          </p:cNvSpPr>
          <p:nvPr>
            <p:ph type="body" sz="quarter" idx="16"/>
          </p:nvPr>
        </p:nvSpPr>
        <p:spPr>
          <a:xfrm>
            <a:off x="4223369" y="1073150"/>
            <a:ext cx="7465048" cy="4711700"/>
          </a:xfrm>
        </p:spPr>
        <p:txBody>
          <a:bodyPr>
            <a:normAutofit/>
          </a:bodyPr>
          <a:lstStyle/>
          <a:p>
            <a:pPr fontAlgn="t">
              <a:lnSpc>
                <a:spcPts val="4960"/>
              </a:lnSpc>
              <a:spcBef>
                <a:spcPts val="0"/>
              </a:spcBef>
            </a:pPr>
            <a:r>
              <a:rPr lang="en-IE" b="1" dirty="0"/>
              <a:t>Understanding Sustainable Customer Experience Design</a:t>
            </a:r>
          </a:p>
          <a:p>
            <a:endParaRPr lang="en-US" sz="2200" dirty="0">
              <a:cs typeface="Times New Roman" panose="02020603050405020304" pitchFamily="18" charset="0"/>
            </a:endParaRPr>
          </a:p>
          <a:p>
            <a:endParaRPr lang="en-US" sz="2200" dirty="0">
              <a:cs typeface="Times New Roman" panose="02020603050405020304" pitchFamily="18" charset="0"/>
            </a:endParaRPr>
          </a:p>
          <a:p>
            <a:r>
              <a:rPr lang="en-US" sz="2400" b="1" dirty="0"/>
              <a:t>Why experience, sustainability, and guest value now belong together.</a:t>
            </a:r>
            <a:r>
              <a:rPr lang="en-US" sz="2400" dirty="0"/>
              <a:t>  To introduce the meaning of sustainable customer experience design and show how hospitality businesses can turn sustainability into memorable,          guest-facing value.</a:t>
            </a:r>
            <a:endParaRPr lang="en-IE" sz="2400" dirty="0"/>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66A93D97-AB5F-0538-D1CA-85A9C32F776D}"/>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1</a:t>
            </a:r>
          </a:p>
        </p:txBody>
      </p:sp>
    </p:spTree>
    <p:extLst>
      <p:ext uri="{BB962C8B-B14F-4D97-AF65-F5344CB8AC3E}">
        <p14:creationId xmlns:p14="http://schemas.microsoft.com/office/powerpoint/2010/main" val="19738587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25394" y="2543046"/>
            <a:ext cx="5040000" cy="1476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8" name="Rectangle 7"/>
          <p:cNvSpPr/>
          <p:nvPr/>
        </p:nvSpPr>
        <p:spPr>
          <a:xfrm>
            <a:off x="525394" y="2543045"/>
            <a:ext cx="144000" cy="1476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9" name="TextBox 8"/>
          <p:cNvSpPr txBox="1"/>
          <p:nvPr/>
        </p:nvSpPr>
        <p:spPr>
          <a:xfrm>
            <a:off x="813394" y="2651046"/>
            <a:ext cx="4980000" cy="738664"/>
          </a:xfrm>
          <a:prstGeom prst="rect">
            <a:avLst/>
          </a:prstGeom>
          <a:noFill/>
        </p:spPr>
        <p:txBody>
          <a:bodyPr wrap="square" lIns="0" tIns="0" rIns="0" bIns="0" anchor="t">
            <a:spAutoFit/>
          </a:bodyPr>
          <a:lstStyle/>
          <a:p>
            <a:r>
              <a:rPr lang="en-IE" sz="1600" b="1" i="0" dirty="0">
                <a:solidFill>
                  <a:srgbClr val="0289AE"/>
                </a:solidFill>
                <a:latin typeface="Calibri" panose="020F0502020204030204" pitchFamily="34" charset="0"/>
                <a:cs typeface="Calibri" panose="020F0502020204030204" pitchFamily="34" charset="0"/>
              </a:rPr>
              <a:t>Hostal Grau –</a:t>
            </a:r>
            <a:r>
              <a:rPr lang="en-IE" sz="1600" i="1" dirty="0">
                <a:solidFill>
                  <a:srgbClr val="262626"/>
                </a:solidFill>
                <a:latin typeface="Calibri" panose="020F0502020204030204" pitchFamily="34" charset="0"/>
                <a:cs typeface="Calibri" panose="020F0502020204030204" pitchFamily="34" charset="0"/>
              </a:rPr>
              <a:t> Barcelona, Spain (ULE)</a:t>
            </a:r>
          </a:p>
          <a:p>
            <a:endParaRPr lang="en-IE" sz="1600" i="1" dirty="0">
              <a:solidFill>
                <a:srgbClr val="262626"/>
              </a:solidFill>
              <a:latin typeface="Calibri" panose="020F0502020204030204" pitchFamily="34" charset="0"/>
              <a:cs typeface="Calibri" panose="020F0502020204030204" pitchFamily="34" charset="0"/>
            </a:endParaRPr>
          </a:p>
          <a:p>
            <a:pPr algn="l"/>
            <a:endParaRPr sz="1600" b="1" i="0" dirty="0">
              <a:solidFill>
                <a:srgbClr val="0289AE"/>
              </a:solidFill>
              <a:latin typeface="Calibri" panose="020F0502020204030204" pitchFamily="34" charset="0"/>
              <a:cs typeface="Calibri" panose="020F0502020204030204" pitchFamily="34" charset="0"/>
            </a:endParaRPr>
          </a:p>
        </p:txBody>
      </p:sp>
      <p:sp>
        <p:nvSpPr>
          <p:cNvPr id="11" name="TextBox 10"/>
          <p:cNvSpPr txBox="1"/>
          <p:nvPr/>
        </p:nvSpPr>
        <p:spPr>
          <a:xfrm>
            <a:off x="813394" y="3007391"/>
            <a:ext cx="4596000" cy="538609"/>
          </a:xfrm>
          <a:prstGeom prst="rect">
            <a:avLst/>
          </a:prstGeom>
          <a:noFill/>
        </p:spPr>
        <p:txBody>
          <a:bodyPr wrap="square" lIns="0" tIns="0" rIns="0" bIns="0" anchor="t">
            <a:spAutoFit/>
          </a:bodyPr>
          <a:lstStyle/>
          <a:p>
            <a:pPr>
              <a:lnSpc>
                <a:spcPts val="1440"/>
              </a:lnSpc>
            </a:pPr>
            <a:r>
              <a:rPr lang="en-IE" sz="1300" b="0" i="0" dirty="0">
                <a:solidFill>
                  <a:srgbClr val="262626"/>
                </a:solidFill>
                <a:latin typeface="Calibri" panose="020F0502020204030204" pitchFamily="34" charset="0"/>
                <a:cs typeface="Calibri" panose="020F0502020204030204" pitchFamily="34" charset="0"/>
              </a:rPr>
              <a:t>Macrame do-not-disturb signs and visual cues; guest feedback loop protects the housekeeping experience.</a:t>
            </a:r>
          </a:p>
          <a:p>
            <a:pPr>
              <a:lnSpc>
                <a:spcPts val="1440"/>
              </a:lnSpc>
            </a:pPr>
            <a:endParaRPr lang="en-IE" sz="1300" b="0" i="0" dirty="0">
              <a:solidFill>
                <a:srgbClr val="262626"/>
              </a:solidFill>
              <a:latin typeface="Calibri" panose="020F0502020204030204" pitchFamily="34" charset="0"/>
              <a:cs typeface="Calibri" panose="020F0502020204030204" pitchFamily="34" charset="0"/>
            </a:endParaRPr>
          </a:p>
        </p:txBody>
      </p:sp>
      <p:sp>
        <p:nvSpPr>
          <p:cNvPr id="12" name="Rectangle 11"/>
          <p:cNvSpPr/>
          <p:nvPr/>
        </p:nvSpPr>
        <p:spPr>
          <a:xfrm>
            <a:off x="813394" y="3588430"/>
            <a:ext cx="431639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14" name="Rectangle 13"/>
          <p:cNvSpPr/>
          <p:nvPr/>
        </p:nvSpPr>
        <p:spPr>
          <a:xfrm>
            <a:off x="6280697" y="2543046"/>
            <a:ext cx="5040000" cy="1476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15" name="Rectangle 14"/>
          <p:cNvSpPr/>
          <p:nvPr/>
        </p:nvSpPr>
        <p:spPr>
          <a:xfrm>
            <a:off x="6280697" y="2543045"/>
            <a:ext cx="144000" cy="1476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16" name="TextBox 15"/>
          <p:cNvSpPr txBox="1"/>
          <p:nvPr/>
        </p:nvSpPr>
        <p:spPr>
          <a:xfrm>
            <a:off x="6568697" y="2651046"/>
            <a:ext cx="4980000" cy="738664"/>
          </a:xfrm>
          <a:prstGeom prst="rect">
            <a:avLst/>
          </a:prstGeom>
          <a:noFill/>
        </p:spPr>
        <p:txBody>
          <a:bodyPr wrap="square" lIns="0" tIns="0" rIns="0" bIns="0" anchor="t">
            <a:spAutoFit/>
          </a:bodyPr>
          <a:lstStyle/>
          <a:p>
            <a:r>
              <a:rPr lang="en-IE" sz="1600" b="1" i="0" dirty="0">
                <a:solidFill>
                  <a:srgbClr val="0289AE"/>
                </a:solidFill>
                <a:latin typeface="Calibri" panose="020F0502020204030204" pitchFamily="34" charset="0"/>
                <a:cs typeface="Calibri" panose="020F0502020204030204" pitchFamily="34" charset="0"/>
              </a:rPr>
              <a:t>Coco Hotel – </a:t>
            </a:r>
            <a:r>
              <a:rPr lang="en-IE" sz="1600" i="1" dirty="0">
                <a:solidFill>
                  <a:srgbClr val="262626"/>
                </a:solidFill>
                <a:latin typeface="Calibri" panose="020F0502020204030204" pitchFamily="34" charset="0"/>
                <a:cs typeface="Calibri" panose="020F0502020204030204" pitchFamily="34" charset="0"/>
              </a:rPr>
              <a:t> Copenhagen, Denmark (EUEI)</a:t>
            </a:r>
          </a:p>
          <a:p>
            <a:endParaRPr lang="en-IE" sz="1600" i="1" dirty="0">
              <a:solidFill>
                <a:srgbClr val="262626"/>
              </a:solidFill>
              <a:latin typeface="Calibri" panose="020F0502020204030204" pitchFamily="34" charset="0"/>
              <a:cs typeface="Calibri" panose="020F0502020204030204" pitchFamily="34" charset="0"/>
            </a:endParaRPr>
          </a:p>
          <a:p>
            <a:pPr algn="l"/>
            <a:endParaRPr sz="1600" b="1" i="0" dirty="0">
              <a:solidFill>
                <a:srgbClr val="0289AE"/>
              </a:solidFill>
              <a:latin typeface="Calibri" panose="020F0502020204030204" pitchFamily="34" charset="0"/>
              <a:cs typeface="Calibri" panose="020F0502020204030204" pitchFamily="34" charset="0"/>
            </a:endParaRPr>
          </a:p>
        </p:txBody>
      </p:sp>
      <p:sp>
        <p:nvSpPr>
          <p:cNvPr id="18" name="TextBox 17"/>
          <p:cNvSpPr txBox="1"/>
          <p:nvPr/>
        </p:nvSpPr>
        <p:spPr>
          <a:xfrm>
            <a:off x="6568697" y="3007391"/>
            <a:ext cx="4236960" cy="359073"/>
          </a:xfrm>
          <a:prstGeom prst="rect">
            <a:avLst/>
          </a:prstGeom>
          <a:noFill/>
        </p:spPr>
        <p:txBody>
          <a:bodyPr wrap="square" lIns="0" tIns="0" rIns="0" bIns="0" anchor="t">
            <a:spAutoFit/>
          </a:bodyPr>
          <a:lstStyle/>
          <a:p>
            <a:pPr>
              <a:lnSpc>
                <a:spcPts val="1440"/>
              </a:lnSpc>
            </a:pPr>
            <a:r>
              <a:rPr lang="en-IE" sz="1300" b="0" i="0" dirty="0">
                <a:solidFill>
                  <a:srgbClr val="262626"/>
                </a:solidFill>
                <a:latin typeface="Calibri" panose="020F0502020204030204" pitchFamily="34" charset="0"/>
                <a:cs typeface="Calibri" panose="020F0502020204030204" pitchFamily="34" charset="0"/>
              </a:rPr>
              <a:t>Green Key, solar-powered, mobile-first check-in; Eden Reforestation offsets on every booking.</a:t>
            </a:r>
            <a:endParaRPr sz="1300" b="0" i="0" dirty="0">
              <a:solidFill>
                <a:srgbClr val="262626"/>
              </a:solidFill>
              <a:latin typeface="Calibri" panose="020F0502020204030204" pitchFamily="34" charset="0"/>
              <a:cs typeface="Calibri" panose="020F0502020204030204" pitchFamily="34" charset="0"/>
            </a:endParaRPr>
          </a:p>
        </p:txBody>
      </p:sp>
      <p:sp>
        <p:nvSpPr>
          <p:cNvPr id="19" name="Rectangle 18"/>
          <p:cNvSpPr/>
          <p:nvPr/>
        </p:nvSpPr>
        <p:spPr>
          <a:xfrm>
            <a:off x="6568697" y="3588430"/>
            <a:ext cx="417600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50" name="TextBox 49"/>
          <p:cNvSpPr txBox="1"/>
          <p:nvPr/>
        </p:nvSpPr>
        <p:spPr>
          <a:xfrm>
            <a:off x="525394" y="6311140"/>
            <a:ext cx="8949486" cy="430887"/>
          </a:xfrm>
          <a:prstGeom prst="rect">
            <a:avLst/>
          </a:prstGeom>
          <a:noFill/>
        </p:spPr>
        <p:txBody>
          <a:bodyPr wrap="square" lIns="0" tIns="0" rIns="0" bIns="0" anchor="t">
            <a:spAutoFit/>
          </a:bodyPr>
          <a:lstStyle/>
          <a:p>
            <a:r>
              <a:rPr lang="en-IE" sz="1400" b="1" dirty="0">
                <a:solidFill>
                  <a:srgbClr val="262626"/>
                </a:solidFill>
              </a:rPr>
              <a:t>Download the full module pack (all cases in one file) </a:t>
            </a:r>
            <a:r>
              <a:rPr lang="en-IE" sz="1400" dirty="0">
                <a:solidFill>
                  <a:srgbClr val="262626"/>
                </a:solidFill>
              </a:rPr>
              <a:t>{{CASE_PACK_URL_C1M3}}</a:t>
            </a:r>
          </a:p>
          <a:p>
            <a:endParaRPr lang="en-IE" sz="1400" b="1" dirty="0">
              <a:solidFill>
                <a:srgbClr val="262626"/>
              </a:solidFill>
            </a:endParaRPr>
          </a:p>
        </p:txBody>
      </p:sp>
      <p:sp>
        <p:nvSpPr>
          <p:cNvPr id="52" name="Rectangle 51">
            <a:extLst>
              <a:ext uri="{FF2B5EF4-FFF2-40B4-BE49-F238E27FC236}">
                <a16:creationId xmlns:a16="http://schemas.microsoft.com/office/drawing/2014/main" id="{A674710B-0B65-B27F-2774-01DCFEAF97F6}"/>
              </a:ext>
            </a:extLst>
          </p:cNvPr>
          <p:cNvSpPr/>
          <p:nvPr/>
        </p:nvSpPr>
        <p:spPr>
          <a:xfrm flipH="1" flipV="1">
            <a:off x="0" y="-2629"/>
            <a:ext cx="12185500" cy="1291490"/>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sp>
        <p:nvSpPr>
          <p:cNvPr id="53" name="Graphic 4">
            <a:extLst>
              <a:ext uri="{FF2B5EF4-FFF2-40B4-BE49-F238E27FC236}">
                <a16:creationId xmlns:a16="http://schemas.microsoft.com/office/drawing/2014/main" id="{30D998EF-0B55-3BDD-53D1-BC1C903495FF}"/>
              </a:ext>
            </a:extLst>
          </p:cNvPr>
          <p:cNvSpPr/>
          <p:nvPr/>
        </p:nvSpPr>
        <p:spPr>
          <a:xfrm rot="5400000">
            <a:off x="1314218" y="45975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pic>
        <p:nvPicPr>
          <p:cNvPr id="54" name="Graphic 53">
            <a:extLst>
              <a:ext uri="{FF2B5EF4-FFF2-40B4-BE49-F238E27FC236}">
                <a16:creationId xmlns:a16="http://schemas.microsoft.com/office/drawing/2014/main" id="{0D59586C-CFB7-EDB3-5910-12C251C48014}"/>
              </a:ext>
            </a:extLst>
          </p:cNvPr>
          <p:cNvPicPr>
            <a:picLocks noChangeAspect="1"/>
          </p:cNvPicPr>
          <p:nvPr/>
        </p:nvPicPr>
        <p:blipFill>
          <a:blip>
            <a:extLst>
              <a:ext uri="{96DAC541-7B7A-43D3-8B79-37D633B846F1}">
                <asvg:svgBlip xmlns:asvg="http://schemas.microsoft.com/office/drawing/2016/SVG/main" r:embed="rId3"/>
              </a:ext>
            </a:extLst>
          </a:blip>
          <a:srcRect l="32264" t="48938" r="39869" b="39981"/>
          <a:stretch>
            <a:fillRect/>
          </a:stretch>
        </p:blipFill>
        <p:spPr>
          <a:xfrm>
            <a:off x="7355540" y="21551"/>
            <a:ext cx="4821213" cy="2714449"/>
          </a:xfrm>
          <a:prstGeom prst="rect">
            <a:avLst/>
          </a:prstGeom>
        </p:spPr>
      </p:pic>
      <p:sp>
        <p:nvSpPr>
          <p:cNvPr id="55" name="Text Placeholder 11">
            <a:extLst>
              <a:ext uri="{FF2B5EF4-FFF2-40B4-BE49-F238E27FC236}">
                <a16:creationId xmlns:a16="http://schemas.microsoft.com/office/drawing/2014/main" id="{F7B6976D-DEBF-4A31-EECD-8D0EE7C95798}"/>
              </a:ext>
            </a:extLst>
          </p:cNvPr>
          <p:cNvSpPr txBox="1">
            <a:spLocks/>
          </p:cNvSpPr>
          <p:nvPr/>
        </p:nvSpPr>
        <p:spPr>
          <a:xfrm>
            <a:off x="579276" y="666106"/>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Calibri" panose="020F0502020204030204" pitchFamily="34" charset="0"/>
                <a:cs typeface="Calibri" panose="020F0502020204030204" pitchFamily="34" charset="0"/>
              </a:rPr>
              <a:t>Download the full case studies</a:t>
            </a:r>
          </a:p>
        </p:txBody>
      </p:sp>
      <p:sp>
        <p:nvSpPr>
          <p:cNvPr id="56" name="TextBox 55">
            <a:extLst>
              <a:ext uri="{FF2B5EF4-FFF2-40B4-BE49-F238E27FC236}">
                <a16:creationId xmlns:a16="http://schemas.microsoft.com/office/drawing/2014/main" id="{179BC40F-B196-AEAF-D5A4-1BB9E7F619BD}"/>
              </a:ext>
            </a:extLst>
          </p:cNvPr>
          <p:cNvSpPr txBox="1"/>
          <p:nvPr/>
        </p:nvSpPr>
        <p:spPr>
          <a:xfrm>
            <a:off x="720000" y="432661"/>
            <a:ext cx="7920000" cy="215444"/>
          </a:xfrm>
          <a:prstGeom prst="rect">
            <a:avLst/>
          </a:prstGeom>
          <a:noFill/>
        </p:spPr>
        <p:txBody>
          <a:bodyPr wrap="square" lIns="0" tIns="0" rIns="0" bIns="0" anchor="t">
            <a:spAutoFit/>
          </a:bodyPr>
          <a:lstStyle/>
          <a:p>
            <a:r>
              <a:rPr lang="en-IE" sz="1400" b="1" dirty="0">
                <a:solidFill>
                  <a:schemeClr val="bg1"/>
                </a:solidFill>
              </a:rPr>
              <a:t>C1 M3 · Case study pack</a:t>
            </a:r>
          </a:p>
        </p:txBody>
      </p:sp>
      <p:sp>
        <p:nvSpPr>
          <p:cNvPr id="57" name="TextBox 56">
            <a:extLst>
              <a:ext uri="{FF2B5EF4-FFF2-40B4-BE49-F238E27FC236}">
                <a16:creationId xmlns:a16="http://schemas.microsoft.com/office/drawing/2014/main" id="{2AB7CC2A-02C6-E872-5733-001903472508}"/>
              </a:ext>
            </a:extLst>
          </p:cNvPr>
          <p:cNvSpPr txBox="1"/>
          <p:nvPr/>
        </p:nvSpPr>
        <p:spPr>
          <a:xfrm>
            <a:off x="895554" y="3644750"/>
            <a:ext cx="4692000" cy="200055"/>
          </a:xfrm>
          <a:prstGeom prst="rect">
            <a:avLst/>
          </a:prstGeom>
          <a:noFill/>
        </p:spPr>
        <p:txBody>
          <a:bodyPr wrap="square" lIns="0" tIns="0" rIns="0" bIns="0" anchor="t">
            <a:spAutoFit/>
          </a:bodyPr>
          <a:lstStyle/>
          <a:p>
            <a:r>
              <a:rPr lang="en-IE" sz="1300" b="1" dirty="0">
                <a:solidFill>
                  <a:srgbClr val="262626"/>
                </a:solidFill>
              </a:rPr>
              <a:t>Download the full case study  ·  {{CASE_URL_HOSTALGRAU}}</a:t>
            </a:r>
          </a:p>
        </p:txBody>
      </p:sp>
      <p:sp>
        <p:nvSpPr>
          <p:cNvPr id="58" name="TextBox 57">
            <a:extLst>
              <a:ext uri="{FF2B5EF4-FFF2-40B4-BE49-F238E27FC236}">
                <a16:creationId xmlns:a16="http://schemas.microsoft.com/office/drawing/2014/main" id="{A7A22A32-7576-79B5-CF18-7DEE597C65F3}"/>
              </a:ext>
            </a:extLst>
          </p:cNvPr>
          <p:cNvSpPr txBox="1"/>
          <p:nvPr/>
        </p:nvSpPr>
        <p:spPr>
          <a:xfrm>
            <a:off x="6650857" y="3644750"/>
            <a:ext cx="4692000" cy="200055"/>
          </a:xfrm>
          <a:prstGeom prst="rect">
            <a:avLst/>
          </a:prstGeom>
          <a:noFill/>
        </p:spPr>
        <p:txBody>
          <a:bodyPr wrap="square" lIns="0" tIns="0" rIns="0" bIns="0" anchor="t">
            <a:spAutoFit/>
          </a:bodyPr>
          <a:lstStyle/>
          <a:p>
            <a:r>
              <a:rPr lang="en-IE" sz="1300" b="1" dirty="0">
                <a:solidFill>
                  <a:srgbClr val="262626"/>
                </a:solidFill>
              </a:rPr>
              <a:t>Download the full case study  ·  {{CASE_URL_COCO}}</a:t>
            </a:r>
          </a:p>
        </p:txBody>
      </p:sp>
      <p:sp>
        <p:nvSpPr>
          <p:cNvPr id="24" name="TextBox 23">
            <a:extLst>
              <a:ext uri="{FF2B5EF4-FFF2-40B4-BE49-F238E27FC236}">
                <a16:creationId xmlns:a16="http://schemas.microsoft.com/office/drawing/2014/main" id="{2B56BE17-6E95-D0B0-9F54-866B4BBDD80D}"/>
              </a:ext>
            </a:extLst>
          </p:cNvPr>
          <p:cNvSpPr txBox="1"/>
          <p:nvPr/>
        </p:nvSpPr>
        <p:spPr>
          <a:xfrm>
            <a:off x="576000" y="1761910"/>
            <a:ext cx="11302594" cy="553998"/>
          </a:xfrm>
          <a:prstGeom prst="rect">
            <a:avLst/>
          </a:prstGeom>
          <a:noFill/>
        </p:spPr>
        <p:txBody>
          <a:bodyPr wrap="square" lIns="0" tIns="0" rIns="0" bIns="0" anchor="t">
            <a:spAutoFit/>
          </a:bodyPr>
          <a:lstStyle/>
          <a:p>
            <a:r>
              <a:rPr lang="en-IE" b="0" i="1" dirty="0">
                <a:solidFill>
                  <a:srgbClr val="262626"/>
                </a:solidFill>
                <a:latin typeface="Calibri" panose="020F0502020204030204" pitchFamily="34" charset="0"/>
                <a:cs typeface="Calibri" panose="020F0502020204030204" pitchFamily="34" charset="0"/>
              </a:rPr>
              <a:t>Every business featured in this module has a full case study. </a:t>
            </a:r>
          </a:p>
          <a:p>
            <a:r>
              <a:rPr lang="en-IE" b="0" i="1" dirty="0">
                <a:solidFill>
                  <a:srgbClr val="262626"/>
                </a:solidFill>
                <a:latin typeface="Calibri" panose="020F0502020204030204" pitchFamily="34" charset="0"/>
                <a:cs typeface="Calibri" panose="020F0502020204030204" pitchFamily="34" charset="0"/>
              </a:rPr>
              <a:t>Use the links below to open each one.</a:t>
            </a:r>
          </a:p>
        </p:txBody>
      </p:sp>
      <p:sp>
        <p:nvSpPr>
          <p:cNvPr id="75" name="Rectangle 74">
            <a:extLst>
              <a:ext uri="{FF2B5EF4-FFF2-40B4-BE49-F238E27FC236}">
                <a16:creationId xmlns:a16="http://schemas.microsoft.com/office/drawing/2014/main" id="{29F92629-65B5-DA8B-6B01-4B084DC67E7E}"/>
              </a:ext>
            </a:extLst>
          </p:cNvPr>
          <p:cNvSpPr/>
          <p:nvPr/>
        </p:nvSpPr>
        <p:spPr>
          <a:xfrm>
            <a:off x="525394" y="4193439"/>
            <a:ext cx="5040000" cy="1476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76" name="Rectangle 75">
            <a:extLst>
              <a:ext uri="{FF2B5EF4-FFF2-40B4-BE49-F238E27FC236}">
                <a16:creationId xmlns:a16="http://schemas.microsoft.com/office/drawing/2014/main" id="{F07769D7-DD54-C073-DB33-54FFA37F17BB}"/>
              </a:ext>
            </a:extLst>
          </p:cNvPr>
          <p:cNvSpPr/>
          <p:nvPr/>
        </p:nvSpPr>
        <p:spPr>
          <a:xfrm>
            <a:off x="525394" y="4193438"/>
            <a:ext cx="144000" cy="1476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77" name="TextBox 76">
            <a:extLst>
              <a:ext uri="{FF2B5EF4-FFF2-40B4-BE49-F238E27FC236}">
                <a16:creationId xmlns:a16="http://schemas.microsoft.com/office/drawing/2014/main" id="{5CF19AE3-A34F-8662-48E5-8F7A44A11CA0}"/>
              </a:ext>
            </a:extLst>
          </p:cNvPr>
          <p:cNvSpPr txBox="1"/>
          <p:nvPr/>
        </p:nvSpPr>
        <p:spPr>
          <a:xfrm>
            <a:off x="813394" y="4301439"/>
            <a:ext cx="4980000" cy="492443"/>
          </a:xfrm>
          <a:prstGeom prst="rect">
            <a:avLst/>
          </a:prstGeom>
          <a:noFill/>
        </p:spPr>
        <p:txBody>
          <a:bodyPr wrap="square" lIns="0" tIns="0" rIns="0" bIns="0" anchor="t">
            <a:spAutoFit/>
          </a:bodyPr>
          <a:lstStyle/>
          <a:p>
            <a:r>
              <a:rPr lang="en-IE" sz="1600" b="1" i="0" dirty="0">
                <a:solidFill>
                  <a:srgbClr val="0289AE"/>
                </a:solidFill>
                <a:latin typeface="Calibri" panose="020F0502020204030204" pitchFamily="34" charset="0"/>
                <a:cs typeface="Calibri" panose="020F0502020204030204" pitchFamily="34" charset="0"/>
              </a:rPr>
              <a:t>Aurora Courtyard –</a:t>
            </a:r>
            <a:r>
              <a:rPr lang="en-IE" sz="1600" i="1" dirty="0">
                <a:solidFill>
                  <a:srgbClr val="262626"/>
                </a:solidFill>
                <a:latin typeface="Calibri" panose="020F0502020204030204" pitchFamily="34" charset="0"/>
                <a:cs typeface="Calibri" panose="020F0502020204030204" pitchFamily="34" charset="0"/>
              </a:rPr>
              <a:t> Tallinn (task)</a:t>
            </a:r>
          </a:p>
          <a:p>
            <a:pPr algn="l"/>
            <a:endParaRPr sz="1600" b="1" i="0" dirty="0">
              <a:solidFill>
                <a:srgbClr val="0289AE"/>
              </a:solidFill>
              <a:latin typeface="Calibri" panose="020F0502020204030204" pitchFamily="34" charset="0"/>
              <a:cs typeface="Calibri" panose="020F0502020204030204" pitchFamily="34" charset="0"/>
            </a:endParaRPr>
          </a:p>
        </p:txBody>
      </p:sp>
      <p:sp>
        <p:nvSpPr>
          <p:cNvPr id="78" name="TextBox 77">
            <a:extLst>
              <a:ext uri="{FF2B5EF4-FFF2-40B4-BE49-F238E27FC236}">
                <a16:creationId xmlns:a16="http://schemas.microsoft.com/office/drawing/2014/main" id="{E79CB6BA-3694-A034-AE33-1931D0CCEA0B}"/>
              </a:ext>
            </a:extLst>
          </p:cNvPr>
          <p:cNvSpPr txBox="1"/>
          <p:nvPr/>
        </p:nvSpPr>
        <p:spPr>
          <a:xfrm>
            <a:off x="813394" y="4657784"/>
            <a:ext cx="4596000" cy="538609"/>
          </a:xfrm>
          <a:prstGeom prst="rect">
            <a:avLst/>
          </a:prstGeom>
          <a:noFill/>
        </p:spPr>
        <p:txBody>
          <a:bodyPr wrap="square" lIns="0" tIns="0" rIns="0" bIns="0" anchor="t">
            <a:spAutoFit/>
          </a:bodyPr>
          <a:lstStyle/>
          <a:p>
            <a:pPr>
              <a:lnSpc>
                <a:spcPts val="1440"/>
              </a:lnSpc>
            </a:pPr>
            <a:r>
              <a:rPr lang="en-IE" sz="1300" b="0" i="0" dirty="0">
                <a:solidFill>
                  <a:srgbClr val="262626"/>
                </a:solidFill>
                <a:latin typeface="Calibri" panose="020F0502020204030204" pitchFamily="34" charset="0"/>
                <a:cs typeface="Calibri" panose="020F0502020204030204" pitchFamily="34" charset="0"/>
              </a:rPr>
              <a:t>Applied task: redesign a green guest experience so sustainability reads as quality, not cost-cutting.</a:t>
            </a:r>
          </a:p>
          <a:p>
            <a:pPr>
              <a:lnSpc>
                <a:spcPts val="1440"/>
              </a:lnSpc>
            </a:pPr>
            <a:endParaRPr lang="en-IE" sz="1300" b="0" i="0" dirty="0">
              <a:solidFill>
                <a:srgbClr val="262626"/>
              </a:solidFill>
              <a:latin typeface="Calibri" panose="020F0502020204030204" pitchFamily="34" charset="0"/>
              <a:cs typeface="Calibri" panose="020F0502020204030204" pitchFamily="34" charset="0"/>
            </a:endParaRPr>
          </a:p>
        </p:txBody>
      </p:sp>
      <p:sp>
        <p:nvSpPr>
          <p:cNvPr id="79" name="Rectangle 78">
            <a:extLst>
              <a:ext uri="{FF2B5EF4-FFF2-40B4-BE49-F238E27FC236}">
                <a16:creationId xmlns:a16="http://schemas.microsoft.com/office/drawing/2014/main" id="{FC026415-AE9B-EFAC-5578-421F45672DEE}"/>
              </a:ext>
            </a:extLst>
          </p:cNvPr>
          <p:cNvSpPr/>
          <p:nvPr/>
        </p:nvSpPr>
        <p:spPr>
          <a:xfrm>
            <a:off x="813394" y="5238823"/>
            <a:ext cx="431639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80" name="TextBox 79">
            <a:extLst>
              <a:ext uri="{FF2B5EF4-FFF2-40B4-BE49-F238E27FC236}">
                <a16:creationId xmlns:a16="http://schemas.microsoft.com/office/drawing/2014/main" id="{0613D3CB-CEBB-9239-D851-25AB33EF59BF}"/>
              </a:ext>
            </a:extLst>
          </p:cNvPr>
          <p:cNvSpPr txBox="1"/>
          <p:nvPr/>
        </p:nvSpPr>
        <p:spPr>
          <a:xfrm>
            <a:off x="895554" y="5295143"/>
            <a:ext cx="4692000" cy="200055"/>
          </a:xfrm>
          <a:prstGeom prst="rect">
            <a:avLst/>
          </a:prstGeom>
          <a:noFill/>
        </p:spPr>
        <p:txBody>
          <a:bodyPr wrap="square" lIns="0" tIns="0" rIns="0" bIns="0" anchor="t">
            <a:spAutoFit/>
          </a:bodyPr>
          <a:lstStyle/>
          <a:p>
            <a:r>
              <a:rPr lang="en-IE" sz="1300" b="1" dirty="0">
                <a:solidFill>
                  <a:srgbClr val="262626"/>
                </a:solidFill>
              </a:rPr>
              <a:t>Download the full case study  ·  {{CASE_URL_AURORA}}</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63F5366-F7F9-CB65-EFAB-9436949AC54B}"/>
              </a:ext>
            </a:extLst>
          </p:cNvPr>
          <p:cNvSpPr txBox="1"/>
          <p:nvPr/>
        </p:nvSpPr>
        <p:spPr>
          <a:xfrm>
            <a:off x="5683169" y="787874"/>
            <a:ext cx="6024421" cy="4319131"/>
          </a:xfrm>
          <a:prstGeom prst="rect">
            <a:avLst/>
          </a:prstGeom>
          <a:noFill/>
        </p:spPr>
        <p:txBody>
          <a:bodyPr wrap="square" rtlCol="0">
            <a:spAutoFit/>
          </a:bodyPr>
          <a:lstStyle/>
          <a:p>
            <a:pPr algn="ctr"/>
            <a:r>
              <a:rPr lang="en-US" sz="3600" b="1" dirty="0">
                <a:solidFill>
                  <a:schemeClr val="bg1"/>
                </a:solidFill>
                <a:cs typeface="Times New Roman" panose="02020603050405020304" pitchFamily="18" charset="0"/>
              </a:rPr>
              <a:t>Thank You for Engaging </a:t>
            </a:r>
          </a:p>
          <a:p>
            <a:pPr algn="ctr"/>
            <a:endParaRPr lang="en-US" sz="2200" b="1" dirty="0">
              <a:solidFill>
                <a:schemeClr val="bg1"/>
              </a:solidFill>
              <a:cs typeface="Times New Roman" panose="02020603050405020304" pitchFamily="18" charset="0"/>
            </a:endParaRPr>
          </a:p>
          <a:p>
            <a:pPr algn="ctr">
              <a:lnSpc>
                <a:spcPts val="2580"/>
              </a:lnSpc>
            </a:pPr>
            <a:r>
              <a:rPr lang="en-US" sz="2400" dirty="0">
                <a:solidFill>
                  <a:schemeClr val="bg1"/>
                </a:solidFill>
                <a:cs typeface="Times New Roman" panose="02020603050405020304" pitchFamily="18" charset="0"/>
              </a:rPr>
              <a:t>We hope this module has enriched your knowledge and sharpened your practice.</a:t>
            </a:r>
            <a:br>
              <a:rPr lang="en-US" sz="2400" dirty="0">
                <a:solidFill>
                  <a:schemeClr val="bg1"/>
                </a:solidFill>
                <a:cs typeface="Times New Roman" panose="02020603050405020304" pitchFamily="18" charset="0"/>
              </a:rPr>
            </a:br>
            <a:r>
              <a:rPr lang="en-US" sz="2400" dirty="0">
                <a:solidFill>
                  <a:schemeClr val="bg1"/>
                </a:solidFill>
                <a:cs typeface="Times New Roman" panose="02020603050405020304" pitchFamily="18" charset="0"/>
              </a:rPr>
              <a:t>Thank you for your commitment to hospitality that is intelligent, sustainable, and human </a:t>
            </a:r>
            <a:r>
              <a:rPr lang="en-US" sz="2400" dirty="0" err="1">
                <a:solidFill>
                  <a:schemeClr val="bg1"/>
                </a:solidFill>
                <a:cs typeface="Times New Roman" panose="02020603050405020304" pitchFamily="18" charset="0"/>
              </a:rPr>
              <a:t>centred</a:t>
            </a:r>
            <a:r>
              <a:rPr lang="en-US" sz="2400" dirty="0">
                <a:solidFill>
                  <a:schemeClr val="bg1"/>
                </a:solidFill>
                <a:cs typeface="Times New Roman" panose="02020603050405020304" pitchFamily="18" charset="0"/>
              </a:rPr>
              <a:t>.  </a:t>
            </a:r>
          </a:p>
          <a:p>
            <a:pPr algn="ctr">
              <a:lnSpc>
                <a:spcPts val="2580"/>
              </a:lnSpc>
            </a:pPr>
            <a:endParaRPr lang="en-US" sz="2400" dirty="0">
              <a:solidFill>
                <a:schemeClr val="bg1"/>
              </a:solidFill>
              <a:cs typeface="Times New Roman" panose="02020603050405020304" pitchFamily="18" charset="0"/>
            </a:endParaRPr>
          </a:p>
          <a:p>
            <a:pPr algn="ctr">
              <a:lnSpc>
                <a:spcPts val="2580"/>
              </a:lnSpc>
            </a:pPr>
            <a:r>
              <a:rPr lang="en-US" sz="2400" dirty="0">
                <a:solidFill>
                  <a:schemeClr val="bg1"/>
                </a:solidFill>
                <a:cs typeface="Times New Roman" panose="02020603050405020304" pitchFamily="18" charset="0"/>
              </a:rPr>
              <a:t>Carry these insights into your work, lead with ethics and empathy, and let technology serve people with care.</a:t>
            </a:r>
          </a:p>
          <a:p>
            <a:pPr algn="ctr">
              <a:lnSpc>
                <a:spcPts val="2580"/>
              </a:lnSpc>
            </a:pPr>
            <a:endParaRPr lang="en-GB" sz="2400" dirty="0">
              <a:solidFill>
                <a:schemeClr val="bg1"/>
              </a:solidFill>
              <a:cs typeface="Times New Roman" panose="02020603050405020304" pitchFamily="18" charset="0"/>
            </a:endParaRPr>
          </a:p>
        </p:txBody>
      </p:sp>
      <p:pic>
        <p:nvPicPr>
          <p:cNvPr id="10" name="Picture 9">
            <a:extLst>
              <a:ext uri="{FF2B5EF4-FFF2-40B4-BE49-F238E27FC236}">
                <a16:creationId xmlns:a16="http://schemas.microsoft.com/office/drawing/2014/main" id="{3F48199E-AB42-2BE6-083E-CED89758DD3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2337" y="627673"/>
            <a:ext cx="4125188" cy="2499202"/>
          </a:xfrm>
          <a:prstGeom prst="rect">
            <a:avLst/>
          </a:prstGeom>
        </p:spPr>
      </p:pic>
      <p:pic>
        <p:nvPicPr>
          <p:cNvPr id="11" name="Picture 10">
            <a:extLst>
              <a:ext uri="{FF2B5EF4-FFF2-40B4-BE49-F238E27FC236}">
                <a16:creationId xmlns:a16="http://schemas.microsoft.com/office/drawing/2014/main" id="{34416DB7-F888-9CB1-E2B1-2B5B4B9AE6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86214" y="5846608"/>
            <a:ext cx="6024421" cy="606937"/>
          </a:xfrm>
          <a:prstGeom prst="rect">
            <a:avLst/>
          </a:prstGeom>
        </p:spPr>
      </p:pic>
      <p:sp>
        <p:nvSpPr>
          <p:cNvPr id="13" name="Text Placeholder 2">
            <a:extLst>
              <a:ext uri="{FF2B5EF4-FFF2-40B4-BE49-F238E27FC236}">
                <a16:creationId xmlns:a16="http://schemas.microsoft.com/office/drawing/2014/main" id="{C250D63B-60D5-992F-A81F-18121CBAE278}"/>
              </a:ext>
            </a:extLst>
          </p:cNvPr>
          <p:cNvSpPr txBox="1">
            <a:spLocks/>
          </p:cNvSpPr>
          <p:nvPr/>
        </p:nvSpPr>
        <p:spPr>
          <a:xfrm flipH="1">
            <a:off x="-71237" y="4675239"/>
            <a:ext cx="5754406" cy="711462"/>
          </a:xfrm>
          <a:prstGeom prst="rect">
            <a:avLst/>
          </a:prstGeom>
          <a:solidFill>
            <a:srgbClr val="0289AE"/>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       </a:t>
            </a:r>
            <a:r>
              <a:rPr lang="en-US" dirty="0">
                <a:solidFill>
                  <a:schemeClr val="bg1"/>
                </a:solidFill>
                <a:hlinkClick r:id="rId4">
                  <a:extLst>
                    <a:ext uri="{A12FA001-AC4F-418D-AE19-62706E023703}">
                      <ahyp:hlinkClr xmlns:ahyp="http://schemas.microsoft.com/office/drawing/2018/hyperlinkcolor" val="tx"/>
                    </a:ext>
                  </a:extLst>
                </a:hlinkClick>
              </a:rPr>
              <a:t> www.</a:t>
            </a:r>
            <a:r>
              <a:rPr lang="en-US" b="1" dirty="0">
                <a:solidFill>
                  <a:schemeClr val="bg1"/>
                </a:solidFill>
                <a:hlinkClick r:id="rId4">
                  <a:extLst>
                    <a:ext uri="{A12FA001-AC4F-418D-AE19-62706E023703}">
                      <ahyp:hlinkClr xmlns:ahyp="http://schemas.microsoft.com/office/drawing/2018/hyperlinkcolor" val="tx"/>
                    </a:ext>
                  </a:extLst>
                </a:hlinkClick>
              </a:rPr>
              <a:t>ecosmartproject</a:t>
            </a:r>
            <a:r>
              <a:rPr lang="en-US" dirty="0">
                <a:solidFill>
                  <a:schemeClr val="bg1"/>
                </a:solidFill>
                <a:hlinkClick r:id="rId4">
                  <a:extLst>
                    <a:ext uri="{A12FA001-AC4F-418D-AE19-62706E023703}">
                      <ahyp:hlinkClr xmlns:ahyp="http://schemas.microsoft.com/office/drawing/2018/hyperlinkcolor" val="tx"/>
                    </a:ext>
                  </a:extLst>
                </a:hlinkClick>
              </a:rPr>
              <a:t>.eu</a:t>
            </a:r>
            <a:endParaRPr lang="en-US" dirty="0">
              <a:solidFill>
                <a:schemeClr val="bg1"/>
              </a:solidFill>
            </a:endParaRPr>
          </a:p>
        </p:txBody>
      </p:sp>
    </p:spTree>
    <p:extLst>
      <p:ext uri="{BB962C8B-B14F-4D97-AF65-F5344CB8AC3E}">
        <p14:creationId xmlns:p14="http://schemas.microsoft.com/office/powerpoint/2010/main" val="778115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B9EFD-2F5C-7A64-3B1E-560A3F9AE2E3}"/>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F6270307-CE04-83F3-E839-C39C75AC570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95131" y="1813033"/>
            <a:ext cx="4046884" cy="3976976"/>
          </a:xfrm>
          <a:prstGeom prst="rect">
            <a:avLst/>
          </a:prstGeom>
        </p:spPr>
      </p:pic>
      <p:sp>
        <p:nvSpPr>
          <p:cNvPr id="2" name="Text Placeholder 11">
            <a:extLst>
              <a:ext uri="{FF2B5EF4-FFF2-40B4-BE49-F238E27FC236}">
                <a16:creationId xmlns:a16="http://schemas.microsoft.com/office/drawing/2014/main" id="{1FD3F937-167F-C096-4797-A844355D548D}"/>
              </a:ext>
            </a:extLst>
          </p:cNvPr>
          <p:cNvSpPr txBox="1">
            <a:spLocks/>
          </p:cNvSpPr>
          <p:nvPr/>
        </p:nvSpPr>
        <p:spPr>
          <a:xfrm>
            <a:off x="429115" y="354068"/>
            <a:ext cx="5485548"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cs typeface="Times New Roman" panose="02020603050405020304" pitchFamily="18" charset="0"/>
              </a:rPr>
              <a:t>What Sustainable Customer Experience Design Mean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F9C74EEB-A204-30F6-57C1-2C31191DA439}"/>
              </a:ext>
            </a:extLst>
          </p:cNvPr>
          <p:cNvCxnSpPr>
            <a:cxnSpLocks/>
          </p:cNvCxnSpPr>
          <p:nvPr/>
        </p:nvCxnSpPr>
        <p:spPr>
          <a:xfrm>
            <a:off x="0" y="1469506"/>
            <a:ext cx="72521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FD74F3D2-77FE-6049-5F46-EB36EAAAC812}"/>
              </a:ext>
            </a:extLst>
          </p:cNvPr>
          <p:cNvSpPr/>
          <p:nvPr/>
        </p:nvSpPr>
        <p:spPr>
          <a:xfrm flipH="1">
            <a:off x="586944" y="1813033"/>
            <a:ext cx="6860335" cy="861774"/>
          </a:xfrm>
          <a:prstGeom prst="rect">
            <a:avLst/>
          </a:prstGeom>
        </p:spPr>
        <p:txBody>
          <a:bodyPr wrap="square">
            <a:spAutoFit/>
          </a:bodyPr>
          <a:lstStyle/>
          <a:p>
            <a:pPr>
              <a:lnSpc>
                <a:spcPts val="1960"/>
              </a:lnSpc>
              <a:buClr>
                <a:srgbClr val="62A844"/>
              </a:buClr>
              <a:buNone/>
            </a:pPr>
            <a:r>
              <a:rPr lang="en-US" dirty="0">
                <a:solidFill>
                  <a:srgbClr val="262626"/>
                </a:solidFill>
              </a:rPr>
              <a:t>Sustainable customer experience design shapes the </a:t>
            </a:r>
            <a:r>
              <a:rPr lang="en-US" dirty="0" err="1">
                <a:solidFill>
                  <a:srgbClr val="262626"/>
                </a:solidFill>
              </a:rPr>
              <a:t>interationitself</a:t>
            </a:r>
            <a:r>
              <a:rPr lang="en-US" dirty="0">
                <a:solidFill>
                  <a:srgbClr val="262626"/>
                </a:solidFill>
              </a:rPr>
              <a:t> so that it becomes environmentally responsible, culturally respectful, socially inclusive, and still desirable from the guest’s point of view.</a:t>
            </a:r>
          </a:p>
        </p:txBody>
      </p:sp>
      <p:sp>
        <p:nvSpPr>
          <p:cNvPr id="5" name="Rounded Rectangle 4">
            <a:extLst>
              <a:ext uri="{FF2B5EF4-FFF2-40B4-BE49-F238E27FC236}">
                <a16:creationId xmlns:a16="http://schemas.microsoft.com/office/drawing/2014/main" id="{987DF71B-D386-68BC-4126-00800928A761}"/>
              </a:ext>
            </a:extLst>
          </p:cNvPr>
          <p:cNvSpPr/>
          <p:nvPr/>
        </p:nvSpPr>
        <p:spPr>
          <a:xfrm>
            <a:off x="7124915" y="6002285"/>
            <a:ext cx="422278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E55FDAA8-C05C-653F-6938-59722B4266B1}"/>
              </a:ext>
            </a:extLst>
          </p:cNvPr>
          <p:cNvSpPr txBox="1"/>
          <p:nvPr/>
        </p:nvSpPr>
        <p:spPr>
          <a:xfrm>
            <a:off x="7250914" y="6065563"/>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DE8082AD-AE6C-D11F-D88D-1B8DB8B67230}"/>
              </a:ext>
            </a:extLst>
          </p:cNvPr>
          <p:cNvSpPr txBox="1"/>
          <p:nvPr/>
        </p:nvSpPr>
        <p:spPr>
          <a:xfrm>
            <a:off x="8006915" y="6065563"/>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E39A4C25-150F-8E12-B3A0-D49193EDC6A8}"/>
              </a:ext>
            </a:extLst>
          </p:cNvPr>
          <p:cNvSpPr txBox="1"/>
          <p:nvPr/>
        </p:nvSpPr>
        <p:spPr>
          <a:xfrm>
            <a:off x="8600914" y="6065563"/>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igital Marketing for Sustainability</a:t>
            </a:r>
          </a:p>
        </p:txBody>
      </p:sp>
      <p:sp>
        <p:nvSpPr>
          <p:cNvPr id="17" name="Rectangle 30">
            <a:extLst>
              <a:ext uri="{FF2B5EF4-FFF2-40B4-BE49-F238E27FC236}">
                <a16:creationId xmlns:a16="http://schemas.microsoft.com/office/drawing/2014/main" id="{80BF5642-E1F3-2C70-BCCE-3E54AEBECEC6}"/>
              </a:ext>
            </a:extLst>
          </p:cNvPr>
          <p:cNvSpPr/>
          <p:nvPr/>
        </p:nvSpPr>
        <p:spPr>
          <a:xfrm flipH="1">
            <a:off x="586945" y="3018333"/>
            <a:ext cx="7272000" cy="2160000"/>
          </a:xfrm>
          <a:prstGeom prst="rect">
            <a:avLst/>
          </a:prstGeom>
        </p:spPr>
        <p:txBody>
          <a:bodyPr wrap="square" numCol="2">
            <a:spAutoFit/>
          </a:bodyPr>
          <a:lstStyle/>
          <a:p>
            <a:pPr>
              <a:lnSpc>
                <a:spcPts val="1960"/>
              </a:lnSpc>
              <a:buClr>
                <a:srgbClr val="62A844"/>
              </a:buClr>
              <a:buNone/>
            </a:pPr>
            <a:r>
              <a:rPr lang="en-US" sz="2000" b="1" dirty="0">
                <a:solidFill>
                  <a:srgbClr val="0289AE"/>
                </a:solidFill>
              </a:rPr>
              <a:t>In hospitality, this means sustainability should feel like:</a:t>
            </a:r>
          </a:p>
          <a:p>
            <a:pPr marL="285750" indent="-285750">
              <a:lnSpc>
                <a:spcPts val="1960"/>
              </a:lnSpc>
              <a:buClr>
                <a:srgbClr val="62A844"/>
              </a:buClr>
              <a:buFont typeface="Arial" panose="020B0604020202020204" pitchFamily="34" charset="0"/>
              <a:buChar char="•"/>
            </a:pPr>
            <a:r>
              <a:rPr lang="en-US" dirty="0">
                <a:solidFill>
                  <a:srgbClr val="262626"/>
                </a:solidFill>
              </a:rPr>
              <a:t>quality</a:t>
            </a:r>
          </a:p>
          <a:p>
            <a:pPr marL="285750" indent="-285750">
              <a:lnSpc>
                <a:spcPts val="1960"/>
              </a:lnSpc>
              <a:buClr>
                <a:srgbClr val="62A844"/>
              </a:buClr>
              <a:buFont typeface="Arial" panose="020B0604020202020204" pitchFamily="34" charset="0"/>
              <a:buChar char="•"/>
            </a:pPr>
            <a:r>
              <a:rPr lang="en-US" dirty="0">
                <a:solidFill>
                  <a:srgbClr val="262626"/>
                </a:solidFill>
              </a:rPr>
              <a:t>thoughtfulness</a:t>
            </a:r>
          </a:p>
          <a:p>
            <a:pPr marL="285750" indent="-285750">
              <a:lnSpc>
                <a:spcPts val="1960"/>
              </a:lnSpc>
              <a:buClr>
                <a:srgbClr val="62A844"/>
              </a:buClr>
              <a:buFont typeface="Arial" panose="020B0604020202020204" pitchFamily="34" charset="0"/>
              <a:buChar char="•"/>
            </a:pPr>
            <a:r>
              <a:rPr lang="en-US" dirty="0">
                <a:solidFill>
                  <a:srgbClr val="262626"/>
                </a:solidFill>
              </a:rPr>
              <a:t>local meaning</a:t>
            </a:r>
          </a:p>
          <a:p>
            <a:pPr marL="285750" indent="-285750">
              <a:lnSpc>
                <a:spcPts val="1960"/>
              </a:lnSpc>
              <a:buClr>
                <a:srgbClr val="62A844"/>
              </a:buClr>
              <a:buFont typeface="Arial" panose="020B0604020202020204" pitchFamily="34" charset="0"/>
              <a:buChar char="•"/>
            </a:pPr>
            <a:r>
              <a:rPr lang="en-US" dirty="0">
                <a:solidFill>
                  <a:srgbClr val="262626"/>
                </a:solidFill>
              </a:rPr>
              <a:t>clarity</a:t>
            </a:r>
          </a:p>
          <a:p>
            <a:pPr marL="285750" indent="-285750">
              <a:lnSpc>
                <a:spcPts val="1960"/>
              </a:lnSpc>
              <a:buClr>
                <a:srgbClr val="62A844"/>
              </a:buClr>
              <a:buFont typeface="Arial" panose="020B0604020202020204" pitchFamily="34" charset="0"/>
              <a:buChar char="•"/>
            </a:pPr>
            <a:r>
              <a:rPr lang="en-US" dirty="0">
                <a:solidFill>
                  <a:srgbClr val="262626"/>
                </a:solidFill>
              </a:rPr>
              <a:t>comfort</a:t>
            </a:r>
          </a:p>
          <a:p>
            <a:pPr marL="285750" indent="-285750">
              <a:lnSpc>
                <a:spcPts val="1960"/>
              </a:lnSpc>
              <a:buClr>
                <a:srgbClr val="62A844"/>
              </a:buClr>
              <a:buFont typeface="Arial" panose="020B0604020202020204" pitchFamily="34" charset="0"/>
              <a:buChar char="•"/>
            </a:pPr>
            <a:r>
              <a:rPr lang="en-US" dirty="0">
                <a:solidFill>
                  <a:srgbClr val="262626"/>
                </a:solidFill>
              </a:rPr>
              <a:t>good design</a:t>
            </a:r>
          </a:p>
          <a:p>
            <a:pPr>
              <a:lnSpc>
                <a:spcPts val="1960"/>
              </a:lnSpc>
              <a:buClr>
                <a:srgbClr val="62A844"/>
              </a:buClr>
              <a:buNone/>
            </a:pPr>
            <a:r>
              <a:rPr lang="en-US" sz="2000" b="1" dirty="0">
                <a:solidFill>
                  <a:srgbClr val="0289AE"/>
                </a:solidFill>
              </a:rPr>
              <a:t>It should not feel like:</a:t>
            </a:r>
          </a:p>
          <a:p>
            <a:pPr marL="285750" indent="-285750">
              <a:lnSpc>
                <a:spcPts val="1960"/>
              </a:lnSpc>
              <a:buClr>
                <a:srgbClr val="62A844"/>
              </a:buClr>
              <a:buFont typeface="Arial" panose="020B0604020202020204" pitchFamily="34" charset="0"/>
              <a:buChar char="•"/>
            </a:pPr>
            <a:r>
              <a:rPr lang="en-US" dirty="0">
                <a:solidFill>
                  <a:srgbClr val="262626"/>
                </a:solidFill>
              </a:rPr>
              <a:t>inconvenience</a:t>
            </a:r>
          </a:p>
          <a:p>
            <a:pPr marL="285750" indent="-285750">
              <a:lnSpc>
                <a:spcPts val="1960"/>
              </a:lnSpc>
              <a:buClr>
                <a:srgbClr val="62A844"/>
              </a:buClr>
              <a:buFont typeface="Arial" panose="020B0604020202020204" pitchFamily="34" charset="0"/>
              <a:buChar char="•"/>
            </a:pPr>
            <a:r>
              <a:rPr lang="en-US" dirty="0">
                <a:solidFill>
                  <a:srgbClr val="262626"/>
                </a:solidFill>
              </a:rPr>
              <a:t>hidden cost-cutting</a:t>
            </a:r>
          </a:p>
          <a:p>
            <a:pPr marL="285750" indent="-285750">
              <a:lnSpc>
                <a:spcPts val="1960"/>
              </a:lnSpc>
              <a:buClr>
                <a:srgbClr val="62A844"/>
              </a:buClr>
              <a:buFont typeface="Arial" panose="020B0604020202020204" pitchFamily="34" charset="0"/>
              <a:buChar char="•"/>
            </a:pPr>
            <a:r>
              <a:rPr lang="en-US" dirty="0">
                <a:solidFill>
                  <a:srgbClr val="262626"/>
                </a:solidFill>
              </a:rPr>
              <a:t>moral pressure</a:t>
            </a:r>
          </a:p>
          <a:p>
            <a:pPr marL="285750" indent="-285750">
              <a:lnSpc>
                <a:spcPts val="1960"/>
              </a:lnSpc>
              <a:buClr>
                <a:srgbClr val="62A844"/>
              </a:buClr>
              <a:buFont typeface="Arial" panose="020B0604020202020204" pitchFamily="34" charset="0"/>
              <a:buChar char="•"/>
            </a:pPr>
            <a:r>
              <a:rPr lang="en-US" dirty="0">
                <a:solidFill>
                  <a:srgbClr val="262626"/>
                </a:solidFill>
              </a:rPr>
              <a:t>vague branding</a:t>
            </a:r>
          </a:p>
          <a:p>
            <a:pPr marL="285750" indent="-285750">
              <a:lnSpc>
                <a:spcPts val="1960"/>
              </a:lnSpc>
              <a:buClr>
                <a:srgbClr val="62A844"/>
              </a:buClr>
              <a:buFont typeface="Arial" panose="020B0604020202020204" pitchFamily="34" charset="0"/>
              <a:buChar char="•"/>
            </a:pPr>
            <a:endParaRPr lang="en-US" dirty="0">
              <a:solidFill>
                <a:srgbClr val="262626"/>
              </a:solidFill>
            </a:endParaRPr>
          </a:p>
          <a:p>
            <a:pPr>
              <a:lnSpc>
                <a:spcPts val="1960"/>
              </a:lnSpc>
              <a:buClr>
                <a:srgbClr val="62A844"/>
              </a:buClr>
            </a:pPr>
            <a:endParaRPr lang="en-US" dirty="0">
              <a:solidFill>
                <a:srgbClr val="262626"/>
              </a:solidFill>
            </a:endParaRPr>
          </a:p>
        </p:txBody>
      </p:sp>
      <p:sp>
        <p:nvSpPr>
          <p:cNvPr id="18" name="Rectangle 30">
            <a:extLst>
              <a:ext uri="{FF2B5EF4-FFF2-40B4-BE49-F238E27FC236}">
                <a16:creationId xmlns:a16="http://schemas.microsoft.com/office/drawing/2014/main" id="{F87ACECF-FC8E-03D3-64B0-A96C953C8230}"/>
              </a:ext>
            </a:extLst>
          </p:cNvPr>
          <p:cNvSpPr/>
          <p:nvPr/>
        </p:nvSpPr>
        <p:spPr>
          <a:xfrm flipH="1">
            <a:off x="586945" y="5383167"/>
            <a:ext cx="6061597" cy="861774"/>
          </a:xfrm>
          <a:prstGeom prst="rect">
            <a:avLst/>
          </a:prstGeom>
        </p:spPr>
        <p:txBody>
          <a:bodyPr wrap="square" numCol="1">
            <a:spAutoFit/>
          </a:bodyPr>
          <a:lstStyle/>
          <a:p>
            <a:pPr>
              <a:lnSpc>
                <a:spcPts val="1960"/>
              </a:lnSpc>
              <a:buClr>
                <a:srgbClr val="62A844"/>
              </a:buClr>
              <a:buNone/>
            </a:pPr>
            <a:r>
              <a:rPr lang="en-US" sz="2000" b="1" dirty="0">
                <a:solidFill>
                  <a:srgbClr val="0289AE"/>
                </a:solidFill>
              </a:rPr>
              <a:t>Core idea:</a:t>
            </a:r>
            <a:br>
              <a:rPr lang="en-US" dirty="0">
                <a:solidFill>
                  <a:srgbClr val="262626"/>
                </a:solidFill>
              </a:rPr>
            </a:br>
            <a:r>
              <a:rPr lang="en-US" dirty="0">
                <a:solidFill>
                  <a:srgbClr val="262626"/>
                </a:solidFill>
              </a:rPr>
              <a:t>A well-designed sustainable experience helps guests feel that responsible hospitality is also better hospitality.</a:t>
            </a:r>
          </a:p>
        </p:txBody>
      </p:sp>
    </p:spTree>
    <p:extLst>
      <p:ext uri="{BB962C8B-B14F-4D97-AF65-F5344CB8AC3E}">
        <p14:creationId xmlns:p14="http://schemas.microsoft.com/office/powerpoint/2010/main" val="22951564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2AD5E-5676-ACBA-B4D1-67821495E56B}"/>
            </a:ext>
          </a:extLst>
        </p:cNvPr>
        <p:cNvGrpSpPr/>
        <p:nvPr/>
      </p:nvGrpSpPr>
      <p:grpSpPr>
        <a:xfrm>
          <a:off x="0" y="0"/>
          <a:ext cx="0" cy="0"/>
          <a:chOff x="0" y="0"/>
          <a:chExt cx="0" cy="0"/>
        </a:xfrm>
      </p:grpSpPr>
      <p:sp>
        <p:nvSpPr>
          <p:cNvPr id="24" name="Text Placeholder 11">
            <a:extLst>
              <a:ext uri="{FF2B5EF4-FFF2-40B4-BE49-F238E27FC236}">
                <a16:creationId xmlns:a16="http://schemas.microsoft.com/office/drawing/2014/main" id="{D4DBCE19-7CDB-4549-8CCC-6FFCCD05E531}"/>
              </a:ext>
            </a:extLst>
          </p:cNvPr>
          <p:cNvSpPr txBox="1">
            <a:spLocks/>
          </p:cNvSpPr>
          <p:nvPr/>
        </p:nvSpPr>
        <p:spPr>
          <a:xfrm>
            <a:off x="454695" y="394053"/>
            <a:ext cx="623871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06677F"/>
                </a:solidFill>
                <a:latin typeface="Calibri" panose="020F0502020204030204" pitchFamily="34" charset="0"/>
                <a:cs typeface="Calibri" panose="020F0502020204030204" pitchFamily="34" charset="0"/>
              </a:rPr>
              <a:t>Why Experience and Sustainability Belong Together</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A2A9C37B-0608-AB6B-21AC-004C8DCDBE9E}"/>
              </a:ext>
            </a:extLst>
          </p:cNvPr>
          <p:cNvCxnSpPr>
            <a:cxnSpLocks/>
          </p:cNvCxnSpPr>
          <p:nvPr/>
        </p:nvCxnSpPr>
        <p:spPr>
          <a:xfrm>
            <a:off x="0" y="1509491"/>
            <a:ext cx="682752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6" name="TextBox 6">
            <a:extLst>
              <a:ext uri="{FF2B5EF4-FFF2-40B4-BE49-F238E27FC236}">
                <a16:creationId xmlns:a16="http://schemas.microsoft.com/office/drawing/2014/main" id="{2070CCEA-4A0A-D54D-CB3B-D1AABA496575}"/>
              </a:ext>
            </a:extLst>
          </p:cNvPr>
          <p:cNvSpPr txBox="1"/>
          <p:nvPr/>
        </p:nvSpPr>
        <p:spPr>
          <a:xfrm>
            <a:off x="661896" y="2061205"/>
            <a:ext cx="6750839" cy="586443"/>
          </a:xfrm>
          <a:prstGeom prst="rect">
            <a:avLst/>
          </a:prstGeom>
          <a:noFill/>
        </p:spPr>
        <p:txBody>
          <a:bodyPr wrap="square" lIns="91440" tIns="45720" rIns="91440" bIns="45720" rtlCol="0" anchor="t">
            <a:spAutoFit/>
          </a:bodyPr>
          <a:lstStyle/>
          <a:p>
            <a:pPr>
              <a:lnSpc>
                <a:spcPts val="1900"/>
              </a:lnSpc>
            </a:pPr>
            <a:r>
              <a:rPr lang="en-US" sz="2000" b="1" dirty="0">
                <a:solidFill>
                  <a:srgbClr val="62A844"/>
                </a:solidFill>
              </a:rPr>
              <a:t>Sustainability and guest experience are often treated as separate agendas. In practice, they overlap constantly.</a:t>
            </a:r>
          </a:p>
        </p:txBody>
      </p:sp>
      <p:sp>
        <p:nvSpPr>
          <p:cNvPr id="27" name="TextBox 6">
            <a:extLst>
              <a:ext uri="{FF2B5EF4-FFF2-40B4-BE49-F238E27FC236}">
                <a16:creationId xmlns:a16="http://schemas.microsoft.com/office/drawing/2014/main" id="{C3D2F8F3-E97B-06C3-0A88-C7C7178E9C03}"/>
              </a:ext>
            </a:extLst>
          </p:cNvPr>
          <p:cNvSpPr txBox="1"/>
          <p:nvPr/>
        </p:nvSpPr>
        <p:spPr>
          <a:xfrm>
            <a:off x="661896" y="3081553"/>
            <a:ext cx="5933976" cy="2041585"/>
          </a:xfrm>
          <a:prstGeom prst="rect">
            <a:avLst/>
          </a:prstGeom>
          <a:noFill/>
        </p:spPr>
        <p:txBody>
          <a:bodyPr wrap="square" lIns="91440" tIns="45720" rIns="91440" bIns="45720" rtlCol="0" anchor="t">
            <a:spAutoFit/>
          </a:bodyPr>
          <a:lstStyle/>
          <a:p>
            <a:pPr marL="342900" indent="-342900">
              <a:lnSpc>
                <a:spcPts val="1900"/>
              </a:lnSpc>
              <a:buClr>
                <a:srgbClr val="62A844"/>
              </a:buClr>
              <a:buFont typeface="Arial" panose="020B0604020202020204" pitchFamily="34" charset="0"/>
              <a:buChar char="•"/>
            </a:pPr>
            <a:r>
              <a:rPr lang="en-US" dirty="0">
                <a:solidFill>
                  <a:srgbClr val="262626"/>
                </a:solidFill>
              </a:rPr>
              <a:t>When a hotel uses local food well, guests often experience greater authenticity.</a:t>
            </a:r>
          </a:p>
          <a:p>
            <a:pPr marL="342900" indent="-342900">
              <a:lnSpc>
                <a:spcPts val="1900"/>
              </a:lnSpc>
              <a:buClr>
                <a:srgbClr val="62A844"/>
              </a:buClr>
              <a:buFont typeface="Arial" panose="020B0604020202020204" pitchFamily="34" charset="0"/>
              <a:buChar char="•"/>
            </a:pPr>
            <a:r>
              <a:rPr lang="en-US" dirty="0">
                <a:solidFill>
                  <a:srgbClr val="262626"/>
                </a:solidFill>
              </a:rPr>
              <a:t>When room communication is clearer, guests experience less friction.</a:t>
            </a:r>
          </a:p>
          <a:p>
            <a:pPr marL="342900" indent="-342900">
              <a:lnSpc>
                <a:spcPts val="1900"/>
              </a:lnSpc>
              <a:buClr>
                <a:srgbClr val="62A844"/>
              </a:buClr>
              <a:buFont typeface="Arial" panose="020B0604020202020204" pitchFamily="34" charset="0"/>
              <a:buChar char="•"/>
            </a:pPr>
            <a:r>
              <a:rPr lang="en-US" dirty="0">
                <a:solidFill>
                  <a:srgbClr val="262626"/>
                </a:solidFill>
              </a:rPr>
              <a:t>When design reduces waste elegantly, the property often feels more thoughtful and better managed.</a:t>
            </a:r>
          </a:p>
          <a:p>
            <a:pPr marL="342900" indent="-342900">
              <a:lnSpc>
                <a:spcPts val="1900"/>
              </a:lnSpc>
              <a:buClr>
                <a:srgbClr val="62A844"/>
              </a:buClr>
              <a:buFont typeface="Arial" panose="020B0604020202020204" pitchFamily="34" charset="0"/>
              <a:buChar char="•"/>
            </a:pPr>
            <a:r>
              <a:rPr lang="en-US" dirty="0">
                <a:solidFill>
                  <a:srgbClr val="262626"/>
                </a:solidFill>
              </a:rPr>
              <a:t>When inclusive information is available, more guests feel welcome and confident.</a:t>
            </a:r>
          </a:p>
        </p:txBody>
      </p:sp>
      <p:sp>
        <p:nvSpPr>
          <p:cNvPr id="29" name="Rectangle 367">
            <a:extLst>
              <a:ext uri="{FF2B5EF4-FFF2-40B4-BE49-F238E27FC236}">
                <a16:creationId xmlns:a16="http://schemas.microsoft.com/office/drawing/2014/main" id="{0B79B7AB-061C-5887-A41C-47DD7487213B}"/>
              </a:ext>
            </a:extLst>
          </p:cNvPr>
          <p:cNvSpPr/>
          <p:nvPr/>
        </p:nvSpPr>
        <p:spPr>
          <a:xfrm flipH="1">
            <a:off x="779123" y="5563339"/>
            <a:ext cx="2794928" cy="830997"/>
          </a:xfrm>
          <a:prstGeom prst="rect">
            <a:avLst/>
          </a:prstGeom>
        </p:spPr>
        <p:txBody>
          <a:bodyPr wrap="square">
            <a:spAutoFit/>
          </a:bodyPr>
          <a:lstStyle/>
          <a:p>
            <a:r>
              <a:rPr lang="de-DE" sz="2400" b="1" dirty="0">
                <a:solidFill>
                  <a:srgbClr val="0289AE"/>
                </a:solidFill>
              </a:rPr>
              <a:t>What does that overlap look like ?</a:t>
            </a:r>
            <a:endParaRPr lang="en-US" sz="2400" b="1" dirty="0">
              <a:solidFill>
                <a:srgbClr val="0289AE"/>
              </a:solidFill>
              <a:latin typeface="+mj-lt"/>
              <a:cs typeface="Segoe UI" panose="020B0502040204020203" pitchFamily="34" charset="0"/>
            </a:endParaRPr>
          </a:p>
        </p:txBody>
      </p:sp>
      <p:sp>
        <p:nvSpPr>
          <p:cNvPr id="30" name="Freeform 29">
            <a:extLst>
              <a:ext uri="{FF2B5EF4-FFF2-40B4-BE49-F238E27FC236}">
                <a16:creationId xmlns:a16="http://schemas.microsoft.com/office/drawing/2014/main" id="{DA65349A-D7DC-FA91-E18C-DFBC5CF7F0DB}"/>
              </a:ext>
            </a:extLst>
          </p:cNvPr>
          <p:cNvSpPr/>
          <p:nvPr/>
        </p:nvSpPr>
        <p:spPr>
          <a:xfrm rot="15325054" flipH="1">
            <a:off x="3321984" y="5815213"/>
            <a:ext cx="926896" cy="526949"/>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grpSp>
        <p:nvGrpSpPr>
          <p:cNvPr id="31" name="Group 30">
            <a:extLst>
              <a:ext uri="{FF2B5EF4-FFF2-40B4-BE49-F238E27FC236}">
                <a16:creationId xmlns:a16="http://schemas.microsoft.com/office/drawing/2014/main" id="{4C0E0721-B088-4B56-5982-E37C0B3C9BAC}"/>
              </a:ext>
            </a:extLst>
          </p:cNvPr>
          <p:cNvGrpSpPr/>
          <p:nvPr/>
        </p:nvGrpSpPr>
        <p:grpSpPr>
          <a:xfrm>
            <a:off x="7622869" y="1218424"/>
            <a:ext cx="3907235" cy="3904714"/>
            <a:chOff x="7111580" y="848634"/>
            <a:chExt cx="4928242" cy="4925062"/>
          </a:xfrm>
        </p:grpSpPr>
        <p:sp>
          <p:nvSpPr>
            <p:cNvPr id="32" name="Freeform 5">
              <a:extLst>
                <a:ext uri="{FF2B5EF4-FFF2-40B4-BE49-F238E27FC236}">
                  <a16:creationId xmlns:a16="http://schemas.microsoft.com/office/drawing/2014/main" id="{81A36B62-41C8-1BE0-1049-B5F49D317CAD}"/>
                </a:ext>
              </a:extLst>
            </p:cNvPr>
            <p:cNvSpPr>
              <a:spLocks/>
            </p:cNvSpPr>
            <p:nvPr/>
          </p:nvSpPr>
          <p:spPr bwMode="auto">
            <a:xfrm>
              <a:off x="7111580" y="3351017"/>
              <a:ext cx="4809707" cy="2422679"/>
            </a:xfrm>
            <a:custGeom>
              <a:avLst/>
              <a:gdLst>
                <a:gd name="T0" fmla="*/ 11 w 17245"/>
                <a:gd name="T1" fmla="*/ 415 h 8057"/>
                <a:gd name="T2" fmla="*/ 99 w 17245"/>
                <a:gd name="T3" fmla="*/ 1227 h 8057"/>
                <a:gd name="T4" fmla="*/ 272 w 17245"/>
                <a:gd name="T5" fmla="*/ 2014 h 8057"/>
                <a:gd name="T6" fmla="*/ 523 w 17245"/>
                <a:gd name="T7" fmla="*/ 2770 h 8057"/>
                <a:gd name="T8" fmla="*/ 850 w 17245"/>
                <a:gd name="T9" fmla="*/ 3493 h 8057"/>
                <a:gd name="T10" fmla="*/ 1248 w 17245"/>
                <a:gd name="T11" fmla="*/ 4178 h 8057"/>
                <a:gd name="T12" fmla="*/ 1713 w 17245"/>
                <a:gd name="T13" fmla="*/ 4821 h 8057"/>
                <a:gd name="T14" fmla="*/ 2240 w 17245"/>
                <a:gd name="T15" fmla="*/ 5417 h 8057"/>
                <a:gd name="T16" fmla="*/ 2825 w 17245"/>
                <a:gd name="T17" fmla="*/ 5964 h 8057"/>
                <a:gd name="T18" fmla="*/ 3463 w 17245"/>
                <a:gd name="T19" fmla="*/ 6456 h 8057"/>
                <a:gd name="T20" fmla="*/ 4151 w 17245"/>
                <a:gd name="T21" fmla="*/ 6890 h 8057"/>
                <a:gd name="T22" fmla="*/ 4885 w 17245"/>
                <a:gd name="T23" fmla="*/ 7262 h 8057"/>
                <a:gd name="T24" fmla="*/ 5658 w 17245"/>
                <a:gd name="T25" fmla="*/ 7568 h 8057"/>
                <a:gd name="T26" fmla="*/ 6467 w 17245"/>
                <a:gd name="T27" fmla="*/ 7803 h 8057"/>
                <a:gd name="T28" fmla="*/ 7310 w 17245"/>
                <a:gd name="T29" fmla="*/ 7964 h 8057"/>
                <a:gd name="T30" fmla="*/ 8179 w 17245"/>
                <a:gd name="T31" fmla="*/ 8046 h 8057"/>
                <a:gd name="T32" fmla="*/ 9066 w 17245"/>
                <a:gd name="T33" fmla="*/ 8046 h 8057"/>
                <a:gd name="T34" fmla="*/ 9936 w 17245"/>
                <a:gd name="T35" fmla="*/ 7964 h 8057"/>
                <a:gd name="T36" fmla="*/ 10778 w 17245"/>
                <a:gd name="T37" fmla="*/ 7803 h 8057"/>
                <a:gd name="T38" fmla="*/ 11587 w 17245"/>
                <a:gd name="T39" fmla="*/ 7568 h 8057"/>
                <a:gd name="T40" fmla="*/ 12361 w 17245"/>
                <a:gd name="T41" fmla="*/ 7262 h 8057"/>
                <a:gd name="T42" fmla="*/ 13093 w 17245"/>
                <a:gd name="T43" fmla="*/ 6890 h 8057"/>
                <a:gd name="T44" fmla="*/ 13781 w 17245"/>
                <a:gd name="T45" fmla="*/ 6456 h 8057"/>
                <a:gd name="T46" fmla="*/ 14420 w 17245"/>
                <a:gd name="T47" fmla="*/ 5964 h 8057"/>
                <a:gd name="T48" fmla="*/ 15005 w 17245"/>
                <a:gd name="T49" fmla="*/ 5417 h 8057"/>
                <a:gd name="T50" fmla="*/ 15532 w 17245"/>
                <a:gd name="T51" fmla="*/ 4821 h 8057"/>
                <a:gd name="T52" fmla="*/ 15997 w 17245"/>
                <a:gd name="T53" fmla="*/ 4178 h 8057"/>
                <a:gd name="T54" fmla="*/ 16394 w 17245"/>
                <a:gd name="T55" fmla="*/ 3493 h 8057"/>
                <a:gd name="T56" fmla="*/ 16721 w 17245"/>
                <a:gd name="T57" fmla="*/ 2770 h 8057"/>
                <a:gd name="T58" fmla="*/ 16973 w 17245"/>
                <a:gd name="T59" fmla="*/ 2014 h 8057"/>
                <a:gd name="T60" fmla="*/ 17145 w 17245"/>
                <a:gd name="T61" fmla="*/ 1227 h 8057"/>
                <a:gd name="T62" fmla="*/ 17234 w 17245"/>
                <a:gd name="T63" fmla="*/ 415 h 8057"/>
                <a:gd name="T64" fmla="*/ 0 w 17245"/>
                <a:gd name="T65" fmla="*/ 0 h 8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45" h="8057">
                  <a:moveTo>
                    <a:pt x="0" y="0"/>
                  </a:moveTo>
                  <a:lnTo>
                    <a:pt x="11" y="415"/>
                  </a:lnTo>
                  <a:lnTo>
                    <a:pt x="44" y="824"/>
                  </a:lnTo>
                  <a:lnTo>
                    <a:pt x="99" y="1227"/>
                  </a:lnTo>
                  <a:lnTo>
                    <a:pt x="176" y="1624"/>
                  </a:lnTo>
                  <a:lnTo>
                    <a:pt x="272" y="2014"/>
                  </a:lnTo>
                  <a:lnTo>
                    <a:pt x="388" y="2396"/>
                  </a:lnTo>
                  <a:lnTo>
                    <a:pt x="523" y="2770"/>
                  </a:lnTo>
                  <a:lnTo>
                    <a:pt x="678" y="3137"/>
                  </a:lnTo>
                  <a:lnTo>
                    <a:pt x="850" y="3493"/>
                  </a:lnTo>
                  <a:lnTo>
                    <a:pt x="1040" y="3841"/>
                  </a:lnTo>
                  <a:lnTo>
                    <a:pt x="1248" y="4178"/>
                  </a:lnTo>
                  <a:lnTo>
                    <a:pt x="1472" y="4504"/>
                  </a:lnTo>
                  <a:lnTo>
                    <a:pt x="1713" y="4821"/>
                  </a:lnTo>
                  <a:lnTo>
                    <a:pt x="1969" y="5125"/>
                  </a:lnTo>
                  <a:lnTo>
                    <a:pt x="2240" y="5417"/>
                  </a:lnTo>
                  <a:lnTo>
                    <a:pt x="2526" y="5697"/>
                  </a:lnTo>
                  <a:lnTo>
                    <a:pt x="2825" y="5964"/>
                  </a:lnTo>
                  <a:lnTo>
                    <a:pt x="3138" y="6218"/>
                  </a:lnTo>
                  <a:lnTo>
                    <a:pt x="3463" y="6456"/>
                  </a:lnTo>
                  <a:lnTo>
                    <a:pt x="3801" y="6681"/>
                  </a:lnTo>
                  <a:lnTo>
                    <a:pt x="4151" y="6890"/>
                  </a:lnTo>
                  <a:lnTo>
                    <a:pt x="4512" y="7084"/>
                  </a:lnTo>
                  <a:lnTo>
                    <a:pt x="4885" y="7262"/>
                  </a:lnTo>
                  <a:lnTo>
                    <a:pt x="5267" y="7423"/>
                  </a:lnTo>
                  <a:lnTo>
                    <a:pt x="5658" y="7568"/>
                  </a:lnTo>
                  <a:lnTo>
                    <a:pt x="6059" y="7695"/>
                  </a:lnTo>
                  <a:lnTo>
                    <a:pt x="6467" y="7803"/>
                  </a:lnTo>
                  <a:lnTo>
                    <a:pt x="6885" y="7894"/>
                  </a:lnTo>
                  <a:lnTo>
                    <a:pt x="7310" y="7964"/>
                  </a:lnTo>
                  <a:lnTo>
                    <a:pt x="7741" y="8015"/>
                  </a:lnTo>
                  <a:lnTo>
                    <a:pt x="8179" y="8046"/>
                  </a:lnTo>
                  <a:lnTo>
                    <a:pt x="8623" y="8057"/>
                  </a:lnTo>
                  <a:lnTo>
                    <a:pt x="9066" y="8046"/>
                  </a:lnTo>
                  <a:lnTo>
                    <a:pt x="9504" y="8015"/>
                  </a:lnTo>
                  <a:lnTo>
                    <a:pt x="9936" y="7964"/>
                  </a:lnTo>
                  <a:lnTo>
                    <a:pt x="10360" y="7894"/>
                  </a:lnTo>
                  <a:lnTo>
                    <a:pt x="10778" y="7803"/>
                  </a:lnTo>
                  <a:lnTo>
                    <a:pt x="11186" y="7695"/>
                  </a:lnTo>
                  <a:lnTo>
                    <a:pt x="11587" y="7568"/>
                  </a:lnTo>
                  <a:lnTo>
                    <a:pt x="11979" y="7423"/>
                  </a:lnTo>
                  <a:lnTo>
                    <a:pt x="12361" y="7262"/>
                  </a:lnTo>
                  <a:lnTo>
                    <a:pt x="12732" y="7084"/>
                  </a:lnTo>
                  <a:lnTo>
                    <a:pt x="13093" y="6890"/>
                  </a:lnTo>
                  <a:lnTo>
                    <a:pt x="13444" y="6681"/>
                  </a:lnTo>
                  <a:lnTo>
                    <a:pt x="13781" y="6456"/>
                  </a:lnTo>
                  <a:lnTo>
                    <a:pt x="14107" y="6218"/>
                  </a:lnTo>
                  <a:lnTo>
                    <a:pt x="14420" y="5964"/>
                  </a:lnTo>
                  <a:lnTo>
                    <a:pt x="14719" y="5697"/>
                  </a:lnTo>
                  <a:lnTo>
                    <a:pt x="15005" y="5417"/>
                  </a:lnTo>
                  <a:lnTo>
                    <a:pt x="15276" y="5125"/>
                  </a:lnTo>
                  <a:lnTo>
                    <a:pt x="15532" y="4821"/>
                  </a:lnTo>
                  <a:lnTo>
                    <a:pt x="15773" y="4504"/>
                  </a:lnTo>
                  <a:lnTo>
                    <a:pt x="15997" y="4178"/>
                  </a:lnTo>
                  <a:lnTo>
                    <a:pt x="16204" y="3841"/>
                  </a:lnTo>
                  <a:lnTo>
                    <a:pt x="16394" y="3493"/>
                  </a:lnTo>
                  <a:lnTo>
                    <a:pt x="16568" y="3137"/>
                  </a:lnTo>
                  <a:lnTo>
                    <a:pt x="16721" y="2770"/>
                  </a:lnTo>
                  <a:lnTo>
                    <a:pt x="16857" y="2396"/>
                  </a:lnTo>
                  <a:lnTo>
                    <a:pt x="16973" y="2014"/>
                  </a:lnTo>
                  <a:lnTo>
                    <a:pt x="17070" y="1624"/>
                  </a:lnTo>
                  <a:lnTo>
                    <a:pt x="17145" y="1227"/>
                  </a:lnTo>
                  <a:lnTo>
                    <a:pt x="17201" y="824"/>
                  </a:lnTo>
                  <a:lnTo>
                    <a:pt x="17234" y="415"/>
                  </a:lnTo>
                  <a:lnTo>
                    <a:pt x="17245" y="0"/>
                  </a:lnTo>
                  <a:lnTo>
                    <a:pt x="0" y="0"/>
                  </a:lnTo>
                  <a:close/>
                </a:path>
              </a:pathLst>
            </a:custGeom>
            <a:gradFill>
              <a:gsLst>
                <a:gs pos="100000">
                  <a:srgbClr val="92D050"/>
                </a:gs>
                <a:gs pos="0">
                  <a:srgbClr val="009242"/>
                </a:gs>
              </a:gsLst>
              <a:lin ang="2700000" scaled="1"/>
            </a:gradFill>
            <a:ln>
              <a:no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9" name="Freeform 20">
              <a:extLst>
                <a:ext uri="{FF2B5EF4-FFF2-40B4-BE49-F238E27FC236}">
                  <a16:creationId xmlns:a16="http://schemas.microsoft.com/office/drawing/2014/main" id="{22E66376-B2EF-6BB4-0F24-207E72EDB503}"/>
                </a:ext>
              </a:extLst>
            </p:cNvPr>
            <p:cNvSpPr>
              <a:spLocks/>
            </p:cNvSpPr>
            <p:nvPr/>
          </p:nvSpPr>
          <p:spPr bwMode="auto">
            <a:xfrm>
              <a:off x="7778162" y="3492377"/>
              <a:ext cx="1034735" cy="1831672"/>
            </a:xfrm>
            <a:custGeom>
              <a:avLst/>
              <a:gdLst>
                <a:gd name="T0" fmla="*/ 3493 w 3713"/>
                <a:gd name="T1" fmla="*/ 2798 h 6086"/>
                <a:gd name="T2" fmla="*/ 2946 w 3713"/>
                <a:gd name="T3" fmla="*/ 2494 h 6086"/>
                <a:gd name="T4" fmla="*/ 2718 w 3713"/>
                <a:gd name="T5" fmla="*/ 2368 h 6086"/>
                <a:gd name="T6" fmla="*/ 2445 w 3713"/>
                <a:gd name="T7" fmla="*/ 2230 h 6086"/>
                <a:gd name="T8" fmla="*/ 2309 w 3713"/>
                <a:gd name="T9" fmla="*/ 1858 h 6086"/>
                <a:gd name="T10" fmla="*/ 1998 w 3713"/>
                <a:gd name="T11" fmla="*/ 1569 h 6086"/>
                <a:gd name="T12" fmla="*/ 1728 w 3713"/>
                <a:gd name="T13" fmla="*/ 1377 h 6086"/>
                <a:gd name="T14" fmla="*/ 1572 w 3713"/>
                <a:gd name="T15" fmla="*/ 1188 h 6086"/>
                <a:gd name="T16" fmla="*/ 1438 w 3713"/>
                <a:gd name="T17" fmla="*/ 1071 h 6086"/>
                <a:gd name="T18" fmla="*/ 1296 w 3713"/>
                <a:gd name="T19" fmla="*/ 1124 h 6086"/>
                <a:gd name="T20" fmla="*/ 1083 w 3713"/>
                <a:gd name="T21" fmla="*/ 947 h 6086"/>
                <a:gd name="T22" fmla="*/ 987 w 3713"/>
                <a:gd name="T23" fmla="*/ 1000 h 6086"/>
                <a:gd name="T24" fmla="*/ 846 w 3713"/>
                <a:gd name="T25" fmla="*/ 1003 h 6086"/>
                <a:gd name="T26" fmla="*/ 725 w 3713"/>
                <a:gd name="T27" fmla="*/ 1212 h 6086"/>
                <a:gd name="T28" fmla="*/ 566 w 3713"/>
                <a:gd name="T29" fmla="*/ 1178 h 6086"/>
                <a:gd name="T30" fmla="*/ 467 w 3713"/>
                <a:gd name="T31" fmla="*/ 923 h 6086"/>
                <a:gd name="T32" fmla="*/ 348 w 3713"/>
                <a:gd name="T33" fmla="*/ 563 h 6086"/>
                <a:gd name="T34" fmla="*/ 353 w 3713"/>
                <a:gd name="T35" fmla="*/ 233 h 6086"/>
                <a:gd name="T36" fmla="*/ 305 w 3713"/>
                <a:gd name="T37" fmla="*/ 96 h 6086"/>
                <a:gd name="T38" fmla="*/ 201 w 3713"/>
                <a:gd name="T39" fmla="*/ 340 h 6086"/>
                <a:gd name="T40" fmla="*/ 138 w 3713"/>
                <a:gd name="T41" fmla="*/ 162 h 6086"/>
                <a:gd name="T42" fmla="*/ 30 w 3713"/>
                <a:gd name="T43" fmla="*/ 219 h 6086"/>
                <a:gd name="T44" fmla="*/ 172 w 3713"/>
                <a:gd name="T45" fmla="*/ 553 h 6086"/>
                <a:gd name="T46" fmla="*/ 250 w 3713"/>
                <a:gd name="T47" fmla="*/ 764 h 6086"/>
                <a:gd name="T48" fmla="*/ 369 w 3713"/>
                <a:gd name="T49" fmla="*/ 916 h 6086"/>
                <a:gd name="T50" fmla="*/ 385 w 3713"/>
                <a:gd name="T51" fmla="*/ 1072 h 6086"/>
                <a:gd name="T52" fmla="*/ 531 w 3713"/>
                <a:gd name="T53" fmla="*/ 1283 h 6086"/>
                <a:gd name="T54" fmla="*/ 637 w 3713"/>
                <a:gd name="T55" fmla="*/ 1231 h 6086"/>
                <a:gd name="T56" fmla="*/ 724 w 3713"/>
                <a:gd name="T57" fmla="*/ 1509 h 6086"/>
                <a:gd name="T58" fmla="*/ 697 w 3713"/>
                <a:gd name="T59" fmla="*/ 1773 h 6086"/>
                <a:gd name="T60" fmla="*/ 633 w 3713"/>
                <a:gd name="T61" fmla="*/ 2054 h 6086"/>
                <a:gd name="T62" fmla="*/ 710 w 3713"/>
                <a:gd name="T63" fmla="*/ 2335 h 6086"/>
                <a:gd name="T64" fmla="*/ 841 w 3713"/>
                <a:gd name="T65" fmla="*/ 2248 h 6086"/>
                <a:gd name="T66" fmla="*/ 915 w 3713"/>
                <a:gd name="T67" fmla="*/ 2088 h 6086"/>
                <a:gd name="T68" fmla="*/ 1031 w 3713"/>
                <a:gd name="T69" fmla="*/ 2285 h 6086"/>
                <a:gd name="T70" fmla="*/ 1125 w 3713"/>
                <a:gd name="T71" fmla="*/ 2358 h 6086"/>
                <a:gd name="T72" fmla="*/ 1049 w 3713"/>
                <a:gd name="T73" fmla="*/ 2462 h 6086"/>
                <a:gd name="T74" fmla="*/ 1020 w 3713"/>
                <a:gd name="T75" fmla="*/ 2619 h 6086"/>
                <a:gd name="T76" fmla="*/ 1167 w 3713"/>
                <a:gd name="T77" fmla="*/ 2924 h 6086"/>
                <a:gd name="T78" fmla="*/ 1304 w 3713"/>
                <a:gd name="T79" fmla="*/ 3059 h 6086"/>
                <a:gd name="T80" fmla="*/ 1397 w 3713"/>
                <a:gd name="T81" fmla="*/ 3329 h 6086"/>
                <a:gd name="T82" fmla="*/ 1441 w 3713"/>
                <a:gd name="T83" fmla="*/ 3463 h 6086"/>
                <a:gd name="T84" fmla="*/ 1442 w 3713"/>
                <a:gd name="T85" fmla="*/ 3632 h 6086"/>
                <a:gd name="T86" fmla="*/ 1577 w 3713"/>
                <a:gd name="T87" fmla="*/ 3966 h 6086"/>
                <a:gd name="T88" fmla="*/ 1731 w 3713"/>
                <a:gd name="T89" fmla="*/ 4444 h 6086"/>
                <a:gd name="T90" fmla="*/ 1885 w 3713"/>
                <a:gd name="T91" fmla="*/ 4755 h 6086"/>
                <a:gd name="T92" fmla="*/ 2063 w 3713"/>
                <a:gd name="T93" fmla="*/ 5084 h 6086"/>
                <a:gd name="T94" fmla="*/ 2256 w 3713"/>
                <a:gd name="T95" fmla="*/ 5338 h 6086"/>
                <a:gd name="T96" fmla="*/ 2413 w 3713"/>
                <a:gd name="T97" fmla="*/ 5544 h 6086"/>
                <a:gd name="T98" fmla="*/ 2929 w 3713"/>
                <a:gd name="T99" fmla="*/ 5962 h 6086"/>
                <a:gd name="T100" fmla="*/ 2808 w 3713"/>
                <a:gd name="T101" fmla="*/ 5785 h 6086"/>
                <a:gd name="T102" fmla="*/ 2636 w 3713"/>
                <a:gd name="T103" fmla="*/ 5508 h 6086"/>
                <a:gd name="T104" fmla="*/ 2643 w 3713"/>
                <a:gd name="T105" fmla="*/ 5400 h 6086"/>
                <a:gd name="T106" fmla="*/ 2805 w 3713"/>
                <a:gd name="T107" fmla="*/ 5310 h 6086"/>
                <a:gd name="T108" fmla="*/ 2775 w 3713"/>
                <a:gd name="T109" fmla="*/ 5081 h 6086"/>
                <a:gd name="T110" fmla="*/ 2952 w 3713"/>
                <a:gd name="T111" fmla="*/ 4967 h 6086"/>
                <a:gd name="T112" fmla="*/ 2934 w 3713"/>
                <a:gd name="T113" fmla="*/ 4650 h 6086"/>
                <a:gd name="T114" fmla="*/ 3270 w 3713"/>
                <a:gd name="T115" fmla="*/ 4428 h 6086"/>
                <a:gd name="T116" fmla="*/ 3400 w 3713"/>
                <a:gd name="T117" fmla="*/ 4292 h 6086"/>
                <a:gd name="T118" fmla="*/ 3428 w 3713"/>
                <a:gd name="T119" fmla="*/ 4050 h 6086"/>
                <a:gd name="T120" fmla="*/ 3396 w 3713"/>
                <a:gd name="T121" fmla="*/ 3722 h 6086"/>
                <a:gd name="T122" fmla="*/ 3486 w 3713"/>
                <a:gd name="T123" fmla="*/ 3556 h 6086"/>
                <a:gd name="T124" fmla="*/ 3672 w 3713"/>
                <a:gd name="T125" fmla="*/ 3182 h 6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13" h="6086">
                  <a:moveTo>
                    <a:pt x="3687" y="3003"/>
                  </a:moveTo>
                  <a:lnTo>
                    <a:pt x="3684" y="2998"/>
                  </a:lnTo>
                  <a:lnTo>
                    <a:pt x="3677" y="2989"/>
                  </a:lnTo>
                  <a:lnTo>
                    <a:pt x="3670" y="2977"/>
                  </a:lnTo>
                  <a:lnTo>
                    <a:pt x="3662" y="2966"/>
                  </a:lnTo>
                  <a:lnTo>
                    <a:pt x="3655" y="2960"/>
                  </a:lnTo>
                  <a:lnTo>
                    <a:pt x="3649" y="2955"/>
                  </a:lnTo>
                  <a:lnTo>
                    <a:pt x="3645" y="2951"/>
                  </a:lnTo>
                  <a:lnTo>
                    <a:pt x="3644" y="2945"/>
                  </a:lnTo>
                  <a:lnTo>
                    <a:pt x="3643" y="2935"/>
                  </a:lnTo>
                  <a:lnTo>
                    <a:pt x="3643" y="2922"/>
                  </a:lnTo>
                  <a:lnTo>
                    <a:pt x="3643" y="2909"/>
                  </a:lnTo>
                  <a:lnTo>
                    <a:pt x="3643" y="2898"/>
                  </a:lnTo>
                  <a:lnTo>
                    <a:pt x="3641" y="2888"/>
                  </a:lnTo>
                  <a:lnTo>
                    <a:pt x="3639" y="2880"/>
                  </a:lnTo>
                  <a:lnTo>
                    <a:pt x="3634" y="2874"/>
                  </a:lnTo>
                  <a:lnTo>
                    <a:pt x="3630" y="2867"/>
                  </a:lnTo>
                  <a:lnTo>
                    <a:pt x="3623" y="2859"/>
                  </a:lnTo>
                  <a:lnTo>
                    <a:pt x="3615" y="2851"/>
                  </a:lnTo>
                  <a:lnTo>
                    <a:pt x="3609" y="2843"/>
                  </a:lnTo>
                  <a:lnTo>
                    <a:pt x="3604" y="2836"/>
                  </a:lnTo>
                  <a:lnTo>
                    <a:pt x="3601" y="2830"/>
                  </a:lnTo>
                  <a:lnTo>
                    <a:pt x="3599" y="2825"/>
                  </a:lnTo>
                  <a:lnTo>
                    <a:pt x="3597" y="2822"/>
                  </a:lnTo>
                  <a:lnTo>
                    <a:pt x="3595" y="2817"/>
                  </a:lnTo>
                  <a:lnTo>
                    <a:pt x="3589" y="2814"/>
                  </a:lnTo>
                  <a:lnTo>
                    <a:pt x="3582" y="2809"/>
                  </a:lnTo>
                  <a:lnTo>
                    <a:pt x="3574" y="2806"/>
                  </a:lnTo>
                  <a:lnTo>
                    <a:pt x="3565" y="2803"/>
                  </a:lnTo>
                  <a:lnTo>
                    <a:pt x="3555" y="2801"/>
                  </a:lnTo>
                  <a:lnTo>
                    <a:pt x="3546" y="2798"/>
                  </a:lnTo>
                  <a:lnTo>
                    <a:pt x="3528" y="2796"/>
                  </a:lnTo>
                  <a:lnTo>
                    <a:pt x="3517" y="2796"/>
                  </a:lnTo>
                  <a:lnTo>
                    <a:pt x="3506" y="2797"/>
                  </a:lnTo>
                  <a:lnTo>
                    <a:pt x="3493" y="2798"/>
                  </a:lnTo>
                  <a:lnTo>
                    <a:pt x="3485" y="2797"/>
                  </a:lnTo>
                  <a:lnTo>
                    <a:pt x="3477" y="2794"/>
                  </a:lnTo>
                  <a:lnTo>
                    <a:pt x="3473" y="2791"/>
                  </a:lnTo>
                  <a:lnTo>
                    <a:pt x="3469" y="2787"/>
                  </a:lnTo>
                  <a:lnTo>
                    <a:pt x="3463" y="2783"/>
                  </a:lnTo>
                  <a:lnTo>
                    <a:pt x="3459" y="2777"/>
                  </a:lnTo>
                  <a:lnTo>
                    <a:pt x="3449" y="2764"/>
                  </a:lnTo>
                  <a:lnTo>
                    <a:pt x="3437" y="2753"/>
                  </a:lnTo>
                  <a:lnTo>
                    <a:pt x="3424" y="2742"/>
                  </a:lnTo>
                  <a:lnTo>
                    <a:pt x="3412" y="2731"/>
                  </a:lnTo>
                  <a:lnTo>
                    <a:pt x="3394" y="2717"/>
                  </a:lnTo>
                  <a:lnTo>
                    <a:pt x="3385" y="2711"/>
                  </a:lnTo>
                  <a:lnTo>
                    <a:pt x="3361" y="2688"/>
                  </a:lnTo>
                  <a:lnTo>
                    <a:pt x="3307" y="2638"/>
                  </a:lnTo>
                  <a:lnTo>
                    <a:pt x="3251" y="2588"/>
                  </a:lnTo>
                  <a:lnTo>
                    <a:pt x="3220" y="2560"/>
                  </a:lnTo>
                  <a:lnTo>
                    <a:pt x="3213" y="2557"/>
                  </a:lnTo>
                  <a:lnTo>
                    <a:pt x="3205" y="2552"/>
                  </a:lnTo>
                  <a:lnTo>
                    <a:pt x="3194" y="2549"/>
                  </a:lnTo>
                  <a:lnTo>
                    <a:pt x="3181" y="2546"/>
                  </a:lnTo>
                  <a:lnTo>
                    <a:pt x="3167" y="2542"/>
                  </a:lnTo>
                  <a:lnTo>
                    <a:pt x="3153" y="2540"/>
                  </a:lnTo>
                  <a:lnTo>
                    <a:pt x="3138" y="2540"/>
                  </a:lnTo>
                  <a:lnTo>
                    <a:pt x="3124" y="2541"/>
                  </a:lnTo>
                  <a:lnTo>
                    <a:pt x="3100" y="2546"/>
                  </a:lnTo>
                  <a:lnTo>
                    <a:pt x="3082" y="2550"/>
                  </a:lnTo>
                  <a:lnTo>
                    <a:pt x="3074" y="2551"/>
                  </a:lnTo>
                  <a:lnTo>
                    <a:pt x="3068" y="2551"/>
                  </a:lnTo>
                  <a:lnTo>
                    <a:pt x="3060" y="2549"/>
                  </a:lnTo>
                  <a:lnTo>
                    <a:pt x="3052" y="2547"/>
                  </a:lnTo>
                  <a:lnTo>
                    <a:pt x="3028" y="2533"/>
                  </a:lnTo>
                  <a:lnTo>
                    <a:pt x="2995" y="2516"/>
                  </a:lnTo>
                  <a:lnTo>
                    <a:pt x="2966" y="2500"/>
                  </a:lnTo>
                  <a:lnTo>
                    <a:pt x="2954" y="2494"/>
                  </a:lnTo>
                  <a:lnTo>
                    <a:pt x="2946" y="2494"/>
                  </a:lnTo>
                  <a:lnTo>
                    <a:pt x="2929" y="2495"/>
                  </a:lnTo>
                  <a:lnTo>
                    <a:pt x="2920" y="2495"/>
                  </a:lnTo>
                  <a:lnTo>
                    <a:pt x="2911" y="2496"/>
                  </a:lnTo>
                  <a:lnTo>
                    <a:pt x="2903" y="2498"/>
                  </a:lnTo>
                  <a:lnTo>
                    <a:pt x="2899" y="2499"/>
                  </a:lnTo>
                  <a:lnTo>
                    <a:pt x="2889" y="2505"/>
                  </a:lnTo>
                  <a:lnTo>
                    <a:pt x="2873" y="2511"/>
                  </a:lnTo>
                  <a:lnTo>
                    <a:pt x="2866" y="2513"/>
                  </a:lnTo>
                  <a:lnTo>
                    <a:pt x="2858" y="2514"/>
                  </a:lnTo>
                  <a:lnTo>
                    <a:pt x="2855" y="2513"/>
                  </a:lnTo>
                  <a:lnTo>
                    <a:pt x="2851" y="2511"/>
                  </a:lnTo>
                  <a:lnTo>
                    <a:pt x="2849" y="2510"/>
                  </a:lnTo>
                  <a:lnTo>
                    <a:pt x="2846" y="2508"/>
                  </a:lnTo>
                  <a:lnTo>
                    <a:pt x="2838" y="2497"/>
                  </a:lnTo>
                  <a:lnTo>
                    <a:pt x="2831" y="2486"/>
                  </a:lnTo>
                  <a:lnTo>
                    <a:pt x="2828" y="2481"/>
                  </a:lnTo>
                  <a:lnTo>
                    <a:pt x="2826" y="2476"/>
                  </a:lnTo>
                  <a:lnTo>
                    <a:pt x="2825" y="2471"/>
                  </a:lnTo>
                  <a:lnTo>
                    <a:pt x="2825" y="2466"/>
                  </a:lnTo>
                  <a:lnTo>
                    <a:pt x="2824" y="2461"/>
                  </a:lnTo>
                  <a:lnTo>
                    <a:pt x="2820" y="2452"/>
                  </a:lnTo>
                  <a:lnTo>
                    <a:pt x="2816" y="2442"/>
                  </a:lnTo>
                  <a:lnTo>
                    <a:pt x="2810" y="2431"/>
                  </a:lnTo>
                  <a:lnTo>
                    <a:pt x="2802" y="2412"/>
                  </a:lnTo>
                  <a:lnTo>
                    <a:pt x="2797" y="2403"/>
                  </a:lnTo>
                  <a:lnTo>
                    <a:pt x="2795" y="2400"/>
                  </a:lnTo>
                  <a:lnTo>
                    <a:pt x="2789" y="2391"/>
                  </a:lnTo>
                  <a:lnTo>
                    <a:pt x="2786" y="2387"/>
                  </a:lnTo>
                  <a:lnTo>
                    <a:pt x="2782" y="2382"/>
                  </a:lnTo>
                  <a:lnTo>
                    <a:pt x="2777" y="2380"/>
                  </a:lnTo>
                  <a:lnTo>
                    <a:pt x="2772" y="2379"/>
                  </a:lnTo>
                  <a:lnTo>
                    <a:pt x="2757" y="2377"/>
                  </a:lnTo>
                  <a:lnTo>
                    <a:pt x="2740" y="2373"/>
                  </a:lnTo>
                  <a:lnTo>
                    <a:pt x="2724" y="2369"/>
                  </a:lnTo>
                  <a:lnTo>
                    <a:pt x="2718" y="2368"/>
                  </a:lnTo>
                  <a:lnTo>
                    <a:pt x="2670" y="2331"/>
                  </a:lnTo>
                  <a:lnTo>
                    <a:pt x="2662" y="2327"/>
                  </a:lnTo>
                  <a:lnTo>
                    <a:pt x="2643" y="2315"/>
                  </a:lnTo>
                  <a:lnTo>
                    <a:pt x="2619" y="2302"/>
                  </a:lnTo>
                  <a:lnTo>
                    <a:pt x="2602" y="2294"/>
                  </a:lnTo>
                  <a:lnTo>
                    <a:pt x="2590" y="2288"/>
                  </a:lnTo>
                  <a:lnTo>
                    <a:pt x="2578" y="2285"/>
                  </a:lnTo>
                  <a:lnTo>
                    <a:pt x="2574" y="2284"/>
                  </a:lnTo>
                  <a:lnTo>
                    <a:pt x="2570" y="2284"/>
                  </a:lnTo>
                  <a:lnTo>
                    <a:pt x="2566" y="2285"/>
                  </a:lnTo>
                  <a:lnTo>
                    <a:pt x="2563" y="2288"/>
                  </a:lnTo>
                  <a:lnTo>
                    <a:pt x="2560" y="2295"/>
                  </a:lnTo>
                  <a:lnTo>
                    <a:pt x="2556" y="2299"/>
                  </a:lnTo>
                  <a:lnTo>
                    <a:pt x="2552" y="2302"/>
                  </a:lnTo>
                  <a:lnTo>
                    <a:pt x="2544" y="2302"/>
                  </a:lnTo>
                  <a:lnTo>
                    <a:pt x="2535" y="2303"/>
                  </a:lnTo>
                  <a:lnTo>
                    <a:pt x="2529" y="2303"/>
                  </a:lnTo>
                  <a:lnTo>
                    <a:pt x="2525" y="2303"/>
                  </a:lnTo>
                  <a:lnTo>
                    <a:pt x="2523" y="2302"/>
                  </a:lnTo>
                  <a:lnTo>
                    <a:pt x="2521" y="2299"/>
                  </a:lnTo>
                  <a:lnTo>
                    <a:pt x="2519" y="2296"/>
                  </a:lnTo>
                  <a:lnTo>
                    <a:pt x="2514" y="2285"/>
                  </a:lnTo>
                  <a:lnTo>
                    <a:pt x="2509" y="2272"/>
                  </a:lnTo>
                  <a:lnTo>
                    <a:pt x="2504" y="2260"/>
                  </a:lnTo>
                  <a:lnTo>
                    <a:pt x="2503" y="2255"/>
                  </a:lnTo>
                  <a:lnTo>
                    <a:pt x="2504" y="2252"/>
                  </a:lnTo>
                  <a:lnTo>
                    <a:pt x="2507" y="2246"/>
                  </a:lnTo>
                  <a:lnTo>
                    <a:pt x="2507" y="2243"/>
                  </a:lnTo>
                  <a:lnTo>
                    <a:pt x="2506" y="2240"/>
                  </a:lnTo>
                  <a:lnTo>
                    <a:pt x="2501" y="2238"/>
                  </a:lnTo>
                  <a:lnTo>
                    <a:pt x="2495" y="2235"/>
                  </a:lnTo>
                  <a:lnTo>
                    <a:pt x="2478" y="2234"/>
                  </a:lnTo>
                  <a:lnTo>
                    <a:pt x="2461" y="2232"/>
                  </a:lnTo>
                  <a:lnTo>
                    <a:pt x="2450" y="2231"/>
                  </a:lnTo>
                  <a:lnTo>
                    <a:pt x="2445" y="2230"/>
                  </a:lnTo>
                  <a:lnTo>
                    <a:pt x="2440" y="2227"/>
                  </a:lnTo>
                  <a:lnTo>
                    <a:pt x="2430" y="2218"/>
                  </a:lnTo>
                  <a:lnTo>
                    <a:pt x="2418" y="2207"/>
                  </a:lnTo>
                  <a:lnTo>
                    <a:pt x="2410" y="2198"/>
                  </a:lnTo>
                  <a:lnTo>
                    <a:pt x="2401" y="2184"/>
                  </a:lnTo>
                  <a:lnTo>
                    <a:pt x="2390" y="2160"/>
                  </a:lnTo>
                  <a:lnTo>
                    <a:pt x="2385" y="2148"/>
                  </a:lnTo>
                  <a:lnTo>
                    <a:pt x="2383" y="2137"/>
                  </a:lnTo>
                  <a:lnTo>
                    <a:pt x="2382" y="2132"/>
                  </a:lnTo>
                  <a:lnTo>
                    <a:pt x="2382" y="2126"/>
                  </a:lnTo>
                  <a:lnTo>
                    <a:pt x="2383" y="2122"/>
                  </a:lnTo>
                  <a:lnTo>
                    <a:pt x="2385" y="2117"/>
                  </a:lnTo>
                  <a:lnTo>
                    <a:pt x="2390" y="2110"/>
                  </a:lnTo>
                  <a:lnTo>
                    <a:pt x="2390" y="2111"/>
                  </a:lnTo>
                  <a:lnTo>
                    <a:pt x="2390" y="2110"/>
                  </a:lnTo>
                  <a:lnTo>
                    <a:pt x="2395" y="2099"/>
                  </a:lnTo>
                  <a:lnTo>
                    <a:pt x="2401" y="2090"/>
                  </a:lnTo>
                  <a:lnTo>
                    <a:pt x="2404" y="2082"/>
                  </a:lnTo>
                  <a:lnTo>
                    <a:pt x="2406" y="2075"/>
                  </a:lnTo>
                  <a:lnTo>
                    <a:pt x="2407" y="2069"/>
                  </a:lnTo>
                  <a:lnTo>
                    <a:pt x="2407" y="2063"/>
                  </a:lnTo>
                  <a:lnTo>
                    <a:pt x="2407" y="2059"/>
                  </a:lnTo>
                  <a:lnTo>
                    <a:pt x="2406" y="2055"/>
                  </a:lnTo>
                  <a:lnTo>
                    <a:pt x="2404" y="2052"/>
                  </a:lnTo>
                  <a:lnTo>
                    <a:pt x="2392" y="2037"/>
                  </a:lnTo>
                  <a:lnTo>
                    <a:pt x="2371" y="2008"/>
                  </a:lnTo>
                  <a:lnTo>
                    <a:pt x="2359" y="1993"/>
                  </a:lnTo>
                  <a:lnTo>
                    <a:pt x="2348" y="1976"/>
                  </a:lnTo>
                  <a:lnTo>
                    <a:pt x="2339" y="1962"/>
                  </a:lnTo>
                  <a:lnTo>
                    <a:pt x="2332" y="1951"/>
                  </a:lnTo>
                  <a:lnTo>
                    <a:pt x="2324" y="1926"/>
                  </a:lnTo>
                  <a:lnTo>
                    <a:pt x="2316" y="1901"/>
                  </a:lnTo>
                  <a:lnTo>
                    <a:pt x="2310" y="1878"/>
                  </a:lnTo>
                  <a:lnTo>
                    <a:pt x="2308" y="1862"/>
                  </a:lnTo>
                  <a:lnTo>
                    <a:pt x="2309" y="1858"/>
                  </a:lnTo>
                  <a:lnTo>
                    <a:pt x="2312" y="1853"/>
                  </a:lnTo>
                  <a:lnTo>
                    <a:pt x="2317" y="1849"/>
                  </a:lnTo>
                  <a:lnTo>
                    <a:pt x="2320" y="1844"/>
                  </a:lnTo>
                  <a:lnTo>
                    <a:pt x="2321" y="1841"/>
                  </a:lnTo>
                  <a:lnTo>
                    <a:pt x="2321" y="1838"/>
                  </a:lnTo>
                  <a:lnTo>
                    <a:pt x="2321" y="1835"/>
                  </a:lnTo>
                  <a:lnTo>
                    <a:pt x="2320" y="1831"/>
                  </a:lnTo>
                  <a:lnTo>
                    <a:pt x="2319" y="1827"/>
                  </a:lnTo>
                  <a:lnTo>
                    <a:pt x="2316" y="1824"/>
                  </a:lnTo>
                  <a:lnTo>
                    <a:pt x="2311" y="1818"/>
                  </a:lnTo>
                  <a:lnTo>
                    <a:pt x="2305" y="1813"/>
                  </a:lnTo>
                  <a:lnTo>
                    <a:pt x="2289" y="1797"/>
                  </a:lnTo>
                  <a:lnTo>
                    <a:pt x="2268" y="1775"/>
                  </a:lnTo>
                  <a:lnTo>
                    <a:pt x="2244" y="1747"/>
                  </a:lnTo>
                  <a:lnTo>
                    <a:pt x="2218" y="1719"/>
                  </a:lnTo>
                  <a:lnTo>
                    <a:pt x="2194" y="1691"/>
                  </a:lnTo>
                  <a:lnTo>
                    <a:pt x="2171" y="1666"/>
                  </a:lnTo>
                  <a:lnTo>
                    <a:pt x="2161" y="1656"/>
                  </a:lnTo>
                  <a:lnTo>
                    <a:pt x="2153" y="1647"/>
                  </a:lnTo>
                  <a:lnTo>
                    <a:pt x="2146" y="1642"/>
                  </a:lnTo>
                  <a:lnTo>
                    <a:pt x="2140" y="1637"/>
                  </a:lnTo>
                  <a:lnTo>
                    <a:pt x="2121" y="1625"/>
                  </a:lnTo>
                  <a:lnTo>
                    <a:pt x="2101" y="1613"/>
                  </a:lnTo>
                  <a:lnTo>
                    <a:pt x="2093" y="1607"/>
                  </a:lnTo>
                  <a:lnTo>
                    <a:pt x="2084" y="1603"/>
                  </a:lnTo>
                  <a:lnTo>
                    <a:pt x="2076" y="1600"/>
                  </a:lnTo>
                  <a:lnTo>
                    <a:pt x="2068" y="1598"/>
                  </a:lnTo>
                  <a:lnTo>
                    <a:pt x="2063" y="1597"/>
                  </a:lnTo>
                  <a:lnTo>
                    <a:pt x="2055" y="1595"/>
                  </a:lnTo>
                  <a:lnTo>
                    <a:pt x="2048" y="1592"/>
                  </a:lnTo>
                  <a:lnTo>
                    <a:pt x="2041" y="1587"/>
                  </a:lnTo>
                  <a:lnTo>
                    <a:pt x="2029" y="1579"/>
                  </a:lnTo>
                  <a:lnTo>
                    <a:pt x="2020" y="1574"/>
                  </a:lnTo>
                  <a:lnTo>
                    <a:pt x="2010" y="1572"/>
                  </a:lnTo>
                  <a:lnTo>
                    <a:pt x="1998" y="1569"/>
                  </a:lnTo>
                  <a:lnTo>
                    <a:pt x="1984" y="1568"/>
                  </a:lnTo>
                  <a:lnTo>
                    <a:pt x="1975" y="1569"/>
                  </a:lnTo>
                  <a:lnTo>
                    <a:pt x="1968" y="1569"/>
                  </a:lnTo>
                  <a:lnTo>
                    <a:pt x="1959" y="1568"/>
                  </a:lnTo>
                  <a:lnTo>
                    <a:pt x="1955" y="1568"/>
                  </a:lnTo>
                  <a:lnTo>
                    <a:pt x="1950" y="1569"/>
                  </a:lnTo>
                  <a:lnTo>
                    <a:pt x="1946" y="1572"/>
                  </a:lnTo>
                  <a:lnTo>
                    <a:pt x="1942" y="1576"/>
                  </a:lnTo>
                  <a:lnTo>
                    <a:pt x="1940" y="1582"/>
                  </a:lnTo>
                  <a:lnTo>
                    <a:pt x="1941" y="1585"/>
                  </a:lnTo>
                  <a:lnTo>
                    <a:pt x="1942" y="1587"/>
                  </a:lnTo>
                  <a:lnTo>
                    <a:pt x="1943" y="1589"/>
                  </a:lnTo>
                  <a:lnTo>
                    <a:pt x="1945" y="1590"/>
                  </a:lnTo>
                  <a:lnTo>
                    <a:pt x="1943" y="1591"/>
                  </a:lnTo>
                  <a:lnTo>
                    <a:pt x="1940" y="1592"/>
                  </a:lnTo>
                  <a:lnTo>
                    <a:pt x="1935" y="1593"/>
                  </a:lnTo>
                  <a:lnTo>
                    <a:pt x="1925" y="1594"/>
                  </a:lnTo>
                  <a:lnTo>
                    <a:pt x="1914" y="1593"/>
                  </a:lnTo>
                  <a:lnTo>
                    <a:pt x="1903" y="1590"/>
                  </a:lnTo>
                  <a:lnTo>
                    <a:pt x="1892" y="1585"/>
                  </a:lnTo>
                  <a:lnTo>
                    <a:pt x="1873" y="1577"/>
                  </a:lnTo>
                  <a:lnTo>
                    <a:pt x="1865" y="1574"/>
                  </a:lnTo>
                  <a:lnTo>
                    <a:pt x="1863" y="1569"/>
                  </a:lnTo>
                  <a:lnTo>
                    <a:pt x="1855" y="1555"/>
                  </a:lnTo>
                  <a:lnTo>
                    <a:pt x="1846" y="1540"/>
                  </a:lnTo>
                  <a:lnTo>
                    <a:pt x="1837" y="1530"/>
                  </a:lnTo>
                  <a:lnTo>
                    <a:pt x="1829" y="1520"/>
                  </a:lnTo>
                  <a:lnTo>
                    <a:pt x="1816" y="1505"/>
                  </a:lnTo>
                  <a:lnTo>
                    <a:pt x="1807" y="1491"/>
                  </a:lnTo>
                  <a:lnTo>
                    <a:pt x="1802" y="1486"/>
                  </a:lnTo>
                  <a:lnTo>
                    <a:pt x="1780" y="1467"/>
                  </a:lnTo>
                  <a:lnTo>
                    <a:pt x="1774" y="1456"/>
                  </a:lnTo>
                  <a:lnTo>
                    <a:pt x="1761" y="1432"/>
                  </a:lnTo>
                  <a:lnTo>
                    <a:pt x="1745" y="1402"/>
                  </a:lnTo>
                  <a:lnTo>
                    <a:pt x="1728" y="1377"/>
                  </a:lnTo>
                  <a:lnTo>
                    <a:pt x="1716" y="1358"/>
                  </a:lnTo>
                  <a:lnTo>
                    <a:pt x="1706" y="1342"/>
                  </a:lnTo>
                  <a:lnTo>
                    <a:pt x="1701" y="1336"/>
                  </a:lnTo>
                  <a:lnTo>
                    <a:pt x="1695" y="1330"/>
                  </a:lnTo>
                  <a:lnTo>
                    <a:pt x="1688" y="1326"/>
                  </a:lnTo>
                  <a:lnTo>
                    <a:pt x="1682" y="1321"/>
                  </a:lnTo>
                  <a:lnTo>
                    <a:pt x="1666" y="1315"/>
                  </a:lnTo>
                  <a:lnTo>
                    <a:pt x="1653" y="1310"/>
                  </a:lnTo>
                  <a:lnTo>
                    <a:pt x="1642" y="1307"/>
                  </a:lnTo>
                  <a:lnTo>
                    <a:pt x="1634" y="1305"/>
                  </a:lnTo>
                  <a:lnTo>
                    <a:pt x="1627" y="1303"/>
                  </a:lnTo>
                  <a:lnTo>
                    <a:pt x="1617" y="1300"/>
                  </a:lnTo>
                  <a:lnTo>
                    <a:pt x="1612" y="1297"/>
                  </a:lnTo>
                  <a:lnTo>
                    <a:pt x="1609" y="1294"/>
                  </a:lnTo>
                  <a:lnTo>
                    <a:pt x="1609" y="1292"/>
                  </a:lnTo>
                  <a:lnTo>
                    <a:pt x="1608" y="1289"/>
                  </a:lnTo>
                  <a:lnTo>
                    <a:pt x="1609" y="1286"/>
                  </a:lnTo>
                  <a:lnTo>
                    <a:pt x="1610" y="1283"/>
                  </a:lnTo>
                  <a:lnTo>
                    <a:pt x="1615" y="1273"/>
                  </a:lnTo>
                  <a:lnTo>
                    <a:pt x="1621" y="1267"/>
                  </a:lnTo>
                  <a:lnTo>
                    <a:pt x="1622" y="1265"/>
                  </a:lnTo>
                  <a:lnTo>
                    <a:pt x="1623" y="1263"/>
                  </a:lnTo>
                  <a:lnTo>
                    <a:pt x="1622" y="1258"/>
                  </a:lnTo>
                  <a:lnTo>
                    <a:pt x="1621" y="1253"/>
                  </a:lnTo>
                  <a:lnTo>
                    <a:pt x="1615" y="1240"/>
                  </a:lnTo>
                  <a:lnTo>
                    <a:pt x="1610" y="1228"/>
                  </a:lnTo>
                  <a:lnTo>
                    <a:pt x="1602" y="1219"/>
                  </a:lnTo>
                  <a:lnTo>
                    <a:pt x="1597" y="1211"/>
                  </a:lnTo>
                  <a:lnTo>
                    <a:pt x="1588" y="1207"/>
                  </a:lnTo>
                  <a:lnTo>
                    <a:pt x="1577" y="1202"/>
                  </a:lnTo>
                  <a:lnTo>
                    <a:pt x="1573" y="1199"/>
                  </a:lnTo>
                  <a:lnTo>
                    <a:pt x="1570" y="1196"/>
                  </a:lnTo>
                  <a:lnTo>
                    <a:pt x="1570" y="1193"/>
                  </a:lnTo>
                  <a:lnTo>
                    <a:pt x="1571" y="1190"/>
                  </a:lnTo>
                  <a:lnTo>
                    <a:pt x="1572" y="1188"/>
                  </a:lnTo>
                  <a:lnTo>
                    <a:pt x="1575" y="1183"/>
                  </a:lnTo>
                  <a:lnTo>
                    <a:pt x="1582" y="1170"/>
                  </a:lnTo>
                  <a:lnTo>
                    <a:pt x="1588" y="1159"/>
                  </a:lnTo>
                  <a:lnTo>
                    <a:pt x="1590" y="1149"/>
                  </a:lnTo>
                  <a:lnTo>
                    <a:pt x="1591" y="1140"/>
                  </a:lnTo>
                  <a:lnTo>
                    <a:pt x="1589" y="1129"/>
                  </a:lnTo>
                  <a:lnTo>
                    <a:pt x="1587" y="1118"/>
                  </a:lnTo>
                  <a:lnTo>
                    <a:pt x="1583" y="1108"/>
                  </a:lnTo>
                  <a:lnTo>
                    <a:pt x="1582" y="1104"/>
                  </a:lnTo>
                  <a:lnTo>
                    <a:pt x="1575" y="1101"/>
                  </a:lnTo>
                  <a:lnTo>
                    <a:pt x="1559" y="1092"/>
                  </a:lnTo>
                  <a:lnTo>
                    <a:pt x="1550" y="1087"/>
                  </a:lnTo>
                  <a:lnTo>
                    <a:pt x="1541" y="1084"/>
                  </a:lnTo>
                  <a:lnTo>
                    <a:pt x="1538" y="1084"/>
                  </a:lnTo>
                  <a:lnTo>
                    <a:pt x="1536" y="1084"/>
                  </a:lnTo>
                  <a:lnTo>
                    <a:pt x="1534" y="1084"/>
                  </a:lnTo>
                  <a:lnTo>
                    <a:pt x="1533" y="1085"/>
                  </a:lnTo>
                  <a:lnTo>
                    <a:pt x="1528" y="1105"/>
                  </a:lnTo>
                  <a:lnTo>
                    <a:pt x="1525" y="1118"/>
                  </a:lnTo>
                  <a:lnTo>
                    <a:pt x="1492" y="1115"/>
                  </a:lnTo>
                  <a:lnTo>
                    <a:pt x="1490" y="1113"/>
                  </a:lnTo>
                  <a:lnTo>
                    <a:pt x="1485" y="1107"/>
                  </a:lnTo>
                  <a:lnTo>
                    <a:pt x="1482" y="1104"/>
                  </a:lnTo>
                  <a:lnTo>
                    <a:pt x="1477" y="1102"/>
                  </a:lnTo>
                  <a:lnTo>
                    <a:pt x="1474" y="1099"/>
                  </a:lnTo>
                  <a:lnTo>
                    <a:pt x="1470" y="1098"/>
                  </a:lnTo>
                  <a:lnTo>
                    <a:pt x="1461" y="1099"/>
                  </a:lnTo>
                  <a:lnTo>
                    <a:pt x="1452" y="1102"/>
                  </a:lnTo>
                  <a:lnTo>
                    <a:pt x="1448" y="1102"/>
                  </a:lnTo>
                  <a:lnTo>
                    <a:pt x="1444" y="1101"/>
                  </a:lnTo>
                  <a:lnTo>
                    <a:pt x="1441" y="1099"/>
                  </a:lnTo>
                  <a:lnTo>
                    <a:pt x="1440" y="1096"/>
                  </a:lnTo>
                  <a:lnTo>
                    <a:pt x="1439" y="1086"/>
                  </a:lnTo>
                  <a:lnTo>
                    <a:pt x="1439" y="1075"/>
                  </a:lnTo>
                  <a:lnTo>
                    <a:pt x="1438" y="1071"/>
                  </a:lnTo>
                  <a:lnTo>
                    <a:pt x="1435" y="1066"/>
                  </a:lnTo>
                  <a:lnTo>
                    <a:pt x="1434" y="1065"/>
                  </a:lnTo>
                  <a:lnTo>
                    <a:pt x="1432" y="1064"/>
                  </a:lnTo>
                  <a:lnTo>
                    <a:pt x="1429" y="1063"/>
                  </a:lnTo>
                  <a:lnTo>
                    <a:pt x="1426" y="1063"/>
                  </a:lnTo>
                  <a:lnTo>
                    <a:pt x="1420" y="1063"/>
                  </a:lnTo>
                  <a:lnTo>
                    <a:pt x="1416" y="1062"/>
                  </a:lnTo>
                  <a:lnTo>
                    <a:pt x="1413" y="1060"/>
                  </a:lnTo>
                  <a:lnTo>
                    <a:pt x="1412" y="1059"/>
                  </a:lnTo>
                  <a:lnTo>
                    <a:pt x="1411" y="1059"/>
                  </a:lnTo>
                  <a:lnTo>
                    <a:pt x="1410" y="1059"/>
                  </a:lnTo>
                  <a:lnTo>
                    <a:pt x="1409" y="1060"/>
                  </a:lnTo>
                  <a:lnTo>
                    <a:pt x="1407" y="1063"/>
                  </a:lnTo>
                  <a:lnTo>
                    <a:pt x="1400" y="1072"/>
                  </a:lnTo>
                  <a:lnTo>
                    <a:pt x="1393" y="1082"/>
                  </a:lnTo>
                  <a:lnTo>
                    <a:pt x="1391" y="1087"/>
                  </a:lnTo>
                  <a:lnTo>
                    <a:pt x="1389" y="1093"/>
                  </a:lnTo>
                  <a:lnTo>
                    <a:pt x="1389" y="1098"/>
                  </a:lnTo>
                  <a:lnTo>
                    <a:pt x="1390" y="1104"/>
                  </a:lnTo>
                  <a:lnTo>
                    <a:pt x="1392" y="1110"/>
                  </a:lnTo>
                  <a:lnTo>
                    <a:pt x="1392" y="1115"/>
                  </a:lnTo>
                  <a:lnTo>
                    <a:pt x="1393" y="1119"/>
                  </a:lnTo>
                  <a:lnTo>
                    <a:pt x="1392" y="1123"/>
                  </a:lnTo>
                  <a:lnTo>
                    <a:pt x="1391" y="1125"/>
                  </a:lnTo>
                  <a:lnTo>
                    <a:pt x="1390" y="1127"/>
                  </a:lnTo>
                  <a:lnTo>
                    <a:pt x="1388" y="1129"/>
                  </a:lnTo>
                  <a:lnTo>
                    <a:pt x="1385" y="1131"/>
                  </a:lnTo>
                  <a:lnTo>
                    <a:pt x="1376" y="1136"/>
                  </a:lnTo>
                  <a:lnTo>
                    <a:pt x="1364" y="1138"/>
                  </a:lnTo>
                  <a:lnTo>
                    <a:pt x="1353" y="1139"/>
                  </a:lnTo>
                  <a:lnTo>
                    <a:pt x="1344" y="1140"/>
                  </a:lnTo>
                  <a:lnTo>
                    <a:pt x="1333" y="1137"/>
                  </a:lnTo>
                  <a:lnTo>
                    <a:pt x="1317" y="1131"/>
                  </a:lnTo>
                  <a:lnTo>
                    <a:pt x="1303" y="1126"/>
                  </a:lnTo>
                  <a:lnTo>
                    <a:pt x="1296" y="1124"/>
                  </a:lnTo>
                  <a:lnTo>
                    <a:pt x="1296" y="1119"/>
                  </a:lnTo>
                  <a:lnTo>
                    <a:pt x="1292" y="1112"/>
                  </a:lnTo>
                  <a:lnTo>
                    <a:pt x="1289" y="1106"/>
                  </a:lnTo>
                  <a:lnTo>
                    <a:pt x="1283" y="1103"/>
                  </a:lnTo>
                  <a:lnTo>
                    <a:pt x="1275" y="1099"/>
                  </a:lnTo>
                  <a:lnTo>
                    <a:pt x="1266" y="1098"/>
                  </a:lnTo>
                  <a:lnTo>
                    <a:pt x="1240" y="1097"/>
                  </a:lnTo>
                  <a:lnTo>
                    <a:pt x="1209" y="1093"/>
                  </a:lnTo>
                  <a:lnTo>
                    <a:pt x="1184" y="1090"/>
                  </a:lnTo>
                  <a:lnTo>
                    <a:pt x="1173" y="1087"/>
                  </a:lnTo>
                  <a:lnTo>
                    <a:pt x="1170" y="1083"/>
                  </a:lnTo>
                  <a:lnTo>
                    <a:pt x="1166" y="1072"/>
                  </a:lnTo>
                  <a:lnTo>
                    <a:pt x="1160" y="1059"/>
                  </a:lnTo>
                  <a:lnTo>
                    <a:pt x="1156" y="1050"/>
                  </a:lnTo>
                  <a:lnTo>
                    <a:pt x="1155" y="1044"/>
                  </a:lnTo>
                  <a:lnTo>
                    <a:pt x="1152" y="1040"/>
                  </a:lnTo>
                  <a:lnTo>
                    <a:pt x="1145" y="1034"/>
                  </a:lnTo>
                  <a:lnTo>
                    <a:pt x="1132" y="1028"/>
                  </a:lnTo>
                  <a:lnTo>
                    <a:pt x="1125" y="1024"/>
                  </a:lnTo>
                  <a:lnTo>
                    <a:pt x="1121" y="1023"/>
                  </a:lnTo>
                  <a:lnTo>
                    <a:pt x="1118" y="1023"/>
                  </a:lnTo>
                  <a:lnTo>
                    <a:pt x="1116" y="1024"/>
                  </a:lnTo>
                  <a:lnTo>
                    <a:pt x="1116" y="1024"/>
                  </a:lnTo>
                  <a:lnTo>
                    <a:pt x="1115" y="1023"/>
                  </a:lnTo>
                  <a:lnTo>
                    <a:pt x="1113" y="1021"/>
                  </a:lnTo>
                  <a:lnTo>
                    <a:pt x="1110" y="1017"/>
                  </a:lnTo>
                  <a:lnTo>
                    <a:pt x="1102" y="1002"/>
                  </a:lnTo>
                  <a:lnTo>
                    <a:pt x="1095" y="988"/>
                  </a:lnTo>
                  <a:lnTo>
                    <a:pt x="1090" y="977"/>
                  </a:lnTo>
                  <a:lnTo>
                    <a:pt x="1088" y="973"/>
                  </a:lnTo>
                  <a:lnTo>
                    <a:pt x="1089" y="968"/>
                  </a:lnTo>
                  <a:lnTo>
                    <a:pt x="1088" y="958"/>
                  </a:lnTo>
                  <a:lnTo>
                    <a:pt x="1086" y="954"/>
                  </a:lnTo>
                  <a:lnTo>
                    <a:pt x="1084" y="949"/>
                  </a:lnTo>
                  <a:lnTo>
                    <a:pt x="1083" y="947"/>
                  </a:lnTo>
                  <a:lnTo>
                    <a:pt x="1081" y="946"/>
                  </a:lnTo>
                  <a:lnTo>
                    <a:pt x="1080" y="945"/>
                  </a:lnTo>
                  <a:lnTo>
                    <a:pt x="1077" y="945"/>
                  </a:lnTo>
                  <a:lnTo>
                    <a:pt x="1067" y="943"/>
                  </a:lnTo>
                  <a:lnTo>
                    <a:pt x="1057" y="940"/>
                  </a:lnTo>
                  <a:lnTo>
                    <a:pt x="1056" y="940"/>
                  </a:lnTo>
                  <a:lnTo>
                    <a:pt x="1053" y="940"/>
                  </a:lnTo>
                  <a:lnTo>
                    <a:pt x="1052" y="942"/>
                  </a:lnTo>
                  <a:lnTo>
                    <a:pt x="1051" y="943"/>
                  </a:lnTo>
                  <a:lnTo>
                    <a:pt x="1049" y="947"/>
                  </a:lnTo>
                  <a:lnTo>
                    <a:pt x="1049" y="956"/>
                  </a:lnTo>
                  <a:lnTo>
                    <a:pt x="1051" y="969"/>
                  </a:lnTo>
                  <a:lnTo>
                    <a:pt x="1053" y="973"/>
                  </a:lnTo>
                  <a:lnTo>
                    <a:pt x="1053" y="975"/>
                  </a:lnTo>
                  <a:lnTo>
                    <a:pt x="1052" y="984"/>
                  </a:lnTo>
                  <a:lnTo>
                    <a:pt x="1051" y="990"/>
                  </a:lnTo>
                  <a:lnTo>
                    <a:pt x="1049" y="996"/>
                  </a:lnTo>
                  <a:lnTo>
                    <a:pt x="1047" y="1001"/>
                  </a:lnTo>
                  <a:lnTo>
                    <a:pt x="1045" y="1005"/>
                  </a:lnTo>
                  <a:lnTo>
                    <a:pt x="1041" y="1009"/>
                  </a:lnTo>
                  <a:lnTo>
                    <a:pt x="1038" y="1011"/>
                  </a:lnTo>
                  <a:lnTo>
                    <a:pt x="1035" y="1014"/>
                  </a:lnTo>
                  <a:lnTo>
                    <a:pt x="1030" y="1017"/>
                  </a:lnTo>
                  <a:lnTo>
                    <a:pt x="1012" y="1025"/>
                  </a:lnTo>
                  <a:lnTo>
                    <a:pt x="1003" y="1030"/>
                  </a:lnTo>
                  <a:lnTo>
                    <a:pt x="999" y="1030"/>
                  </a:lnTo>
                  <a:lnTo>
                    <a:pt x="990" y="1030"/>
                  </a:lnTo>
                  <a:lnTo>
                    <a:pt x="986" y="1030"/>
                  </a:lnTo>
                  <a:lnTo>
                    <a:pt x="983" y="1028"/>
                  </a:lnTo>
                  <a:lnTo>
                    <a:pt x="982" y="1027"/>
                  </a:lnTo>
                  <a:lnTo>
                    <a:pt x="980" y="1025"/>
                  </a:lnTo>
                  <a:lnTo>
                    <a:pt x="980" y="1023"/>
                  </a:lnTo>
                  <a:lnTo>
                    <a:pt x="980" y="1022"/>
                  </a:lnTo>
                  <a:lnTo>
                    <a:pt x="984" y="1011"/>
                  </a:lnTo>
                  <a:lnTo>
                    <a:pt x="987" y="1000"/>
                  </a:lnTo>
                  <a:lnTo>
                    <a:pt x="990" y="990"/>
                  </a:lnTo>
                  <a:lnTo>
                    <a:pt x="991" y="986"/>
                  </a:lnTo>
                  <a:lnTo>
                    <a:pt x="994" y="985"/>
                  </a:lnTo>
                  <a:lnTo>
                    <a:pt x="999" y="979"/>
                  </a:lnTo>
                  <a:lnTo>
                    <a:pt x="1005" y="974"/>
                  </a:lnTo>
                  <a:lnTo>
                    <a:pt x="1008" y="967"/>
                  </a:lnTo>
                  <a:lnTo>
                    <a:pt x="1010" y="948"/>
                  </a:lnTo>
                  <a:lnTo>
                    <a:pt x="1011" y="937"/>
                  </a:lnTo>
                  <a:lnTo>
                    <a:pt x="986" y="906"/>
                  </a:lnTo>
                  <a:lnTo>
                    <a:pt x="980" y="904"/>
                  </a:lnTo>
                  <a:lnTo>
                    <a:pt x="966" y="902"/>
                  </a:lnTo>
                  <a:lnTo>
                    <a:pt x="963" y="902"/>
                  </a:lnTo>
                  <a:lnTo>
                    <a:pt x="958" y="903"/>
                  </a:lnTo>
                  <a:lnTo>
                    <a:pt x="955" y="904"/>
                  </a:lnTo>
                  <a:lnTo>
                    <a:pt x="952" y="906"/>
                  </a:lnTo>
                  <a:lnTo>
                    <a:pt x="948" y="910"/>
                  </a:lnTo>
                  <a:lnTo>
                    <a:pt x="946" y="914"/>
                  </a:lnTo>
                  <a:lnTo>
                    <a:pt x="944" y="920"/>
                  </a:lnTo>
                  <a:lnTo>
                    <a:pt x="942" y="926"/>
                  </a:lnTo>
                  <a:lnTo>
                    <a:pt x="940" y="938"/>
                  </a:lnTo>
                  <a:lnTo>
                    <a:pt x="937" y="948"/>
                  </a:lnTo>
                  <a:lnTo>
                    <a:pt x="934" y="956"/>
                  </a:lnTo>
                  <a:lnTo>
                    <a:pt x="932" y="960"/>
                  </a:lnTo>
                  <a:lnTo>
                    <a:pt x="926" y="968"/>
                  </a:lnTo>
                  <a:lnTo>
                    <a:pt x="923" y="975"/>
                  </a:lnTo>
                  <a:lnTo>
                    <a:pt x="921" y="979"/>
                  </a:lnTo>
                  <a:lnTo>
                    <a:pt x="919" y="982"/>
                  </a:lnTo>
                  <a:lnTo>
                    <a:pt x="914" y="986"/>
                  </a:lnTo>
                  <a:lnTo>
                    <a:pt x="910" y="988"/>
                  </a:lnTo>
                  <a:lnTo>
                    <a:pt x="901" y="993"/>
                  </a:lnTo>
                  <a:lnTo>
                    <a:pt x="893" y="997"/>
                  </a:lnTo>
                  <a:lnTo>
                    <a:pt x="881" y="1000"/>
                  </a:lnTo>
                  <a:lnTo>
                    <a:pt x="863" y="1001"/>
                  </a:lnTo>
                  <a:lnTo>
                    <a:pt x="853" y="1002"/>
                  </a:lnTo>
                  <a:lnTo>
                    <a:pt x="846" y="1003"/>
                  </a:lnTo>
                  <a:lnTo>
                    <a:pt x="839" y="1006"/>
                  </a:lnTo>
                  <a:lnTo>
                    <a:pt x="835" y="1008"/>
                  </a:lnTo>
                  <a:lnTo>
                    <a:pt x="829" y="1016"/>
                  </a:lnTo>
                  <a:lnTo>
                    <a:pt x="820" y="1025"/>
                  </a:lnTo>
                  <a:lnTo>
                    <a:pt x="811" y="1034"/>
                  </a:lnTo>
                  <a:lnTo>
                    <a:pt x="805" y="1044"/>
                  </a:lnTo>
                  <a:lnTo>
                    <a:pt x="803" y="1048"/>
                  </a:lnTo>
                  <a:lnTo>
                    <a:pt x="799" y="1050"/>
                  </a:lnTo>
                  <a:lnTo>
                    <a:pt x="796" y="1051"/>
                  </a:lnTo>
                  <a:lnTo>
                    <a:pt x="793" y="1053"/>
                  </a:lnTo>
                  <a:lnTo>
                    <a:pt x="789" y="1054"/>
                  </a:lnTo>
                  <a:lnTo>
                    <a:pt x="786" y="1058"/>
                  </a:lnTo>
                  <a:lnTo>
                    <a:pt x="783" y="1061"/>
                  </a:lnTo>
                  <a:lnTo>
                    <a:pt x="781" y="1066"/>
                  </a:lnTo>
                  <a:lnTo>
                    <a:pt x="778" y="1072"/>
                  </a:lnTo>
                  <a:lnTo>
                    <a:pt x="778" y="1080"/>
                  </a:lnTo>
                  <a:lnTo>
                    <a:pt x="779" y="1086"/>
                  </a:lnTo>
                  <a:lnTo>
                    <a:pt x="782" y="1094"/>
                  </a:lnTo>
                  <a:lnTo>
                    <a:pt x="785" y="1109"/>
                  </a:lnTo>
                  <a:lnTo>
                    <a:pt x="788" y="1126"/>
                  </a:lnTo>
                  <a:lnTo>
                    <a:pt x="789" y="1139"/>
                  </a:lnTo>
                  <a:lnTo>
                    <a:pt x="789" y="1149"/>
                  </a:lnTo>
                  <a:lnTo>
                    <a:pt x="786" y="1158"/>
                  </a:lnTo>
                  <a:lnTo>
                    <a:pt x="781" y="1173"/>
                  </a:lnTo>
                  <a:lnTo>
                    <a:pt x="773" y="1189"/>
                  </a:lnTo>
                  <a:lnTo>
                    <a:pt x="767" y="1199"/>
                  </a:lnTo>
                  <a:lnTo>
                    <a:pt x="764" y="1203"/>
                  </a:lnTo>
                  <a:lnTo>
                    <a:pt x="762" y="1205"/>
                  </a:lnTo>
                  <a:lnTo>
                    <a:pt x="758" y="1208"/>
                  </a:lnTo>
                  <a:lnTo>
                    <a:pt x="755" y="1209"/>
                  </a:lnTo>
                  <a:lnTo>
                    <a:pt x="747" y="1212"/>
                  </a:lnTo>
                  <a:lnTo>
                    <a:pt x="736" y="1215"/>
                  </a:lnTo>
                  <a:lnTo>
                    <a:pt x="732" y="1215"/>
                  </a:lnTo>
                  <a:lnTo>
                    <a:pt x="728" y="1213"/>
                  </a:lnTo>
                  <a:lnTo>
                    <a:pt x="725" y="1212"/>
                  </a:lnTo>
                  <a:lnTo>
                    <a:pt x="724" y="1210"/>
                  </a:lnTo>
                  <a:lnTo>
                    <a:pt x="723" y="1207"/>
                  </a:lnTo>
                  <a:lnTo>
                    <a:pt x="722" y="1203"/>
                  </a:lnTo>
                  <a:lnTo>
                    <a:pt x="721" y="1194"/>
                  </a:lnTo>
                  <a:lnTo>
                    <a:pt x="719" y="1186"/>
                  </a:lnTo>
                  <a:lnTo>
                    <a:pt x="715" y="1176"/>
                  </a:lnTo>
                  <a:lnTo>
                    <a:pt x="712" y="1167"/>
                  </a:lnTo>
                  <a:lnTo>
                    <a:pt x="707" y="1158"/>
                  </a:lnTo>
                  <a:lnTo>
                    <a:pt x="701" y="1151"/>
                  </a:lnTo>
                  <a:lnTo>
                    <a:pt x="698" y="1148"/>
                  </a:lnTo>
                  <a:lnTo>
                    <a:pt x="694" y="1146"/>
                  </a:lnTo>
                  <a:lnTo>
                    <a:pt x="691" y="1144"/>
                  </a:lnTo>
                  <a:lnTo>
                    <a:pt x="687" y="1143"/>
                  </a:lnTo>
                  <a:lnTo>
                    <a:pt x="670" y="1138"/>
                  </a:lnTo>
                  <a:lnTo>
                    <a:pt x="657" y="1133"/>
                  </a:lnTo>
                  <a:lnTo>
                    <a:pt x="647" y="1128"/>
                  </a:lnTo>
                  <a:lnTo>
                    <a:pt x="643" y="1126"/>
                  </a:lnTo>
                  <a:lnTo>
                    <a:pt x="636" y="1127"/>
                  </a:lnTo>
                  <a:lnTo>
                    <a:pt x="619" y="1128"/>
                  </a:lnTo>
                  <a:lnTo>
                    <a:pt x="609" y="1130"/>
                  </a:lnTo>
                  <a:lnTo>
                    <a:pt x="602" y="1134"/>
                  </a:lnTo>
                  <a:lnTo>
                    <a:pt x="597" y="1135"/>
                  </a:lnTo>
                  <a:lnTo>
                    <a:pt x="594" y="1137"/>
                  </a:lnTo>
                  <a:lnTo>
                    <a:pt x="592" y="1140"/>
                  </a:lnTo>
                  <a:lnTo>
                    <a:pt x="591" y="1143"/>
                  </a:lnTo>
                  <a:lnTo>
                    <a:pt x="588" y="1148"/>
                  </a:lnTo>
                  <a:lnTo>
                    <a:pt x="585" y="1151"/>
                  </a:lnTo>
                  <a:lnTo>
                    <a:pt x="582" y="1155"/>
                  </a:lnTo>
                  <a:lnTo>
                    <a:pt x="577" y="1156"/>
                  </a:lnTo>
                  <a:lnTo>
                    <a:pt x="574" y="1158"/>
                  </a:lnTo>
                  <a:lnTo>
                    <a:pt x="571" y="1160"/>
                  </a:lnTo>
                  <a:lnTo>
                    <a:pt x="570" y="1163"/>
                  </a:lnTo>
                  <a:lnTo>
                    <a:pt x="569" y="1168"/>
                  </a:lnTo>
                  <a:lnTo>
                    <a:pt x="569" y="1172"/>
                  </a:lnTo>
                  <a:lnTo>
                    <a:pt x="566" y="1178"/>
                  </a:lnTo>
                  <a:lnTo>
                    <a:pt x="563" y="1182"/>
                  </a:lnTo>
                  <a:lnTo>
                    <a:pt x="560" y="1187"/>
                  </a:lnTo>
                  <a:lnTo>
                    <a:pt x="559" y="1188"/>
                  </a:lnTo>
                  <a:lnTo>
                    <a:pt x="556" y="1188"/>
                  </a:lnTo>
                  <a:lnTo>
                    <a:pt x="554" y="1189"/>
                  </a:lnTo>
                  <a:lnTo>
                    <a:pt x="551" y="1188"/>
                  </a:lnTo>
                  <a:lnTo>
                    <a:pt x="549" y="1187"/>
                  </a:lnTo>
                  <a:lnTo>
                    <a:pt x="546" y="1184"/>
                  </a:lnTo>
                  <a:lnTo>
                    <a:pt x="544" y="1182"/>
                  </a:lnTo>
                  <a:lnTo>
                    <a:pt x="541" y="1179"/>
                  </a:lnTo>
                  <a:lnTo>
                    <a:pt x="535" y="1171"/>
                  </a:lnTo>
                  <a:lnTo>
                    <a:pt x="529" y="1167"/>
                  </a:lnTo>
                  <a:lnTo>
                    <a:pt x="523" y="1162"/>
                  </a:lnTo>
                  <a:lnTo>
                    <a:pt x="517" y="1158"/>
                  </a:lnTo>
                  <a:lnTo>
                    <a:pt x="513" y="1156"/>
                  </a:lnTo>
                  <a:lnTo>
                    <a:pt x="511" y="1152"/>
                  </a:lnTo>
                  <a:lnTo>
                    <a:pt x="508" y="1149"/>
                  </a:lnTo>
                  <a:lnTo>
                    <a:pt x="506" y="1144"/>
                  </a:lnTo>
                  <a:lnTo>
                    <a:pt x="503" y="1138"/>
                  </a:lnTo>
                  <a:lnTo>
                    <a:pt x="502" y="1133"/>
                  </a:lnTo>
                  <a:lnTo>
                    <a:pt x="501" y="1125"/>
                  </a:lnTo>
                  <a:lnTo>
                    <a:pt x="500" y="1115"/>
                  </a:lnTo>
                  <a:lnTo>
                    <a:pt x="498" y="1097"/>
                  </a:lnTo>
                  <a:lnTo>
                    <a:pt x="495" y="1081"/>
                  </a:lnTo>
                  <a:lnTo>
                    <a:pt x="491" y="1066"/>
                  </a:lnTo>
                  <a:lnTo>
                    <a:pt x="487" y="1054"/>
                  </a:lnTo>
                  <a:lnTo>
                    <a:pt x="483" y="1044"/>
                  </a:lnTo>
                  <a:lnTo>
                    <a:pt x="480" y="1035"/>
                  </a:lnTo>
                  <a:lnTo>
                    <a:pt x="478" y="1028"/>
                  </a:lnTo>
                  <a:lnTo>
                    <a:pt x="478" y="1022"/>
                  </a:lnTo>
                  <a:lnTo>
                    <a:pt x="476" y="1003"/>
                  </a:lnTo>
                  <a:lnTo>
                    <a:pt x="470" y="971"/>
                  </a:lnTo>
                  <a:lnTo>
                    <a:pt x="468" y="953"/>
                  </a:lnTo>
                  <a:lnTo>
                    <a:pt x="467" y="933"/>
                  </a:lnTo>
                  <a:lnTo>
                    <a:pt x="467" y="923"/>
                  </a:lnTo>
                  <a:lnTo>
                    <a:pt x="467" y="913"/>
                  </a:lnTo>
                  <a:lnTo>
                    <a:pt x="468" y="903"/>
                  </a:lnTo>
                  <a:lnTo>
                    <a:pt x="470" y="893"/>
                  </a:lnTo>
                  <a:lnTo>
                    <a:pt x="476" y="857"/>
                  </a:lnTo>
                  <a:lnTo>
                    <a:pt x="478" y="826"/>
                  </a:lnTo>
                  <a:lnTo>
                    <a:pt x="480" y="811"/>
                  </a:lnTo>
                  <a:lnTo>
                    <a:pt x="481" y="797"/>
                  </a:lnTo>
                  <a:lnTo>
                    <a:pt x="485" y="784"/>
                  </a:lnTo>
                  <a:lnTo>
                    <a:pt x="489" y="769"/>
                  </a:lnTo>
                  <a:lnTo>
                    <a:pt x="493" y="754"/>
                  </a:lnTo>
                  <a:lnTo>
                    <a:pt x="498" y="735"/>
                  </a:lnTo>
                  <a:lnTo>
                    <a:pt x="500" y="716"/>
                  </a:lnTo>
                  <a:lnTo>
                    <a:pt x="501" y="697"/>
                  </a:lnTo>
                  <a:lnTo>
                    <a:pt x="500" y="677"/>
                  </a:lnTo>
                  <a:lnTo>
                    <a:pt x="498" y="658"/>
                  </a:lnTo>
                  <a:lnTo>
                    <a:pt x="496" y="650"/>
                  </a:lnTo>
                  <a:lnTo>
                    <a:pt x="493" y="642"/>
                  </a:lnTo>
                  <a:lnTo>
                    <a:pt x="490" y="636"/>
                  </a:lnTo>
                  <a:lnTo>
                    <a:pt x="486" y="629"/>
                  </a:lnTo>
                  <a:lnTo>
                    <a:pt x="476" y="614"/>
                  </a:lnTo>
                  <a:lnTo>
                    <a:pt x="472" y="607"/>
                  </a:lnTo>
                  <a:lnTo>
                    <a:pt x="468" y="600"/>
                  </a:lnTo>
                  <a:lnTo>
                    <a:pt x="454" y="585"/>
                  </a:lnTo>
                  <a:lnTo>
                    <a:pt x="434" y="566"/>
                  </a:lnTo>
                  <a:lnTo>
                    <a:pt x="421" y="554"/>
                  </a:lnTo>
                  <a:lnTo>
                    <a:pt x="415" y="551"/>
                  </a:lnTo>
                  <a:lnTo>
                    <a:pt x="411" y="549"/>
                  </a:lnTo>
                  <a:lnTo>
                    <a:pt x="407" y="547"/>
                  </a:lnTo>
                  <a:lnTo>
                    <a:pt x="404" y="546"/>
                  </a:lnTo>
                  <a:lnTo>
                    <a:pt x="393" y="549"/>
                  </a:lnTo>
                  <a:lnTo>
                    <a:pt x="379" y="552"/>
                  </a:lnTo>
                  <a:lnTo>
                    <a:pt x="365" y="556"/>
                  </a:lnTo>
                  <a:lnTo>
                    <a:pt x="360" y="557"/>
                  </a:lnTo>
                  <a:lnTo>
                    <a:pt x="356" y="560"/>
                  </a:lnTo>
                  <a:lnTo>
                    <a:pt x="348" y="563"/>
                  </a:lnTo>
                  <a:lnTo>
                    <a:pt x="343" y="564"/>
                  </a:lnTo>
                  <a:lnTo>
                    <a:pt x="338" y="565"/>
                  </a:lnTo>
                  <a:lnTo>
                    <a:pt x="333" y="564"/>
                  </a:lnTo>
                  <a:lnTo>
                    <a:pt x="330" y="563"/>
                  </a:lnTo>
                  <a:lnTo>
                    <a:pt x="320" y="559"/>
                  </a:lnTo>
                  <a:lnTo>
                    <a:pt x="308" y="553"/>
                  </a:lnTo>
                  <a:lnTo>
                    <a:pt x="302" y="550"/>
                  </a:lnTo>
                  <a:lnTo>
                    <a:pt x="298" y="546"/>
                  </a:lnTo>
                  <a:lnTo>
                    <a:pt x="297" y="544"/>
                  </a:lnTo>
                  <a:lnTo>
                    <a:pt x="296" y="543"/>
                  </a:lnTo>
                  <a:lnTo>
                    <a:pt x="296" y="541"/>
                  </a:lnTo>
                  <a:lnTo>
                    <a:pt x="297" y="539"/>
                  </a:lnTo>
                  <a:lnTo>
                    <a:pt x="302" y="523"/>
                  </a:lnTo>
                  <a:lnTo>
                    <a:pt x="311" y="499"/>
                  </a:lnTo>
                  <a:lnTo>
                    <a:pt x="318" y="477"/>
                  </a:lnTo>
                  <a:lnTo>
                    <a:pt x="321" y="467"/>
                  </a:lnTo>
                  <a:lnTo>
                    <a:pt x="321" y="456"/>
                  </a:lnTo>
                  <a:lnTo>
                    <a:pt x="321" y="430"/>
                  </a:lnTo>
                  <a:lnTo>
                    <a:pt x="323" y="415"/>
                  </a:lnTo>
                  <a:lnTo>
                    <a:pt x="324" y="400"/>
                  </a:lnTo>
                  <a:lnTo>
                    <a:pt x="328" y="386"/>
                  </a:lnTo>
                  <a:lnTo>
                    <a:pt x="332" y="376"/>
                  </a:lnTo>
                  <a:lnTo>
                    <a:pt x="340" y="364"/>
                  </a:lnTo>
                  <a:lnTo>
                    <a:pt x="344" y="359"/>
                  </a:lnTo>
                  <a:lnTo>
                    <a:pt x="347" y="352"/>
                  </a:lnTo>
                  <a:lnTo>
                    <a:pt x="352" y="341"/>
                  </a:lnTo>
                  <a:lnTo>
                    <a:pt x="354" y="331"/>
                  </a:lnTo>
                  <a:lnTo>
                    <a:pt x="355" y="321"/>
                  </a:lnTo>
                  <a:lnTo>
                    <a:pt x="356" y="310"/>
                  </a:lnTo>
                  <a:lnTo>
                    <a:pt x="356" y="298"/>
                  </a:lnTo>
                  <a:lnTo>
                    <a:pt x="355" y="278"/>
                  </a:lnTo>
                  <a:lnTo>
                    <a:pt x="354" y="267"/>
                  </a:lnTo>
                  <a:lnTo>
                    <a:pt x="353" y="256"/>
                  </a:lnTo>
                  <a:lnTo>
                    <a:pt x="353" y="241"/>
                  </a:lnTo>
                  <a:lnTo>
                    <a:pt x="353" y="233"/>
                  </a:lnTo>
                  <a:lnTo>
                    <a:pt x="354" y="226"/>
                  </a:lnTo>
                  <a:lnTo>
                    <a:pt x="355" y="223"/>
                  </a:lnTo>
                  <a:lnTo>
                    <a:pt x="356" y="221"/>
                  </a:lnTo>
                  <a:lnTo>
                    <a:pt x="358" y="219"/>
                  </a:lnTo>
                  <a:lnTo>
                    <a:pt x="360" y="217"/>
                  </a:lnTo>
                  <a:lnTo>
                    <a:pt x="368" y="213"/>
                  </a:lnTo>
                  <a:lnTo>
                    <a:pt x="374" y="207"/>
                  </a:lnTo>
                  <a:lnTo>
                    <a:pt x="381" y="201"/>
                  </a:lnTo>
                  <a:lnTo>
                    <a:pt x="387" y="195"/>
                  </a:lnTo>
                  <a:lnTo>
                    <a:pt x="393" y="186"/>
                  </a:lnTo>
                  <a:lnTo>
                    <a:pt x="398" y="175"/>
                  </a:lnTo>
                  <a:lnTo>
                    <a:pt x="404" y="164"/>
                  </a:lnTo>
                  <a:lnTo>
                    <a:pt x="406" y="154"/>
                  </a:lnTo>
                  <a:lnTo>
                    <a:pt x="407" y="140"/>
                  </a:lnTo>
                  <a:lnTo>
                    <a:pt x="407" y="119"/>
                  </a:lnTo>
                  <a:lnTo>
                    <a:pt x="407" y="101"/>
                  </a:lnTo>
                  <a:lnTo>
                    <a:pt x="406" y="94"/>
                  </a:lnTo>
                  <a:lnTo>
                    <a:pt x="409" y="90"/>
                  </a:lnTo>
                  <a:lnTo>
                    <a:pt x="414" y="83"/>
                  </a:lnTo>
                  <a:lnTo>
                    <a:pt x="414" y="81"/>
                  </a:lnTo>
                  <a:lnTo>
                    <a:pt x="414" y="78"/>
                  </a:lnTo>
                  <a:lnTo>
                    <a:pt x="414" y="76"/>
                  </a:lnTo>
                  <a:lnTo>
                    <a:pt x="413" y="75"/>
                  </a:lnTo>
                  <a:lnTo>
                    <a:pt x="411" y="74"/>
                  </a:lnTo>
                  <a:lnTo>
                    <a:pt x="407" y="73"/>
                  </a:lnTo>
                  <a:lnTo>
                    <a:pt x="403" y="72"/>
                  </a:lnTo>
                  <a:lnTo>
                    <a:pt x="398" y="72"/>
                  </a:lnTo>
                  <a:lnTo>
                    <a:pt x="379" y="69"/>
                  </a:lnTo>
                  <a:lnTo>
                    <a:pt x="362" y="67"/>
                  </a:lnTo>
                  <a:lnTo>
                    <a:pt x="355" y="67"/>
                  </a:lnTo>
                  <a:lnTo>
                    <a:pt x="349" y="67"/>
                  </a:lnTo>
                  <a:lnTo>
                    <a:pt x="343" y="68"/>
                  </a:lnTo>
                  <a:lnTo>
                    <a:pt x="338" y="72"/>
                  </a:lnTo>
                  <a:lnTo>
                    <a:pt x="317" y="88"/>
                  </a:lnTo>
                  <a:lnTo>
                    <a:pt x="305" y="96"/>
                  </a:lnTo>
                  <a:lnTo>
                    <a:pt x="302" y="94"/>
                  </a:lnTo>
                  <a:lnTo>
                    <a:pt x="297" y="92"/>
                  </a:lnTo>
                  <a:lnTo>
                    <a:pt x="294" y="92"/>
                  </a:lnTo>
                  <a:lnTo>
                    <a:pt x="290" y="94"/>
                  </a:lnTo>
                  <a:lnTo>
                    <a:pt x="286" y="99"/>
                  </a:lnTo>
                  <a:lnTo>
                    <a:pt x="282" y="107"/>
                  </a:lnTo>
                  <a:lnTo>
                    <a:pt x="277" y="125"/>
                  </a:lnTo>
                  <a:lnTo>
                    <a:pt x="273" y="138"/>
                  </a:lnTo>
                  <a:lnTo>
                    <a:pt x="269" y="150"/>
                  </a:lnTo>
                  <a:lnTo>
                    <a:pt x="266" y="164"/>
                  </a:lnTo>
                  <a:lnTo>
                    <a:pt x="264" y="182"/>
                  </a:lnTo>
                  <a:lnTo>
                    <a:pt x="262" y="201"/>
                  </a:lnTo>
                  <a:lnTo>
                    <a:pt x="259" y="219"/>
                  </a:lnTo>
                  <a:lnTo>
                    <a:pt x="258" y="234"/>
                  </a:lnTo>
                  <a:lnTo>
                    <a:pt x="258" y="239"/>
                  </a:lnTo>
                  <a:lnTo>
                    <a:pt x="256" y="245"/>
                  </a:lnTo>
                  <a:lnTo>
                    <a:pt x="255" y="249"/>
                  </a:lnTo>
                  <a:lnTo>
                    <a:pt x="253" y="255"/>
                  </a:lnTo>
                  <a:lnTo>
                    <a:pt x="250" y="259"/>
                  </a:lnTo>
                  <a:lnTo>
                    <a:pt x="249" y="265"/>
                  </a:lnTo>
                  <a:lnTo>
                    <a:pt x="247" y="270"/>
                  </a:lnTo>
                  <a:lnTo>
                    <a:pt x="247" y="278"/>
                  </a:lnTo>
                  <a:lnTo>
                    <a:pt x="247" y="289"/>
                  </a:lnTo>
                  <a:lnTo>
                    <a:pt x="245" y="296"/>
                  </a:lnTo>
                  <a:lnTo>
                    <a:pt x="242" y="300"/>
                  </a:lnTo>
                  <a:lnTo>
                    <a:pt x="234" y="305"/>
                  </a:lnTo>
                  <a:lnTo>
                    <a:pt x="229" y="307"/>
                  </a:lnTo>
                  <a:lnTo>
                    <a:pt x="227" y="308"/>
                  </a:lnTo>
                  <a:lnTo>
                    <a:pt x="227" y="307"/>
                  </a:lnTo>
                  <a:lnTo>
                    <a:pt x="227" y="306"/>
                  </a:lnTo>
                  <a:lnTo>
                    <a:pt x="227" y="306"/>
                  </a:lnTo>
                  <a:lnTo>
                    <a:pt x="220" y="313"/>
                  </a:lnTo>
                  <a:lnTo>
                    <a:pt x="210" y="324"/>
                  </a:lnTo>
                  <a:lnTo>
                    <a:pt x="204" y="333"/>
                  </a:lnTo>
                  <a:lnTo>
                    <a:pt x="201" y="340"/>
                  </a:lnTo>
                  <a:lnTo>
                    <a:pt x="197" y="347"/>
                  </a:lnTo>
                  <a:lnTo>
                    <a:pt x="194" y="352"/>
                  </a:lnTo>
                  <a:lnTo>
                    <a:pt x="191" y="355"/>
                  </a:lnTo>
                  <a:lnTo>
                    <a:pt x="189" y="358"/>
                  </a:lnTo>
                  <a:lnTo>
                    <a:pt x="186" y="358"/>
                  </a:lnTo>
                  <a:lnTo>
                    <a:pt x="184" y="358"/>
                  </a:lnTo>
                  <a:lnTo>
                    <a:pt x="181" y="358"/>
                  </a:lnTo>
                  <a:lnTo>
                    <a:pt x="179" y="358"/>
                  </a:lnTo>
                  <a:lnTo>
                    <a:pt x="176" y="359"/>
                  </a:lnTo>
                  <a:lnTo>
                    <a:pt x="175" y="361"/>
                  </a:lnTo>
                  <a:lnTo>
                    <a:pt x="175" y="363"/>
                  </a:lnTo>
                  <a:lnTo>
                    <a:pt x="174" y="364"/>
                  </a:lnTo>
                  <a:lnTo>
                    <a:pt x="173" y="354"/>
                  </a:lnTo>
                  <a:lnTo>
                    <a:pt x="173" y="347"/>
                  </a:lnTo>
                  <a:lnTo>
                    <a:pt x="173" y="341"/>
                  </a:lnTo>
                  <a:lnTo>
                    <a:pt x="174" y="336"/>
                  </a:lnTo>
                  <a:lnTo>
                    <a:pt x="175" y="332"/>
                  </a:lnTo>
                  <a:lnTo>
                    <a:pt x="176" y="329"/>
                  </a:lnTo>
                  <a:lnTo>
                    <a:pt x="176" y="326"/>
                  </a:lnTo>
                  <a:lnTo>
                    <a:pt x="174" y="323"/>
                  </a:lnTo>
                  <a:lnTo>
                    <a:pt x="170" y="321"/>
                  </a:lnTo>
                  <a:lnTo>
                    <a:pt x="161" y="318"/>
                  </a:lnTo>
                  <a:lnTo>
                    <a:pt x="154" y="315"/>
                  </a:lnTo>
                  <a:lnTo>
                    <a:pt x="151" y="313"/>
                  </a:lnTo>
                  <a:lnTo>
                    <a:pt x="150" y="310"/>
                  </a:lnTo>
                  <a:lnTo>
                    <a:pt x="149" y="307"/>
                  </a:lnTo>
                  <a:lnTo>
                    <a:pt x="148" y="302"/>
                  </a:lnTo>
                  <a:lnTo>
                    <a:pt x="148" y="292"/>
                  </a:lnTo>
                  <a:lnTo>
                    <a:pt x="148" y="285"/>
                  </a:lnTo>
                  <a:lnTo>
                    <a:pt x="148" y="276"/>
                  </a:lnTo>
                  <a:lnTo>
                    <a:pt x="148" y="267"/>
                  </a:lnTo>
                  <a:lnTo>
                    <a:pt x="147" y="245"/>
                  </a:lnTo>
                  <a:lnTo>
                    <a:pt x="142" y="210"/>
                  </a:lnTo>
                  <a:lnTo>
                    <a:pt x="139" y="177"/>
                  </a:lnTo>
                  <a:lnTo>
                    <a:pt x="138" y="162"/>
                  </a:lnTo>
                  <a:lnTo>
                    <a:pt x="140" y="143"/>
                  </a:lnTo>
                  <a:lnTo>
                    <a:pt x="144" y="101"/>
                  </a:lnTo>
                  <a:lnTo>
                    <a:pt x="146" y="77"/>
                  </a:lnTo>
                  <a:lnTo>
                    <a:pt x="147" y="55"/>
                  </a:lnTo>
                  <a:lnTo>
                    <a:pt x="147" y="46"/>
                  </a:lnTo>
                  <a:lnTo>
                    <a:pt x="146" y="39"/>
                  </a:lnTo>
                  <a:lnTo>
                    <a:pt x="144" y="32"/>
                  </a:lnTo>
                  <a:lnTo>
                    <a:pt x="142" y="28"/>
                  </a:lnTo>
                  <a:lnTo>
                    <a:pt x="139" y="21"/>
                  </a:lnTo>
                  <a:lnTo>
                    <a:pt x="134" y="15"/>
                  </a:lnTo>
                  <a:lnTo>
                    <a:pt x="129" y="9"/>
                  </a:lnTo>
                  <a:lnTo>
                    <a:pt x="122" y="4"/>
                  </a:lnTo>
                  <a:lnTo>
                    <a:pt x="119" y="2"/>
                  </a:lnTo>
                  <a:lnTo>
                    <a:pt x="116" y="1"/>
                  </a:lnTo>
                  <a:lnTo>
                    <a:pt x="111" y="0"/>
                  </a:lnTo>
                  <a:lnTo>
                    <a:pt x="107" y="0"/>
                  </a:lnTo>
                  <a:lnTo>
                    <a:pt x="101" y="0"/>
                  </a:lnTo>
                  <a:lnTo>
                    <a:pt x="96" y="1"/>
                  </a:lnTo>
                  <a:lnTo>
                    <a:pt x="89" y="3"/>
                  </a:lnTo>
                  <a:lnTo>
                    <a:pt x="83" y="5"/>
                  </a:lnTo>
                  <a:lnTo>
                    <a:pt x="68" y="11"/>
                  </a:lnTo>
                  <a:lnTo>
                    <a:pt x="53" y="14"/>
                  </a:lnTo>
                  <a:lnTo>
                    <a:pt x="40" y="15"/>
                  </a:lnTo>
                  <a:lnTo>
                    <a:pt x="26" y="18"/>
                  </a:lnTo>
                  <a:lnTo>
                    <a:pt x="16" y="19"/>
                  </a:lnTo>
                  <a:lnTo>
                    <a:pt x="7" y="22"/>
                  </a:lnTo>
                  <a:lnTo>
                    <a:pt x="4" y="24"/>
                  </a:lnTo>
                  <a:lnTo>
                    <a:pt x="2" y="26"/>
                  </a:lnTo>
                  <a:lnTo>
                    <a:pt x="1" y="30"/>
                  </a:lnTo>
                  <a:lnTo>
                    <a:pt x="0" y="33"/>
                  </a:lnTo>
                  <a:lnTo>
                    <a:pt x="2" y="50"/>
                  </a:lnTo>
                  <a:lnTo>
                    <a:pt x="6" y="82"/>
                  </a:lnTo>
                  <a:lnTo>
                    <a:pt x="14" y="124"/>
                  </a:lnTo>
                  <a:lnTo>
                    <a:pt x="22" y="170"/>
                  </a:lnTo>
                  <a:lnTo>
                    <a:pt x="30" y="219"/>
                  </a:lnTo>
                  <a:lnTo>
                    <a:pt x="37" y="264"/>
                  </a:lnTo>
                  <a:lnTo>
                    <a:pt x="42" y="300"/>
                  </a:lnTo>
                  <a:lnTo>
                    <a:pt x="44" y="324"/>
                  </a:lnTo>
                  <a:lnTo>
                    <a:pt x="45" y="361"/>
                  </a:lnTo>
                  <a:lnTo>
                    <a:pt x="48" y="401"/>
                  </a:lnTo>
                  <a:lnTo>
                    <a:pt x="51" y="422"/>
                  </a:lnTo>
                  <a:lnTo>
                    <a:pt x="53" y="441"/>
                  </a:lnTo>
                  <a:lnTo>
                    <a:pt x="56" y="460"/>
                  </a:lnTo>
                  <a:lnTo>
                    <a:pt x="61" y="478"/>
                  </a:lnTo>
                  <a:lnTo>
                    <a:pt x="67" y="509"/>
                  </a:lnTo>
                  <a:lnTo>
                    <a:pt x="73" y="534"/>
                  </a:lnTo>
                  <a:lnTo>
                    <a:pt x="76" y="545"/>
                  </a:lnTo>
                  <a:lnTo>
                    <a:pt x="80" y="554"/>
                  </a:lnTo>
                  <a:lnTo>
                    <a:pt x="83" y="557"/>
                  </a:lnTo>
                  <a:lnTo>
                    <a:pt x="86" y="561"/>
                  </a:lnTo>
                  <a:lnTo>
                    <a:pt x="89" y="564"/>
                  </a:lnTo>
                  <a:lnTo>
                    <a:pt x="94" y="566"/>
                  </a:lnTo>
                  <a:lnTo>
                    <a:pt x="99" y="570"/>
                  </a:lnTo>
                  <a:lnTo>
                    <a:pt x="101" y="572"/>
                  </a:lnTo>
                  <a:lnTo>
                    <a:pt x="101" y="574"/>
                  </a:lnTo>
                  <a:lnTo>
                    <a:pt x="100" y="575"/>
                  </a:lnTo>
                  <a:lnTo>
                    <a:pt x="99" y="576"/>
                  </a:lnTo>
                  <a:lnTo>
                    <a:pt x="101" y="577"/>
                  </a:lnTo>
                  <a:lnTo>
                    <a:pt x="106" y="577"/>
                  </a:lnTo>
                  <a:lnTo>
                    <a:pt x="116" y="577"/>
                  </a:lnTo>
                  <a:lnTo>
                    <a:pt x="121" y="576"/>
                  </a:lnTo>
                  <a:lnTo>
                    <a:pt x="127" y="575"/>
                  </a:lnTo>
                  <a:lnTo>
                    <a:pt x="131" y="574"/>
                  </a:lnTo>
                  <a:lnTo>
                    <a:pt x="136" y="572"/>
                  </a:lnTo>
                  <a:lnTo>
                    <a:pt x="143" y="567"/>
                  </a:lnTo>
                  <a:lnTo>
                    <a:pt x="150" y="562"/>
                  </a:lnTo>
                  <a:lnTo>
                    <a:pt x="157" y="557"/>
                  </a:lnTo>
                  <a:lnTo>
                    <a:pt x="164" y="554"/>
                  </a:lnTo>
                  <a:lnTo>
                    <a:pt x="168" y="553"/>
                  </a:lnTo>
                  <a:lnTo>
                    <a:pt x="172" y="553"/>
                  </a:lnTo>
                  <a:lnTo>
                    <a:pt x="176" y="553"/>
                  </a:lnTo>
                  <a:lnTo>
                    <a:pt x="181" y="555"/>
                  </a:lnTo>
                  <a:lnTo>
                    <a:pt x="185" y="557"/>
                  </a:lnTo>
                  <a:lnTo>
                    <a:pt x="190" y="560"/>
                  </a:lnTo>
                  <a:lnTo>
                    <a:pt x="192" y="563"/>
                  </a:lnTo>
                  <a:lnTo>
                    <a:pt x="193" y="567"/>
                  </a:lnTo>
                  <a:lnTo>
                    <a:pt x="194" y="571"/>
                  </a:lnTo>
                  <a:lnTo>
                    <a:pt x="194" y="575"/>
                  </a:lnTo>
                  <a:lnTo>
                    <a:pt x="194" y="579"/>
                  </a:lnTo>
                  <a:lnTo>
                    <a:pt x="193" y="584"/>
                  </a:lnTo>
                  <a:lnTo>
                    <a:pt x="188" y="603"/>
                  </a:lnTo>
                  <a:lnTo>
                    <a:pt x="183" y="619"/>
                  </a:lnTo>
                  <a:lnTo>
                    <a:pt x="181" y="630"/>
                  </a:lnTo>
                  <a:lnTo>
                    <a:pt x="180" y="640"/>
                  </a:lnTo>
                  <a:lnTo>
                    <a:pt x="179" y="645"/>
                  </a:lnTo>
                  <a:lnTo>
                    <a:pt x="180" y="650"/>
                  </a:lnTo>
                  <a:lnTo>
                    <a:pt x="181" y="656"/>
                  </a:lnTo>
                  <a:lnTo>
                    <a:pt x="183" y="662"/>
                  </a:lnTo>
                  <a:lnTo>
                    <a:pt x="189" y="673"/>
                  </a:lnTo>
                  <a:lnTo>
                    <a:pt x="194" y="680"/>
                  </a:lnTo>
                  <a:lnTo>
                    <a:pt x="200" y="685"/>
                  </a:lnTo>
                  <a:lnTo>
                    <a:pt x="204" y="691"/>
                  </a:lnTo>
                  <a:lnTo>
                    <a:pt x="207" y="695"/>
                  </a:lnTo>
                  <a:lnTo>
                    <a:pt x="210" y="699"/>
                  </a:lnTo>
                  <a:lnTo>
                    <a:pt x="210" y="702"/>
                  </a:lnTo>
                  <a:lnTo>
                    <a:pt x="210" y="710"/>
                  </a:lnTo>
                  <a:lnTo>
                    <a:pt x="212" y="720"/>
                  </a:lnTo>
                  <a:lnTo>
                    <a:pt x="215" y="729"/>
                  </a:lnTo>
                  <a:lnTo>
                    <a:pt x="218" y="735"/>
                  </a:lnTo>
                  <a:lnTo>
                    <a:pt x="221" y="738"/>
                  </a:lnTo>
                  <a:lnTo>
                    <a:pt x="225" y="742"/>
                  </a:lnTo>
                  <a:lnTo>
                    <a:pt x="236" y="751"/>
                  </a:lnTo>
                  <a:lnTo>
                    <a:pt x="242" y="755"/>
                  </a:lnTo>
                  <a:lnTo>
                    <a:pt x="246" y="761"/>
                  </a:lnTo>
                  <a:lnTo>
                    <a:pt x="250" y="764"/>
                  </a:lnTo>
                  <a:lnTo>
                    <a:pt x="252" y="767"/>
                  </a:lnTo>
                  <a:lnTo>
                    <a:pt x="250" y="768"/>
                  </a:lnTo>
                  <a:lnTo>
                    <a:pt x="249" y="769"/>
                  </a:lnTo>
                  <a:lnTo>
                    <a:pt x="248" y="768"/>
                  </a:lnTo>
                  <a:lnTo>
                    <a:pt x="247" y="768"/>
                  </a:lnTo>
                  <a:lnTo>
                    <a:pt x="247" y="768"/>
                  </a:lnTo>
                  <a:lnTo>
                    <a:pt x="252" y="774"/>
                  </a:lnTo>
                  <a:lnTo>
                    <a:pt x="259" y="782"/>
                  </a:lnTo>
                  <a:lnTo>
                    <a:pt x="267" y="787"/>
                  </a:lnTo>
                  <a:lnTo>
                    <a:pt x="275" y="791"/>
                  </a:lnTo>
                  <a:lnTo>
                    <a:pt x="280" y="794"/>
                  </a:lnTo>
                  <a:lnTo>
                    <a:pt x="285" y="796"/>
                  </a:lnTo>
                  <a:lnTo>
                    <a:pt x="290" y="798"/>
                  </a:lnTo>
                  <a:lnTo>
                    <a:pt x="294" y="800"/>
                  </a:lnTo>
                  <a:lnTo>
                    <a:pt x="297" y="805"/>
                  </a:lnTo>
                  <a:lnTo>
                    <a:pt x="300" y="816"/>
                  </a:lnTo>
                  <a:lnTo>
                    <a:pt x="302" y="822"/>
                  </a:lnTo>
                  <a:lnTo>
                    <a:pt x="317" y="833"/>
                  </a:lnTo>
                  <a:lnTo>
                    <a:pt x="321" y="838"/>
                  </a:lnTo>
                  <a:lnTo>
                    <a:pt x="330" y="849"/>
                  </a:lnTo>
                  <a:lnTo>
                    <a:pt x="334" y="857"/>
                  </a:lnTo>
                  <a:lnTo>
                    <a:pt x="339" y="863"/>
                  </a:lnTo>
                  <a:lnTo>
                    <a:pt x="342" y="870"/>
                  </a:lnTo>
                  <a:lnTo>
                    <a:pt x="344" y="876"/>
                  </a:lnTo>
                  <a:lnTo>
                    <a:pt x="344" y="885"/>
                  </a:lnTo>
                  <a:lnTo>
                    <a:pt x="344" y="891"/>
                  </a:lnTo>
                  <a:lnTo>
                    <a:pt x="347" y="896"/>
                  </a:lnTo>
                  <a:lnTo>
                    <a:pt x="350" y="903"/>
                  </a:lnTo>
                  <a:lnTo>
                    <a:pt x="353" y="906"/>
                  </a:lnTo>
                  <a:lnTo>
                    <a:pt x="356" y="908"/>
                  </a:lnTo>
                  <a:lnTo>
                    <a:pt x="360" y="910"/>
                  </a:lnTo>
                  <a:lnTo>
                    <a:pt x="363" y="910"/>
                  </a:lnTo>
                  <a:lnTo>
                    <a:pt x="365" y="912"/>
                  </a:lnTo>
                  <a:lnTo>
                    <a:pt x="368" y="913"/>
                  </a:lnTo>
                  <a:lnTo>
                    <a:pt x="369" y="916"/>
                  </a:lnTo>
                  <a:lnTo>
                    <a:pt x="369" y="922"/>
                  </a:lnTo>
                  <a:lnTo>
                    <a:pt x="369" y="934"/>
                  </a:lnTo>
                  <a:lnTo>
                    <a:pt x="368" y="945"/>
                  </a:lnTo>
                  <a:lnTo>
                    <a:pt x="366" y="950"/>
                  </a:lnTo>
                  <a:lnTo>
                    <a:pt x="368" y="955"/>
                  </a:lnTo>
                  <a:lnTo>
                    <a:pt x="368" y="958"/>
                  </a:lnTo>
                  <a:lnTo>
                    <a:pt x="369" y="960"/>
                  </a:lnTo>
                  <a:lnTo>
                    <a:pt x="369" y="961"/>
                  </a:lnTo>
                  <a:lnTo>
                    <a:pt x="369" y="961"/>
                  </a:lnTo>
                  <a:lnTo>
                    <a:pt x="369" y="961"/>
                  </a:lnTo>
                  <a:lnTo>
                    <a:pt x="369" y="961"/>
                  </a:lnTo>
                  <a:lnTo>
                    <a:pt x="369" y="961"/>
                  </a:lnTo>
                  <a:lnTo>
                    <a:pt x="369" y="961"/>
                  </a:lnTo>
                  <a:lnTo>
                    <a:pt x="369" y="961"/>
                  </a:lnTo>
                  <a:lnTo>
                    <a:pt x="370" y="961"/>
                  </a:lnTo>
                  <a:lnTo>
                    <a:pt x="370" y="961"/>
                  </a:lnTo>
                  <a:lnTo>
                    <a:pt x="370" y="961"/>
                  </a:lnTo>
                  <a:lnTo>
                    <a:pt x="370" y="961"/>
                  </a:lnTo>
                  <a:lnTo>
                    <a:pt x="370" y="961"/>
                  </a:lnTo>
                  <a:lnTo>
                    <a:pt x="371" y="964"/>
                  </a:lnTo>
                  <a:lnTo>
                    <a:pt x="373" y="967"/>
                  </a:lnTo>
                  <a:lnTo>
                    <a:pt x="379" y="976"/>
                  </a:lnTo>
                  <a:lnTo>
                    <a:pt x="384" y="986"/>
                  </a:lnTo>
                  <a:lnTo>
                    <a:pt x="387" y="996"/>
                  </a:lnTo>
                  <a:lnTo>
                    <a:pt x="391" y="1005"/>
                  </a:lnTo>
                  <a:lnTo>
                    <a:pt x="392" y="1013"/>
                  </a:lnTo>
                  <a:lnTo>
                    <a:pt x="393" y="1022"/>
                  </a:lnTo>
                  <a:lnTo>
                    <a:pt x="392" y="1029"/>
                  </a:lnTo>
                  <a:lnTo>
                    <a:pt x="390" y="1035"/>
                  </a:lnTo>
                  <a:lnTo>
                    <a:pt x="384" y="1044"/>
                  </a:lnTo>
                  <a:lnTo>
                    <a:pt x="382" y="1052"/>
                  </a:lnTo>
                  <a:lnTo>
                    <a:pt x="382" y="1056"/>
                  </a:lnTo>
                  <a:lnTo>
                    <a:pt x="382" y="1061"/>
                  </a:lnTo>
                  <a:lnTo>
                    <a:pt x="383" y="1065"/>
                  </a:lnTo>
                  <a:lnTo>
                    <a:pt x="385" y="1072"/>
                  </a:lnTo>
                  <a:lnTo>
                    <a:pt x="391" y="1085"/>
                  </a:lnTo>
                  <a:lnTo>
                    <a:pt x="397" y="1094"/>
                  </a:lnTo>
                  <a:lnTo>
                    <a:pt x="402" y="1101"/>
                  </a:lnTo>
                  <a:lnTo>
                    <a:pt x="404" y="1103"/>
                  </a:lnTo>
                  <a:lnTo>
                    <a:pt x="407" y="1107"/>
                  </a:lnTo>
                  <a:lnTo>
                    <a:pt x="414" y="1118"/>
                  </a:lnTo>
                  <a:lnTo>
                    <a:pt x="422" y="1130"/>
                  </a:lnTo>
                  <a:lnTo>
                    <a:pt x="426" y="1140"/>
                  </a:lnTo>
                  <a:lnTo>
                    <a:pt x="437" y="1154"/>
                  </a:lnTo>
                  <a:lnTo>
                    <a:pt x="449" y="1165"/>
                  </a:lnTo>
                  <a:lnTo>
                    <a:pt x="449" y="1166"/>
                  </a:lnTo>
                  <a:lnTo>
                    <a:pt x="454" y="1171"/>
                  </a:lnTo>
                  <a:lnTo>
                    <a:pt x="457" y="1176"/>
                  </a:lnTo>
                  <a:lnTo>
                    <a:pt x="459" y="1182"/>
                  </a:lnTo>
                  <a:lnTo>
                    <a:pt x="461" y="1189"/>
                  </a:lnTo>
                  <a:lnTo>
                    <a:pt x="462" y="1197"/>
                  </a:lnTo>
                  <a:lnTo>
                    <a:pt x="462" y="1211"/>
                  </a:lnTo>
                  <a:lnTo>
                    <a:pt x="461" y="1224"/>
                  </a:lnTo>
                  <a:lnTo>
                    <a:pt x="461" y="1236"/>
                  </a:lnTo>
                  <a:lnTo>
                    <a:pt x="462" y="1248"/>
                  </a:lnTo>
                  <a:lnTo>
                    <a:pt x="465" y="1256"/>
                  </a:lnTo>
                  <a:lnTo>
                    <a:pt x="466" y="1260"/>
                  </a:lnTo>
                  <a:lnTo>
                    <a:pt x="467" y="1258"/>
                  </a:lnTo>
                  <a:lnTo>
                    <a:pt x="470" y="1257"/>
                  </a:lnTo>
                  <a:lnTo>
                    <a:pt x="474" y="1257"/>
                  </a:lnTo>
                  <a:lnTo>
                    <a:pt x="476" y="1258"/>
                  </a:lnTo>
                  <a:lnTo>
                    <a:pt x="479" y="1261"/>
                  </a:lnTo>
                  <a:lnTo>
                    <a:pt x="482" y="1264"/>
                  </a:lnTo>
                  <a:lnTo>
                    <a:pt x="493" y="1277"/>
                  </a:lnTo>
                  <a:lnTo>
                    <a:pt x="499" y="1284"/>
                  </a:lnTo>
                  <a:lnTo>
                    <a:pt x="521" y="1290"/>
                  </a:lnTo>
                  <a:lnTo>
                    <a:pt x="522" y="1288"/>
                  </a:lnTo>
                  <a:lnTo>
                    <a:pt x="527" y="1285"/>
                  </a:lnTo>
                  <a:lnTo>
                    <a:pt x="529" y="1284"/>
                  </a:lnTo>
                  <a:lnTo>
                    <a:pt x="531" y="1283"/>
                  </a:lnTo>
                  <a:lnTo>
                    <a:pt x="533" y="1283"/>
                  </a:lnTo>
                  <a:lnTo>
                    <a:pt x="535" y="1284"/>
                  </a:lnTo>
                  <a:lnTo>
                    <a:pt x="540" y="1289"/>
                  </a:lnTo>
                  <a:lnTo>
                    <a:pt x="542" y="1295"/>
                  </a:lnTo>
                  <a:lnTo>
                    <a:pt x="543" y="1299"/>
                  </a:lnTo>
                  <a:lnTo>
                    <a:pt x="544" y="1305"/>
                  </a:lnTo>
                  <a:lnTo>
                    <a:pt x="544" y="1316"/>
                  </a:lnTo>
                  <a:lnTo>
                    <a:pt x="544" y="1324"/>
                  </a:lnTo>
                  <a:lnTo>
                    <a:pt x="571" y="1333"/>
                  </a:lnTo>
                  <a:lnTo>
                    <a:pt x="592" y="1350"/>
                  </a:lnTo>
                  <a:lnTo>
                    <a:pt x="597" y="1351"/>
                  </a:lnTo>
                  <a:lnTo>
                    <a:pt x="603" y="1350"/>
                  </a:lnTo>
                  <a:lnTo>
                    <a:pt x="608" y="1349"/>
                  </a:lnTo>
                  <a:lnTo>
                    <a:pt x="613" y="1347"/>
                  </a:lnTo>
                  <a:lnTo>
                    <a:pt x="622" y="1342"/>
                  </a:lnTo>
                  <a:lnTo>
                    <a:pt x="624" y="1340"/>
                  </a:lnTo>
                  <a:lnTo>
                    <a:pt x="625" y="1331"/>
                  </a:lnTo>
                  <a:lnTo>
                    <a:pt x="624" y="1317"/>
                  </a:lnTo>
                  <a:lnTo>
                    <a:pt x="619" y="1304"/>
                  </a:lnTo>
                  <a:lnTo>
                    <a:pt x="616" y="1296"/>
                  </a:lnTo>
                  <a:lnTo>
                    <a:pt x="615" y="1294"/>
                  </a:lnTo>
                  <a:lnTo>
                    <a:pt x="612" y="1288"/>
                  </a:lnTo>
                  <a:lnTo>
                    <a:pt x="610" y="1285"/>
                  </a:lnTo>
                  <a:lnTo>
                    <a:pt x="609" y="1282"/>
                  </a:lnTo>
                  <a:lnTo>
                    <a:pt x="609" y="1278"/>
                  </a:lnTo>
                  <a:lnTo>
                    <a:pt x="609" y="1276"/>
                  </a:lnTo>
                  <a:lnTo>
                    <a:pt x="616" y="1265"/>
                  </a:lnTo>
                  <a:lnTo>
                    <a:pt x="620" y="1260"/>
                  </a:lnTo>
                  <a:lnTo>
                    <a:pt x="630" y="1243"/>
                  </a:lnTo>
                  <a:lnTo>
                    <a:pt x="628" y="1240"/>
                  </a:lnTo>
                  <a:lnTo>
                    <a:pt x="625" y="1233"/>
                  </a:lnTo>
                  <a:lnTo>
                    <a:pt x="625" y="1230"/>
                  </a:lnTo>
                  <a:lnTo>
                    <a:pt x="626" y="1229"/>
                  </a:lnTo>
                  <a:lnTo>
                    <a:pt x="630" y="1229"/>
                  </a:lnTo>
                  <a:lnTo>
                    <a:pt x="637" y="1231"/>
                  </a:lnTo>
                  <a:lnTo>
                    <a:pt x="651" y="1236"/>
                  </a:lnTo>
                  <a:lnTo>
                    <a:pt x="661" y="1240"/>
                  </a:lnTo>
                  <a:lnTo>
                    <a:pt x="666" y="1241"/>
                  </a:lnTo>
                  <a:lnTo>
                    <a:pt x="668" y="1242"/>
                  </a:lnTo>
                  <a:lnTo>
                    <a:pt x="669" y="1243"/>
                  </a:lnTo>
                  <a:lnTo>
                    <a:pt x="670" y="1245"/>
                  </a:lnTo>
                  <a:lnTo>
                    <a:pt x="667" y="1261"/>
                  </a:lnTo>
                  <a:lnTo>
                    <a:pt x="663" y="1276"/>
                  </a:lnTo>
                  <a:lnTo>
                    <a:pt x="663" y="1286"/>
                  </a:lnTo>
                  <a:lnTo>
                    <a:pt x="663" y="1300"/>
                  </a:lnTo>
                  <a:lnTo>
                    <a:pt x="663" y="1310"/>
                  </a:lnTo>
                  <a:lnTo>
                    <a:pt x="663" y="1320"/>
                  </a:lnTo>
                  <a:lnTo>
                    <a:pt x="665" y="1329"/>
                  </a:lnTo>
                  <a:lnTo>
                    <a:pt x="666" y="1336"/>
                  </a:lnTo>
                  <a:lnTo>
                    <a:pt x="672" y="1345"/>
                  </a:lnTo>
                  <a:lnTo>
                    <a:pt x="680" y="1354"/>
                  </a:lnTo>
                  <a:lnTo>
                    <a:pt x="686" y="1363"/>
                  </a:lnTo>
                  <a:lnTo>
                    <a:pt x="696" y="1377"/>
                  </a:lnTo>
                  <a:lnTo>
                    <a:pt x="704" y="1390"/>
                  </a:lnTo>
                  <a:lnTo>
                    <a:pt x="711" y="1402"/>
                  </a:lnTo>
                  <a:lnTo>
                    <a:pt x="713" y="1411"/>
                  </a:lnTo>
                  <a:lnTo>
                    <a:pt x="713" y="1421"/>
                  </a:lnTo>
                  <a:lnTo>
                    <a:pt x="713" y="1431"/>
                  </a:lnTo>
                  <a:lnTo>
                    <a:pt x="713" y="1441"/>
                  </a:lnTo>
                  <a:lnTo>
                    <a:pt x="713" y="1444"/>
                  </a:lnTo>
                  <a:lnTo>
                    <a:pt x="714" y="1447"/>
                  </a:lnTo>
                  <a:lnTo>
                    <a:pt x="715" y="1448"/>
                  </a:lnTo>
                  <a:lnTo>
                    <a:pt x="717" y="1449"/>
                  </a:lnTo>
                  <a:lnTo>
                    <a:pt x="718" y="1452"/>
                  </a:lnTo>
                  <a:lnTo>
                    <a:pt x="720" y="1456"/>
                  </a:lnTo>
                  <a:lnTo>
                    <a:pt x="722" y="1462"/>
                  </a:lnTo>
                  <a:lnTo>
                    <a:pt x="723" y="1469"/>
                  </a:lnTo>
                  <a:lnTo>
                    <a:pt x="724" y="1481"/>
                  </a:lnTo>
                  <a:lnTo>
                    <a:pt x="724" y="1495"/>
                  </a:lnTo>
                  <a:lnTo>
                    <a:pt x="724" y="1509"/>
                  </a:lnTo>
                  <a:lnTo>
                    <a:pt x="724" y="1526"/>
                  </a:lnTo>
                  <a:lnTo>
                    <a:pt x="722" y="1555"/>
                  </a:lnTo>
                  <a:lnTo>
                    <a:pt x="721" y="1581"/>
                  </a:lnTo>
                  <a:lnTo>
                    <a:pt x="720" y="1600"/>
                  </a:lnTo>
                  <a:lnTo>
                    <a:pt x="718" y="1615"/>
                  </a:lnTo>
                  <a:lnTo>
                    <a:pt x="717" y="1622"/>
                  </a:lnTo>
                  <a:lnTo>
                    <a:pt x="717" y="1627"/>
                  </a:lnTo>
                  <a:lnTo>
                    <a:pt x="718" y="1633"/>
                  </a:lnTo>
                  <a:lnTo>
                    <a:pt x="719" y="1636"/>
                  </a:lnTo>
                  <a:lnTo>
                    <a:pt x="721" y="1639"/>
                  </a:lnTo>
                  <a:lnTo>
                    <a:pt x="722" y="1639"/>
                  </a:lnTo>
                  <a:lnTo>
                    <a:pt x="722" y="1639"/>
                  </a:lnTo>
                  <a:lnTo>
                    <a:pt x="722" y="1638"/>
                  </a:lnTo>
                  <a:lnTo>
                    <a:pt x="722" y="1638"/>
                  </a:lnTo>
                  <a:lnTo>
                    <a:pt x="725" y="1647"/>
                  </a:lnTo>
                  <a:lnTo>
                    <a:pt x="730" y="1660"/>
                  </a:lnTo>
                  <a:lnTo>
                    <a:pt x="733" y="1672"/>
                  </a:lnTo>
                  <a:lnTo>
                    <a:pt x="734" y="1679"/>
                  </a:lnTo>
                  <a:lnTo>
                    <a:pt x="734" y="1686"/>
                  </a:lnTo>
                  <a:lnTo>
                    <a:pt x="733" y="1692"/>
                  </a:lnTo>
                  <a:lnTo>
                    <a:pt x="732" y="1700"/>
                  </a:lnTo>
                  <a:lnTo>
                    <a:pt x="729" y="1708"/>
                  </a:lnTo>
                  <a:lnTo>
                    <a:pt x="726" y="1712"/>
                  </a:lnTo>
                  <a:lnTo>
                    <a:pt x="724" y="1715"/>
                  </a:lnTo>
                  <a:lnTo>
                    <a:pt x="722" y="1717"/>
                  </a:lnTo>
                  <a:lnTo>
                    <a:pt x="720" y="1719"/>
                  </a:lnTo>
                  <a:lnTo>
                    <a:pt x="719" y="1720"/>
                  </a:lnTo>
                  <a:lnTo>
                    <a:pt x="717" y="1723"/>
                  </a:lnTo>
                  <a:lnTo>
                    <a:pt x="715" y="1728"/>
                  </a:lnTo>
                  <a:lnTo>
                    <a:pt x="712" y="1745"/>
                  </a:lnTo>
                  <a:lnTo>
                    <a:pt x="711" y="1760"/>
                  </a:lnTo>
                  <a:lnTo>
                    <a:pt x="709" y="1764"/>
                  </a:lnTo>
                  <a:lnTo>
                    <a:pt x="705" y="1767"/>
                  </a:lnTo>
                  <a:lnTo>
                    <a:pt x="701" y="1771"/>
                  </a:lnTo>
                  <a:lnTo>
                    <a:pt x="697" y="1773"/>
                  </a:lnTo>
                  <a:lnTo>
                    <a:pt x="688" y="1777"/>
                  </a:lnTo>
                  <a:lnTo>
                    <a:pt x="684" y="1778"/>
                  </a:lnTo>
                  <a:lnTo>
                    <a:pt x="683" y="1787"/>
                  </a:lnTo>
                  <a:lnTo>
                    <a:pt x="684" y="1812"/>
                  </a:lnTo>
                  <a:lnTo>
                    <a:pt x="684" y="1824"/>
                  </a:lnTo>
                  <a:lnTo>
                    <a:pt x="684" y="1831"/>
                  </a:lnTo>
                  <a:lnTo>
                    <a:pt x="684" y="1839"/>
                  </a:lnTo>
                  <a:lnTo>
                    <a:pt x="684" y="1849"/>
                  </a:lnTo>
                  <a:lnTo>
                    <a:pt x="683" y="1859"/>
                  </a:lnTo>
                  <a:lnTo>
                    <a:pt x="683" y="1867"/>
                  </a:lnTo>
                  <a:lnTo>
                    <a:pt x="680" y="1874"/>
                  </a:lnTo>
                  <a:lnTo>
                    <a:pt x="676" y="1883"/>
                  </a:lnTo>
                  <a:lnTo>
                    <a:pt x="672" y="1888"/>
                  </a:lnTo>
                  <a:lnTo>
                    <a:pt x="670" y="1891"/>
                  </a:lnTo>
                  <a:lnTo>
                    <a:pt x="667" y="1892"/>
                  </a:lnTo>
                  <a:lnTo>
                    <a:pt x="665" y="1893"/>
                  </a:lnTo>
                  <a:lnTo>
                    <a:pt x="662" y="1894"/>
                  </a:lnTo>
                  <a:lnTo>
                    <a:pt x="660" y="1897"/>
                  </a:lnTo>
                  <a:lnTo>
                    <a:pt x="658" y="1899"/>
                  </a:lnTo>
                  <a:lnTo>
                    <a:pt x="655" y="1902"/>
                  </a:lnTo>
                  <a:lnTo>
                    <a:pt x="650" y="1913"/>
                  </a:lnTo>
                  <a:lnTo>
                    <a:pt x="647" y="1925"/>
                  </a:lnTo>
                  <a:lnTo>
                    <a:pt x="644" y="1937"/>
                  </a:lnTo>
                  <a:lnTo>
                    <a:pt x="643" y="1947"/>
                  </a:lnTo>
                  <a:lnTo>
                    <a:pt x="645" y="1962"/>
                  </a:lnTo>
                  <a:lnTo>
                    <a:pt x="648" y="1984"/>
                  </a:lnTo>
                  <a:lnTo>
                    <a:pt x="650" y="1996"/>
                  </a:lnTo>
                  <a:lnTo>
                    <a:pt x="650" y="2007"/>
                  </a:lnTo>
                  <a:lnTo>
                    <a:pt x="650" y="2018"/>
                  </a:lnTo>
                  <a:lnTo>
                    <a:pt x="649" y="2026"/>
                  </a:lnTo>
                  <a:lnTo>
                    <a:pt x="644" y="2037"/>
                  </a:lnTo>
                  <a:lnTo>
                    <a:pt x="638" y="2043"/>
                  </a:lnTo>
                  <a:lnTo>
                    <a:pt x="636" y="2047"/>
                  </a:lnTo>
                  <a:lnTo>
                    <a:pt x="635" y="2050"/>
                  </a:lnTo>
                  <a:lnTo>
                    <a:pt x="633" y="2054"/>
                  </a:lnTo>
                  <a:lnTo>
                    <a:pt x="633" y="2059"/>
                  </a:lnTo>
                  <a:lnTo>
                    <a:pt x="633" y="2069"/>
                  </a:lnTo>
                  <a:lnTo>
                    <a:pt x="634" y="2076"/>
                  </a:lnTo>
                  <a:lnTo>
                    <a:pt x="635" y="2085"/>
                  </a:lnTo>
                  <a:lnTo>
                    <a:pt x="637" y="2094"/>
                  </a:lnTo>
                  <a:lnTo>
                    <a:pt x="638" y="2102"/>
                  </a:lnTo>
                  <a:lnTo>
                    <a:pt x="641" y="2108"/>
                  </a:lnTo>
                  <a:lnTo>
                    <a:pt x="645" y="2115"/>
                  </a:lnTo>
                  <a:lnTo>
                    <a:pt x="649" y="2123"/>
                  </a:lnTo>
                  <a:lnTo>
                    <a:pt x="654" y="2129"/>
                  </a:lnTo>
                  <a:lnTo>
                    <a:pt x="657" y="2137"/>
                  </a:lnTo>
                  <a:lnTo>
                    <a:pt x="659" y="2145"/>
                  </a:lnTo>
                  <a:lnTo>
                    <a:pt x="659" y="2154"/>
                  </a:lnTo>
                  <a:lnTo>
                    <a:pt x="661" y="2159"/>
                  </a:lnTo>
                  <a:lnTo>
                    <a:pt x="666" y="2166"/>
                  </a:lnTo>
                  <a:lnTo>
                    <a:pt x="671" y="2175"/>
                  </a:lnTo>
                  <a:lnTo>
                    <a:pt x="678" y="2182"/>
                  </a:lnTo>
                  <a:lnTo>
                    <a:pt x="691" y="2197"/>
                  </a:lnTo>
                  <a:lnTo>
                    <a:pt x="697" y="2203"/>
                  </a:lnTo>
                  <a:lnTo>
                    <a:pt x="697" y="2208"/>
                  </a:lnTo>
                  <a:lnTo>
                    <a:pt x="697" y="2220"/>
                  </a:lnTo>
                  <a:lnTo>
                    <a:pt x="697" y="2235"/>
                  </a:lnTo>
                  <a:lnTo>
                    <a:pt x="697" y="2252"/>
                  </a:lnTo>
                  <a:lnTo>
                    <a:pt x="696" y="2265"/>
                  </a:lnTo>
                  <a:lnTo>
                    <a:pt x="693" y="2274"/>
                  </a:lnTo>
                  <a:lnTo>
                    <a:pt x="692" y="2278"/>
                  </a:lnTo>
                  <a:lnTo>
                    <a:pt x="691" y="2283"/>
                  </a:lnTo>
                  <a:lnTo>
                    <a:pt x="691" y="2288"/>
                  </a:lnTo>
                  <a:lnTo>
                    <a:pt x="692" y="2294"/>
                  </a:lnTo>
                  <a:lnTo>
                    <a:pt x="697" y="2313"/>
                  </a:lnTo>
                  <a:lnTo>
                    <a:pt x="701" y="2326"/>
                  </a:lnTo>
                  <a:lnTo>
                    <a:pt x="702" y="2329"/>
                  </a:lnTo>
                  <a:lnTo>
                    <a:pt x="704" y="2331"/>
                  </a:lnTo>
                  <a:lnTo>
                    <a:pt x="708" y="2333"/>
                  </a:lnTo>
                  <a:lnTo>
                    <a:pt x="710" y="2335"/>
                  </a:lnTo>
                  <a:lnTo>
                    <a:pt x="717" y="2337"/>
                  </a:lnTo>
                  <a:lnTo>
                    <a:pt x="723" y="2340"/>
                  </a:lnTo>
                  <a:lnTo>
                    <a:pt x="732" y="2350"/>
                  </a:lnTo>
                  <a:lnTo>
                    <a:pt x="742" y="2363"/>
                  </a:lnTo>
                  <a:lnTo>
                    <a:pt x="749" y="2370"/>
                  </a:lnTo>
                  <a:lnTo>
                    <a:pt x="756" y="2375"/>
                  </a:lnTo>
                  <a:lnTo>
                    <a:pt x="760" y="2377"/>
                  </a:lnTo>
                  <a:lnTo>
                    <a:pt x="762" y="2379"/>
                  </a:lnTo>
                  <a:lnTo>
                    <a:pt x="764" y="2382"/>
                  </a:lnTo>
                  <a:lnTo>
                    <a:pt x="764" y="2387"/>
                  </a:lnTo>
                  <a:lnTo>
                    <a:pt x="768" y="2400"/>
                  </a:lnTo>
                  <a:lnTo>
                    <a:pt x="773" y="2409"/>
                  </a:lnTo>
                  <a:lnTo>
                    <a:pt x="774" y="2410"/>
                  </a:lnTo>
                  <a:lnTo>
                    <a:pt x="776" y="2409"/>
                  </a:lnTo>
                  <a:lnTo>
                    <a:pt x="779" y="2407"/>
                  </a:lnTo>
                  <a:lnTo>
                    <a:pt x="784" y="2403"/>
                  </a:lnTo>
                  <a:lnTo>
                    <a:pt x="787" y="2398"/>
                  </a:lnTo>
                  <a:lnTo>
                    <a:pt x="790" y="2391"/>
                  </a:lnTo>
                  <a:lnTo>
                    <a:pt x="793" y="2384"/>
                  </a:lnTo>
                  <a:lnTo>
                    <a:pt x="793" y="2378"/>
                  </a:lnTo>
                  <a:lnTo>
                    <a:pt x="792" y="2363"/>
                  </a:lnTo>
                  <a:lnTo>
                    <a:pt x="792" y="2348"/>
                  </a:lnTo>
                  <a:lnTo>
                    <a:pt x="790" y="2335"/>
                  </a:lnTo>
                  <a:lnTo>
                    <a:pt x="789" y="2325"/>
                  </a:lnTo>
                  <a:lnTo>
                    <a:pt x="787" y="2315"/>
                  </a:lnTo>
                  <a:lnTo>
                    <a:pt x="787" y="2303"/>
                  </a:lnTo>
                  <a:lnTo>
                    <a:pt x="787" y="2292"/>
                  </a:lnTo>
                  <a:lnTo>
                    <a:pt x="789" y="2283"/>
                  </a:lnTo>
                  <a:lnTo>
                    <a:pt x="793" y="2277"/>
                  </a:lnTo>
                  <a:lnTo>
                    <a:pt x="796" y="2273"/>
                  </a:lnTo>
                  <a:lnTo>
                    <a:pt x="799" y="2270"/>
                  </a:lnTo>
                  <a:lnTo>
                    <a:pt x="804" y="2266"/>
                  </a:lnTo>
                  <a:lnTo>
                    <a:pt x="813" y="2262"/>
                  </a:lnTo>
                  <a:lnTo>
                    <a:pt x="827" y="2255"/>
                  </a:lnTo>
                  <a:lnTo>
                    <a:pt x="841" y="2248"/>
                  </a:lnTo>
                  <a:lnTo>
                    <a:pt x="851" y="2242"/>
                  </a:lnTo>
                  <a:lnTo>
                    <a:pt x="856" y="2238"/>
                  </a:lnTo>
                  <a:lnTo>
                    <a:pt x="859" y="2232"/>
                  </a:lnTo>
                  <a:lnTo>
                    <a:pt x="861" y="2224"/>
                  </a:lnTo>
                  <a:lnTo>
                    <a:pt x="863" y="2216"/>
                  </a:lnTo>
                  <a:lnTo>
                    <a:pt x="863" y="2206"/>
                  </a:lnTo>
                  <a:lnTo>
                    <a:pt x="862" y="2198"/>
                  </a:lnTo>
                  <a:lnTo>
                    <a:pt x="862" y="2195"/>
                  </a:lnTo>
                  <a:lnTo>
                    <a:pt x="862" y="2192"/>
                  </a:lnTo>
                  <a:lnTo>
                    <a:pt x="863" y="2190"/>
                  </a:lnTo>
                  <a:lnTo>
                    <a:pt x="866" y="2188"/>
                  </a:lnTo>
                  <a:lnTo>
                    <a:pt x="870" y="2185"/>
                  </a:lnTo>
                  <a:lnTo>
                    <a:pt x="876" y="2179"/>
                  </a:lnTo>
                  <a:lnTo>
                    <a:pt x="878" y="2176"/>
                  </a:lnTo>
                  <a:lnTo>
                    <a:pt x="880" y="2171"/>
                  </a:lnTo>
                  <a:lnTo>
                    <a:pt x="881" y="2167"/>
                  </a:lnTo>
                  <a:lnTo>
                    <a:pt x="882" y="2161"/>
                  </a:lnTo>
                  <a:lnTo>
                    <a:pt x="880" y="2150"/>
                  </a:lnTo>
                  <a:lnTo>
                    <a:pt x="877" y="2138"/>
                  </a:lnTo>
                  <a:lnTo>
                    <a:pt x="873" y="2127"/>
                  </a:lnTo>
                  <a:lnTo>
                    <a:pt x="871" y="2121"/>
                  </a:lnTo>
                  <a:lnTo>
                    <a:pt x="871" y="2115"/>
                  </a:lnTo>
                  <a:lnTo>
                    <a:pt x="871" y="2107"/>
                  </a:lnTo>
                  <a:lnTo>
                    <a:pt x="871" y="2100"/>
                  </a:lnTo>
                  <a:lnTo>
                    <a:pt x="873" y="2092"/>
                  </a:lnTo>
                  <a:lnTo>
                    <a:pt x="878" y="2083"/>
                  </a:lnTo>
                  <a:lnTo>
                    <a:pt x="878" y="2081"/>
                  </a:lnTo>
                  <a:lnTo>
                    <a:pt x="883" y="2080"/>
                  </a:lnTo>
                  <a:lnTo>
                    <a:pt x="897" y="2078"/>
                  </a:lnTo>
                  <a:lnTo>
                    <a:pt x="903" y="2078"/>
                  </a:lnTo>
                  <a:lnTo>
                    <a:pt x="909" y="2079"/>
                  </a:lnTo>
                  <a:lnTo>
                    <a:pt x="911" y="2080"/>
                  </a:lnTo>
                  <a:lnTo>
                    <a:pt x="913" y="2082"/>
                  </a:lnTo>
                  <a:lnTo>
                    <a:pt x="914" y="2084"/>
                  </a:lnTo>
                  <a:lnTo>
                    <a:pt x="915" y="2088"/>
                  </a:lnTo>
                  <a:lnTo>
                    <a:pt x="915" y="2099"/>
                  </a:lnTo>
                  <a:lnTo>
                    <a:pt x="916" y="2106"/>
                  </a:lnTo>
                  <a:lnTo>
                    <a:pt x="917" y="2112"/>
                  </a:lnTo>
                  <a:lnTo>
                    <a:pt x="919" y="2116"/>
                  </a:lnTo>
                  <a:lnTo>
                    <a:pt x="926" y="2127"/>
                  </a:lnTo>
                  <a:lnTo>
                    <a:pt x="931" y="2133"/>
                  </a:lnTo>
                  <a:lnTo>
                    <a:pt x="933" y="2133"/>
                  </a:lnTo>
                  <a:lnTo>
                    <a:pt x="936" y="2135"/>
                  </a:lnTo>
                  <a:lnTo>
                    <a:pt x="938" y="2136"/>
                  </a:lnTo>
                  <a:lnTo>
                    <a:pt x="941" y="2138"/>
                  </a:lnTo>
                  <a:lnTo>
                    <a:pt x="943" y="2140"/>
                  </a:lnTo>
                  <a:lnTo>
                    <a:pt x="944" y="2143"/>
                  </a:lnTo>
                  <a:lnTo>
                    <a:pt x="946" y="2157"/>
                  </a:lnTo>
                  <a:lnTo>
                    <a:pt x="950" y="2173"/>
                  </a:lnTo>
                  <a:lnTo>
                    <a:pt x="956" y="2185"/>
                  </a:lnTo>
                  <a:lnTo>
                    <a:pt x="961" y="2190"/>
                  </a:lnTo>
                  <a:lnTo>
                    <a:pt x="963" y="2192"/>
                  </a:lnTo>
                  <a:lnTo>
                    <a:pt x="969" y="2196"/>
                  </a:lnTo>
                  <a:lnTo>
                    <a:pt x="973" y="2199"/>
                  </a:lnTo>
                  <a:lnTo>
                    <a:pt x="976" y="2202"/>
                  </a:lnTo>
                  <a:lnTo>
                    <a:pt x="978" y="2207"/>
                  </a:lnTo>
                  <a:lnTo>
                    <a:pt x="978" y="2211"/>
                  </a:lnTo>
                  <a:lnTo>
                    <a:pt x="979" y="2217"/>
                  </a:lnTo>
                  <a:lnTo>
                    <a:pt x="982" y="2222"/>
                  </a:lnTo>
                  <a:lnTo>
                    <a:pt x="985" y="2229"/>
                  </a:lnTo>
                  <a:lnTo>
                    <a:pt x="988" y="2237"/>
                  </a:lnTo>
                  <a:lnTo>
                    <a:pt x="996" y="2249"/>
                  </a:lnTo>
                  <a:lnTo>
                    <a:pt x="1001" y="2256"/>
                  </a:lnTo>
                  <a:lnTo>
                    <a:pt x="1004" y="2263"/>
                  </a:lnTo>
                  <a:lnTo>
                    <a:pt x="1007" y="2271"/>
                  </a:lnTo>
                  <a:lnTo>
                    <a:pt x="1009" y="2274"/>
                  </a:lnTo>
                  <a:lnTo>
                    <a:pt x="1011" y="2278"/>
                  </a:lnTo>
                  <a:lnTo>
                    <a:pt x="1015" y="2281"/>
                  </a:lnTo>
                  <a:lnTo>
                    <a:pt x="1020" y="2283"/>
                  </a:lnTo>
                  <a:lnTo>
                    <a:pt x="1031" y="2285"/>
                  </a:lnTo>
                  <a:lnTo>
                    <a:pt x="1041" y="2285"/>
                  </a:lnTo>
                  <a:lnTo>
                    <a:pt x="1048" y="2284"/>
                  </a:lnTo>
                  <a:lnTo>
                    <a:pt x="1051" y="2283"/>
                  </a:lnTo>
                  <a:lnTo>
                    <a:pt x="1063" y="2269"/>
                  </a:lnTo>
                  <a:lnTo>
                    <a:pt x="1070" y="2270"/>
                  </a:lnTo>
                  <a:lnTo>
                    <a:pt x="1082" y="2273"/>
                  </a:lnTo>
                  <a:lnTo>
                    <a:pt x="1095" y="2276"/>
                  </a:lnTo>
                  <a:lnTo>
                    <a:pt x="1109" y="2277"/>
                  </a:lnTo>
                  <a:lnTo>
                    <a:pt x="1115" y="2276"/>
                  </a:lnTo>
                  <a:lnTo>
                    <a:pt x="1122" y="2274"/>
                  </a:lnTo>
                  <a:lnTo>
                    <a:pt x="1125" y="2274"/>
                  </a:lnTo>
                  <a:lnTo>
                    <a:pt x="1128" y="2275"/>
                  </a:lnTo>
                  <a:lnTo>
                    <a:pt x="1131" y="2277"/>
                  </a:lnTo>
                  <a:lnTo>
                    <a:pt x="1131" y="2281"/>
                  </a:lnTo>
                  <a:lnTo>
                    <a:pt x="1131" y="2292"/>
                  </a:lnTo>
                  <a:lnTo>
                    <a:pt x="1131" y="2294"/>
                  </a:lnTo>
                  <a:lnTo>
                    <a:pt x="1137" y="2314"/>
                  </a:lnTo>
                  <a:lnTo>
                    <a:pt x="1139" y="2313"/>
                  </a:lnTo>
                  <a:lnTo>
                    <a:pt x="1143" y="2310"/>
                  </a:lnTo>
                  <a:lnTo>
                    <a:pt x="1145" y="2309"/>
                  </a:lnTo>
                  <a:lnTo>
                    <a:pt x="1147" y="2310"/>
                  </a:lnTo>
                  <a:lnTo>
                    <a:pt x="1148" y="2314"/>
                  </a:lnTo>
                  <a:lnTo>
                    <a:pt x="1147" y="2318"/>
                  </a:lnTo>
                  <a:lnTo>
                    <a:pt x="1147" y="2324"/>
                  </a:lnTo>
                  <a:lnTo>
                    <a:pt x="1148" y="2327"/>
                  </a:lnTo>
                  <a:lnTo>
                    <a:pt x="1149" y="2329"/>
                  </a:lnTo>
                  <a:lnTo>
                    <a:pt x="1151" y="2330"/>
                  </a:lnTo>
                  <a:lnTo>
                    <a:pt x="1152" y="2331"/>
                  </a:lnTo>
                  <a:lnTo>
                    <a:pt x="1151" y="2331"/>
                  </a:lnTo>
                  <a:lnTo>
                    <a:pt x="1149" y="2333"/>
                  </a:lnTo>
                  <a:lnTo>
                    <a:pt x="1145" y="2335"/>
                  </a:lnTo>
                  <a:lnTo>
                    <a:pt x="1135" y="2340"/>
                  </a:lnTo>
                  <a:lnTo>
                    <a:pt x="1133" y="2340"/>
                  </a:lnTo>
                  <a:lnTo>
                    <a:pt x="1130" y="2347"/>
                  </a:lnTo>
                  <a:lnTo>
                    <a:pt x="1125" y="2358"/>
                  </a:lnTo>
                  <a:lnTo>
                    <a:pt x="1122" y="2365"/>
                  </a:lnTo>
                  <a:lnTo>
                    <a:pt x="1118" y="2376"/>
                  </a:lnTo>
                  <a:lnTo>
                    <a:pt x="1118" y="2379"/>
                  </a:lnTo>
                  <a:lnTo>
                    <a:pt x="1116" y="2380"/>
                  </a:lnTo>
                  <a:lnTo>
                    <a:pt x="1115" y="2381"/>
                  </a:lnTo>
                  <a:lnTo>
                    <a:pt x="1113" y="2381"/>
                  </a:lnTo>
                  <a:lnTo>
                    <a:pt x="1113" y="2381"/>
                  </a:lnTo>
                  <a:lnTo>
                    <a:pt x="1118" y="2387"/>
                  </a:lnTo>
                  <a:lnTo>
                    <a:pt x="1128" y="2392"/>
                  </a:lnTo>
                  <a:lnTo>
                    <a:pt x="1135" y="2397"/>
                  </a:lnTo>
                  <a:lnTo>
                    <a:pt x="1138" y="2399"/>
                  </a:lnTo>
                  <a:lnTo>
                    <a:pt x="1139" y="2401"/>
                  </a:lnTo>
                  <a:lnTo>
                    <a:pt x="1141" y="2403"/>
                  </a:lnTo>
                  <a:lnTo>
                    <a:pt x="1142" y="2407"/>
                  </a:lnTo>
                  <a:lnTo>
                    <a:pt x="1137" y="2423"/>
                  </a:lnTo>
                  <a:lnTo>
                    <a:pt x="1133" y="2435"/>
                  </a:lnTo>
                  <a:lnTo>
                    <a:pt x="1132" y="2437"/>
                  </a:lnTo>
                  <a:lnTo>
                    <a:pt x="1130" y="2439"/>
                  </a:lnTo>
                  <a:lnTo>
                    <a:pt x="1125" y="2439"/>
                  </a:lnTo>
                  <a:lnTo>
                    <a:pt x="1120" y="2437"/>
                  </a:lnTo>
                  <a:lnTo>
                    <a:pt x="1113" y="2437"/>
                  </a:lnTo>
                  <a:lnTo>
                    <a:pt x="1106" y="2439"/>
                  </a:lnTo>
                  <a:lnTo>
                    <a:pt x="1099" y="2440"/>
                  </a:lnTo>
                  <a:lnTo>
                    <a:pt x="1092" y="2442"/>
                  </a:lnTo>
                  <a:lnTo>
                    <a:pt x="1080" y="2445"/>
                  </a:lnTo>
                  <a:lnTo>
                    <a:pt x="1070" y="2447"/>
                  </a:lnTo>
                  <a:lnTo>
                    <a:pt x="1067" y="2448"/>
                  </a:lnTo>
                  <a:lnTo>
                    <a:pt x="1063" y="2450"/>
                  </a:lnTo>
                  <a:lnTo>
                    <a:pt x="1061" y="2453"/>
                  </a:lnTo>
                  <a:lnTo>
                    <a:pt x="1059" y="2458"/>
                  </a:lnTo>
                  <a:lnTo>
                    <a:pt x="1058" y="2463"/>
                  </a:lnTo>
                  <a:lnTo>
                    <a:pt x="1056" y="2464"/>
                  </a:lnTo>
                  <a:lnTo>
                    <a:pt x="1053" y="2464"/>
                  </a:lnTo>
                  <a:lnTo>
                    <a:pt x="1051" y="2463"/>
                  </a:lnTo>
                  <a:lnTo>
                    <a:pt x="1049" y="2462"/>
                  </a:lnTo>
                  <a:lnTo>
                    <a:pt x="1046" y="2464"/>
                  </a:lnTo>
                  <a:lnTo>
                    <a:pt x="1042" y="2469"/>
                  </a:lnTo>
                  <a:lnTo>
                    <a:pt x="1039" y="2479"/>
                  </a:lnTo>
                  <a:lnTo>
                    <a:pt x="1035" y="2489"/>
                  </a:lnTo>
                  <a:lnTo>
                    <a:pt x="1032" y="2495"/>
                  </a:lnTo>
                  <a:lnTo>
                    <a:pt x="1030" y="2498"/>
                  </a:lnTo>
                  <a:lnTo>
                    <a:pt x="1028" y="2500"/>
                  </a:lnTo>
                  <a:lnTo>
                    <a:pt x="1027" y="2501"/>
                  </a:lnTo>
                  <a:lnTo>
                    <a:pt x="1027" y="2503"/>
                  </a:lnTo>
                  <a:lnTo>
                    <a:pt x="1027" y="2506"/>
                  </a:lnTo>
                  <a:lnTo>
                    <a:pt x="1028" y="2511"/>
                  </a:lnTo>
                  <a:lnTo>
                    <a:pt x="1031" y="2525"/>
                  </a:lnTo>
                  <a:lnTo>
                    <a:pt x="1033" y="2533"/>
                  </a:lnTo>
                  <a:lnTo>
                    <a:pt x="1036" y="2541"/>
                  </a:lnTo>
                  <a:lnTo>
                    <a:pt x="1039" y="2547"/>
                  </a:lnTo>
                  <a:lnTo>
                    <a:pt x="1041" y="2552"/>
                  </a:lnTo>
                  <a:lnTo>
                    <a:pt x="1045" y="2558"/>
                  </a:lnTo>
                  <a:lnTo>
                    <a:pt x="1046" y="2563"/>
                  </a:lnTo>
                  <a:lnTo>
                    <a:pt x="1047" y="2570"/>
                  </a:lnTo>
                  <a:lnTo>
                    <a:pt x="1048" y="2577"/>
                  </a:lnTo>
                  <a:lnTo>
                    <a:pt x="1049" y="2583"/>
                  </a:lnTo>
                  <a:lnTo>
                    <a:pt x="1049" y="2586"/>
                  </a:lnTo>
                  <a:lnTo>
                    <a:pt x="1049" y="2589"/>
                  </a:lnTo>
                  <a:lnTo>
                    <a:pt x="1047" y="2591"/>
                  </a:lnTo>
                  <a:lnTo>
                    <a:pt x="1042" y="2592"/>
                  </a:lnTo>
                  <a:lnTo>
                    <a:pt x="1039" y="2592"/>
                  </a:lnTo>
                  <a:lnTo>
                    <a:pt x="1036" y="2591"/>
                  </a:lnTo>
                  <a:lnTo>
                    <a:pt x="1035" y="2590"/>
                  </a:lnTo>
                  <a:lnTo>
                    <a:pt x="1033" y="2588"/>
                  </a:lnTo>
                  <a:lnTo>
                    <a:pt x="1032" y="2586"/>
                  </a:lnTo>
                  <a:lnTo>
                    <a:pt x="1032" y="2588"/>
                  </a:lnTo>
                  <a:lnTo>
                    <a:pt x="1031" y="2590"/>
                  </a:lnTo>
                  <a:lnTo>
                    <a:pt x="1030" y="2594"/>
                  </a:lnTo>
                  <a:lnTo>
                    <a:pt x="1026" y="2607"/>
                  </a:lnTo>
                  <a:lnTo>
                    <a:pt x="1020" y="2619"/>
                  </a:lnTo>
                  <a:lnTo>
                    <a:pt x="1016" y="2628"/>
                  </a:lnTo>
                  <a:lnTo>
                    <a:pt x="1014" y="2632"/>
                  </a:lnTo>
                  <a:lnTo>
                    <a:pt x="1017" y="2645"/>
                  </a:lnTo>
                  <a:lnTo>
                    <a:pt x="1025" y="2676"/>
                  </a:lnTo>
                  <a:lnTo>
                    <a:pt x="1032" y="2710"/>
                  </a:lnTo>
                  <a:lnTo>
                    <a:pt x="1039" y="2734"/>
                  </a:lnTo>
                  <a:lnTo>
                    <a:pt x="1041" y="2741"/>
                  </a:lnTo>
                  <a:lnTo>
                    <a:pt x="1043" y="2747"/>
                  </a:lnTo>
                  <a:lnTo>
                    <a:pt x="1048" y="2752"/>
                  </a:lnTo>
                  <a:lnTo>
                    <a:pt x="1053" y="2758"/>
                  </a:lnTo>
                  <a:lnTo>
                    <a:pt x="1063" y="2769"/>
                  </a:lnTo>
                  <a:lnTo>
                    <a:pt x="1073" y="2780"/>
                  </a:lnTo>
                  <a:lnTo>
                    <a:pt x="1078" y="2785"/>
                  </a:lnTo>
                  <a:lnTo>
                    <a:pt x="1080" y="2791"/>
                  </a:lnTo>
                  <a:lnTo>
                    <a:pt x="1082" y="2796"/>
                  </a:lnTo>
                  <a:lnTo>
                    <a:pt x="1084" y="2802"/>
                  </a:lnTo>
                  <a:lnTo>
                    <a:pt x="1086" y="2813"/>
                  </a:lnTo>
                  <a:lnTo>
                    <a:pt x="1090" y="2825"/>
                  </a:lnTo>
                  <a:lnTo>
                    <a:pt x="1098" y="2844"/>
                  </a:lnTo>
                  <a:lnTo>
                    <a:pt x="1102" y="2854"/>
                  </a:lnTo>
                  <a:lnTo>
                    <a:pt x="1104" y="2858"/>
                  </a:lnTo>
                  <a:lnTo>
                    <a:pt x="1107" y="2862"/>
                  </a:lnTo>
                  <a:lnTo>
                    <a:pt x="1112" y="2869"/>
                  </a:lnTo>
                  <a:lnTo>
                    <a:pt x="1121" y="2877"/>
                  </a:lnTo>
                  <a:lnTo>
                    <a:pt x="1132" y="2885"/>
                  </a:lnTo>
                  <a:lnTo>
                    <a:pt x="1142" y="2891"/>
                  </a:lnTo>
                  <a:lnTo>
                    <a:pt x="1145" y="2893"/>
                  </a:lnTo>
                  <a:lnTo>
                    <a:pt x="1149" y="2897"/>
                  </a:lnTo>
                  <a:lnTo>
                    <a:pt x="1152" y="2900"/>
                  </a:lnTo>
                  <a:lnTo>
                    <a:pt x="1154" y="2903"/>
                  </a:lnTo>
                  <a:lnTo>
                    <a:pt x="1157" y="2911"/>
                  </a:lnTo>
                  <a:lnTo>
                    <a:pt x="1159" y="2917"/>
                  </a:lnTo>
                  <a:lnTo>
                    <a:pt x="1162" y="2920"/>
                  </a:lnTo>
                  <a:lnTo>
                    <a:pt x="1164" y="2922"/>
                  </a:lnTo>
                  <a:lnTo>
                    <a:pt x="1167" y="2924"/>
                  </a:lnTo>
                  <a:lnTo>
                    <a:pt x="1170" y="2925"/>
                  </a:lnTo>
                  <a:lnTo>
                    <a:pt x="1189" y="2931"/>
                  </a:lnTo>
                  <a:lnTo>
                    <a:pt x="1201" y="2932"/>
                  </a:lnTo>
                  <a:lnTo>
                    <a:pt x="1211" y="2918"/>
                  </a:lnTo>
                  <a:lnTo>
                    <a:pt x="1213" y="2917"/>
                  </a:lnTo>
                  <a:lnTo>
                    <a:pt x="1219" y="2915"/>
                  </a:lnTo>
                  <a:lnTo>
                    <a:pt x="1222" y="2915"/>
                  </a:lnTo>
                  <a:lnTo>
                    <a:pt x="1226" y="2917"/>
                  </a:lnTo>
                  <a:lnTo>
                    <a:pt x="1228" y="2920"/>
                  </a:lnTo>
                  <a:lnTo>
                    <a:pt x="1230" y="2924"/>
                  </a:lnTo>
                  <a:lnTo>
                    <a:pt x="1232" y="2934"/>
                  </a:lnTo>
                  <a:lnTo>
                    <a:pt x="1233" y="2944"/>
                  </a:lnTo>
                  <a:lnTo>
                    <a:pt x="1234" y="2953"/>
                  </a:lnTo>
                  <a:lnTo>
                    <a:pt x="1234" y="2959"/>
                  </a:lnTo>
                  <a:lnTo>
                    <a:pt x="1233" y="2970"/>
                  </a:lnTo>
                  <a:lnTo>
                    <a:pt x="1234" y="2987"/>
                  </a:lnTo>
                  <a:lnTo>
                    <a:pt x="1234" y="2998"/>
                  </a:lnTo>
                  <a:lnTo>
                    <a:pt x="1237" y="3007"/>
                  </a:lnTo>
                  <a:lnTo>
                    <a:pt x="1240" y="3016"/>
                  </a:lnTo>
                  <a:lnTo>
                    <a:pt x="1244" y="3023"/>
                  </a:lnTo>
                  <a:lnTo>
                    <a:pt x="1254" y="3030"/>
                  </a:lnTo>
                  <a:lnTo>
                    <a:pt x="1261" y="3034"/>
                  </a:lnTo>
                  <a:lnTo>
                    <a:pt x="1263" y="3035"/>
                  </a:lnTo>
                  <a:lnTo>
                    <a:pt x="1265" y="3037"/>
                  </a:lnTo>
                  <a:lnTo>
                    <a:pt x="1268" y="3040"/>
                  </a:lnTo>
                  <a:lnTo>
                    <a:pt x="1269" y="3046"/>
                  </a:lnTo>
                  <a:lnTo>
                    <a:pt x="1271" y="3051"/>
                  </a:lnTo>
                  <a:lnTo>
                    <a:pt x="1274" y="3056"/>
                  </a:lnTo>
                  <a:lnTo>
                    <a:pt x="1278" y="3059"/>
                  </a:lnTo>
                  <a:lnTo>
                    <a:pt x="1281" y="3061"/>
                  </a:lnTo>
                  <a:lnTo>
                    <a:pt x="1289" y="3063"/>
                  </a:lnTo>
                  <a:lnTo>
                    <a:pt x="1294" y="3063"/>
                  </a:lnTo>
                  <a:lnTo>
                    <a:pt x="1299" y="3062"/>
                  </a:lnTo>
                  <a:lnTo>
                    <a:pt x="1302" y="3060"/>
                  </a:lnTo>
                  <a:lnTo>
                    <a:pt x="1304" y="3059"/>
                  </a:lnTo>
                  <a:lnTo>
                    <a:pt x="1306" y="3060"/>
                  </a:lnTo>
                  <a:lnTo>
                    <a:pt x="1308" y="3061"/>
                  </a:lnTo>
                  <a:lnTo>
                    <a:pt x="1313" y="3063"/>
                  </a:lnTo>
                  <a:lnTo>
                    <a:pt x="1319" y="3072"/>
                  </a:lnTo>
                  <a:lnTo>
                    <a:pt x="1324" y="3080"/>
                  </a:lnTo>
                  <a:lnTo>
                    <a:pt x="1327" y="3089"/>
                  </a:lnTo>
                  <a:lnTo>
                    <a:pt x="1329" y="3097"/>
                  </a:lnTo>
                  <a:lnTo>
                    <a:pt x="1333" y="3114"/>
                  </a:lnTo>
                  <a:lnTo>
                    <a:pt x="1335" y="3124"/>
                  </a:lnTo>
                  <a:lnTo>
                    <a:pt x="1358" y="3138"/>
                  </a:lnTo>
                  <a:lnTo>
                    <a:pt x="1375" y="3151"/>
                  </a:lnTo>
                  <a:lnTo>
                    <a:pt x="1375" y="3155"/>
                  </a:lnTo>
                  <a:lnTo>
                    <a:pt x="1376" y="3164"/>
                  </a:lnTo>
                  <a:lnTo>
                    <a:pt x="1376" y="3176"/>
                  </a:lnTo>
                  <a:lnTo>
                    <a:pt x="1377" y="3187"/>
                  </a:lnTo>
                  <a:lnTo>
                    <a:pt x="1376" y="3204"/>
                  </a:lnTo>
                  <a:lnTo>
                    <a:pt x="1375" y="3220"/>
                  </a:lnTo>
                  <a:lnTo>
                    <a:pt x="1375" y="3231"/>
                  </a:lnTo>
                  <a:lnTo>
                    <a:pt x="1375" y="3241"/>
                  </a:lnTo>
                  <a:lnTo>
                    <a:pt x="1375" y="3250"/>
                  </a:lnTo>
                  <a:lnTo>
                    <a:pt x="1375" y="3260"/>
                  </a:lnTo>
                  <a:lnTo>
                    <a:pt x="1375" y="3264"/>
                  </a:lnTo>
                  <a:lnTo>
                    <a:pt x="1377" y="3269"/>
                  </a:lnTo>
                  <a:lnTo>
                    <a:pt x="1379" y="3272"/>
                  </a:lnTo>
                  <a:lnTo>
                    <a:pt x="1382" y="3276"/>
                  </a:lnTo>
                  <a:lnTo>
                    <a:pt x="1388" y="3285"/>
                  </a:lnTo>
                  <a:lnTo>
                    <a:pt x="1392" y="3294"/>
                  </a:lnTo>
                  <a:lnTo>
                    <a:pt x="1395" y="3299"/>
                  </a:lnTo>
                  <a:lnTo>
                    <a:pt x="1396" y="3299"/>
                  </a:lnTo>
                  <a:lnTo>
                    <a:pt x="1397" y="3297"/>
                  </a:lnTo>
                  <a:lnTo>
                    <a:pt x="1397" y="3295"/>
                  </a:lnTo>
                  <a:lnTo>
                    <a:pt x="1398" y="3295"/>
                  </a:lnTo>
                  <a:lnTo>
                    <a:pt x="1397" y="3308"/>
                  </a:lnTo>
                  <a:lnTo>
                    <a:pt x="1397" y="3324"/>
                  </a:lnTo>
                  <a:lnTo>
                    <a:pt x="1397" y="3329"/>
                  </a:lnTo>
                  <a:lnTo>
                    <a:pt x="1397" y="3332"/>
                  </a:lnTo>
                  <a:lnTo>
                    <a:pt x="1395" y="3339"/>
                  </a:lnTo>
                  <a:lnTo>
                    <a:pt x="1393" y="3345"/>
                  </a:lnTo>
                  <a:lnTo>
                    <a:pt x="1391" y="3346"/>
                  </a:lnTo>
                  <a:lnTo>
                    <a:pt x="1389" y="3345"/>
                  </a:lnTo>
                  <a:lnTo>
                    <a:pt x="1388" y="3343"/>
                  </a:lnTo>
                  <a:lnTo>
                    <a:pt x="1387" y="3344"/>
                  </a:lnTo>
                  <a:lnTo>
                    <a:pt x="1391" y="3358"/>
                  </a:lnTo>
                  <a:lnTo>
                    <a:pt x="1397" y="3380"/>
                  </a:lnTo>
                  <a:lnTo>
                    <a:pt x="1401" y="3396"/>
                  </a:lnTo>
                  <a:lnTo>
                    <a:pt x="1403" y="3401"/>
                  </a:lnTo>
                  <a:lnTo>
                    <a:pt x="1406" y="3406"/>
                  </a:lnTo>
                  <a:lnTo>
                    <a:pt x="1408" y="3409"/>
                  </a:lnTo>
                  <a:lnTo>
                    <a:pt x="1411" y="3412"/>
                  </a:lnTo>
                  <a:lnTo>
                    <a:pt x="1419" y="3416"/>
                  </a:lnTo>
                  <a:lnTo>
                    <a:pt x="1427" y="3418"/>
                  </a:lnTo>
                  <a:lnTo>
                    <a:pt x="1429" y="3419"/>
                  </a:lnTo>
                  <a:lnTo>
                    <a:pt x="1432" y="3421"/>
                  </a:lnTo>
                  <a:lnTo>
                    <a:pt x="1434" y="3424"/>
                  </a:lnTo>
                  <a:lnTo>
                    <a:pt x="1437" y="3429"/>
                  </a:lnTo>
                  <a:lnTo>
                    <a:pt x="1439" y="3446"/>
                  </a:lnTo>
                  <a:lnTo>
                    <a:pt x="1440" y="3462"/>
                  </a:lnTo>
                  <a:lnTo>
                    <a:pt x="1441" y="3462"/>
                  </a:lnTo>
                  <a:lnTo>
                    <a:pt x="1441" y="3462"/>
                  </a:lnTo>
                  <a:lnTo>
                    <a:pt x="1441" y="3462"/>
                  </a:lnTo>
                  <a:lnTo>
                    <a:pt x="1441" y="3462"/>
                  </a:lnTo>
                  <a:lnTo>
                    <a:pt x="1441" y="3462"/>
                  </a:lnTo>
                  <a:lnTo>
                    <a:pt x="1441" y="3462"/>
                  </a:lnTo>
                  <a:lnTo>
                    <a:pt x="1441" y="3462"/>
                  </a:lnTo>
                  <a:lnTo>
                    <a:pt x="1441" y="3463"/>
                  </a:lnTo>
                  <a:lnTo>
                    <a:pt x="1441" y="3462"/>
                  </a:lnTo>
                  <a:lnTo>
                    <a:pt x="1441" y="3463"/>
                  </a:lnTo>
                  <a:lnTo>
                    <a:pt x="1441" y="3463"/>
                  </a:lnTo>
                  <a:lnTo>
                    <a:pt x="1441" y="3463"/>
                  </a:lnTo>
                  <a:lnTo>
                    <a:pt x="1441" y="3463"/>
                  </a:lnTo>
                  <a:lnTo>
                    <a:pt x="1441" y="3463"/>
                  </a:lnTo>
                  <a:lnTo>
                    <a:pt x="1441" y="3463"/>
                  </a:lnTo>
                  <a:lnTo>
                    <a:pt x="1441" y="3463"/>
                  </a:lnTo>
                  <a:lnTo>
                    <a:pt x="1441" y="3464"/>
                  </a:lnTo>
                  <a:lnTo>
                    <a:pt x="1441" y="3464"/>
                  </a:lnTo>
                  <a:lnTo>
                    <a:pt x="1441" y="3464"/>
                  </a:lnTo>
                  <a:lnTo>
                    <a:pt x="1441" y="3464"/>
                  </a:lnTo>
                  <a:lnTo>
                    <a:pt x="1441" y="3464"/>
                  </a:lnTo>
                  <a:lnTo>
                    <a:pt x="1441" y="3464"/>
                  </a:lnTo>
                  <a:lnTo>
                    <a:pt x="1441" y="3464"/>
                  </a:lnTo>
                  <a:lnTo>
                    <a:pt x="1441" y="3464"/>
                  </a:lnTo>
                  <a:lnTo>
                    <a:pt x="1441" y="3464"/>
                  </a:lnTo>
                  <a:lnTo>
                    <a:pt x="1441" y="3464"/>
                  </a:lnTo>
                  <a:lnTo>
                    <a:pt x="1441" y="3464"/>
                  </a:lnTo>
                  <a:lnTo>
                    <a:pt x="1441" y="3464"/>
                  </a:lnTo>
                  <a:lnTo>
                    <a:pt x="1441" y="3464"/>
                  </a:lnTo>
                  <a:lnTo>
                    <a:pt x="1443" y="3467"/>
                  </a:lnTo>
                  <a:lnTo>
                    <a:pt x="1444" y="3472"/>
                  </a:lnTo>
                  <a:lnTo>
                    <a:pt x="1450" y="3484"/>
                  </a:lnTo>
                  <a:lnTo>
                    <a:pt x="1453" y="3492"/>
                  </a:lnTo>
                  <a:lnTo>
                    <a:pt x="1454" y="3499"/>
                  </a:lnTo>
                  <a:lnTo>
                    <a:pt x="1454" y="3511"/>
                  </a:lnTo>
                  <a:lnTo>
                    <a:pt x="1455" y="3516"/>
                  </a:lnTo>
                  <a:lnTo>
                    <a:pt x="1458" y="3518"/>
                  </a:lnTo>
                  <a:lnTo>
                    <a:pt x="1459" y="3518"/>
                  </a:lnTo>
                  <a:lnTo>
                    <a:pt x="1461" y="3517"/>
                  </a:lnTo>
                  <a:lnTo>
                    <a:pt x="1462" y="3518"/>
                  </a:lnTo>
                  <a:lnTo>
                    <a:pt x="1454" y="3529"/>
                  </a:lnTo>
                  <a:lnTo>
                    <a:pt x="1450" y="3540"/>
                  </a:lnTo>
                  <a:lnTo>
                    <a:pt x="1446" y="3552"/>
                  </a:lnTo>
                  <a:lnTo>
                    <a:pt x="1444" y="3565"/>
                  </a:lnTo>
                  <a:lnTo>
                    <a:pt x="1444" y="3578"/>
                  </a:lnTo>
                  <a:lnTo>
                    <a:pt x="1444" y="3602"/>
                  </a:lnTo>
                  <a:lnTo>
                    <a:pt x="1444" y="3620"/>
                  </a:lnTo>
                  <a:lnTo>
                    <a:pt x="1442" y="3632"/>
                  </a:lnTo>
                  <a:lnTo>
                    <a:pt x="1439" y="3643"/>
                  </a:lnTo>
                  <a:lnTo>
                    <a:pt x="1438" y="3647"/>
                  </a:lnTo>
                  <a:lnTo>
                    <a:pt x="1437" y="3653"/>
                  </a:lnTo>
                  <a:lnTo>
                    <a:pt x="1435" y="3658"/>
                  </a:lnTo>
                  <a:lnTo>
                    <a:pt x="1437" y="3665"/>
                  </a:lnTo>
                  <a:lnTo>
                    <a:pt x="1438" y="3678"/>
                  </a:lnTo>
                  <a:lnTo>
                    <a:pt x="1441" y="3689"/>
                  </a:lnTo>
                  <a:lnTo>
                    <a:pt x="1443" y="3695"/>
                  </a:lnTo>
                  <a:lnTo>
                    <a:pt x="1445" y="3698"/>
                  </a:lnTo>
                  <a:lnTo>
                    <a:pt x="1448" y="3701"/>
                  </a:lnTo>
                  <a:lnTo>
                    <a:pt x="1451" y="3705"/>
                  </a:lnTo>
                  <a:lnTo>
                    <a:pt x="1455" y="3711"/>
                  </a:lnTo>
                  <a:lnTo>
                    <a:pt x="1463" y="3726"/>
                  </a:lnTo>
                  <a:lnTo>
                    <a:pt x="1473" y="3745"/>
                  </a:lnTo>
                  <a:lnTo>
                    <a:pt x="1484" y="3767"/>
                  </a:lnTo>
                  <a:lnTo>
                    <a:pt x="1505" y="3811"/>
                  </a:lnTo>
                  <a:lnTo>
                    <a:pt x="1516" y="3838"/>
                  </a:lnTo>
                  <a:lnTo>
                    <a:pt x="1522" y="3853"/>
                  </a:lnTo>
                  <a:lnTo>
                    <a:pt x="1526" y="3868"/>
                  </a:lnTo>
                  <a:lnTo>
                    <a:pt x="1529" y="3881"/>
                  </a:lnTo>
                  <a:lnTo>
                    <a:pt x="1533" y="3892"/>
                  </a:lnTo>
                  <a:lnTo>
                    <a:pt x="1536" y="3900"/>
                  </a:lnTo>
                  <a:lnTo>
                    <a:pt x="1540" y="3908"/>
                  </a:lnTo>
                  <a:lnTo>
                    <a:pt x="1544" y="3918"/>
                  </a:lnTo>
                  <a:lnTo>
                    <a:pt x="1547" y="3929"/>
                  </a:lnTo>
                  <a:lnTo>
                    <a:pt x="1550" y="3934"/>
                  </a:lnTo>
                  <a:lnTo>
                    <a:pt x="1554" y="3938"/>
                  </a:lnTo>
                  <a:lnTo>
                    <a:pt x="1558" y="3940"/>
                  </a:lnTo>
                  <a:lnTo>
                    <a:pt x="1564" y="3943"/>
                  </a:lnTo>
                  <a:lnTo>
                    <a:pt x="1568" y="3947"/>
                  </a:lnTo>
                  <a:lnTo>
                    <a:pt x="1572" y="3951"/>
                  </a:lnTo>
                  <a:lnTo>
                    <a:pt x="1573" y="3953"/>
                  </a:lnTo>
                  <a:lnTo>
                    <a:pt x="1576" y="3956"/>
                  </a:lnTo>
                  <a:lnTo>
                    <a:pt x="1576" y="3961"/>
                  </a:lnTo>
                  <a:lnTo>
                    <a:pt x="1577" y="3966"/>
                  </a:lnTo>
                  <a:lnTo>
                    <a:pt x="1578" y="3991"/>
                  </a:lnTo>
                  <a:lnTo>
                    <a:pt x="1581" y="4018"/>
                  </a:lnTo>
                  <a:lnTo>
                    <a:pt x="1586" y="4045"/>
                  </a:lnTo>
                  <a:lnTo>
                    <a:pt x="1589" y="4067"/>
                  </a:lnTo>
                  <a:lnTo>
                    <a:pt x="1589" y="4081"/>
                  </a:lnTo>
                  <a:lnTo>
                    <a:pt x="1589" y="4090"/>
                  </a:lnTo>
                  <a:lnTo>
                    <a:pt x="1589" y="4093"/>
                  </a:lnTo>
                  <a:lnTo>
                    <a:pt x="1590" y="4098"/>
                  </a:lnTo>
                  <a:lnTo>
                    <a:pt x="1591" y="4103"/>
                  </a:lnTo>
                  <a:lnTo>
                    <a:pt x="1594" y="4110"/>
                  </a:lnTo>
                  <a:lnTo>
                    <a:pt x="1602" y="4125"/>
                  </a:lnTo>
                  <a:lnTo>
                    <a:pt x="1608" y="4135"/>
                  </a:lnTo>
                  <a:lnTo>
                    <a:pt x="1613" y="4144"/>
                  </a:lnTo>
                  <a:lnTo>
                    <a:pt x="1615" y="4152"/>
                  </a:lnTo>
                  <a:lnTo>
                    <a:pt x="1619" y="4163"/>
                  </a:lnTo>
                  <a:lnTo>
                    <a:pt x="1628" y="4187"/>
                  </a:lnTo>
                  <a:lnTo>
                    <a:pt x="1640" y="4220"/>
                  </a:lnTo>
                  <a:lnTo>
                    <a:pt x="1654" y="4257"/>
                  </a:lnTo>
                  <a:lnTo>
                    <a:pt x="1667" y="4294"/>
                  </a:lnTo>
                  <a:lnTo>
                    <a:pt x="1680" y="4326"/>
                  </a:lnTo>
                  <a:lnTo>
                    <a:pt x="1688" y="4352"/>
                  </a:lnTo>
                  <a:lnTo>
                    <a:pt x="1692" y="4364"/>
                  </a:lnTo>
                  <a:lnTo>
                    <a:pt x="1691" y="4376"/>
                  </a:lnTo>
                  <a:lnTo>
                    <a:pt x="1688" y="4394"/>
                  </a:lnTo>
                  <a:lnTo>
                    <a:pt x="1687" y="4402"/>
                  </a:lnTo>
                  <a:lnTo>
                    <a:pt x="1687" y="4410"/>
                  </a:lnTo>
                  <a:lnTo>
                    <a:pt x="1687" y="4415"/>
                  </a:lnTo>
                  <a:lnTo>
                    <a:pt x="1688" y="4418"/>
                  </a:lnTo>
                  <a:lnTo>
                    <a:pt x="1689" y="4421"/>
                  </a:lnTo>
                  <a:lnTo>
                    <a:pt x="1692" y="4423"/>
                  </a:lnTo>
                  <a:lnTo>
                    <a:pt x="1697" y="4428"/>
                  </a:lnTo>
                  <a:lnTo>
                    <a:pt x="1704" y="4432"/>
                  </a:lnTo>
                  <a:lnTo>
                    <a:pt x="1712" y="4436"/>
                  </a:lnTo>
                  <a:lnTo>
                    <a:pt x="1719" y="4439"/>
                  </a:lnTo>
                  <a:lnTo>
                    <a:pt x="1731" y="4444"/>
                  </a:lnTo>
                  <a:lnTo>
                    <a:pt x="1737" y="4447"/>
                  </a:lnTo>
                  <a:lnTo>
                    <a:pt x="1739" y="4446"/>
                  </a:lnTo>
                  <a:lnTo>
                    <a:pt x="1744" y="4446"/>
                  </a:lnTo>
                  <a:lnTo>
                    <a:pt x="1746" y="4448"/>
                  </a:lnTo>
                  <a:lnTo>
                    <a:pt x="1747" y="4450"/>
                  </a:lnTo>
                  <a:lnTo>
                    <a:pt x="1749" y="4455"/>
                  </a:lnTo>
                  <a:lnTo>
                    <a:pt x="1749" y="4463"/>
                  </a:lnTo>
                  <a:lnTo>
                    <a:pt x="1749" y="4478"/>
                  </a:lnTo>
                  <a:lnTo>
                    <a:pt x="1748" y="4491"/>
                  </a:lnTo>
                  <a:lnTo>
                    <a:pt x="1748" y="4500"/>
                  </a:lnTo>
                  <a:lnTo>
                    <a:pt x="1747" y="4506"/>
                  </a:lnTo>
                  <a:lnTo>
                    <a:pt x="1747" y="4511"/>
                  </a:lnTo>
                  <a:lnTo>
                    <a:pt x="1746" y="4515"/>
                  </a:lnTo>
                  <a:lnTo>
                    <a:pt x="1746" y="4518"/>
                  </a:lnTo>
                  <a:lnTo>
                    <a:pt x="1747" y="4522"/>
                  </a:lnTo>
                  <a:lnTo>
                    <a:pt x="1750" y="4526"/>
                  </a:lnTo>
                  <a:lnTo>
                    <a:pt x="1754" y="4531"/>
                  </a:lnTo>
                  <a:lnTo>
                    <a:pt x="1767" y="4550"/>
                  </a:lnTo>
                  <a:lnTo>
                    <a:pt x="1783" y="4580"/>
                  </a:lnTo>
                  <a:lnTo>
                    <a:pt x="1799" y="4611"/>
                  </a:lnTo>
                  <a:lnTo>
                    <a:pt x="1809" y="4631"/>
                  </a:lnTo>
                  <a:lnTo>
                    <a:pt x="1816" y="4644"/>
                  </a:lnTo>
                  <a:lnTo>
                    <a:pt x="1828" y="4659"/>
                  </a:lnTo>
                  <a:lnTo>
                    <a:pt x="1839" y="4674"/>
                  </a:lnTo>
                  <a:lnTo>
                    <a:pt x="1848" y="4692"/>
                  </a:lnTo>
                  <a:lnTo>
                    <a:pt x="1856" y="4705"/>
                  </a:lnTo>
                  <a:lnTo>
                    <a:pt x="1863" y="4712"/>
                  </a:lnTo>
                  <a:lnTo>
                    <a:pt x="1866" y="4715"/>
                  </a:lnTo>
                  <a:lnTo>
                    <a:pt x="1868" y="4719"/>
                  </a:lnTo>
                  <a:lnTo>
                    <a:pt x="1871" y="4725"/>
                  </a:lnTo>
                  <a:lnTo>
                    <a:pt x="1873" y="4733"/>
                  </a:lnTo>
                  <a:lnTo>
                    <a:pt x="1876" y="4740"/>
                  </a:lnTo>
                  <a:lnTo>
                    <a:pt x="1878" y="4746"/>
                  </a:lnTo>
                  <a:lnTo>
                    <a:pt x="1882" y="4751"/>
                  </a:lnTo>
                  <a:lnTo>
                    <a:pt x="1885" y="4755"/>
                  </a:lnTo>
                  <a:lnTo>
                    <a:pt x="1888" y="4760"/>
                  </a:lnTo>
                  <a:lnTo>
                    <a:pt x="1892" y="4766"/>
                  </a:lnTo>
                  <a:lnTo>
                    <a:pt x="1894" y="4773"/>
                  </a:lnTo>
                  <a:lnTo>
                    <a:pt x="1896" y="4784"/>
                  </a:lnTo>
                  <a:lnTo>
                    <a:pt x="1898" y="4798"/>
                  </a:lnTo>
                  <a:lnTo>
                    <a:pt x="1901" y="4813"/>
                  </a:lnTo>
                  <a:lnTo>
                    <a:pt x="1906" y="4829"/>
                  </a:lnTo>
                  <a:lnTo>
                    <a:pt x="1910" y="4845"/>
                  </a:lnTo>
                  <a:lnTo>
                    <a:pt x="1916" y="4861"/>
                  </a:lnTo>
                  <a:lnTo>
                    <a:pt x="1921" y="4875"/>
                  </a:lnTo>
                  <a:lnTo>
                    <a:pt x="1927" y="4886"/>
                  </a:lnTo>
                  <a:lnTo>
                    <a:pt x="1932" y="4895"/>
                  </a:lnTo>
                  <a:lnTo>
                    <a:pt x="1941" y="4906"/>
                  </a:lnTo>
                  <a:lnTo>
                    <a:pt x="1947" y="4914"/>
                  </a:lnTo>
                  <a:lnTo>
                    <a:pt x="1948" y="4917"/>
                  </a:lnTo>
                  <a:lnTo>
                    <a:pt x="1950" y="4922"/>
                  </a:lnTo>
                  <a:lnTo>
                    <a:pt x="1950" y="4928"/>
                  </a:lnTo>
                  <a:lnTo>
                    <a:pt x="1951" y="4937"/>
                  </a:lnTo>
                  <a:lnTo>
                    <a:pt x="1952" y="4952"/>
                  </a:lnTo>
                  <a:lnTo>
                    <a:pt x="1953" y="4961"/>
                  </a:lnTo>
                  <a:lnTo>
                    <a:pt x="1955" y="4966"/>
                  </a:lnTo>
                  <a:lnTo>
                    <a:pt x="1956" y="4968"/>
                  </a:lnTo>
                  <a:lnTo>
                    <a:pt x="1958" y="4970"/>
                  </a:lnTo>
                  <a:lnTo>
                    <a:pt x="1961" y="4971"/>
                  </a:lnTo>
                  <a:lnTo>
                    <a:pt x="1964" y="4972"/>
                  </a:lnTo>
                  <a:lnTo>
                    <a:pt x="1966" y="4971"/>
                  </a:lnTo>
                  <a:lnTo>
                    <a:pt x="1967" y="4970"/>
                  </a:lnTo>
                  <a:lnTo>
                    <a:pt x="1968" y="4970"/>
                  </a:lnTo>
                  <a:lnTo>
                    <a:pt x="1971" y="4971"/>
                  </a:lnTo>
                  <a:lnTo>
                    <a:pt x="1982" y="4982"/>
                  </a:lnTo>
                  <a:lnTo>
                    <a:pt x="1993" y="4994"/>
                  </a:lnTo>
                  <a:lnTo>
                    <a:pt x="2009" y="5012"/>
                  </a:lnTo>
                  <a:lnTo>
                    <a:pt x="2025" y="5034"/>
                  </a:lnTo>
                  <a:lnTo>
                    <a:pt x="2044" y="5059"/>
                  </a:lnTo>
                  <a:lnTo>
                    <a:pt x="2063" y="5084"/>
                  </a:lnTo>
                  <a:lnTo>
                    <a:pt x="2079" y="5108"/>
                  </a:lnTo>
                  <a:lnTo>
                    <a:pt x="2093" y="5128"/>
                  </a:lnTo>
                  <a:lnTo>
                    <a:pt x="2101" y="5142"/>
                  </a:lnTo>
                  <a:lnTo>
                    <a:pt x="2111" y="5160"/>
                  </a:lnTo>
                  <a:lnTo>
                    <a:pt x="2119" y="5172"/>
                  </a:lnTo>
                  <a:lnTo>
                    <a:pt x="2125" y="5182"/>
                  </a:lnTo>
                  <a:lnTo>
                    <a:pt x="2132" y="5196"/>
                  </a:lnTo>
                  <a:lnTo>
                    <a:pt x="2140" y="5211"/>
                  </a:lnTo>
                  <a:lnTo>
                    <a:pt x="2144" y="5219"/>
                  </a:lnTo>
                  <a:lnTo>
                    <a:pt x="2148" y="5226"/>
                  </a:lnTo>
                  <a:lnTo>
                    <a:pt x="2151" y="5230"/>
                  </a:lnTo>
                  <a:lnTo>
                    <a:pt x="2154" y="5235"/>
                  </a:lnTo>
                  <a:lnTo>
                    <a:pt x="2163" y="5244"/>
                  </a:lnTo>
                  <a:lnTo>
                    <a:pt x="2174" y="5256"/>
                  </a:lnTo>
                  <a:lnTo>
                    <a:pt x="2189" y="5266"/>
                  </a:lnTo>
                  <a:lnTo>
                    <a:pt x="2194" y="5271"/>
                  </a:lnTo>
                  <a:lnTo>
                    <a:pt x="2199" y="5276"/>
                  </a:lnTo>
                  <a:lnTo>
                    <a:pt x="2202" y="5281"/>
                  </a:lnTo>
                  <a:lnTo>
                    <a:pt x="2204" y="5286"/>
                  </a:lnTo>
                  <a:lnTo>
                    <a:pt x="2207" y="5294"/>
                  </a:lnTo>
                  <a:lnTo>
                    <a:pt x="2211" y="5301"/>
                  </a:lnTo>
                  <a:lnTo>
                    <a:pt x="2214" y="5303"/>
                  </a:lnTo>
                  <a:lnTo>
                    <a:pt x="2217" y="5304"/>
                  </a:lnTo>
                  <a:lnTo>
                    <a:pt x="2222" y="5306"/>
                  </a:lnTo>
                  <a:lnTo>
                    <a:pt x="2226" y="5307"/>
                  </a:lnTo>
                  <a:lnTo>
                    <a:pt x="2236" y="5307"/>
                  </a:lnTo>
                  <a:lnTo>
                    <a:pt x="2244" y="5307"/>
                  </a:lnTo>
                  <a:lnTo>
                    <a:pt x="2250" y="5306"/>
                  </a:lnTo>
                  <a:lnTo>
                    <a:pt x="2256" y="5304"/>
                  </a:lnTo>
                  <a:lnTo>
                    <a:pt x="2259" y="5306"/>
                  </a:lnTo>
                  <a:lnTo>
                    <a:pt x="2260" y="5307"/>
                  </a:lnTo>
                  <a:lnTo>
                    <a:pt x="2262" y="5309"/>
                  </a:lnTo>
                  <a:lnTo>
                    <a:pt x="2263" y="5313"/>
                  </a:lnTo>
                  <a:lnTo>
                    <a:pt x="2259" y="5328"/>
                  </a:lnTo>
                  <a:lnTo>
                    <a:pt x="2256" y="5338"/>
                  </a:lnTo>
                  <a:lnTo>
                    <a:pt x="2256" y="5341"/>
                  </a:lnTo>
                  <a:lnTo>
                    <a:pt x="2255" y="5342"/>
                  </a:lnTo>
                  <a:lnTo>
                    <a:pt x="2255" y="5342"/>
                  </a:lnTo>
                  <a:lnTo>
                    <a:pt x="2254" y="5341"/>
                  </a:lnTo>
                  <a:lnTo>
                    <a:pt x="2254" y="5341"/>
                  </a:lnTo>
                  <a:lnTo>
                    <a:pt x="2256" y="5349"/>
                  </a:lnTo>
                  <a:lnTo>
                    <a:pt x="2259" y="5354"/>
                  </a:lnTo>
                  <a:lnTo>
                    <a:pt x="2263" y="5359"/>
                  </a:lnTo>
                  <a:lnTo>
                    <a:pt x="2266" y="5363"/>
                  </a:lnTo>
                  <a:lnTo>
                    <a:pt x="2269" y="5366"/>
                  </a:lnTo>
                  <a:lnTo>
                    <a:pt x="2277" y="5372"/>
                  </a:lnTo>
                  <a:lnTo>
                    <a:pt x="2284" y="5375"/>
                  </a:lnTo>
                  <a:lnTo>
                    <a:pt x="2290" y="5381"/>
                  </a:lnTo>
                  <a:lnTo>
                    <a:pt x="2301" y="5388"/>
                  </a:lnTo>
                  <a:lnTo>
                    <a:pt x="2311" y="5396"/>
                  </a:lnTo>
                  <a:lnTo>
                    <a:pt x="2316" y="5402"/>
                  </a:lnTo>
                  <a:lnTo>
                    <a:pt x="2320" y="5409"/>
                  </a:lnTo>
                  <a:lnTo>
                    <a:pt x="2327" y="5421"/>
                  </a:lnTo>
                  <a:lnTo>
                    <a:pt x="2336" y="5437"/>
                  </a:lnTo>
                  <a:lnTo>
                    <a:pt x="2344" y="5453"/>
                  </a:lnTo>
                  <a:lnTo>
                    <a:pt x="2350" y="5460"/>
                  </a:lnTo>
                  <a:lnTo>
                    <a:pt x="2354" y="5465"/>
                  </a:lnTo>
                  <a:lnTo>
                    <a:pt x="2359" y="5468"/>
                  </a:lnTo>
                  <a:lnTo>
                    <a:pt x="2362" y="5470"/>
                  </a:lnTo>
                  <a:lnTo>
                    <a:pt x="2366" y="5471"/>
                  </a:lnTo>
                  <a:lnTo>
                    <a:pt x="2371" y="5474"/>
                  </a:lnTo>
                  <a:lnTo>
                    <a:pt x="2375" y="5478"/>
                  </a:lnTo>
                  <a:lnTo>
                    <a:pt x="2380" y="5484"/>
                  </a:lnTo>
                  <a:lnTo>
                    <a:pt x="2387" y="5497"/>
                  </a:lnTo>
                  <a:lnTo>
                    <a:pt x="2392" y="5505"/>
                  </a:lnTo>
                  <a:lnTo>
                    <a:pt x="2395" y="5512"/>
                  </a:lnTo>
                  <a:lnTo>
                    <a:pt x="2398" y="5521"/>
                  </a:lnTo>
                  <a:lnTo>
                    <a:pt x="2403" y="5532"/>
                  </a:lnTo>
                  <a:lnTo>
                    <a:pt x="2408" y="5540"/>
                  </a:lnTo>
                  <a:lnTo>
                    <a:pt x="2413" y="5544"/>
                  </a:lnTo>
                  <a:lnTo>
                    <a:pt x="2415" y="5546"/>
                  </a:lnTo>
                  <a:lnTo>
                    <a:pt x="2425" y="5554"/>
                  </a:lnTo>
                  <a:lnTo>
                    <a:pt x="2451" y="5575"/>
                  </a:lnTo>
                  <a:lnTo>
                    <a:pt x="2490" y="5606"/>
                  </a:lnTo>
                  <a:lnTo>
                    <a:pt x="2534" y="5641"/>
                  </a:lnTo>
                  <a:lnTo>
                    <a:pt x="2580" y="5679"/>
                  </a:lnTo>
                  <a:lnTo>
                    <a:pt x="2620" y="5713"/>
                  </a:lnTo>
                  <a:lnTo>
                    <a:pt x="2637" y="5728"/>
                  </a:lnTo>
                  <a:lnTo>
                    <a:pt x="2651" y="5740"/>
                  </a:lnTo>
                  <a:lnTo>
                    <a:pt x="2662" y="5752"/>
                  </a:lnTo>
                  <a:lnTo>
                    <a:pt x="2668" y="5758"/>
                  </a:lnTo>
                  <a:lnTo>
                    <a:pt x="2676" y="5768"/>
                  </a:lnTo>
                  <a:lnTo>
                    <a:pt x="2683" y="5778"/>
                  </a:lnTo>
                  <a:lnTo>
                    <a:pt x="2691" y="5786"/>
                  </a:lnTo>
                  <a:lnTo>
                    <a:pt x="2699" y="5792"/>
                  </a:lnTo>
                  <a:lnTo>
                    <a:pt x="2712" y="5805"/>
                  </a:lnTo>
                  <a:lnTo>
                    <a:pt x="2724" y="5816"/>
                  </a:lnTo>
                  <a:lnTo>
                    <a:pt x="2730" y="5821"/>
                  </a:lnTo>
                  <a:lnTo>
                    <a:pt x="2735" y="5824"/>
                  </a:lnTo>
                  <a:lnTo>
                    <a:pt x="2740" y="5828"/>
                  </a:lnTo>
                  <a:lnTo>
                    <a:pt x="2745" y="5830"/>
                  </a:lnTo>
                  <a:lnTo>
                    <a:pt x="2755" y="5835"/>
                  </a:lnTo>
                  <a:lnTo>
                    <a:pt x="2765" y="5843"/>
                  </a:lnTo>
                  <a:lnTo>
                    <a:pt x="2776" y="5852"/>
                  </a:lnTo>
                  <a:lnTo>
                    <a:pt x="2788" y="5860"/>
                  </a:lnTo>
                  <a:lnTo>
                    <a:pt x="2798" y="5865"/>
                  </a:lnTo>
                  <a:lnTo>
                    <a:pt x="2803" y="5867"/>
                  </a:lnTo>
                  <a:lnTo>
                    <a:pt x="2815" y="5877"/>
                  </a:lnTo>
                  <a:lnTo>
                    <a:pt x="2844" y="5899"/>
                  </a:lnTo>
                  <a:lnTo>
                    <a:pt x="2873" y="5923"/>
                  </a:lnTo>
                  <a:lnTo>
                    <a:pt x="2891" y="5936"/>
                  </a:lnTo>
                  <a:lnTo>
                    <a:pt x="2898" y="5940"/>
                  </a:lnTo>
                  <a:lnTo>
                    <a:pt x="2905" y="5947"/>
                  </a:lnTo>
                  <a:lnTo>
                    <a:pt x="2915" y="5955"/>
                  </a:lnTo>
                  <a:lnTo>
                    <a:pt x="2929" y="5962"/>
                  </a:lnTo>
                  <a:lnTo>
                    <a:pt x="2941" y="5968"/>
                  </a:lnTo>
                  <a:lnTo>
                    <a:pt x="2952" y="5972"/>
                  </a:lnTo>
                  <a:lnTo>
                    <a:pt x="2961" y="5975"/>
                  </a:lnTo>
                  <a:lnTo>
                    <a:pt x="2967" y="5979"/>
                  </a:lnTo>
                  <a:lnTo>
                    <a:pt x="2975" y="5986"/>
                  </a:lnTo>
                  <a:lnTo>
                    <a:pt x="2986" y="5994"/>
                  </a:lnTo>
                  <a:lnTo>
                    <a:pt x="2997" y="6002"/>
                  </a:lnTo>
                  <a:lnTo>
                    <a:pt x="3005" y="6008"/>
                  </a:lnTo>
                  <a:lnTo>
                    <a:pt x="3018" y="6015"/>
                  </a:lnTo>
                  <a:lnTo>
                    <a:pt x="3031" y="6024"/>
                  </a:lnTo>
                  <a:lnTo>
                    <a:pt x="3046" y="6033"/>
                  </a:lnTo>
                  <a:lnTo>
                    <a:pt x="3058" y="6043"/>
                  </a:lnTo>
                  <a:lnTo>
                    <a:pt x="3068" y="6051"/>
                  </a:lnTo>
                  <a:lnTo>
                    <a:pt x="3079" y="6060"/>
                  </a:lnTo>
                  <a:lnTo>
                    <a:pt x="3090" y="6067"/>
                  </a:lnTo>
                  <a:lnTo>
                    <a:pt x="3098" y="6072"/>
                  </a:lnTo>
                  <a:lnTo>
                    <a:pt x="3126" y="6086"/>
                  </a:lnTo>
                  <a:lnTo>
                    <a:pt x="3126" y="6071"/>
                  </a:lnTo>
                  <a:lnTo>
                    <a:pt x="3117" y="6060"/>
                  </a:lnTo>
                  <a:lnTo>
                    <a:pt x="3094" y="6032"/>
                  </a:lnTo>
                  <a:lnTo>
                    <a:pt x="3078" y="6014"/>
                  </a:lnTo>
                  <a:lnTo>
                    <a:pt x="3059" y="5996"/>
                  </a:lnTo>
                  <a:lnTo>
                    <a:pt x="3039" y="5978"/>
                  </a:lnTo>
                  <a:lnTo>
                    <a:pt x="3017" y="5960"/>
                  </a:lnTo>
                  <a:lnTo>
                    <a:pt x="2992" y="5941"/>
                  </a:lnTo>
                  <a:lnTo>
                    <a:pt x="2964" y="5920"/>
                  </a:lnTo>
                  <a:lnTo>
                    <a:pt x="2934" y="5896"/>
                  </a:lnTo>
                  <a:lnTo>
                    <a:pt x="2904" y="5873"/>
                  </a:lnTo>
                  <a:lnTo>
                    <a:pt x="2877" y="5851"/>
                  </a:lnTo>
                  <a:lnTo>
                    <a:pt x="2852" y="5831"/>
                  </a:lnTo>
                  <a:lnTo>
                    <a:pt x="2835" y="5816"/>
                  </a:lnTo>
                  <a:lnTo>
                    <a:pt x="2825" y="5807"/>
                  </a:lnTo>
                  <a:lnTo>
                    <a:pt x="2818" y="5800"/>
                  </a:lnTo>
                  <a:lnTo>
                    <a:pt x="2814" y="5792"/>
                  </a:lnTo>
                  <a:lnTo>
                    <a:pt x="2808" y="5785"/>
                  </a:lnTo>
                  <a:lnTo>
                    <a:pt x="2805" y="5776"/>
                  </a:lnTo>
                  <a:lnTo>
                    <a:pt x="2803" y="5768"/>
                  </a:lnTo>
                  <a:lnTo>
                    <a:pt x="2802" y="5760"/>
                  </a:lnTo>
                  <a:lnTo>
                    <a:pt x="2800" y="5753"/>
                  </a:lnTo>
                  <a:lnTo>
                    <a:pt x="2803" y="5746"/>
                  </a:lnTo>
                  <a:lnTo>
                    <a:pt x="2804" y="5740"/>
                  </a:lnTo>
                  <a:lnTo>
                    <a:pt x="2804" y="5735"/>
                  </a:lnTo>
                  <a:lnTo>
                    <a:pt x="2803" y="5731"/>
                  </a:lnTo>
                  <a:lnTo>
                    <a:pt x="2799" y="5726"/>
                  </a:lnTo>
                  <a:lnTo>
                    <a:pt x="2792" y="5716"/>
                  </a:lnTo>
                  <a:lnTo>
                    <a:pt x="2781" y="5702"/>
                  </a:lnTo>
                  <a:lnTo>
                    <a:pt x="2777" y="5699"/>
                  </a:lnTo>
                  <a:lnTo>
                    <a:pt x="2774" y="5695"/>
                  </a:lnTo>
                  <a:lnTo>
                    <a:pt x="2770" y="5693"/>
                  </a:lnTo>
                  <a:lnTo>
                    <a:pt x="2765" y="5691"/>
                  </a:lnTo>
                  <a:lnTo>
                    <a:pt x="2755" y="5688"/>
                  </a:lnTo>
                  <a:lnTo>
                    <a:pt x="2744" y="5684"/>
                  </a:lnTo>
                  <a:lnTo>
                    <a:pt x="2732" y="5679"/>
                  </a:lnTo>
                  <a:lnTo>
                    <a:pt x="2718" y="5671"/>
                  </a:lnTo>
                  <a:lnTo>
                    <a:pt x="2711" y="5665"/>
                  </a:lnTo>
                  <a:lnTo>
                    <a:pt x="2703" y="5659"/>
                  </a:lnTo>
                  <a:lnTo>
                    <a:pt x="2696" y="5651"/>
                  </a:lnTo>
                  <a:lnTo>
                    <a:pt x="2687" y="5641"/>
                  </a:lnTo>
                  <a:lnTo>
                    <a:pt x="2661" y="5610"/>
                  </a:lnTo>
                  <a:lnTo>
                    <a:pt x="2648" y="5594"/>
                  </a:lnTo>
                  <a:lnTo>
                    <a:pt x="2644" y="5587"/>
                  </a:lnTo>
                  <a:lnTo>
                    <a:pt x="2643" y="5587"/>
                  </a:lnTo>
                  <a:lnTo>
                    <a:pt x="2654" y="5526"/>
                  </a:lnTo>
                  <a:lnTo>
                    <a:pt x="2650" y="5525"/>
                  </a:lnTo>
                  <a:lnTo>
                    <a:pt x="2641" y="5522"/>
                  </a:lnTo>
                  <a:lnTo>
                    <a:pt x="2638" y="5519"/>
                  </a:lnTo>
                  <a:lnTo>
                    <a:pt x="2636" y="5514"/>
                  </a:lnTo>
                  <a:lnTo>
                    <a:pt x="2635" y="5512"/>
                  </a:lnTo>
                  <a:lnTo>
                    <a:pt x="2635" y="5510"/>
                  </a:lnTo>
                  <a:lnTo>
                    <a:pt x="2636" y="5508"/>
                  </a:lnTo>
                  <a:lnTo>
                    <a:pt x="2637" y="5504"/>
                  </a:lnTo>
                  <a:lnTo>
                    <a:pt x="2647" y="5490"/>
                  </a:lnTo>
                  <a:lnTo>
                    <a:pt x="2648" y="5488"/>
                  </a:lnTo>
                  <a:lnTo>
                    <a:pt x="2648" y="5484"/>
                  </a:lnTo>
                  <a:lnTo>
                    <a:pt x="2645" y="5474"/>
                  </a:lnTo>
                  <a:lnTo>
                    <a:pt x="2640" y="5468"/>
                  </a:lnTo>
                  <a:lnTo>
                    <a:pt x="2635" y="5460"/>
                  </a:lnTo>
                  <a:lnTo>
                    <a:pt x="2626" y="5452"/>
                  </a:lnTo>
                  <a:lnTo>
                    <a:pt x="2616" y="5444"/>
                  </a:lnTo>
                  <a:lnTo>
                    <a:pt x="2603" y="5435"/>
                  </a:lnTo>
                  <a:lnTo>
                    <a:pt x="2590" y="5426"/>
                  </a:lnTo>
                  <a:lnTo>
                    <a:pt x="2577" y="5416"/>
                  </a:lnTo>
                  <a:lnTo>
                    <a:pt x="2566" y="5407"/>
                  </a:lnTo>
                  <a:lnTo>
                    <a:pt x="2559" y="5398"/>
                  </a:lnTo>
                  <a:lnTo>
                    <a:pt x="2553" y="5389"/>
                  </a:lnTo>
                  <a:lnTo>
                    <a:pt x="2552" y="5386"/>
                  </a:lnTo>
                  <a:lnTo>
                    <a:pt x="2552" y="5383"/>
                  </a:lnTo>
                  <a:lnTo>
                    <a:pt x="2553" y="5381"/>
                  </a:lnTo>
                  <a:lnTo>
                    <a:pt x="2555" y="5378"/>
                  </a:lnTo>
                  <a:lnTo>
                    <a:pt x="2562" y="5375"/>
                  </a:lnTo>
                  <a:lnTo>
                    <a:pt x="2569" y="5374"/>
                  </a:lnTo>
                  <a:lnTo>
                    <a:pt x="2576" y="5375"/>
                  </a:lnTo>
                  <a:lnTo>
                    <a:pt x="2584" y="5376"/>
                  </a:lnTo>
                  <a:lnTo>
                    <a:pt x="2593" y="5378"/>
                  </a:lnTo>
                  <a:lnTo>
                    <a:pt x="2602" y="5381"/>
                  </a:lnTo>
                  <a:lnTo>
                    <a:pt x="2611" y="5383"/>
                  </a:lnTo>
                  <a:lnTo>
                    <a:pt x="2622" y="5384"/>
                  </a:lnTo>
                  <a:lnTo>
                    <a:pt x="2626" y="5384"/>
                  </a:lnTo>
                  <a:lnTo>
                    <a:pt x="2629" y="5385"/>
                  </a:lnTo>
                  <a:lnTo>
                    <a:pt x="2633" y="5387"/>
                  </a:lnTo>
                  <a:lnTo>
                    <a:pt x="2636" y="5388"/>
                  </a:lnTo>
                  <a:lnTo>
                    <a:pt x="2639" y="5394"/>
                  </a:lnTo>
                  <a:lnTo>
                    <a:pt x="2641" y="5398"/>
                  </a:lnTo>
                  <a:lnTo>
                    <a:pt x="2641" y="5399"/>
                  </a:lnTo>
                  <a:lnTo>
                    <a:pt x="2643" y="5400"/>
                  </a:lnTo>
                  <a:lnTo>
                    <a:pt x="2643" y="5400"/>
                  </a:lnTo>
                  <a:lnTo>
                    <a:pt x="2644" y="5399"/>
                  </a:lnTo>
                  <a:lnTo>
                    <a:pt x="2646" y="5395"/>
                  </a:lnTo>
                  <a:lnTo>
                    <a:pt x="2648" y="5384"/>
                  </a:lnTo>
                  <a:lnTo>
                    <a:pt x="2650" y="5376"/>
                  </a:lnTo>
                  <a:lnTo>
                    <a:pt x="2649" y="5371"/>
                  </a:lnTo>
                  <a:lnTo>
                    <a:pt x="2648" y="5364"/>
                  </a:lnTo>
                  <a:lnTo>
                    <a:pt x="2646" y="5360"/>
                  </a:lnTo>
                  <a:lnTo>
                    <a:pt x="2639" y="5350"/>
                  </a:lnTo>
                  <a:lnTo>
                    <a:pt x="2631" y="5342"/>
                  </a:lnTo>
                  <a:lnTo>
                    <a:pt x="2626" y="5335"/>
                  </a:lnTo>
                  <a:lnTo>
                    <a:pt x="2623" y="5330"/>
                  </a:lnTo>
                  <a:lnTo>
                    <a:pt x="2623" y="5327"/>
                  </a:lnTo>
                  <a:lnTo>
                    <a:pt x="2624" y="5323"/>
                  </a:lnTo>
                  <a:lnTo>
                    <a:pt x="2627" y="5321"/>
                  </a:lnTo>
                  <a:lnTo>
                    <a:pt x="2631" y="5318"/>
                  </a:lnTo>
                  <a:lnTo>
                    <a:pt x="2638" y="5314"/>
                  </a:lnTo>
                  <a:lnTo>
                    <a:pt x="2645" y="5313"/>
                  </a:lnTo>
                  <a:lnTo>
                    <a:pt x="2651" y="5311"/>
                  </a:lnTo>
                  <a:lnTo>
                    <a:pt x="2659" y="5311"/>
                  </a:lnTo>
                  <a:lnTo>
                    <a:pt x="2672" y="5310"/>
                  </a:lnTo>
                  <a:lnTo>
                    <a:pt x="2686" y="5311"/>
                  </a:lnTo>
                  <a:lnTo>
                    <a:pt x="2707" y="5315"/>
                  </a:lnTo>
                  <a:lnTo>
                    <a:pt x="2714" y="5318"/>
                  </a:lnTo>
                  <a:lnTo>
                    <a:pt x="2718" y="5318"/>
                  </a:lnTo>
                  <a:lnTo>
                    <a:pt x="2725" y="5318"/>
                  </a:lnTo>
                  <a:lnTo>
                    <a:pt x="2738" y="5318"/>
                  </a:lnTo>
                  <a:lnTo>
                    <a:pt x="2753" y="5318"/>
                  </a:lnTo>
                  <a:lnTo>
                    <a:pt x="2771" y="5319"/>
                  </a:lnTo>
                  <a:lnTo>
                    <a:pt x="2788" y="5319"/>
                  </a:lnTo>
                  <a:lnTo>
                    <a:pt x="2793" y="5318"/>
                  </a:lnTo>
                  <a:lnTo>
                    <a:pt x="2796" y="5317"/>
                  </a:lnTo>
                  <a:lnTo>
                    <a:pt x="2799" y="5315"/>
                  </a:lnTo>
                  <a:lnTo>
                    <a:pt x="2803" y="5313"/>
                  </a:lnTo>
                  <a:lnTo>
                    <a:pt x="2805" y="5310"/>
                  </a:lnTo>
                  <a:lnTo>
                    <a:pt x="2806" y="5306"/>
                  </a:lnTo>
                  <a:lnTo>
                    <a:pt x="2807" y="5301"/>
                  </a:lnTo>
                  <a:lnTo>
                    <a:pt x="2808" y="5296"/>
                  </a:lnTo>
                  <a:lnTo>
                    <a:pt x="2807" y="5282"/>
                  </a:lnTo>
                  <a:lnTo>
                    <a:pt x="2805" y="5269"/>
                  </a:lnTo>
                  <a:lnTo>
                    <a:pt x="2800" y="5257"/>
                  </a:lnTo>
                  <a:lnTo>
                    <a:pt x="2797" y="5245"/>
                  </a:lnTo>
                  <a:lnTo>
                    <a:pt x="2789" y="5226"/>
                  </a:lnTo>
                  <a:lnTo>
                    <a:pt x="2786" y="5218"/>
                  </a:lnTo>
                  <a:lnTo>
                    <a:pt x="2776" y="5212"/>
                  </a:lnTo>
                  <a:lnTo>
                    <a:pt x="2754" y="5194"/>
                  </a:lnTo>
                  <a:lnTo>
                    <a:pt x="2742" y="5183"/>
                  </a:lnTo>
                  <a:lnTo>
                    <a:pt x="2730" y="5172"/>
                  </a:lnTo>
                  <a:lnTo>
                    <a:pt x="2721" y="5162"/>
                  </a:lnTo>
                  <a:lnTo>
                    <a:pt x="2714" y="5153"/>
                  </a:lnTo>
                  <a:lnTo>
                    <a:pt x="2704" y="5133"/>
                  </a:lnTo>
                  <a:lnTo>
                    <a:pt x="2703" y="5131"/>
                  </a:lnTo>
                  <a:lnTo>
                    <a:pt x="2686" y="5119"/>
                  </a:lnTo>
                  <a:lnTo>
                    <a:pt x="2651" y="5092"/>
                  </a:lnTo>
                  <a:lnTo>
                    <a:pt x="2643" y="5085"/>
                  </a:lnTo>
                  <a:lnTo>
                    <a:pt x="2635" y="5078"/>
                  </a:lnTo>
                  <a:lnTo>
                    <a:pt x="2629" y="5071"/>
                  </a:lnTo>
                  <a:lnTo>
                    <a:pt x="2625" y="5066"/>
                  </a:lnTo>
                  <a:lnTo>
                    <a:pt x="2623" y="5060"/>
                  </a:lnTo>
                  <a:lnTo>
                    <a:pt x="2623" y="5057"/>
                  </a:lnTo>
                  <a:lnTo>
                    <a:pt x="2624" y="5056"/>
                  </a:lnTo>
                  <a:lnTo>
                    <a:pt x="2626" y="5055"/>
                  </a:lnTo>
                  <a:lnTo>
                    <a:pt x="2628" y="5054"/>
                  </a:lnTo>
                  <a:lnTo>
                    <a:pt x="2631" y="5054"/>
                  </a:lnTo>
                  <a:lnTo>
                    <a:pt x="2650" y="5055"/>
                  </a:lnTo>
                  <a:lnTo>
                    <a:pt x="2672" y="5058"/>
                  </a:lnTo>
                  <a:lnTo>
                    <a:pt x="2697" y="5063"/>
                  </a:lnTo>
                  <a:lnTo>
                    <a:pt x="2720" y="5067"/>
                  </a:lnTo>
                  <a:lnTo>
                    <a:pt x="2758" y="5077"/>
                  </a:lnTo>
                  <a:lnTo>
                    <a:pt x="2775" y="5081"/>
                  </a:lnTo>
                  <a:lnTo>
                    <a:pt x="2776" y="5087"/>
                  </a:lnTo>
                  <a:lnTo>
                    <a:pt x="2779" y="5099"/>
                  </a:lnTo>
                  <a:lnTo>
                    <a:pt x="2783" y="5107"/>
                  </a:lnTo>
                  <a:lnTo>
                    <a:pt x="2786" y="5113"/>
                  </a:lnTo>
                  <a:lnTo>
                    <a:pt x="2792" y="5120"/>
                  </a:lnTo>
                  <a:lnTo>
                    <a:pt x="2797" y="5126"/>
                  </a:lnTo>
                  <a:lnTo>
                    <a:pt x="2809" y="5136"/>
                  </a:lnTo>
                  <a:lnTo>
                    <a:pt x="2823" y="5145"/>
                  </a:lnTo>
                  <a:lnTo>
                    <a:pt x="2830" y="5151"/>
                  </a:lnTo>
                  <a:lnTo>
                    <a:pt x="2839" y="5154"/>
                  </a:lnTo>
                  <a:lnTo>
                    <a:pt x="2848" y="5158"/>
                  </a:lnTo>
                  <a:lnTo>
                    <a:pt x="2858" y="5159"/>
                  </a:lnTo>
                  <a:lnTo>
                    <a:pt x="2867" y="5159"/>
                  </a:lnTo>
                  <a:lnTo>
                    <a:pt x="2873" y="5159"/>
                  </a:lnTo>
                  <a:lnTo>
                    <a:pt x="2879" y="5158"/>
                  </a:lnTo>
                  <a:lnTo>
                    <a:pt x="2882" y="5157"/>
                  </a:lnTo>
                  <a:lnTo>
                    <a:pt x="2885" y="5152"/>
                  </a:lnTo>
                  <a:lnTo>
                    <a:pt x="2889" y="5147"/>
                  </a:lnTo>
                  <a:lnTo>
                    <a:pt x="2892" y="5138"/>
                  </a:lnTo>
                  <a:lnTo>
                    <a:pt x="2895" y="5126"/>
                  </a:lnTo>
                  <a:lnTo>
                    <a:pt x="2899" y="5111"/>
                  </a:lnTo>
                  <a:lnTo>
                    <a:pt x="2901" y="5100"/>
                  </a:lnTo>
                  <a:lnTo>
                    <a:pt x="2901" y="5089"/>
                  </a:lnTo>
                  <a:lnTo>
                    <a:pt x="2901" y="5078"/>
                  </a:lnTo>
                  <a:lnTo>
                    <a:pt x="2901" y="5068"/>
                  </a:lnTo>
                  <a:lnTo>
                    <a:pt x="2902" y="5057"/>
                  </a:lnTo>
                  <a:lnTo>
                    <a:pt x="2903" y="5045"/>
                  </a:lnTo>
                  <a:lnTo>
                    <a:pt x="2906" y="5032"/>
                  </a:lnTo>
                  <a:lnTo>
                    <a:pt x="2912" y="5010"/>
                  </a:lnTo>
                  <a:lnTo>
                    <a:pt x="2915" y="4995"/>
                  </a:lnTo>
                  <a:lnTo>
                    <a:pt x="2919" y="4990"/>
                  </a:lnTo>
                  <a:lnTo>
                    <a:pt x="2924" y="4984"/>
                  </a:lnTo>
                  <a:lnTo>
                    <a:pt x="2933" y="4979"/>
                  </a:lnTo>
                  <a:lnTo>
                    <a:pt x="2945" y="4971"/>
                  </a:lnTo>
                  <a:lnTo>
                    <a:pt x="2952" y="4967"/>
                  </a:lnTo>
                  <a:lnTo>
                    <a:pt x="2957" y="4961"/>
                  </a:lnTo>
                  <a:lnTo>
                    <a:pt x="2961" y="4954"/>
                  </a:lnTo>
                  <a:lnTo>
                    <a:pt x="2963" y="4948"/>
                  </a:lnTo>
                  <a:lnTo>
                    <a:pt x="2965" y="4940"/>
                  </a:lnTo>
                  <a:lnTo>
                    <a:pt x="2966" y="4932"/>
                  </a:lnTo>
                  <a:lnTo>
                    <a:pt x="2966" y="4925"/>
                  </a:lnTo>
                  <a:lnTo>
                    <a:pt x="2965" y="4917"/>
                  </a:lnTo>
                  <a:lnTo>
                    <a:pt x="2959" y="4889"/>
                  </a:lnTo>
                  <a:lnTo>
                    <a:pt x="2956" y="4878"/>
                  </a:lnTo>
                  <a:lnTo>
                    <a:pt x="2956" y="4834"/>
                  </a:lnTo>
                  <a:lnTo>
                    <a:pt x="2962" y="4830"/>
                  </a:lnTo>
                  <a:lnTo>
                    <a:pt x="2984" y="4812"/>
                  </a:lnTo>
                  <a:lnTo>
                    <a:pt x="2990" y="4805"/>
                  </a:lnTo>
                  <a:lnTo>
                    <a:pt x="2996" y="4800"/>
                  </a:lnTo>
                  <a:lnTo>
                    <a:pt x="3000" y="4793"/>
                  </a:lnTo>
                  <a:lnTo>
                    <a:pt x="3003" y="4786"/>
                  </a:lnTo>
                  <a:lnTo>
                    <a:pt x="3005" y="4779"/>
                  </a:lnTo>
                  <a:lnTo>
                    <a:pt x="3005" y="4770"/>
                  </a:lnTo>
                  <a:lnTo>
                    <a:pt x="3006" y="4761"/>
                  </a:lnTo>
                  <a:lnTo>
                    <a:pt x="3006" y="4751"/>
                  </a:lnTo>
                  <a:lnTo>
                    <a:pt x="3006" y="4734"/>
                  </a:lnTo>
                  <a:lnTo>
                    <a:pt x="3005" y="4720"/>
                  </a:lnTo>
                  <a:lnTo>
                    <a:pt x="3003" y="4714"/>
                  </a:lnTo>
                  <a:lnTo>
                    <a:pt x="2999" y="4708"/>
                  </a:lnTo>
                  <a:lnTo>
                    <a:pt x="2993" y="4703"/>
                  </a:lnTo>
                  <a:lnTo>
                    <a:pt x="2984" y="4697"/>
                  </a:lnTo>
                  <a:lnTo>
                    <a:pt x="2964" y="4688"/>
                  </a:lnTo>
                  <a:lnTo>
                    <a:pt x="2948" y="4682"/>
                  </a:lnTo>
                  <a:lnTo>
                    <a:pt x="2945" y="4680"/>
                  </a:lnTo>
                  <a:lnTo>
                    <a:pt x="2943" y="4676"/>
                  </a:lnTo>
                  <a:lnTo>
                    <a:pt x="2941" y="4673"/>
                  </a:lnTo>
                  <a:lnTo>
                    <a:pt x="2939" y="4669"/>
                  </a:lnTo>
                  <a:lnTo>
                    <a:pt x="2936" y="4664"/>
                  </a:lnTo>
                  <a:lnTo>
                    <a:pt x="2935" y="4658"/>
                  </a:lnTo>
                  <a:lnTo>
                    <a:pt x="2934" y="4650"/>
                  </a:lnTo>
                  <a:lnTo>
                    <a:pt x="2934" y="4642"/>
                  </a:lnTo>
                  <a:lnTo>
                    <a:pt x="2934" y="4606"/>
                  </a:lnTo>
                  <a:lnTo>
                    <a:pt x="2935" y="4575"/>
                  </a:lnTo>
                  <a:lnTo>
                    <a:pt x="2937" y="4560"/>
                  </a:lnTo>
                  <a:lnTo>
                    <a:pt x="2939" y="4549"/>
                  </a:lnTo>
                  <a:lnTo>
                    <a:pt x="2942" y="4539"/>
                  </a:lnTo>
                  <a:lnTo>
                    <a:pt x="2945" y="4532"/>
                  </a:lnTo>
                  <a:lnTo>
                    <a:pt x="2957" y="4518"/>
                  </a:lnTo>
                  <a:lnTo>
                    <a:pt x="2972" y="4504"/>
                  </a:lnTo>
                  <a:lnTo>
                    <a:pt x="2984" y="4493"/>
                  </a:lnTo>
                  <a:lnTo>
                    <a:pt x="2989" y="4489"/>
                  </a:lnTo>
                  <a:lnTo>
                    <a:pt x="3039" y="4455"/>
                  </a:lnTo>
                  <a:lnTo>
                    <a:pt x="3045" y="4459"/>
                  </a:lnTo>
                  <a:lnTo>
                    <a:pt x="3057" y="4467"/>
                  </a:lnTo>
                  <a:lnTo>
                    <a:pt x="3066" y="4470"/>
                  </a:lnTo>
                  <a:lnTo>
                    <a:pt x="3073" y="4473"/>
                  </a:lnTo>
                  <a:lnTo>
                    <a:pt x="3081" y="4476"/>
                  </a:lnTo>
                  <a:lnTo>
                    <a:pt x="3088" y="4478"/>
                  </a:lnTo>
                  <a:lnTo>
                    <a:pt x="3094" y="4476"/>
                  </a:lnTo>
                  <a:lnTo>
                    <a:pt x="3102" y="4473"/>
                  </a:lnTo>
                  <a:lnTo>
                    <a:pt x="3110" y="4470"/>
                  </a:lnTo>
                  <a:lnTo>
                    <a:pt x="3116" y="4467"/>
                  </a:lnTo>
                  <a:lnTo>
                    <a:pt x="3127" y="4459"/>
                  </a:lnTo>
                  <a:lnTo>
                    <a:pt x="3132" y="4455"/>
                  </a:lnTo>
                  <a:lnTo>
                    <a:pt x="3154" y="4422"/>
                  </a:lnTo>
                  <a:lnTo>
                    <a:pt x="3158" y="4420"/>
                  </a:lnTo>
                  <a:lnTo>
                    <a:pt x="3170" y="4417"/>
                  </a:lnTo>
                  <a:lnTo>
                    <a:pt x="3187" y="4412"/>
                  </a:lnTo>
                  <a:lnTo>
                    <a:pt x="3204" y="4411"/>
                  </a:lnTo>
                  <a:lnTo>
                    <a:pt x="3212" y="4411"/>
                  </a:lnTo>
                  <a:lnTo>
                    <a:pt x="3223" y="4414"/>
                  </a:lnTo>
                  <a:lnTo>
                    <a:pt x="3234" y="4417"/>
                  </a:lnTo>
                  <a:lnTo>
                    <a:pt x="3244" y="4419"/>
                  </a:lnTo>
                  <a:lnTo>
                    <a:pt x="3262" y="4425"/>
                  </a:lnTo>
                  <a:lnTo>
                    <a:pt x="3270" y="4428"/>
                  </a:lnTo>
                  <a:lnTo>
                    <a:pt x="3278" y="4433"/>
                  </a:lnTo>
                  <a:lnTo>
                    <a:pt x="3296" y="4442"/>
                  </a:lnTo>
                  <a:lnTo>
                    <a:pt x="3302" y="4444"/>
                  </a:lnTo>
                  <a:lnTo>
                    <a:pt x="3307" y="4446"/>
                  </a:lnTo>
                  <a:lnTo>
                    <a:pt x="3313" y="4447"/>
                  </a:lnTo>
                  <a:lnTo>
                    <a:pt x="3318" y="4446"/>
                  </a:lnTo>
                  <a:lnTo>
                    <a:pt x="3323" y="4444"/>
                  </a:lnTo>
                  <a:lnTo>
                    <a:pt x="3328" y="4442"/>
                  </a:lnTo>
                  <a:lnTo>
                    <a:pt x="3332" y="4438"/>
                  </a:lnTo>
                  <a:lnTo>
                    <a:pt x="3335" y="4433"/>
                  </a:lnTo>
                  <a:lnTo>
                    <a:pt x="3338" y="4428"/>
                  </a:lnTo>
                  <a:lnTo>
                    <a:pt x="3338" y="4423"/>
                  </a:lnTo>
                  <a:lnTo>
                    <a:pt x="3338" y="4420"/>
                  </a:lnTo>
                  <a:lnTo>
                    <a:pt x="3338" y="4419"/>
                  </a:lnTo>
                  <a:lnTo>
                    <a:pt x="3335" y="4417"/>
                  </a:lnTo>
                  <a:lnTo>
                    <a:pt x="3332" y="4417"/>
                  </a:lnTo>
                  <a:lnTo>
                    <a:pt x="3329" y="4417"/>
                  </a:lnTo>
                  <a:lnTo>
                    <a:pt x="3329" y="4417"/>
                  </a:lnTo>
                  <a:lnTo>
                    <a:pt x="3329" y="4416"/>
                  </a:lnTo>
                  <a:lnTo>
                    <a:pt x="3331" y="4415"/>
                  </a:lnTo>
                  <a:lnTo>
                    <a:pt x="3337" y="4409"/>
                  </a:lnTo>
                  <a:lnTo>
                    <a:pt x="3352" y="4400"/>
                  </a:lnTo>
                  <a:lnTo>
                    <a:pt x="3384" y="4380"/>
                  </a:lnTo>
                  <a:lnTo>
                    <a:pt x="3406" y="4366"/>
                  </a:lnTo>
                  <a:lnTo>
                    <a:pt x="3412" y="4359"/>
                  </a:lnTo>
                  <a:lnTo>
                    <a:pt x="3417" y="4354"/>
                  </a:lnTo>
                  <a:lnTo>
                    <a:pt x="3418" y="4351"/>
                  </a:lnTo>
                  <a:lnTo>
                    <a:pt x="3419" y="4347"/>
                  </a:lnTo>
                  <a:lnTo>
                    <a:pt x="3419" y="4344"/>
                  </a:lnTo>
                  <a:lnTo>
                    <a:pt x="3418" y="4340"/>
                  </a:lnTo>
                  <a:lnTo>
                    <a:pt x="3412" y="4325"/>
                  </a:lnTo>
                  <a:lnTo>
                    <a:pt x="3406" y="4312"/>
                  </a:lnTo>
                  <a:lnTo>
                    <a:pt x="3402" y="4306"/>
                  </a:lnTo>
                  <a:lnTo>
                    <a:pt x="3401" y="4300"/>
                  </a:lnTo>
                  <a:lnTo>
                    <a:pt x="3400" y="4292"/>
                  </a:lnTo>
                  <a:lnTo>
                    <a:pt x="3401" y="4284"/>
                  </a:lnTo>
                  <a:lnTo>
                    <a:pt x="3406" y="4266"/>
                  </a:lnTo>
                  <a:lnTo>
                    <a:pt x="3407" y="4262"/>
                  </a:lnTo>
                  <a:lnTo>
                    <a:pt x="3410" y="4261"/>
                  </a:lnTo>
                  <a:lnTo>
                    <a:pt x="3417" y="4255"/>
                  </a:lnTo>
                  <a:lnTo>
                    <a:pt x="3422" y="4249"/>
                  </a:lnTo>
                  <a:lnTo>
                    <a:pt x="3428" y="4242"/>
                  </a:lnTo>
                  <a:lnTo>
                    <a:pt x="3433" y="4232"/>
                  </a:lnTo>
                  <a:lnTo>
                    <a:pt x="3440" y="4221"/>
                  </a:lnTo>
                  <a:lnTo>
                    <a:pt x="3450" y="4200"/>
                  </a:lnTo>
                  <a:lnTo>
                    <a:pt x="3458" y="4184"/>
                  </a:lnTo>
                  <a:lnTo>
                    <a:pt x="3462" y="4170"/>
                  </a:lnTo>
                  <a:lnTo>
                    <a:pt x="3464" y="4155"/>
                  </a:lnTo>
                  <a:lnTo>
                    <a:pt x="3465" y="4149"/>
                  </a:lnTo>
                  <a:lnTo>
                    <a:pt x="3464" y="4143"/>
                  </a:lnTo>
                  <a:lnTo>
                    <a:pt x="3462" y="4138"/>
                  </a:lnTo>
                  <a:lnTo>
                    <a:pt x="3461" y="4132"/>
                  </a:lnTo>
                  <a:lnTo>
                    <a:pt x="3459" y="4128"/>
                  </a:lnTo>
                  <a:lnTo>
                    <a:pt x="3458" y="4123"/>
                  </a:lnTo>
                  <a:lnTo>
                    <a:pt x="3458" y="4119"/>
                  </a:lnTo>
                  <a:lnTo>
                    <a:pt x="3459" y="4114"/>
                  </a:lnTo>
                  <a:lnTo>
                    <a:pt x="3460" y="4112"/>
                  </a:lnTo>
                  <a:lnTo>
                    <a:pt x="3460" y="4110"/>
                  </a:lnTo>
                  <a:lnTo>
                    <a:pt x="3459" y="4108"/>
                  </a:lnTo>
                  <a:lnTo>
                    <a:pt x="3456" y="4106"/>
                  </a:lnTo>
                  <a:lnTo>
                    <a:pt x="3453" y="4100"/>
                  </a:lnTo>
                  <a:lnTo>
                    <a:pt x="3448" y="4094"/>
                  </a:lnTo>
                  <a:lnTo>
                    <a:pt x="3442" y="4089"/>
                  </a:lnTo>
                  <a:lnTo>
                    <a:pt x="3437" y="4083"/>
                  </a:lnTo>
                  <a:lnTo>
                    <a:pt x="3433" y="4080"/>
                  </a:lnTo>
                  <a:lnTo>
                    <a:pt x="3431" y="4076"/>
                  </a:lnTo>
                  <a:lnTo>
                    <a:pt x="3430" y="4069"/>
                  </a:lnTo>
                  <a:lnTo>
                    <a:pt x="3428" y="4061"/>
                  </a:lnTo>
                  <a:lnTo>
                    <a:pt x="3428" y="4056"/>
                  </a:lnTo>
                  <a:lnTo>
                    <a:pt x="3428" y="4050"/>
                  </a:lnTo>
                  <a:lnTo>
                    <a:pt x="3430" y="4045"/>
                  </a:lnTo>
                  <a:lnTo>
                    <a:pt x="3434" y="4038"/>
                  </a:lnTo>
                  <a:lnTo>
                    <a:pt x="3452" y="4017"/>
                  </a:lnTo>
                  <a:lnTo>
                    <a:pt x="3462" y="4005"/>
                  </a:lnTo>
                  <a:lnTo>
                    <a:pt x="3464" y="3994"/>
                  </a:lnTo>
                  <a:lnTo>
                    <a:pt x="3466" y="3977"/>
                  </a:lnTo>
                  <a:lnTo>
                    <a:pt x="3469" y="3961"/>
                  </a:lnTo>
                  <a:lnTo>
                    <a:pt x="3470" y="3950"/>
                  </a:lnTo>
                  <a:lnTo>
                    <a:pt x="3469" y="3944"/>
                  </a:lnTo>
                  <a:lnTo>
                    <a:pt x="3465" y="3938"/>
                  </a:lnTo>
                  <a:lnTo>
                    <a:pt x="3463" y="3934"/>
                  </a:lnTo>
                  <a:lnTo>
                    <a:pt x="3462" y="3931"/>
                  </a:lnTo>
                  <a:lnTo>
                    <a:pt x="3461" y="3927"/>
                  </a:lnTo>
                  <a:lnTo>
                    <a:pt x="3462" y="3922"/>
                  </a:lnTo>
                  <a:lnTo>
                    <a:pt x="3464" y="3910"/>
                  </a:lnTo>
                  <a:lnTo>
                    <a:pt x="3469" y="3896"/>
                  </a:lnTo>
                  <a:lnTo>
                    <a:pt x="3473" y="3883"/>
                  </a:lnTo>
                  <a:lnTo>
                    <a:pt x="3475" y="3873"/>
                  </a:lnTo>
                  <a:lnTo>
                    <a:pt x="3475" y="3868"/>
                  </a:lnTo>
                  <a:lnTo>
                    <a:pt x="3474" y="3860"/>
                  </a:lnTo>
                  <a:lnTo>
                    <a:pt x="3471" y="3849"/>
                  </a:lnTo>
                  <a:lnTo>
                    <a:pt x="3466" y="3838"/>
                  </a:lnTo>
                  <a:lnTo>
                    <a:pt x="3458" y="3811"/>
                  </a:lnTo>
                  <a:lnTo>
                    <a:pt x="3448" y="3782"/>
                  </a:lnTo>
                  <a:lnTo>
                    <a:pt x="3444" y="3770"/>
                  </a:lnTo>
                  <a:lnTo>
                    <a:pt x="3440" y="3761"/>
                  </a:lnTo>
                  <a:lnTo>
                    <a:pt x="3435" y="3753"/>
                  </a:lnTo>
                  <a:lnTo>
                    <a:pt x="3431" y="3749"/>
                  </a:lnTo>
                  <a:lnTo>
                    <a:pt x="3424" y="3741"/>
                  </a:lnTo>
                  <a:lnTo>
                    <a:pt x="3420" y="3736"/>
                  </a:lnTo>
                  <a:lnTo>
                    <a:pt x="3413" y="3731"/>
                  </a:lnTo>
                  <a:lnTo>
                    <a:pt x="3401" y="3728"/>
                  </a:lnTo>
                  <a:lnTo>
                    <a:pt x="3399" y="3727"/>
                  </a:lnTo>
                  <a:lnTo>
                    <a:pt x="3397" y="3725"/>
                  </a:lnTo>
                  <a:lnTo>
                    <a:pt x="3396" y="3722"/>
                  </a:lnTo>
                  <a:lnTo>
                    <a:pt x="3396" y="3719"/>
                  </a:lnTo>
                  <a:lnTo>
                    <a:pt x="3397" y="3716"/>
                  </a:lnTo>
                  <a:lnTo>
                    <a:pt x="3399" y="3711"/>
                  </a:lnTo>
                  <a:lnTo>
                    <a:pt x="3402" y="3706"/>
                  </a:lnTo>
                  <a:lnTo>
                    <a:pt x="3407" y="3699"/>
                  </a:lnTo>
                  <a:lnTo>
                    <a:pt x="3423" y="3682"/>
                  </a:lnTo>
                  <a:lnTo>
                    <a:pt x="3431" y="3675"/>
                  </a:lnTo>
                  <a:lnTo>
                    <a:pt x="3433" y="3673"/>
                  </a:lnTo>
                  <a:lnTo>
                    <a:pt x="3434" y="3672"/>
                  </a:lnTo>
                  <a:lnTo>
                    <a:pt x="3435" y="3668"/>
                  </a:lnTo>
                  <a:lnTo>
                    <a:pt x="3437" y="3664"/>
                  </a:lnTo>
                  <a:lnTo>
                    <a:pt x="3439" y="3657"/>
                  </a:lnTo>
                  <a:lnTo>
                    <a:pt x="3439" y="3652"/>
                  </a:lnTo>
                  <a:lnTo>
                    <a:pt x="3438" y="3645"/>
                  </a:lnTo>
                  <a:lnTo>
                    <a:pt x="3437" y="3640"/>
                  </a:lnTo>
                  <a:lnTo>
                    <a:pt x="3433" y="3632"/>
                  </a:lnTo>
                  <a:lnTo>
                    <a:pt x="3431" y="3629"/>
                  </a:lnTo>
                  <a:lnTo>
                    <a:pt x="3428" y="3624"/>
                  </a:lnTo>
                  <a:lnTo>
                    <a:pt x="3421" y="3615"/>
                  </a:lnTo>
                  <a:lnTo>
                    <a:pt x="3418" y="3610"/>
                  </a:lnTo>
                  <a:lnTo>
                    <a:pt x="3416" y="3604"/>
                  </a:lnTo>
                  <a:lnTo>
                    <a:pt x="3414" y="3599"/>
                  </a:lnTo>
                  <a:lnTo>
                    <a:pt x="3414" y="3596"/>
                  </a:lnTo>
                  <a:lnTo>
                    <a:pt x="3419" y="3588"/>
                  </a:lnTo>
                  <a:lnTo>
                    <a:pt x="3424" y="3578"/>
                  </a:lnTo>
                  <a:lnTo>
                    <a:pt x="3428" y="3573"/>
                  </a:lnTo>
                  <a:lnTo>
                    <a:pt x="3431" y="3570"/>
                  </a:lnTo>
                  <a:lnTo>
                    <a:pt x="3435" y="3567"/>
                  </a:lnTo>
                  <a:lnTo>
                    <a:pt x="3440" y="3566"/>
                  </a:lnTo>
                  <a:lnTo>
                    <a:pt x="3452" y="3566"/>
                  </a:lnTo>
                  <a:lnTo>
                    <a:pt x="3469" y="3565"/>
                  </a:lnTo>
                  <a:lnTo>
                    <a:pt x="3473" y="3563"/>
                  </a:lnTo>
                  <a:lnTo>
                    <a:pt x="3477" y="3561"/>
                  </a:lnTo>
                  <a:lnTo>
                    <a:pt x="3482" y="3559"/>
                  </a:lnTo>
                  <a:lnTo>
                    <a:pt x="3486" y="3556"/>
                  </a:lnTo>
                  <a:lnTo>
                    <a:pt x="3491" y="3551"/>
                  </a:lnTo>
                  <a:lnTo>
                    <a:pt x="3494" y="3545"/>
                  </a:lnTo>
                  <a:lnTo>
                    <a:pt x="3498" y="3538"/>
                  </a:lnTo>
                  <a:lnTo>
                    <a:pt x="3503" y="3529"/>
                  </a:lnTo>
                  <a:lnTo>
                    <a:pt x="3517" y="3496"/>
                  </a:lnTo>
                  <a:lnTo>
                    <a:pt x="3526" y="3469"/>
                  </a:lnTo>
                  <a:lnTo>
                    <a:pt x="3533" y="3448"/>
                  </a:lnTo>
                  <a:lnTo>
                    <a:pt x="3538" y="3431"/>
                  </a:lnTo>
                  <a:lnTo>
                    <a:pt x="3540" y="3423"/>
                  </a:lnTo>
                  <a:lnTo>
                    <a:pt x="3540" y="3417"/>
                  </a:lnTo>
                  <a:lnTo>
                    <a:pt x="3540" y="3409"/>
                  </a:lnTo>
                  <a:lnTo>
                    <a:pt x="3539" y="3402"/>
                  </a:lnTo>
                  <a:lnTo>
                    <a:pt x="3539" y="3395"/>
                  </a:lnTo>
                  <a:lnTo>
                    <a:pt x="3540" y="3387"/>
                  </a:lnTo>
                  <a:lnTo>
                    <a:pt x="3541" y="3384"/>
                  </a:lnTo>
                  <a:lnTo>
                    <a:pt x="3544" y="3380"/>
                  </a:lnTo>
                  <a:lnTo>
                    <a:pt x="3546" y="3377"/>
                  </a:lnTo>
                  <a:lnTo>
                    <a:pt x="3549" y="3373"/>
                  </a:lnTo>
                  <a:lnTo>
                    <a:pt x="3557" y="3366"/>
                  </a:lnTo>
                  <a:lnTo>
                    <a:pt x="3562" y="3358"/>
                  </a:lnTo>
                  <a:lnTo>
                    <a:pt x="3568" y="3352"/>
                  </a:lnTo>
                  <a:lnTo>
                    <a:pt x="3572" y="3344"/>
                  </a:lnTo>
                  <a:lnTo>
                    <a:pt x="3577" y="3337"/>
                  </a:lnTo>
                  <a:lnTo>
                    <a:pt x="3583" y="3329"/>
                  </a:lnTo>
                  <a:lnTo>
                    <a:pt x="3590" y="3323"/>
                  </a:lnTo>
                  <a:lnTo>
                    <a:pt x="3599" y="3315"/>
                  </a:lnTo>
                  <a:lnTo>
                    <a:pt x="3604" y="3311"/>
                  </a:lnTo>
                  <a:lnTo>
                    <a:pt x="3610" y="3304"/>
                  </a:lnTo>
                  <a:lnTo>
                    <a:pt x="3615" y="3296"/>
                  </a:lnTo>
                  <a:lnTo>
                    <a:pt x="3621" y="3288"/>
                  </a:lnTo>
                  <a:lnTo>
                    <a:pt x="3632" y="3267"/>
                  </a:lnTo>
                  <a:lnTo>
                    <a:pt x="3643" y="3243"/>
                  </a:lnTo>
                  <a:lnTo>
                    <a:pt x="3654" y="3220"/>
                  </a:lnTo>
                  <a:lnTo>
                    <a:pt x="3663" y="3199"/>
                  </a:lnTo>
                  <a:lnTo>
                    <a:pt x="3672" y="3182"/>
                  </a:lnTo>
                  <a:lnTo>
                    <a:pt x="3678" y="3169"/>
                  </a:lnTo>
                  <a:lnTo>
                    <a:pt x="3693" y="3153"/>
                  </a:lnTo>
                  <a:lnTo>
                    <a:pt x="3705" y="3134"/>
                  </a:lnTo>
                  <a:lnTo>
                    <a:pt x="3708" y="3130"/>
                  </a:lnTo>
                  <a:lnTo>
                    <a:pt x="3709" y="3124"/>
                  </a:lnTo>
                  <a:lnTo>
                    <a:pt x="3712" y="3119"/>
                  </a:lnTo>
                  <a:lnTo>
                    <a:pt x="3713" y="3112"/>
                  </a:lnTo>
                  <a:lnTo>
                    <a:pt x="3713" y="3105"/>
                  </a:lnTo>
                  <a:lnTo>
                    <a:pt x="3713" y="3099"/>
                  </a:lnTo>
                  <a:lnTo>
                    <a:pt x="3712" y="3092"/>
                  </a:lnTo>
                  <a:lnTo>
                    <a:pt x="3709" y="3084"/>
                  </a:lnTo>
                  <a:lnTo>
                    <a:pt x="3699" y="3055"/>
                  </a:lnTo>
                  <a:lnTo>
                    <a:pt x="3693" y="3028"/>
                  </a:lnTo>
                  <a:lnTo>
                    <a:pt x="3688" y="3009"/>
                  </a:lnTo>
                  <a:lnTo>
                    <a:pt x="3687" y="3003"/>
                  </a:lnTo>
                  <a:close/>
                </a:path>
              </a:pathLst>
            </a:custGeom>
            <a:solidFill>
              <a:srgbClr val="AAD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21">
              <a:extLst>
                <a:ext uri="{FF2B5EF4-FFF2-40B4-BE49-F238E27FC236}">
                  <a16:creationId xmlns:a16="http://schemas.microsoft.com/office/drawing/2014/main" id="{957C8F34-EC91-9D11-514D-4FEC936260BF}"/>
                </a:ext>
              </a:extLst>
            </p:cNvPr>
            <p:cNvSpPr>
              <a:spLocks/>
            </p:cNvSpPr>
            <p:nvPr/>
          </p:nvSpPr>
          <p:spPr bwMode="auto">
            <a:xfrm>
              <a:off x="7906457" y="3463804"/>
              <a:ext cx="126902" cy="102261"/>
            </a:xfrm>
            <a:custGeom>
              <a:avLst/>
              <a:gdLst>
                <a:gd name="T0" fmla="*/ 29 w 456"/>
                <a:gd name="T1" fmla="*/ 178 h 339"/>
                <a:gd name="T2" fmla="*/ 48 w 456"/>
                <a:gd name="T3" fmla="*/ 161 h 339"/>
                <a:gd name="T4" fmla="*/ 62 w 456"/>
                <a:gd name="T5" fmla="*/ 133 h 339"/>
                <a:gd name="T6" fmla="*/ 87 w 456"/>
                <a:gd name="T7" fmla="*/ 108 h 339"/>
                <a:gd name="T8" fmla="*/ 101 w 456"/>
                <a:gd name="T9" fmla="*/ 85 h 339"/>
                <a:gd name="T10" fmla="*/ 102 w 456"/>
                <a:gd name="T11" fmla="*/ 64 h 339"/>
                <a:gd name="T12" fmla="*/ 112 w 456"/>
                <a:gd name="T13" fmla="*/ 66 h 339"/>
                <a:gd name="T14" fmla="*/ 130 w 456"/>
                <a:gd name="T15" fmla="*/ 90 h 339"/>
                <a:gd name="T16" fmla="*/ 138 w 456"/>
                <a:gd name="T17" fmla="*/ 119 h 339"/>
                <a:gd name="T18" fmla="*/ 143 w 456"/>
                <a:gd name="T19" fmla="*/ 136 h 339"/>
                <a:gd name="T20" fmla="*/ 165 w 456"/>
                <a:gd name="T21" fmla="*/ 147 h 339"/>
                <a:gd name="T22" fmla="*/ 181 w 456"/>
                <a:gd name="T23" fmla="*/ 149 h 339"/>
                <a:gd name="T24" fmla="*/ 192 w 456"/>
                <a:gd name="T25" fmla="*/ 150 h 339"/>
                <a:gd name="T26" fmla="*/ 197 w 456"/>
                <a:gd name="T27" fmla="*/ 163 h 339"/>
                <a:gd name="T28" fmla="*/ 212 w 456"/>
                <a:gd name="T29" fmla="*/ 186 h 339"/>
                <a:gd name="T30" fmla="*/ 230 w 456"/>
                <a:gd name="T31" fmla="*/ 190 h 339"/>
                <a:gd name="T32" fmla="*/ 243 w 456"/>
                <a:gd name="T33" fmla="*/ 189 h 339"/>
                <a:gd name="T34" fmla="*/ 251 w 456"/>
                <a:gd name="T35" fmla="*/ 233 h 339"/>
                <a:gd name="T36" fmla="*/ 290 w 456"/>
                <a:gd name="T37" fmla="*/ 259 h 339"/>
                <a:gd name="T38" fmla="*/ 283 w 456"/>
                <a:gd name="T39" fmla="*/ 278 h 339"/>
                <a:gd name="T40" fmla="*/ 277 w 456"/>
                <a:gd name="T41" fmla="*/ 281 h 339"/>
                <a:gd name="T42" fmla="*/ 274 w 456"/>
                <a:gd name="T43" fmla="*/ 308 h 339"/>
                <a:gd name="T44" fmla="*/ 266 w 456"/>
                <a:gd name="T45" fmla="*/ 328 h 339"/>
                <a:gd name="T46" fmla="*/ 272 w 456"/>
                <a:gd name="T47" fmla="*/ 333 h 339"/>
                <a:gd name="T48" fmla="*/ 305 w 456"/>
                <a:gd name="T49" fmla="*/ 339 h 339"/>
                <a:gd name="T50" fmla="*/ 317 w 456"/>
                <a:gd name="T51" fmla="*/ 333 h 339"/>
                <a:gd name="T52" fmla="*/ 338 w 456"/>
                <a:gd name="T53" fmla="*/ 319 h 339"/>
                <a:gd name="T54" fmla="*/ 351 w 456"/>
                <a:gd name="T55" fmla="*/ 322 h 339"/>
                <a:gd name="T56" fmla="*/ 352 w 456"/>
                <a:gd name="T57" fmla="*/ 328 h 339"/>
                <a:gd name="T58" fmla="*/ 378 w 456"/>
                <a:gd name="T59" fmla="*/ 338 h 339"/>
                <a:gd name="T60" fmla="*/ 401 w 456"/>
                <a:gd name="T61" fmla="*/ 331 h 339"/>
                <a:gd name="T62" fmla="*/ 402 w 456"/>
                <a:gd name="T63" fmla="*/ 319 h 339"/>
                <a:gd name="T64" fmla="*/ 440 w 456"/>
                <a:gd name="T65" fmla="*/ 306 h 339"/>
                <a:gd name="T66" fmla="*/ 452 w 456"/>
                <a:gd name="T67" fmla="*/ 289 h 339"/>
                <a:gd name="T68" fmla="*/ 444 w 456"/>
                <a:gd name="T69" fmla="*/ 263 h 339"/>
                <a:gd name="T70" fmla="*/ 397 w 456"/>
                <a:gd name="T71" fmla="*/ 223 h 339"/>
                <a:gd name="T72" fmla="*/ 349 w 456"/>
                <a:gd name="T73" fmla="*/ 185 h 339"/>
                <a:gd name="T74" fmla="*/ 324 w 456"/>
                <a:gd name="T75" fmla="*/ 157 h 339"/>
                <a:gd name="T76" fmla="*/ 313 w 456"/>
                <a:gd name="T77" fmla="*/ 136 h 339"/>
                <a:gd name="T78" fmla="*/ 295 w 456"/>
                <a:gd name="T79" fmla="*/ 115 h 339"/>
                <a:gd name="T80" fmla="*/ 296 w 456"/>
                <a:gd name="T81" fmla="*/ 88 h 339"/>
                <a:gd name="T82" fmla="*/ 288 w 456"/>
                <a:gd name="T83" fmla="*/ 69 h 339"/>
                <a:gd name="T84" fmla="*/ 287 w 456"/>
                <a:gd name="T85" fmla="*/ 66 h 339"/>
                <a:gd name="T86" fmla="*/ 244 w 456"/>
                <a:gd name="T87" fmla="*/ 62 h 339"/>
                <a:gd name="T88" fmla="*/ 206 w 456"/>
                <a:gd name="T89" fmla="*/ 33 h 339"/>
                <a:gd name="T90" fmla="*/ 182 w 456"/>
                <a:gd name="T91" fmla="*/ 17 h 339"/>
                <a:gd name="T92" fmla="*/ 142 w 456"/>
                <a:gd name="T93" fmla="*/ 2 h 339"/>
                <a:gd name="T94" fmla="*/ 121 w 456"/>
                <a:gd name="T95" fmla="*/ 2 h 339"/>
                <a:gd name="T96" fmla="*/ 89 w 456"/>
                <a:gd name="T97" fmla="*/ 26 h 339"/>
                <a:gd name="T98" fmla="*/ 52 w 456"/>
                <a:gd name="T99" fmla="*/ 58 h 339"/>
                <a:gd name="T100" fmla="*/ 27 w 456"/>
                <a:gd name="T101" fmla="*/ 77 h 339"/>
                <a:gd name="T102" fmla="*/ 17 w 456"/>
                <a:gd name="T103" fmla="*/ 108 h 339"/>
                <a:gd name="T104" fmla="*/ 2 w 456"/>
                <a:gd name="T105" fmla="*/ 119 h 339"/>
                <a:gd name="T106" fmla="*/ 0 w 456"/>
                <a:gd name="T107" fmla="*/ 149 h 339"/>
                <a:gd name="T108" fmla="*/ 13 w 456"/>
                <a:gd name="T109" fmla="*/ 176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6" h="339">
                  <a:moveTo>
                    <a:pt x="13" y="176"/>
                  </a:moveTo>
                  <a:lnTo>
                    <a:pt x="17" y="178"/>
                  </a:lnTo>
                  <a:lnTo>
                    <a:pt x="24" y="179"/>
                  </a:lnTo>
                  <a:lnTo>
                    <a:pt x="29" y="178"/>
                  </a:lnTo>
                  <a:lnTo>
                    <a:pt x="33" y="176"/>
                  </a:lnTo>
                  <a:lnTo>
                    <a:pt x="38" y="174"/>
                  </a:lnTo>
                  <a:lnTo>
                    <a:pt x="41" y="171"/>
                  </a:lnTo>
                  <a:lnTo>
                    <a:pt x="48" y="161"/>
                  </a:lnTo>
                  <a:lnTo>
                    <a:pt x="53" y="150"/>
                  </a:lnTo>
                  <a:lnTo>
                    <a:pt x="59" y="140"/>
                  </a:lnTo>
                  <a:lnTo>
                    <a:pt x="60" y="136"/>
                  </a:lnTo>
                  <a:lnTo>
                    <a:pt x="62" y="133"/>
                  </a:lnTo>
                  <a:lnTo>
                    <a:pt x="65" y="127"/>
                  </a:lnTo>
                  <a:lnTo>
                    <a:pt x="72" y="119"/>
                  </a:lnTo>
                  <a:lnTo>
                    <a:pt x="80" y="113"/>
                  </a:lnTo>
                  <a:lnTo>
                    <a:pt x="87" y="108"/>
                  </a:lnTo>
                  <a:lnTo>
                    <a:pt x="94" y="100"/>
                  </a:lnTo>
                  <a:lnTo>
                    <a:pt x="100" y="95"/>
                  </a:lnTo>
                  <a:lnTo>
                    <a:pt x="102" y="91"/>
                  </a:lnTo>
                  <a:lnTo>
                    <a:pt x="101" y="85"/>
                  </a:lnTo>
                  <a:lnTo>
                    <a:pt x="100" y="72"/>
                  </a:lnTo>
                  <a:lnTo>
                    <a:pt x="101" y="68"/>
                  </a:lnTo>
                  <a:lnTo>
                    <a:pt x="101" y="66"/>
                  </a:lnTo>
                  <a:lnTo>
                    <a:pt x="102" y="64"/>
                  </a:lnTo>
                  <a:lnTo>
                    <a:pt x="104" y="63"/>
                  </a:lnTo>
                  <a:lnTo>
                    <a:pt x="106" y="63"/>
                  </a:lnTo>
                  <a:lnTo>
                    <a:pt x="108" y="64"/>
                  </a:lnTo>
                  <a:lnTo>
                    <a:pt x="112" y="66"/>
                  </a:lnTo>
                  <a:lnTo>
                    <a:pt x="115" y="69"/>
                  </a:lnTo>
                  <a:lnTo>
                    <a:pt x="123" y="78"/>
                  </a:lnTo>
                  <a:lnTo>
                    <a:pt x="127" y="85"/>
                  </a:lnTo>
                  <a:lnTo>
                    <a:pt x="130" y="90"/>
                  </a:lnTo>
                  <a:lnTo>
                    <a:pt x="134" y="96"/>
                  </a:lnTo>
                  <a:lnTo>
                    <a:pt x="136" y="104"/>
                  </a:lnTo>
                  <a:lnTo>
                    <a:pt x="137" y="111"/>
                  </a:lnTo>
                  <a:lnTo>
                    <a:pt x="138" y="119"/>
                  </a:lnTo>
                  <a:lnTo>
                    <a:pt x="139" y="126"/>
                  </a:lnTo>
                  <a:lnTo>
                    <a:pt x="139" y="129"/>
                  </a:lnTo>
                  <a:lnTo>
                    <a:pt x="140" y="132"/>
                  </a:lnTo>
                  <a:lnTo>
                    <a:pt x="143" y="136"/>
                  </a:lnTo>
                  <a:lnTo>
                    <a:pt x="145" y="139"/>
                  </a:lnTo>
                  <a:lnTo>
                    <a:pt x="153" y="143"/>
                  </a:lnTo>
                  <a:lnTo>
                    <a:pt x="159" y="145"/>
                  </a:lnTo>
                  <a:lnTo>
                    <a:pt x="165" y="147"/>
                  </a:lnTo>
                  <a:lnTo>
                    <a:pt x="167" y="147"/>
                  </a:lnTo>
                  <a:lnTo>
                    <a:pt x="174" y="149"/>
                  </a:lnTo>
                  <a:lnTo>
                    <a:pt x="178" y="149"/>
                  </a:lnTo>
                  <a:lnTo>
                    <a:pt x="181" y="149"/>
                  </a:lnTo>
                  <a:lnTo>
                    <a:pt x="186" y="148"/>
                  </a:lnTo>
                  <a:lnTo>
                    <a:pt x="188" y="148"/>
                  </a:lnTo>
                  <a:lnTo>
                    <a:pt x="190" y="148"/>
                  </a:lnTo>
                  <a:lnTo>
                    <a:pt x="192" y="150"/>
                  </a:lnTo>
                  <a:lnTo>
                    <a:pt x="195" y="154"/>
                  </a:lnTo>
                  <a:lnTo>
                    <a:pt x="197" y="162"/>
                  </a:lnTo>
                  <a:lnTo>
                    <a:pt x="197" y="162"/>
                  </a:lnTo>
                  <a:lnTo>
                    <a:pt x="197" y="163"/>
                  </a:lnTo>
                  <a:lnTo>
                    <a:pt x="200" y="171"/>
                  </a:lnTo>
                  <a:lnTo>
                    <a:pt x="203" y="178"/>
                  </a:lnTo>
                  <a:lnTo>
                    <a:pt x="208" y="182"/>
                  </a:lnTo>
                  <a:lnTo>
                    <a:pt x="212" y="186"/>
                  </a:lnTo>
                  <a:lnTo>
                    <a:pt x="217" y="189"/>
                  </a:lnTo>
                  <a:lnTo>
                    <a:pt x="224" y="191"/>
                  </a:lnTo>
                  <a:lnTo>
                    <a:pt x="228" y="191"/>
                  </a:lnTo>
                  <a:lnTo>
                    <a:pt x="230" y="190"/>
                  </a:lnTo>
                  <a:lnTo>
                    <a:pt x="235" y="187"/>
                  </a:lnTo>
                  <a:lnTo>
                    <a:pt x="238" y="187"/>
                  </a:lnTo>
                  <a:lnTo>
                    <a:pt x="241" y="187"/>
                  </a:lnTo>
                  <a:lnTo>
                    <a:pt x="243" y="189"/>
                  </a:lnTo>
                  <a:lnTo>
                    <a:pt x="244" y="191"/>
                  </a:lnTo>
                  <a:lnTo>
                    <a:pt x="248" y="203"/>
                  </a:lnTo>
                  <a:lnTo>
                    <a:pt x="250" y="218"/>
                  </a:lnTo>
                  <a:lnTo>
                    <a:pt x="251" y="233"/>
                  </a:lnTo>
                  <a:lnTo>
                    <a:pt x="250" y="240"/>
                  </a:lnTo>
                  <a:lnTo>
                    <a:pt x="285" y="254"/>
                  </a:lnTo>
                  <a:lnTo>
                    <a:pt x="288" y="257"/>
                  </a:lnTo>
                  <a:lnTo>
                    <a:pt x="290" y="259"/>
                  </a:lnTo>
                  <a:lnTo>
                    <a:pt x="290" y="261"/>
                  </a:lnTo>
                  <a:lnTo>
                    <a:pt x="290" y="264"/>
                  </a:lnTo>
                  <a:lnTo>
                    <a:pt x="286" y="270"/>
                  </a:lnTo>
                  <a:lnTo>
                    <a:pt x="283" y="278"/>
                  </a:lnTo>
                  <a:lnTo>
                    <a:pt x="281" y="282"/>
                  </a:lnTo>
                  <a:lnTo>
                    <a:pt x="280" y="282"/>
                  </a:lnTo>
                  <a:lnTo>
                    <a:pt x="278" y="282"/>
                  </a:lnTo>
                  <a:lnTo>
                    <a:pt x="277" y="281"/>
                  </a:lnTo>
                  <a:lnTo>
                    <a:pt x="277" y="281"/>
                  </a:lnTo>
                  <a:lnTo>
                    <a:pt x="277" y="292"/>
                  </a:lnTo>
                  <a:lnTo>
                    <a:pt x="276" y="301"/>
                  </a:lnTo>
                  <a:lnTo>
                    <a:pt x="274" y="308"/>
                  </a:lnTo>
                  <a:lnTo>
                    <a:pt x="272" y="314"/>
                  </a:lnTo>
                  <a:lnTo>
                    <a:pt x="270" y="320"/>
                  </a:lnTo>
                  <a:lnTo>
                    <a:pt x="267" y="324"/>
                  </a:lnTo>
                  <a:lnTo>
                    <a:pt x="266" y="328"/>
                  </a:lnTo>
                  <a:lnTo>
                    <a:pt x="267" y="330"/>
                  </a:lnTo>
                  <a:lnTo>
                    <a:pt x="269" y="331"/>
                  </a:lnTo>
                  <a:lnTo>
                    <a:pt x="270" y="332"/>
                  </a:lnTo>
                  <a:lnTo>
                    <a:pt x="272" y="333"/>
                  </a:lnTo>
                  <a:lnTo>
                    <a:pt x="281" y="336"/>
                  </a:lnTo>
                  <a:lnTo>
                    <a:pt x="290" y="339"/>
                  </a:lnTo>
                  <a:lnTo>
                    <a:pt x="297" y="339"/>
                  </a:lnTo>
                  <a:lnTo>
                    <a:pt x="305" y="339"/>
                  </a:lnTo>
                  <a:lnTo>
                    <a:pt x="308" y="339"/>
                  </a:lnTo>
                  <a:lnTo>
                    <a:pt x="312" y="338"/>
                  </a:lnTo>
                  <a:lnTo>
                    <a:pt x="314" y="335"/>
                  </a:lnTo>
                  <a:lnTo>
                    <a:pt x="317" y="333"/>
                  </a:lnTo>
                  <a:lnTo>
                    <a:pt x="322" y="329"/>
                  </a:lnTo>
                  <a:lnTo>
                    <a:pt x="327" y="325"/>
                  </a:lnTo>
                  <a:lnTo>
                    <a:pt x="333" y="322"/>
                  </a:lnTo>
                  <a:lnTo>
                    <a:pt x="338" y="319"/>
                  </a:lnTo>
                  <a:lnTo>
                    <a:pt x="341" y="318"/>
                  </a:lnTo>
                  <a:lnTo>
                    <a:pt x="344" y="318"/>
                  </a:lnTo>
                  <a:lnTo>
                    <a:pt x="348" y="319"/>
                  </a:lnTo>
                  <a:lnTo>
                    <a:pt x="351" y="322"/>
                  </a:lnTo>
                  <a:lnTo>
                    <a:pt x="355" y="325"/>
                  </a:lnTo>
                  <a:lnTo>
                    <a:pt x="355" y="328"/>
                  </a:lnTo>
                  <a:lnTo>
                    <a:pt x="354" y="328"/>
                  </a:lnTo>
                  <a:lnTo>
                    <a:pt x="352" y="328"/>
                  </a:lnTo>
                  <a:lnTo>
                    <a:pt x="352" y="329"/>
                  </a:lnTo>
                  <a:lnTo>
                    <a:pt x="362" y="333"/>
                  </a:lnTo>
                  <a:lnTo>
                    <a:pt x="370" y="336"/>
                  </a:lnTo>
                  <a:lnTo>
                    <a:pt x="378" y="338"/>
                  </a:lnTo>
                  <a:lnTo>
                    <a:pt x="385" y="338"/>
                  </a:lnTo>
                  <a:lnTo>
                    <a:pt x="390" y="336"/>
                  </a:lnTo>
                  <a:lnTo>
                    <a:pt x="398" y="332"/>
                  </a:lnTo>
                  <a:lnTo>
                    <a:pt x="401" y="331"/>
                  </a:lnTo>
                  <a:lnTo>
                    <a:pt x="401" y="329"/>
                  </a:lnTo>
                  <a:lnTo>
                    <a:pt x="401" y="324"/>
                  </a:lnTo>
                  <a:lnTo>
                    <a:pt x="401" y="322"/>
                  </a:lnTo>
                  <a:lnTo>
                    <a:pt x="402" y="319"/>
                  </a:lnTo>
                  <a:lnTo>
                    <a:pt x="403" y="317"/>
                  </a:lnTo>
                  <a:lnTo>
                    <a:pt x="407" y="314"/>
                  </a:lnTo>
                  <a:lnTo>
                    <a:pt x="422" y="310"/>
                  </a:lnTo>
                  <a:lnTo>
                    <a:pt x="440" y="306"/>
                  </a:lnTo>
                  <a:lnTo>
                    <a:pt x="443" y="303"/>
                  </a:lnTo>
                  <a:lnTo>
                    <a:pt x="446" y="299"/>
                  </a:lnTo>
                  <a:lnTo>
                    <a:pt x="450" y="293"/>
                  </a:lnTo>
                  <a:lnTo>
                    <a:pt x="452" y="289"/>
                  </a:lnTo>
                  <a:lnTo>
                    <a:pt x="455" y="280"/>
                  </a:lnTo>
                  <a:lnTo>
                    <a:pt x="456" y="276"/>
                  </a:lnTo>
                  <a:lnTo>
                    <a:pt x="453" y="271"/>
                  </a:lnTo>
                  <a:lnTo>
                    <a:pt x="444" y="263"/>
                  </a:lnTo>
                  <a:lnTo>
                    <a:pt x="434" y="250"/>
                  </a:lnTo>
                  <a:lnTo>
                    <a:pt x="423" y="240"/>
                  </a:lnTo>
                  <a:lnTo>
                    <a:pt x="411" y="232"/>
                  </a:lnTo>
                  <a:lnTo>
                    <a:pt x="397" y="223"/>
                  </a:lnTo>
                  <a:lnTo>
                    <a:pt x="383" y="214"/>
                  </a:lnTo>
                  <a:lnTo>
                    <a:pt x="376" y="207"/>
                  </a:lnTo>
                  <a:lnTo>
                    <a:pt x="366" y="197"/>
                  </a:lnTo>
                  <a:lnTo>
                    <a:pt x="349" y="185"/>
                  </a:lnTo>
                  <a:lnTo>
                    <a:pt x="334" y="173"/>
                  </a:lnTo>
                  <a:lnTo>
                    <a:pt x="327" y="169"/>
                  </a:lnTo>
                  <a:lnTo>
                    <a:pt x="326" y="165"/>
                  </a:lnTo>
                  <a:lnTo>
                    <a:pt x="324" y="157"/>
                  </a:lnTo>
                  <a:lnTo>
                    <a:pt x="323" y="151"/>
                  </a:lnTo>
                  <a:lnTo>
                    <a:pt x="319" y="145"/>
                  </a:lnTo>
                  <a:lnTo>
                    <a:pt x="317" y="140"/>
                  </a:lnTo>
                  <a:lnTo>
                    <a:pt x="313" y="136"/>
                  </a:lnTo>
                  <a:lnTo>
                    <a:pt x="305" y="128"/>
                  </a:lnTo>
                  <a:lnTo>
                    <a:pt x="299" y="121"/>
                  </a:lnTo>
                  <a:lnTo>
                    <a:pt x="297" y="118"/>
                  </a:lnTo>
                  <a:lnTo>
                    <a:pt x="295" y="115"/>
                  </a:lnTo>
                  <a:lnTo>
                    <a:pt x="294" y="111"/>
                  </a:lnTo>
                  <a:lnTo>
                    <a:pt x="294" y="108"/>
                  </a:lnTo>
                  <a:lnTo>
                    <a:pt x="295" y="99"/>
                  </a:lnTo>
                  <a:lnTo>
                    <a:pt x="296" y="88"/>
                  </a:lnTo>
                  <a:lnTo>
                    <a:pt x="296" y="83"/>
                  </a:lnTo>
                  <a:lnTo>
                    <a:pt x="295" y="77"/>
                  </a:lnTo>
                  <a:lnTo>
                    <a:pt x="293" y="73"/>
                  </a:lnTo>
                  <a:lnTo>
                    <a:pt x="288" y="69"/>
                  </a:lnTo>
                  <a:lnTo>
                    <a:pt x="285" y="68"/>
                  </a:lnTo>
                  <a:lnTo>
                    <a:pt x="284" y="67"/>
                  </a:lnTo>
                  <a:lnTo>
                    <a:pt x="286" y="66"/>
                  </a:lnTo>
                  <a:lnTo>
                    <a:pt x="287" y="66"/>
                  </a:lnTo>
                  <a:lnTo>
                    <a:pt x="287" y="66"/>
                  </a:lnTo>
                  <a:lnTo>
                    <a:pt x="274" y="64"/>
                  </a:lnTo>
                  <a:lnTo>
                    <a:pt x="248" y="62"/>
                  </a:lnTo>
                  <a:lnTo>
                    <a:pt x="244" y="62"/>
                  </a:lnTo>
                  <a:lnTo>
                    <a:pt x="209" y="45"/>
                  </a:lnTo>
                  <a:lnTo>
                    <a:pt x="208" y="43"/>
                  </a:lnTo>
                  <a:lnTo>
                    <a:pt x="207" y="36"/>
                  </a:lnTo>
                  <a:lnTo>
                    <a:pt x="206" y="33"/>
                  </a:lnTo>
                  <a:lnTo>
                    <a:pt x="202" y="28"/>
                  </a:lnTo>
                  <a:lnTo>
                    <a:pt x="199" y="25"/>
                  </a:lnTo>
                  <a:lnTo>
                    <a:pt x="195" y="23"/>
                  </a:lnTo>
                  <a:lnTo>
                    <a:pt x="182" y="17"/>
                  </a:lnTo>
                  <a:lnTo>
                    <a:pt x="169" y="11"/>
                  </a:lnTo>
                  <a:lnTo>
                    <a:pt x="157" y="6"/>
                  </a:lnTo>
                  <a:lnTo>
                    <a:pt x="148" y="4"/>
                  </a:lnTo>
                  <a:lnTo>
                    <a:pt x="142" y="2"/>
                  </a:lnTo>
                  <a:lnTo>
                    <a:pt x="134" y="0"/>
                  </a:lnTo>
                  <a:lnTo>
                    <a:pt x="129" y="0"/>
                  </a:lnTo>
                  <a:lnTo>
                    <a:pt x="125" y="0"/>
                  </a:lnTo>
                  <a:lnTo>
                    <a:pt x="121" y="2"/>
                  </a:lnTo>
                  <a:lnTo>
                    <a:pt x="115" y="6"/>
                  </a:lnTo>
                  <a:lnTo>
                    <a:pt x="106" y="14"/>
                  </a:lnTo>
                  <a:lnTo>
                    <a:pt x="98" y="20"/>
                  </a:lnTo>
                  <a:lnTo>
                    <a:pt x="89" y="26"/>
                  </a:lnTo>
                  <a:lnTo>
                    <a:pt x="76" y="37"/>
                  </a:lnTo>
                  <a:lnTo>
                    <a:pt x="60" y="54"/>
                  </a:lnTo>
                  <a:lnTo>
                    <a:pt x="58" y="56"/>
                  </a:lnTo>
                  <a:lnTo>
                    <a:pt x="52" y="58"/>
                  </a:lnTo>
                  <a:lnTo>
                    <a:pt x="42" y="64"/>
                  </a:lnTo>
                  <a:lnTo>
                    <a:pt x="37" y="67"/>
                  </a:lnTo>
                  <a:lnTo>
                    <a:pt x="31" y="73"/>
                  </a:lnTo>
                  <a:lnTo>
                    <a:pt x="27" y="77"/>
                  </a:lnTo>
                  <a:lnTo>
                    <a:pt x="24" y="84"/>
                  </a:lnTo>
                  <a:lnTo>
                    <a:pt x="22" y="94"/>
                  </a:lnTo>
                  <a:lnTo>
                    <a:pt x="20" y="101"/>
                  </a:lnTo>
                  <a:lnTo>
                    <a:pt x="17" y="108"/>
                  </a:lnTo>
                  <a:lnTo>
                    <a:pt x="13" y="113"/>
                  </a:lnTo>
                  <a:lnTo>
                    <a:pt x="9" y="117"/>
                  </a:lnTo>
                  <a:lnTo>
                    <a:pt x="5" y="118"/>
                  </a:lnTo>
                  <a:lnTo>
                    <a:pt x="2" y="119"/>
                  </a:lnTo>
                  <a:lnTo>
                    <a:pt x="1" y="122"/>
                  </a:lnTo>
                  <a:lnTo>
                    <a:pt x="0" y="126"/>
                  </a:lnTo>
                  <a:lnTo>
                    <a:pt x="0" y="133"/>
                  </a:lnTo>
                  <a:lnTo>
                    <a:pt x="0" y="149"/>
                  </a:lnTo>
                  <a:lnTo>
                    <a:pt x="1" y="162"/>
                  </a:lnTo>
                  <a:lnTo>
                    <a:pt x="2" y="171"/>
                  </a:lnTo>
                  <a:lnTo>
                    <a:pt x="2" y="174"/>
                  </a:lnTo>
                  <a:lnTo>
                    <a:pt x="13" y="1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8" name="Freeform 22">
              <a:extLst>
                <a:ext uri="{FF2B5EF4-FFF2-40B4-BE49-F238E27FC236}">
                  <a16:creationId xmlns:a16="http://schemas.microsoft.com/office/drawing/2014/main" id="{FE756581-25CC-E38F-F9D6-14DAB12F9C77}"/>
                </a:ext>
              </a:extLst>
            </p:cNvPr>
            <p:cNvSpPr>
              <a:spLocks/>
            </p:cNvSpPr>
            <p:nvPr/>
          </p:nvSpPr>
          <p:spPr bwMode="auto">
            <a:xfrm>
              <a:off x="7919009" y="3508919"/>
              <a:ext cx="15340" cy="16541"/>
            </a:xfrm>
            <a:custGeom>
              <a:avLst/>
              <a:gdLst>
                <a:gd name="T0" fmla="*/ 18 w 57"/>
                <a:gd name="T1" fmla="*/ 28 h 56"/>
                <a:gd name="T2" fmla="*/ 15 w 57"/>
                <a:gd name="T3" fmla="*/ 32 h 56"/>
                <a:gd name="T4" fmla="*/ 6 w 57"/>
                <a:gd name="T5" fmla="*/ 38 h 56"/>
                <a:gd name="T6" fmla="*/ 3 w 57"/>
                <a:gd name="T7" fmla="*/ 42 h 56"/>
                <a:gd name="T8" fmla="*/ 0 w 57"/>
                <a:gd name="T9" fmla="*/ 45 h 56"/>
                <a:gd name="T10" fmla="*/ 0 w 57"/>
                <a:gd name="T11" fmla="*/ 47 h 56"/>
                <a:gd name="T12" fmla="*/ 0 w 57"/>
                <a:gd name="T13" fmla="*/ 48 h 56"/>
                <a:gd name="T14" fmla="*/ 1 w 57"/>
                <a:gd name="T15" fmla="*/ 49 h 56"/>
                <a:gd name="T16" fmla="*/ 2 w 57"/>
                <a:gd name="T17" fmla="*/ 50 h 56"/>
                <a:gd name="T18" fmla="*/ 11 w 57"/>
                <a:gd name="T19" fmla="*/ 54 h 56"/>
                <a:gd name="T20" fmla="*/ 19 w 57"/>
                <a:gd name="T21" fmla="*/ 56 h 56"/>
                <a:gd name="T22" fmla="*/ 27 w 57"/>
                <a:gd name="T23" fmla="*/ 56 h 56"/>
                <a:gd name="T24" fmla="*/ 29 w 57"/>
                <a:gd name="T25" fmla="*/ 56 h 56"/>
                <a:gd name="T26" fmla="*/ 55 w 57"/>
                <a:gd name="T27" fmla="*/ 39 h 56"/>
                <a:gd name="T28" fmla="*/ 55 w 57"/>
                <a:gd name="T29" fmla="*/ 37 h 56"/>
                <a:gd name="T30" fmla="*/ 57 w 57"/>
                <a:gd name="T31" fmla="*/ 31 h 56"/>
                <a:gd name="T32" fmla="*/ 57 w 57"/>
                <a:gd name="T33" fmla="*/ 26 h 56"/>
                <a:gd name="T34" fmla="*/ 57 w 57"/>
                <a:gd name="T35" fmla="*/ 22 h 56"/>
                <a:gd name="T36" fmla="*/ 56 w 57"/>
                <a:gd name="T37" fmla="*/ 16 h 56"/>
                <a:gd name="T38" fmla="*/ 55 w 57"/>
                <a:gd name="T39" fmla="*/ 12 h 56"/>
                <a:gd name="T40" fmla="*/ 49 w 57"/>
                <a:gd name="T41" fmla="*/ 3 h 56"/>
                <a:gd name="T42" fmla="*/ 49 w 57"/>
                <a:gd name="T43" fmla="*/ 1 h 56"/>
                <a:gd name="T44" fmla="*/ 47 w 57"/>
                <a:gd name="T45" fmla="*/ 1 h 56"/>
                <a:gd name="T46" fmla="*/ 44 w 57"/>
                <a:gd name="T47" fmla="*/ 0 h 56"/>
                <a:gd name="T48" fmla="*/ 42 w 57"/>
                <a:gd name="T49" fmla="*/ 0 h 56"/>
                <a:gd name="T50" fmla="*/ 39 w 57"/>
                <a:gd name="T51" fmla="*/ 0 h 56"/>
                <a:gd name="T52" fmla="*/ 37 w 57"/>
                <a:gd name="T53" fmla="*/ 2 h 56"/>
                <a:gd name="T54" fmla="*/ 35 w 57"/>
                <a:gd name="T55" fmla="*/ 4 h 56"/>
                <a:gd name="T56" fmla="*/ 34 w 57"/>
                <a:gd name="T57" fmla="*/ 6 h 56"/>
                <a:gd name="T58" fmla="*/ 35 w 57"/>
                <a:gd name="T59" fmla="*/ 5 h 56"/>
                <a:gd name="T60" fmla="*/ 34 w 57"/>
                <a:gd name="T61" fmla="*/ 5 h 56"/>
                <a:gd name="T62" fmla="*/ 29 w 57"/>
                <a:gd name="T63" fmla="*/ 12 h 56"/>
                <a:gd name="T64" fmla="*/ 21 w 57"/>
                <a:gd name="T65" fmla="*/ 27 h 56"/>
                <a:gd name="T66" fmla="*/ 18 w 57"/>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 h="56">
                  <a:moveTo>
                    <a:pt x="18" y="28"/>
                  </a:moveTo>
                  <a:lnTo>
                    <a:pt x="15" y="32"/>
                  </a:lnTo>
                  <a:lnTo>
                    <a:pt x="6" y="38"/>
                  </a:lnTo>
                  <a:lnTo>
                    <a:pt x="3" y="42"/>
                  </a:lnTo>
                  <a:lnTo>
                    <a:pt x="0" y="45"/>
                  </a:lnTo>
                  <a:lnTo>
                    <a:pt x="0" y="47"/>
                  </a:lnTo>
                  <a:lnTo>
                    <a:pt x="0" y="48"/>
                  </a:lnTo>
                  <a:lnTo>
                    <a:pt x="1" y="49"/>
                  </a:lnTo>
                  <a:lnTo>
                    <a:pt x="2" y="50"/>
                  </a:lnTo>
                  <a:lnTo>
                    <a:pt x="11" y="54"/>
                  </a:lnTo>
                  <a:lnTo>
                    <a:pt x="19" y="56"/>
                  </a:lnTo>
                  <a:lnTo>
                    <a:pt x="27" y="56"/>
                  </a:lnTo>
                  <a:lnTo>
                    <a:pt x="29" y="56"/>
                  </a:lnTo>
                  <a:lnTo>
                    <a:pt x="55" y="39"/>
                  </a:lnTo>
                  <a:lnTo>
                    <a:pt x="55" y="37"/>
                  </a:lnTo>
                  <a:lnTo>
                    <a:pt x="57" y="31"/>
                  </a:lnTo>
                  <a:lnTo>
                    <a:pt x="57" y="26"/>
                  </a:lnTo>
                  <a:lnTo>
                    <a:pt x="57" y="22"/>
                  </a:lnTo>
                  <a:lnTo>
                    <a:pt x="56" y="16"/>
                  </a:lnTo>
                  <a:lnTo>
                    <a:pt x="55" y="12"/>
                  </a:lnTo>
                  <a:lnTo>
                    <a:pt x="49" y="3"/>
                  </a:lnTo>
                  <a:lnTo>
                    <a:pt x="49" y="1"/>
                  </a:lnTo>
                  <a:lnTo>
                    <a:pt x="47" y="1"/>
                  </a:lnTo>
                  <a:lnTo>
                    <a:pt x="44" y="0"/>
                  </a:lnTo>
                  <a:lnTo>
                    <a:pt x="42" y="0"/>
                  </a:lnTo>
                  <a:lnTo>
                    <a:pt x="39" y="0"/>
                  </a:lnTo>
                  <a:lnTo>
                    <a:pt x="37" y="2"/>
                  </a:lnTo>
                  <a:lnTo>
                    <a:pt x="35" y="4"/>
                  </a:lnTo>
                  <a:lnTo>
                    <a:pt x="34" y="6"/>
                  </a:lnTo>
                  <a:lnTo>
                    <a:pt x="35" y="5"/>
                  </a:lnTo>
                  <a:lnTo>
                    <a:pt x="34" y="5"/>
                  </a:lnTo>
                  <a:lnTo>
                    <a:pt x="29" y="12"/>
                  </a:lnTo>
                  <a:lnTo>
                    <a:pt x="21" y="27"/>
                  </a:lnTo>
                  <a:lnTo>
                    <a:pt x="1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50" name="Freeform 23">
              <a:extLst>
                <a:ext uri="{FF2B5EF4-FFF2-40B4-BE49-F238E27FC236}">
                  <a16:creationId xmlns:a16="http://schemas.microsoft.com/office/drawing/2014/main" id="{CFB55A4A-ECB2-2B55-8A8C-EFAFDA07873D}"/>
                </a:ext>
              </a:extLst>
            </p:cNvPr>
            <p:cNvSpPr>
              <a:spLocks/>
            </p:cNvSpPr>
            <p:nvPr/>
          </p:nvSpPr>
          <p:spPr bwMode="auto">
            <a:xfrm>
              <a:off x="7966423" y="3588623"/>
              <a:ext cx="32074" cy="36092"/>
            </a:xfrm>
            <a:custGeom>
              <a:avLst/>
              <a:gdLst>
                <a:gd name="T0" fmla="*/ 69 w 117"/>
                <a:gd name="T1" fmla="*/ 19 h 120"/>
                <a:gd name="T2" fmla="*/ 59 w 117"/>
                <a:gd name="T3" fmla="*/ 19 h 120"/>
                <a:gd name="T4" fmla="*/ 33 w 117"/>
                <a:gd name="T5" fmla="*/ 17 h 120"/>
                <a:gd name="T6" fmla="*/ 21 w 117"/>
                <a:gd name="T7" fmla="*/ 11 h 120"/>
                <a:gd name="T8" fmla="*/ 15 w 117"/>
                <a:gd name="T9" fmla="*/ 1 h 120"/>
                <a:gd name="T10" fmla="*/ 13 w 117"/>
                <a:gd name="T11" fmla="*/ 0 h 120"/>
                <a:gd name="T12" fmla="*/ 8 w 117"/>
                <a:gd name="T13" fmla="*/ 4 h 120"/>
                <a:gd name="T14" fmla="*/ 3 w 117"/>
                <a:gd name="T15" fmla="*/ 27 h 120"/>
                <a:gd name="T16" fmla="*/ 1 w 117"/>
                <a:gd name="T17" fmla="*/ 34 h 120"/>
                <a:gd name="T18" fmla="*/ 1 w 117"/>
                <a:gd name="T19" fmla="*/ 55 h 120"/>
                <a:gd name="T20" fmla="*/ 0 w 117"/>
                <a:gd name="T21" fmla="*/ 68 h 120"/>
                <a:gd name="T22" fmla="*/ 3 w 117"/>
                <a:gd name="T23" fmla="*/ 74 h 120"/>
                <a:gd name="T24" fmla="*/ 11 w 117"/>
                <a:gd name="T25" fmla="*/ 77 h 120"/>
                <a:gd name="T26" fmla="*/ 18 w 117"/>
                <a:gd name="T27" fmla="*/ 77 h 120"/>
                <a:gd name="T28" fmla="*/ 25 w 117"/>
                <a:gd name="T29" fmla="*/ 76 h 120"/>
                <a:gd name="T30" fmla="*/ 29 w 117"/>
                <a:gd name="T31" fmla="*/ 79 h 120"/>
                <a:gd name="T32" fmla="*/ 32 w 117"/>
                <a:gd name="T33" fmla="*/ 96 h 120"/>
                <a:gd name="T34" fmla="*/ 34 w 117"/>
                <a:gd name="T35" fmla="*/ 108 h 120"/>
                <a:gd name="T36" fmla="*/ 39 w 117"/>
                <a:gd name="T37" fmla="*/ 113 h 120"/>
                <a:gd name="T38" fmla="*/ 58 w 117"/>
                <a:gd name="T39" fmla="*/ 117 h 120"/>
                <a:gd name="T40" fmla="*/ 79 w 117"/>
                <a:gd name="T41" fmla="*/ 119 h 120"/>
                <a:gd name="T42" fmla="*/ 87 w 117"/>
                <a:gd name="T43" fmla="*/ 118 h 120"/>
                <a:gd name="T44" fmla="*/ 100 w 117"/>
                <a:gd name="T45" fmla="*/ 109 h 120"/>
                <a:gd name="T46" fmla="*/ 109 w 117"/>
                <a:gd name="T47" fmla="*/ 100 h 120"/>
                <a:gd name="T48" fmla="*/ 113 w 117"/>
                <a:gd name="T49" fmla="*/ 87 h 120"/>
                <a:gd name="T50" fmla="*/ 117 w 117"/>
                <a:gd name="T51" fmla="*/ 73 h 120"/>
                <a:gd name="T52" fmla="*/ 115 w 117"/>
                <a:gd name="T53" fmla="*/ 63 h 120"/>
                <a:gd name="T54" fmla="*/ 111 w 117"/>
                <a:gd name="T55" fmla="*/ 57 h 120"/>
                <a:gd name="T56" fmla="*/ 109 w 117"/>
                <a:gd name="T57" fmla="*/ 58 h 120"/>
                <a:gd name="T58" fmla="*/ 109 w 117"/>
                <a:gd name="T59" fmla="*/ 59 h 120"/>
                <a:gd name="T60" fmla="*/ 103 w 117"/>
                <a:gd name="T61" fmla="*/ 44 h 120"/>
                <a:gd name="T62" fmla="*/ 104 w 117"/>
                <a:gd name="T63" fmla="*/ 33 h 120"/>
                <a:gd name="T64" fmla="*/ 104 w 117"/>
                <a:gd name="T65" fmla="*/ 25 h 120"/>
                <a:gd name="T66" fmla="*/ 103 w 117"/>
                <a:gd name="T67" fmla="*/ 22 h 120"/>
                <a:gd name="T68" fmla="*/ 96 w 117"/>
                <a:gd name="T69" fmla="*/ 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7" h="120">
                  <a:moveTo>
                    <a:pt x="86" y="19"/>
                  </a:moveTo>
                  <a:lnTo>
                    <a:pt x="69" y="19"/>
                  </a:lnTo>
                  <a:lnTo>
                    <a:pt x="62" y="19"/>
                  </a:lnTo>
                  <a:lnTo>
                    <a:pt x="59" y="19"/>
                  </a:lnTo>
                  <a:lnTo>
                    <a:pt x="53" y="19"/>
                  </a:lnTo>
                  <a:lnTo>
                    <a:pt x="33" y="17"/>
                  </a:lnTo>
                  <a:lnTo>
                    <a:pt x="23" y="15"/>
                  </a:lnTo>
                  <a:lnTo>
                    <a:pt x="21" y="11"/>
                  </a:lnTo>
                  <a:lnTo>
                    <a:pt x="16" y="3"/>
                  </a:lnTo>
                  <a:lnTo>
                    <a:pt x="15" y="1"/>
                  </a:lnTo>
                  <a:lnTo>
                    <a:pt x="14" y="1"/>
                  </a:lnTo>
                  <a:lnTo>
                    <a:pt x="13" y="0"/>
                  </a:lnTo>
                  <a:lnTo>
                    <a:pt x="12" y="1"/>
                  </a:lnTo>
                  <a:lnTo>
                    <a:pt x="8" y="4"/>
                  </a:lnTo>
                  <a:lnTo>
                    <a:pt x="6" y="13"/>
                  </a:lnTo>
                  <a:lnTo>
                    <a:pt x="3" y="27"/>
                  </a:lnTo>
                  <a:lnTo>
                    <a:pt x="2" y="32"/>
                  </a:lnTo>
                  <a:lnTo>
                    <a:pt x="1" y="34"/>
                  </a:lnTo>
                  <a:lnTo>
                    <a:pt x="1" y="43"/>
                  </a:lnTo>
                  <a:lnTo>
                    <a:pt x="1" y="55"/>
                  </a:lnTo>
                  <a:lnTo>
                    <a:pt x="0" y="65"/>
                  </a:lnTo>
                  <a:lnTo>
                    <a:pt x="0" y="68"/>
                  </a:lnTo>
                  <a:lnTo>
                    <a:pt x="1" y="72"/>
                  </a:lnTo>
                  <a:lnTo>
                    <a:pt x="3" y="74"/>
                  </a:lnTo>
                  <a:lnTo>
                    <a:pt x="6" y="76"/>
                  </a:lnTo>
                  <a:lnTo>
                    <a:pt x="11" y="77"/>
                  </a:lnTo>
                  <a:lnTo>
                    <a:pt x="14" y="77"/>
                  </a:lnTo>
                  <a:lnTo>
                    <a:pt x="18" y="77"/>
                  </a:lnTo>
                  <a:lnTo>
                    <a:pt x="22" y="76"/>
                  </a:lnTo>
                  <a:lnTo>
                    <a:pt x="25" y="76"/>
                  </a:lnTo>
                  <a:lnTo>
                    <a:pt x="27" y="77"/>
                  </a:lnTo>
                  <a:lnTo>
                    <a:pt x="29" y="79"/>
                  </a:lnTo>
                  <a:lnTo>
                    <a:pt x="32" y="84"/>
                  </a:lnTo>
                  <a:lnTo>
                    <a:pt x="32" y="96"/>
                  </a:lnTo>
                  <a:lnTo>
                    <a:pt x="33" y="105"/>
                  </a:lnTo>
                  <a:lnTo>
                    <a:pt x="34" y="108"/>
                  </a:lnTo>
                  <a:lnTo>
                    <a:pt x="36" y="111"/>
                  </a:lnTo>
                  <a:lnTo>
                    <a:pt x="39" y="113"/>
                  </a:lnTo>
                  <a:lnTo>
                    <a:pt x="45" y="115"/>
                  </a:lnTo>
                  <a:lnTo>
                    <a:pt x="58" y="117"/>
                  </a:lnTo>
                  <a:lnTo>
                    <a:pt x="70" y="118"/>
                  </a:lnTo>
                  <a:lnTo>
                    <a:pt x="79" y="119"/>
                  </a:lnTo>
                  <a:lnTo>
                    <a:pt x="83" y="120"/>
                  </a:lnTo>
                  <a:lnTo>
                    <a:pt x="87" y="118"/>
                  </a:lnTo>
                  <a:lnTo>
                    <a:pt x="96" y="112"/>
                  </a:lnTo>
                  <a:lnTo>
                    <a:pt x="100" y="109"/>
                  </a:lnTo>
                  <a:lnTo>
                    <a:pt x="104" y="105"/>
                  </a:lnTo>
                  <a:lnTo>
                    <a:pt x="109" y="100"/>
                  </a:lnTo>
                  <a:lnTo>
                    <a:pt x="111" y="95"/>
                  </a:lnTo>
                  <a:lnTo>
                    <a:pt x="113" y="87"/>
                  </a:lnTo>
                  <a:lnTo>
                    <a:pt x="115" y="77"/>
                  </a:lnTo>
                  <a:lnTo>
                    <a:pt x="117" y="73"/>
                  </a:lnTo>
                  <a:lnTo>
                    <a:pt x="117" y="67"/>
                  </a:lnTo>
                  <a:lnTo>
                    <a:pt x="115" y="63"/>
                  </a:lnTo>
                  <a:lnTo>
                    <a:pt x="113" y="59"/>
                  </a:lnTo>
                  <a:lnTo>
                    <a:pt x="111" y="57"/>
                  </a:lnTo>
                  <a:lnTo>
                    <a:pt x="110" y="57"/>
                  </a:lnTo>
                  <a:lnTo>
                    <a:pt x="109" y="58"/>
                  </a:lnTo>
                  <a:lnTo>
                    <a:pt x="109" y="59"/>
                  </a:lnTo>
                  <a:lnTo>
                    <a:pt x="109" y="59"/>
                  </a:lnTo>
                  <a:lnTo>
                    <a:pt x="106" y="52"/>
                  </a:lnTo>
                  <a:lnTo>
                    <a:pt x="103" y="44"/>
                  </a:lnTo>
                  <a:lnTo>
                    <a:pt x="103" y="38"/>
                  </a:lnTo>
                  <a:lnTo>
                    <a:pt x="104" y="33"/>
                  </a:lnTo>
                  <a:lnTo>
                    <a:pt x="104" y="27"/>
                  </a:lnTo>
                  <a:lnTo>
                    <a:pt x="104" y="25"/>
                  </a:lnTo>
                  <a:lnTo>
                    <a:pt x="104" y="24"/>
                  </a:lnTo>
                  <a:lnTo>
                    <a:pt x="103" y="22"/>
                  </a:lnTo>
                  <a:lnTo>
                    <a:pt x="101" y="21"/>
                  </a:lnTo>
                  <a:lnTo>
                    <a:pt x="96" y="19"/>
                  </a:lnTo>
                  <a:lnTo>
                    <a:pt x="86"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53" name="Freeform 24">
              <a:extLst>
                <a:ext uri="{FF2B5EF4-FFF2-40B4-BE49-F238E27FC236}">
                  <a16:creationId xmlns:a16="http://schemas.microsoft.com/office/drawing/2014/main" id="{4793840A-0484-DE64-5027-19D69325B901}"/>
                </a:ext>
              </a:extLst>
            </p:cNvPr>
            <p:cNvSpPr>
              <a:spLocks/>
            </p:cNvSpPr>
            <p:nvPr/>
          </p:nvSpPr>
          <p:spPr bwMode="auto">
            <a:xfrm>
              <a:off x="8020808" y="3551027"/>
              <a:ext cx="90645" cy="69176"/>
            </a:xfrm>
            <a:custGeom>
              <a:avLst/>
              <a:gdLst>
                <a:gd name="T0" fmla="*/ 45 w 326"/>
                <a:gd name="T1" fmla="*/ 129 h 234"/>
                <a:gd name="T2" fmla="*/ 25 w 326"/>
                <a:gd name="T3" fmla="*/ 122 h 234"/>
                <a:gd name="T4" fmla="*/ 15 w 326"/>
                <a:gd name="T5" fmla="*/ 124 h 234"/>
                <a:gd name="T6" fmla="*/ 10 w 326"/>
                <a:gd name="T7" fmla="*/ 129 h 234"/>
                <a:gd name="T8" fmla="*/ 9 w 326"/>
                <a:gd name="T9" fmla="*/ 126 h 234"/>
                <a:gd name="T10" fmla="*/ 3 w 326"/>
                <a:gd name="T11" fmla="*/ 154 h 234"/>
                <a:gd name="T12" fmla="*/ 1 w 326"/>
                <a:gd name="T13" fmla="*/ 194 h 234"/>
                <a:gd name="T14" fmla="*/ 2 w 326"/>
                <a:gd name="T15" fmla="*/ 220 h 234"/>
                <a:gd name="T16" fmla="*/ 10 w 326"/>
                <a:gd name="T17" fmla="*/ 226 h 234"/>
                <a:gd name="T18" fmla="*/ 31 w 326"/>
                <a:gd name="T19" fmla="*/ 226 h 234"/>
                <a:gd name="T20" fmla="*/ 56 w 326"/>
                <a:gd name="T21" fmla="*/ 221 h 234"/>
                <a:gd name="T22" fmla="*/ 63 w 326"/>
                <a:gd name="T23" fmla="*/ 212 h 234"/>
                <a:gd name="T24" fmla="*/ 66 w 326"/>
                <a:gd name="T25" fmla="*/ 196 h 234"/>
                <a:gd name="T26" fmla="*/ 117 w 326"/>
                <a:gd name="T27" fmla="*/ 200 h 234"/>
                <a:gd name="T28" fmla="*/ 124 w 326"/>
                <a:gd name="T29" fmla="*/ 216 h 234"/>
                <a:gd name="T30" fmla="*/ 119 w 326"/>
                <a:gd name="T31" fmla="*/ 216 h 234"/>
                <a:gd name="T32" fmla="*/ 136 w 326"/>
                <a:gd name="T33" fmla="*/ 227 h 234"/>
                <a:gd name="T34" fmla="*/ 138 w 326"/>
                <a:gd name="T35" fmla="*/ 231 h 234"/>
                <a:gd name="T36" fmla="*/ 167 w 326"/>
                <a:gd name="T37" fmla="*/ 234 h 234"/>
                <a:gd name="T38" fmla="*/ 175 w 326"/>
                <a:gd name="T39" fmla="*/ 230 h 234"/>
                <a:gd name="T40" fmla="*/ 181 w 326"/>
                <a:gd name="T41" fmla="*/ 207 h 234"/>
                <a:gd name="T42" fmla="*/ 199 w 326"/>
                <a:gd name="T43" fmla="*/ 194 h 234"/>
                <a:gd name="T44" fmla="*/ 223 w 326"/>
                <a:gd name="T45" fmla="*/ 193 h 234"/>
                <a:gd name="T46" fmla="*/ 224 w 326"/>
                <a:gd name="T47" fmla="*/ 189 h 234"/>
                <a:gd name="T48" fmla="*/ 230 w 326"/>
                <a:gd name="T49" fmla="*/ 184 h 234"/>
                <a:gd name="T50" fmla="*/ 265 w 326"/>
                <a:gd name="T51" fmla="*/ 178 h 234"/>
                <a:gd name="T52" fmla="*/ 274 w 326"/>
                <a:gd name="T53" fmla="*/ 178 h 234"/>
                <a:gd name="T54" fmla="*/ 278 w 326"/>
                <a:gd name="T55" fmla="*/ 199 h 234"/>
                <a:gd name="T56" fmla="*/ 317 w 326"/>
                <a:gd name="T57" fmla="*/ 193 h 234"/>
                <a:gd name="T58" fmla="*/ 321 w 326"/>
                <a:gd name="T59" fmla="*/ 171 h 234"/>
                <a:gd name="T60" fmla="*/ 320 w 326"/>
                <a:gd name="T61" fmla="*/ 156 h 234"/>
                <a:gd name="T62" fmla="*/ 325 w 326"/>
                <a:gd name="T63" fmla="*/ 137 h 234"/>
                <a:gd name="T64" fmla="*/ 325 w 326"/>
                <a:gd name="T65" fmla="*/ 114 h 234"/>
                <a:gd name="T66" fmla="*/ 306 w 326"/>
                <a:gd name="T67" fmla="*/ 92 h 234"/>
                <a:gd name="T68" fmla="*/ 281 w 326"/>
                <a:gd name="T69" fmla="*/ 73 h 234"/>
                <a:gd name="T70" fmla="*/ 247 w 326"/>
                <a:gd name="T71" fmla="*/ 50 h 234"/>
                <a:gd name="T72" fmla="*/ 241 w 326"/>
                <a:gd name="T73" fmla="*/ 36 h 234"/>
                <a:gd name="T74" fmla="*/ 228 w 326"/>
                <a:gd name="T75" fmla="*/ 22 h 234"/>
                <a:gd name="T76" fmla="*/ 192 w 326"/>
                <a:gd name="T77" fmla="*/ 8 h 234"/>
                <a:gd name="T78" fmla="*/ 175 w 326"/>
                <a:gd name="T79" fmla="*/ 5 h 234"/>
                <a:gd name="T80" fmla="*/ 136 w 326"/>
                <a:gd name="T81" fmla="*/ 13 h 234"/>
                <a:gd name="T82" fmla="*/ 124 w 326"/>
                <a:gd name="T83" fmla="*/ 10 h 234"/>
                <a:gd name="T84" fmla="*/ 107 w 326"/>
                <a:gd name="T85" fmla="*/ 1 h 234"/>
                <a:gd name="T86" fmla="*/ 87 w 326"/>
                <a:gd name="T87" fmla="*/ 12 h 234"/>
                <a:gd name="T88" fmla="*/ 76 w 326"/>
                <a:gd name="T89" fmla="*/ 57 h 234"/>
                <a:gd name="T90" fmla="*/ 77 w 326"/>
                <a:gd name="T91" fmla="*/ 74 h 234"/>
                <a:gd name="T92" fmla="*/ 81 w 326"/>
                <a:gd name="T93" fmla="*/ 114 h 234"/>
                <a:gd name="T94" fmla="*/ 88 w 326"/>
                <a:gd name="T95" fmla="*/ 128 h 234"/>
                <a:gd name="T96" fmla="*/ 92 w 326"/>
                <a:gd name="T97" fmla="*/ 131 h 234"/>
                <a:gd name="T98" fmla="*/ 56 w 326"/>
                <a:gd name="T99" fmla="*/ 1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6" h="234">
                  <a:moveTo>
                    <a:pt x="53" y="136"/>
                  </a:moveTo>
                  <a:lnTo>
                    <a:pt x="51" y="133"/>
                  </a:lnTo>
                  <a:lnTo>
                    <a:pt x="45" y="129"/>
                  </a:lnTo>
                  <a:lnTo>
                    <a:pt x="38" y="125"/>
                  </a:lnTo>
                  <a:lnTo>
                    <a:pt x="31" y="122"/>
                  </a:lnTo>
                  <a:lnTo>
                    <a:pt x="25" y="122"/>
                  </a:lnTo>
                  <a:lnTo>
                    <a:pt x="20" y="122"/>
                  </a:lnTo>
                  <a:lnTo>
                    <a:pt x="18" y="122"/>
                  </a:lnTo>
                  <a:lnTo>
                    <a:pt x="15" y="124"/>
                  </a:lnTo>
                  <a:lnTo>
                    <a:pt x="14" y="126"/>
                  </a:lnTo>
                  <a:lnTo>
                    <a:pt x="12" y="128"/>
                  </a:lnTo>
                  <a:lnTo>
                    <a:pt x="10" y="129"/>
                  </a:lnTo>
                  <a:lnTo>
                    <a:pt x="10" y="129"/>
                  </a:lnTo>
                  <a:lnTo>
                    <a:pt x="9" y="128"/>
                  </a:lnTo>
                  <a:lnTo>
                    <a:pt x="9" y="126"/>
                  </a:lnTo>
                  <a:lnTo>
                    <a:pt x="9" y="126"/>
                  </a:lnTo>
                  <a:lnTo>
                    <a:pt x="7" y="136"/>
                  </a:lnTo>
                  <a:lnTo>
                    <a:pt x="3" y="154"/>
                  </a:lnTo>
                  <a:lnTo>
                    <a:pt x="1" y="170"/>
                  </a:lnTo>
                  <a:lnTo>
                    <a:pt x="1" y="183"/>
                  </a:lnTo>
                  <a:lnTo>
                    <a:pt x="1" y="194"/>
                  </a:lnTo>
                  <a:lnTo>
                    <a:pt x="0" y="203"/>
                  </a:lnTo>
                  <a:lnTo>
                    <a:pt x="1" y="214"/>
                  </a:lnTo>
                  <a:lnTo>
                    <a:pt x="2" y="220"/>
                  </a:lnTo>
                  <a:lnTo>
                    <a:pt x="6" y="223"/>
                  </a:lnTo>
                  <a:lnTo>
                    <a:pt x="8" y="224"/>
                  </a:lnTo>
                  <a:lnTo>
                    <a:pt x="10" y="226"/>
                  </a:lnTo>
                  <a:lnTo>
                    <a:pt x="13" y="226"/>
                  </a:lnTo>
                  <a:lnTo>
                    <a:pt x="18" y="226"/>
                  </a:lnTo>
                  <a:lnTo>
                    <a:pt x="31" y="226"/>
                  </a:lnTo>
                  <a:lnTo>
                    <a:pt x="42" y="225"/>
                  </a:lnTo>
                  <a:lnTo>
                    <a:pt x="50" y="223"/>
                  </a:lnTo>
                  <a:lnTo>
                    <a:pt x="56" y="221"/>
                  </a:lnTo>
                  <a:lnTo>
                    <a:pt x="59" y="220"/>
                  </a:lnTo>
                  <a:lnTo>
                    <a:pt x="61" y="216"/>
                  </a:lnTo>
                  <a:lnTo>
                    <a:pt x="63" y="212"/>
                  </a:lnTo>
                  <a:lnTo>
                    <a:pt x="64" y="207"/>
                  </a:lnTo>
                  <a:lnTo>
                    <a:pt x="66" y="200"/>
                  </a:lnTo>
                  <a:lnTo>
                    <a:pt x="66" y="196"/>
                  </a:lnTo>
                  <a:lnTo>
                    <a:pt x="83" y="194"/>
                  </a:lnTo>
                  <a:lnTo>
                    <a:pt x="110" y="194"/>
                  </a:lnTo>
                  <a:lnTo>
                    <a:pt x="117" y="200"/>
                  </a:lnTo>
                  <a:lnTo>
                    <a:pt x="125" y="213"/>
                  </a:lnTo>
                  <a:lnTo>
                    <a:pt x="125" y="215"/>
                  </a:lnTo>
                  <a:lnTo>
                    <a:pt x="124" y="216"/>
                  </a:lnTo>
                  <a:lnTo>
                    <a:pt x="121" y="216"/>
                  </a:lnTo>
                  <a:lnTo>
                    <a:pt x="119" y="216"/>
                  </a:lnTo>
                  <a:lnTo>
                    <a:pt x="119" y="216"/>
                  </a:lnTo>
                  <a:lnTo>
                    <a:pt x="127" y="221"/>
                  </a:lnTo>
                  <a:lnTo>
                    <a:pt x="133" y="225"/>
                  </a:lnTo>
                  <a:lnTo>
                    <a:pt x="136" y="227"/>
                  </a:lnTo>
                  <a:lnTo>
                    <a:pt x="137" y="228"/>
                  </a:lnTo>
                  <a:lnTo>
                    <a:pt x="137" y="230"/>
                  </a:lnTo>
                  <a:lnTo>
                    <a:pt x="138" y="231"/>
                  </a:lnTo>
                  <a:lnTo>
                    <a:pt x="147" y="232"/>
                  </a:lnTo>
                  <a:lnTo>
                    <a:pt x="159" y="234"/>
                  </a:lnTo>
                  <a:lnTo>
                    <a:pt x="167" y="234"/>
                  </a:lnTo>
                  <a:lnTo>
                    <a:pt x="170" y="233"/>
                  </a:lnTo>
                  <a:lnTo>
                    <a:pt x="172" y="232"/>
                  </a:lnTo>
                  <a:lnTo>
                    <a:pt x="175" y="230"/>
                  </a:lnTo>
                  <a:lnTo>
                    <a:pt x="177" y="226"/>
                  </a:lnTo>
                  <a:lnTo>
                    <a:pt x="180" y="218"/>
                  </a:lnTo>
                  <a:lnTo>
                    <a:pt x="181" y="207"/>
                  </a:lnTo>
                  <a:lnTo>
                    <a:pt x="182" y="198"/>
                  </a:lnTo>
                  <a:lnTo>
                    <a:pt x="182" y="194"/>
                  </a:lnTo>
                  <a:lnTo>
                    <a:pt x="199" y="194"/>
                  </a:lnTo>
                  <a:lnTo>
                    <a:pt x="205" y="194"/>
                  </a:lnTo>
                  <a:lnTo>
                    <a:pt x="221" y="194"/>
                  </a:lnTo>
                  <a:lnTo>
                    <a:pt x="223" y="193"/>
                  </a:lnTo>
                  <a:lnTo>
                    <a:pt x="224" y="192"/>
                  </a:lnTo>
                  <a:lnTo>
                    <a:pt x="224" y="191"/>
                  </a:lnTo>
                  <a:lnTo>
                    <a:pt x="224" y="189"/>
                  </a:lnTo>
                  <a:lnTo>
                    <a:pt x="224" y="188"/>
                  </a:lnTo>
                  <a:lnTo>
                    <a:pt x="225" y="185"/>
                  </a:lnTo>
                  <a:lnTo>
                    <a:pt x="230" y="184"/>
                  </a:lnTo>
                  <a:lnTo>
                    <a:pt x="237" y="183"/>
                  </a:lnTo>
                  <a:lnTo>
                    <a:pt x="253" y="180"/>
                  </a:lnTo>
                  <a:lnTo>
                    <a:pt x="265" y="178"/>
                  </a:lnTo>
                  <a:lnTo>
                    <a:pt x="268" y="177"/>
                  </a:lnTo>
                  <a:lnTo>
                    <a:pt x="272" y="177"/>
                  </a:lnTo>
                  <a:lnTo>
                    <a:pt x="274" y="178"/>
                  </a:lnTo>
                  <a:lnTo>
                    <a:pt x="275" y="180"/>
                  </a:lnTo>
                  <a:lnTo>
                    <a:pt x="278" y="193"/>
                  </a:lnTo>
                  <a:lnTo>
                    <a:pt x="278" y="199"/>
                  </a:lnTo>
                  <a:lnTo>
                    <a:pt x="311" y="202"/>
                  </a:lnTo>
                  <a:lnTo>
                    <a:pt x="313" y="200"/>
                  </a:lnTo>
                  <a:lnTo>
                    <a:pt x="317" y="193"/>
                  </a:lnTo>
                  <a:lnTo>
                    <a:pt x="320" y="184"/>
                  </a:lnTo>
                  <a:lnTo>
                    <a:pt x="322" y="178"/>
                  </a:lnTo>
                  <a:lnTo>
                    <a:pt x="321" y="171"/>
                  </a:lnTo>
                  <a:lnTo>
                    <a:pt x="320" y="163"/>
                  </a:lnTo>
                  <a:lnTo>
                    <a:pt x="320" y="159"/>
                  </a:lnTo>
                  <a:lnTo>
                    <a:pt x="320" y="156"/>
                  </a:lnTo>
                  <a:lnTo>
                    <a:pt x="320" y="151"/>
                  </a:lnTo>
                  <a:lnTo>
                    <a:pt x="322" y="147"/>
                  </a:lnTo>
                  <a:lnTo>
                    <a:pt x="325" y="137"/>
                  </a:lnTo>
                  <a:lnTo>
                    <a:pt x="326" y="127"/>
                  </a:lnTo>
                  <a:lnTo>
                    <a:pt x="326" y="118"/>
                  </a:lnTo>
                  <a:lnTo>
                    <a:pt x="325" y="114"/>
                  </a:lnTo>
                  <a:lnTo>
                    <a:pt x="321" y="109"/>
                  </a:lnTo>
                  <a:lnTo>
                    <a:pt x="313" y="98"/>
                  </a:lnTo>
                  <a:lnTo>
                    <a:pt x="306" y="92"/>
                  </a:lnTo>
                  <a:lnTo>
                    <a:pt x="298" y="85"/>
                  </a:lnTo>
                  <a:lnTo>
                    <a:pt x="290" y="78"/>
                  </a:lnTo>
                  <a:lnTo>
                    <a:pt x="281" y="73"/>
                  </a:lnTo>
                  <a:lnTo>
                    <a:pt x="265" y="63"/>
                  </a:lnTo>
                  <a:lnTo>
                    <a:pt x="254" y="55"/>
                  </a:lnTo>
                  <a:lnTo>
                    <a:pt x="247" y="50"/>
                  </a:lnTo>
                  <a:lnTo>
                    <a:pt x="245" y="48"/>
                  </a:lnTo>
                  <a:lnTo>
                    <a:pt x="244" y="44"/>
                  </a:lnTo>
                  <a:lnTo>
                    <a:pt x="241" y="36"/>
                  </a:lnTo>
                  <a:lnTo>
                    <a:pt x="239" y="31"/>
                  </a:lnTo>
                  <a:lnTo>
                    <a:pt x="234" y="26"/>
                  </a:lnTo>
                  <a:lnTo>
                    <a:pt x="228" y="22"/>
                  </a:lnTo>
                  <a:lnTo>
                    <a:pt x="221" y="18"/>
                  </a:lnTo>
                  <a:lnTo>
                    <a:pt x="205" y="12"/>
                  </a:lnTo>
                  <a:lnTo>
                    <a:pt x="192" y="8"/>
                  </a:lnTo>
                  <a:lnTo>
                    <a:pt x="183" y="5"/>
                  </a:lnTo>
                  <a:lnTo>
                    <a:pt x="179" y="4"/>
                  </a:lnTo>
                  <a:lnTo>
                    <a:pt x="175" y="5"/>
                  </a:lnTo>
                  <a:lnTo>
                    <a:pt x="158" y="10"/>
                  </a:lnTo>
                  <a:lnTo>
                    <a:pt x="146" y="12"/>
                  </a:lnTo>
                  <a:lnTo>
                    <a:pt x="136" y="13"/>
                  </a:lnTo>
                  <a:lnTo>
                    <a:pt x="129" y="13"/>
                  </a:lnTo>
                  <a:lnTo>
                    <a:pt x="127" y="12"/>
                  </a:lnTo>
                  <a:lnTo>
                    <a:pt x="124" y="10"/>
                  </a:lnTo>
                  <a:lnTo>
                    <a:pt x="117" y="4"/>
                  </a:lnTo>
                  <a:lnTo>
                    <a:pt x="112" y="2"/>
                  </a:lnTo>
                  <a:lnTo>
                    <a:pt x="107" y="1"/>
                  </a:lnTo>
                  <a:lnTo>
                    <a:pt x="104" y="0"/>
                  </a:lnTo>
                  <a:lnTo>
                    <a:pt x="99" y="1"/>
                  </a:lnTo>
                  <a:lnTo>
                    <a:pt x="87" y="12"/>
                  </a:lnTo>
                  <a:lnTo>
                    <a:pt x="81" y="18"/>
                  </a:lnTo>
                  <a:lnTo>
                    <a:pt x="77" y="41"/>
                  </a:lnTo>
                  <a:lnTo>
                    <a:pt x="76" y="57"/>
                  </a:lnTo>
                  <a:lnTo>
                    <a:pt x="75" y="67"/>
                  </a:lnTo>
                  <a:lnTo>
                    <a:pt x="75" y="71"/>
                  </a:lnTo>
                  <a:lnTo>
                    <a:pt x="77" y="74"/>
                  </a:lnTo>
                  <a:lnTo>
                    <a:pt x="81" y="87"/>
                  </a:lnTo>
                  <a:lnTo>
                    <a:pt x="82" y="97"/>
                  </a:lnTo>
                  <a:lnTo>
                    <a:pt x="81" y="114"/>
                  </a:lnTo>
                  <a:lnTo>
                    <a:pt x="82" y="120"/>
                  </a:lnTo>
                  <a:lnTo>
                    <a:pt x="84" y="125"/>
                  </a:lnTo>
                  <a:lnTo>
                    <a:pt x="88" y="128"/>
                  </a:lnTo>
                  <a:lnTo>
                    <a:pt x="91" y="130"/>
                  </a:lnTo>
                  <a:lnTo>
                    <a:pt x="93" y="131"/>
                  </a:lnTo>
                  <a:lnTo>
                    <a:pt x="92" y="131"/>
                  </a:lnTo>
                  <a:lnTo>
                    <a:pt x="88" y="132"/>
                  </a:lnTo>
                  <a:lnTo>
                    <a:pt x="81" y="133"/>
                  </a:lnTo>
                  <a:lnTo>
                    <a:pt x="56" y="136"/>
                  </a:lnTo>
                  <a:lnTo>
                    <a:pt x="53"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54" name="Freeform 25">
              <a:extLst>
                <a:ext uri="{FF2B5EF4-FFF2-40B4-BE49-F238E27FC236}">
                  <a16:creationId xmlns:a16="http://schemas.microsoft.com/office/drawing/2014/main" id="{9723D264-E2E6-D703-A8E6-C41F3282C786}"/>
                </a:ext>
              </a:extLst>
            </p:cNvPr>
            <p:cNvSpPr>
              <a:spLocks/>
            </p:cNvSpPr>
            <p:nvPr/>
          </p:nvSpPr>
          <p:spPr bwMode="auto">
            <a:xfrm>
              <a:off x="8121214" y="3582608"/>
              <a:ext cx="36258" cy="39100"/>
            </a:xfrm>
            <a:custGeom>
              <a:avLst/>
              <a:gdLst>
                <a:gd name="T0" fmla="*/ 13 w 132"/>
                <a:gd name="T1" fmla="*/ 120 h 129"/>
                <a:gd name="T2" fmla="*/ 24 w 132"/>
                <a:gd name="T3" fmla="*/ 122 h 129"/>
                <a:gd name="T4" fmla="*/ 40 w 132"/>
                <a:gd name="T5" fmla="*/ 125 h 129"/>
                <a:gd name="T6" fmla="*/ 52 w 132"/>
                <a:gd name="T7" fmla="*/ 128 h 129"/>
                <a:gd name="T8" fmla="*/ 58 w 132"/>
                <a:gd name="T9" fmla="*/ 129 h 129"/>
                <a:gd name="T10" fmla="*/ 80 w 132"/>
                <a:gd name="T11" fmla="*/ 104 h 129"/>
                <a:gd name="T12" fmla="*/ 79 w 132"/>
                <a:gd name="T13" fmla="*/ 103 h 129"/>
                <a:gd name="T14" fmla="*/ 77 w 132"/>
                <a:gd name="T15" fmla="*/ 97 h 129"/>
                <a:gd name="T16" fmla="*/ 79 w 132"/>
                <a:gd name="T17" fmla="*/ 95 h 129"/>
                <a:gd name="T18" fmla="*/ 81 w 132"/>
                <a:gd name="T19" fmla="*/ 93 h 129"/>
                <a:gd name="T20" fmla="*/ 84 w 132"/>
                <a:gd name="T21" fmla="*/ 92 h 129"/>
                <a:gd name="T22" fmla="*/ 91 w 132"/>
                <a:gd name="T23" fmla="*/ 90 h 129"/>
                <a:gd name="T24" fmla="*/ 113 w 132"/>
                <a:gd name="T25" fmla="*/ 89 h 129"/>
                <a:gd name="T26" fmla="*/ 121 w 132"/>
                <a:gd name="T27" fmla="*/ 88 h 129"/>
                <a:gd name="T28" fmla="*/ 132 w 132"/>
                <a:gd name="T29" fmla="*/ 57 h 129"/>
                <a:gd name="T30" fmla="*/ 129 w 132"/>
                <a:gd name="T31" fmla="*/ 55 h 129"/>
                <a:gd name="T32" fmla="*/ 123 w 132"/>
                <a:gd name="T33" fmla="*/ 48 h 129"/>
                <a:gd name="T34" fmla="*/ 114 w 132"/>
                <a:gd name="T35" fmla="*/ 41 h 129"/>
                <a:gd name="T36" fmla="*/ 104 w 132"/>
                <a:gd name="T37" fmla="*/ 35 h 129"/>
                <a:gd name="T38" fmla="*/ 95 w 132"/>
                <a:gd name="T39" fmla="*/ 33 h 129"/>
                <a:gd name="T40" fmla="*/ 87 w 132"/>
                <a:gd name="T41" fmla="*/ 32 h 129"/>
                <a:gd name="T42" fmla="*/ 84 w 132"/>
                <a:gd name="T43" fmla="*/ 31 h 129"/>
                <a:gd name="T44" fmla="*/ 81 w 132"/>
                <a:gd name="T45" fmla="*/ 29 h 129"/>
                <a:gd name="T46" fmla="*/ 77 w 132"/>
                <a:gd name="T47" fmla="*/ 26 h 129"/>
                <a:gd name="T48" fmla="*/ 74 w 132"/>
                <a:gd name="T49" fmla="*/ 22 h 129"/>
                <a:gd name="T50" fmla="*/ 73 w 132"/>
                <a:gd name="T51" fmla="*/ 20 h 129"/>
                <a:gd name="T52" fmla="*/ 73 w 132"/>
                <a:gd name="T53" fmla="*/ 18 h 129"/>
                <a:gd name="T54" fmla="*/ 73 w 132"/>
                <a:gd name="T55" fmla="*/ 16 h 129"/>
                <a:gd name="T56" fmla="*/ 73 w 132"/>
                <a:gd name="T57" fmla="*/ 15 h 129"/>
                <a:gd name="T58" fmla="*/ 75 w 132"/>
                <a:gd name="T59" fmla="*/ 13 h 129"/>
                <a:gd name="T60" fmla="*/ 79 w 132"/>
                <a:gd name="T61" fmla="*/ 13 h 129"/>
                <a:gd name="T62" fmla="*/ 80 w 132"/>
                <a:gd name="T63" fmla="*/ 12 h 129"/>
                <a:gd name="T64" fmla="*/ 79 w 132"/>
                <a:gd name="T65" fmla="*/ 12 h 129"/>
                <a:gd name="T66" fmla="*/ 74 w 132"/>
                <a:gd name="T67" fmla="*/ 11 h 129"/>
                <a:gd name="T68" fmla="*/ 65 w 132"/>
                <a:gd name="T69" fmla="*/ 8 h 129"/>
                <a:gd name="T70" fmla="*/ 44 w 132"/>
                <a:gd name="T71" fmla="*/ 3 h 129"/>
                <a:gd name="T72" fmla="*/ 28 w 132"/>
                <a:gd name="T73" fmla="*/ 1 h 129"/>
                <a:gd name="T74" fmla="*/ 21 w 132"/>
                <a:gd name="T75" fmla="*/ 0 h 129"/>
                <a:gd name="T76" fmla="*/ 17 w 132"/>
                <a:gd name="T77" fmla="*/ 1 h 129"/>
                <a:gd name="T78" fmla="*/ 12 w 132"/>
                <a:gd name="T79" fmla="*/ 3 h 129"/>
                <a:gd name="T80" fmla="*/ 11 w 132"/>
                <a:gd name="T81" fmla="*/ 5 h 129"/>
                <a:gd name="T82" fmla="*/ 10 w 132"/>
                <a:gd name="T83" fmla="*/ 7 h 129"/>
                <a:gd name="T84" fmla="*/ 9 w 132"/>
                <a:gd name="T85" fmla="*/ 5 h 129"/>
                <a:gd name="T86" fmla="*/ 8 w 132"/>
                <a:gd name="T87" fmla="*/ 4 h 129"/>
                <a:gd name="T88" fmla="*/ 8 w 132"/>
                <a:gd name="T89" fmla="*/ 3 h 129"/>
                <a:gd name="T90" fmla="*/ 6 w 132"/>
                <a:gd name="T91" fmla="*/ 9 h 129"/>
                <a:gd name="T92" fmla="*/ 2 w 132"/>
                <a:gd name="T93" fmla="*/ 35 h 129"/>
                <a:gd name="T94" fmla="*/ 1 w 132"/>
                <a:gd name="T95" fmla="*/ 54 h 129"/>
                <a:gd name="T96" fmla="*/ 0 w 132"/>
                <a:gd name="T97" fmla="*/ 71 h 129"/>
                <a:gd name="T98" fmla="*/ 1 w 132"/>
                <a:gd name="T99" fmla="*/ 83 h 129"/>
                <a:gd name="T100" fmla="*/ 2 w 132"/>
                <a:gd name="T101" fmla="*/ 94 h 129"/>
                <a:gd name="T102" fmla="*/ 5 w 132"/>
                <a:gd name="T103" fmla="*/ 106 h 129"/>
                <a:gd name="T104" fmla="*/ 6 w 132"/>
                <a:gd name="T105" fmla="*/ 109 h 129"/>
                <a:gd name="T106" fmla="*/ 5 w 132"/>
                <a:gd name="T107" fmla="*/ 111 h 129"/>
                <a:gd name="T108" fmla="*/ 6 w 132"/>
                <a:gd name="T109" fmla="*/ 115 h 129"/>
                <a:gd name="T110" fmla="*/ 6 w 132"/>
                <a:gd name="T111" fmla="*/ 117 h 129"/>
                <a:gd name="T112" fmla="*/ 8 w 132"/>
                <a:gd name="T113" fmla="*/ 119 h 129"/>
                <a:gd name="T114" fmla="*/ 10 w 132"/>
                <a:gd name="T115" fmla="*/ 120 h 129"/>
                <a:gd name="T116" fmla="*/ 13 w 132"/>
                <a:gd name="T117" fmla="*/ 1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2" h="129">
                  <a:moveTo>
                    <a:pt x="13" y="120"/>
                  </a:moveTo>
                  <a:lnTo>
                    <a:pt x="24" y="122"/>
                  </a:lnTo>
                  <a:lnTo>
                    <a:pt x="40" y="125"/>
                  </a:lnTo>
                  <a:lnTo>
                    <a:pt x="52" y="128"/>
                  </a:lnTo>
                  <a:lnTo>
                    <a:pt x="58" y="129"/>
                  </a:lnTo>
                  <a:lnTo>
                    <a:pt x="80" y="104"/>
                  </a:lnTo>
                  <a:lnTo>
                    <a:pt x="79" y="103"/>
                  </a:lnTo>
                  <a:lnTo>
                    <a:pt x="77" y="97"/>
                  </a:lnTo>
                  <a:lnTo>
                    <a:pt x="79" y="95"/>
                  </a:lnTo>
                  <a:lnTo>
                    <a:pt x="81" y="93"/>
                  </a:lnTo>
                  <a:lnTo>
                    <a:pt x="84" y="92"/>
                  </a:lnTo>
                  <a:lnTo>
                    <a:pt x="91" y="90"/>
                  </a:lnTo>
                  <a:lnTo>
                    <a:pt x="113" y="89"/>
                  </a:lnTo>
                  <a:lnTo>
                    <a:pt x="121" y="88"/>
                  </a:lnTo>
                  <a:lnTo>
                    <a:pt x="132" y="57"/>
                  </a:lnTo>
                  <a:lnTo>
                    <a:pt x="129" y="55"/>
                  </a:lnTo>
                  <a:lnTo>
                    <a:pt x="123" y="48"/>
                  </a:lnTo>
                  <a:lnTo>
                    <a:pt x="114" y="41"/>
                  </a:lnTo>
                  <a:lnTo>
                    <a:pt x="104" y="35"/>
                  </a:lnTo>
                  <a:lnTo>
                    <a:pt x="95" y="33"/>
                  </a:lnTo>
                  <a:lnTo>
                    <a:pt x="87" y="32"/>
                  </a:lnTo>
                  <a:lnTo>
                    <a:pt x="84" y="31"/>
                  </a:lnTo>
                  <a:lnTo>
                    <a:pt x="81" y="29"/>
                  </a:lnTo>
                  <a:lnTo>
                    <a:pt x="77" y="26"/>
                  </a:lnTo>
                  <a:lnTo>
                    <a:pt x="74" y="22"/>
                  </a:lnTo>
                  <a:lnTo>
                    <a:pt x="73" y="20"/>
                  </a:lnTo>
                  <a:lnTo>
                    <a:pt x="73" y="18"/>
                  </a:lnTo>
                  <a:lnTo>
                    <a:pt x="73" y="16"/>
                  </a:lnTo>
                  <a:lnTo>
                    <a:pt x="73" y="15"/>
                  </a:lnTo>
                  <a:lnTo>
                    <a:pt x="75" y="13"/>
                  </a:lnTo>
                  <a:lnTo>
                    <a:pt x="79" y="13"/>
                  </a:lnTo>
                  <a:lnTo>
                    <a:pt x="80" y="12"/>
                  </a:lnTo>
                  <a:lnTo>
                    <a:pt x="79" y="12"/>
                  </a:lnTo>
                  <a:lnTo>
                    <a:pt x="74" y="11"/>
                  </a:lnTo>
                  <a:lnTo>
                    <a:pt x="65" y="8"/>
                  </a:lnTo>
                  <a:lnTo>
                    <a:pt x="44" y="3"/>
                  </a:lnTo>
                  <a:lnTo>
                    <a:pt x="28" y="1"/>
                  </a:lnTo>
                  <a:lnTo>
                    <a:pt x="21" y="0"/>
                  </a:lnTo>
                  <a:lnTo>
                    <a:pt x="17" y="1"/>
                  </a:lnTo>
                  <a:lnTo>
                    <a:pt x="12" y="3"/>
                  </a:lnTo>
                  <a:lnTo>
                    <a:pt x="11" y="5"/>
                  </a:lnTo>
                  <a:lnTo>
                    <a:pt x="10" y="7"/>
                  </a:lnTo>
                  <a:lnTo>
                    <a:pt x="9" y="5"/>
                  </a:lnTo>
                  <a:lnTo>
                    <a:pt x="8" y="4"/>
                  </a:lnTo>
                  <a:lnTo>
                    <a:pt x="8" y="3"/>
                  </a:lnTo>
                  <a:lnTo>
                    <a:pt x="6" y="9"/>
                  </a:lnTo>
                  <a:lnTo>
                    <a:pt x="2" y="35"/>
                  </a:lnTo>
                  <a:lnTo>
                    <a:pt x="1" y="54"/>
                  </a:lnTo>
                  <a:lnTo>
                    <a:pt x="0" y="71"/>
                  </a:lnTo>
                  <a:lnTo>
                    <a:pt x="1" y="83"/>
                  </a:lnTo>
                  <a:lnTo>
                    <a:pt x="2" y="94"/>
                  </a:lnTo>
                  <a:lnTo>
                    <a:pt x="5" y="106"/>
                  </a:lnTo>
                  <a:lnTo>
                    <a:pt x="6" y="109"/>
                  </a:lnTo>
                  <a:lnTo>
                    <a:pt x="5" y="111"/>
                  </a:lnTo>
                  <a:lnTo>
                    <a:pt x="6" y="115"/>
                  </a:lnTo>
                  <a:lnTo>
                    <a:pt x="6" y="117"/>
                  </a:lnTo>
                  <a:lnTo>
                    <a:pt x="8" y="119"/>
                  </a:lnTo>
                  <a:lnTo>
                    <a:pt x="10" y="120"/>
                  </a:lnTo>
                  <a:lnTo>
                    <a:pt x="13"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55" name="Freeform 26">
              <a:extLst>
                <a:ext uri="{FF2B5EF4-FFF2-40B4-BE49-F238E27FC236}">
                  <a16:creationId xmlns:a16="http://schemas.microsoft.com/office/drawing/2014/main" id="{E3CCB7A6-A3E9-4978-60A8-138339F35789}"/>
                </a:ext>
              </a:extLst>
            </p:cNvPr>
            <p:cNvSpPr>
              <a:spLocks/>
            </p:cNvSpPr>
            <p:nvPr/>
          </p:nvSpPr>
          <p:spPr bwMode="auto">
            <a:xfrm>
              <a:off x="10713631" y="4498444"/>
              <a:ext cx="186866" cy="371447"/>
            </a:xfrm>
            <a:custGeom>
              <a:avLst/>
              <a:gdLst>
                <a:gd name="T0" fmla="*/ 634 w 669"/>
                <a:gd name="T1" fmla="*/ 55 h 1233"/>
                <a:gd name="T2" fmla="*/ 625 w 669"/>
                <a:gd name="T3" fmla="*/ 11 h 1233"/>
                <a:gd name="T4" fmla="*/ 614 w 669"/>
                <a:gd name="T5" fmla="*/ 0 h 1233"/>
                <a:gd name="T6" fmla="*/ 584 w 669"/>
                <a:gd name="T7" fmla="*/ 15 h 1233"/>
                <a:gd name="T8" fmla="*/ 572 w 669"/>
                <a:gd name="T9" fmla="*/ 38 h 1233"/>
                <a:gd name="T10" fmla="*/ 567 w 669"/>
                <a:gd name="T11" fmla="*/ 88 h 1233"/>
                <a:gd name="T12" fmla="*/ 564 w 669"/>
                <a:gd name="T13" fmla="*/ 120 h 1233"/>
                <a:gd name="T14" fmla="*/ 515 w 669"/>
                <a:gd name="T15" fmla="*/ 141 h 1233"/>
                <a:gd name="T16" fmla="*/ 489 w 669"/>
                <a:gd name="T17" fmla="*/ 162 h 1233"/>
                <a:gd name="T18" fmla="*/ 476 w 669"/>
                <a:gd name="T19" fmla="*/ 208 h 1233"/>
                <a:gd name="T20" fmla="*/ 469 w 669"/>
                <a:gd name="T21" fmla="*/ 255 h 1233"/>
                <a:gd name="T22" fmla="*/ 468 w 669"/>
                <a:gd name="T23" fmla="*/ 265 h 1233"/>
                <a:gd name="T24" fmla="*/ 414 w 669"/>
                <a:gd name="T25" fmla="*/ 324 h 1233"/>
                <a:gd name="T26" fmla="*/ 374 w 669"/>
                <a:gd name="T27" fmla="*/ 360 h 1233"/>
                <a:gd name="T28" fmla="*/ 325 w 669"/>
                <a:gd name="T29" fmla="*/ 387 h 1233"/>
                <a:gd name="T30" fmla="*/ 287 w 669"/>
                <a:gd name="T31" fmla="*/ 409 h 1233"/>
                <a:gd name="T32" fmla="*/ 253 w 669"/>
                <a:gd name="T33" fmla="*/ 428 h 1233"/>
                <a:gd name="T34" fmla="*/ 217 w 669"/>
                <a:gd name="T35" fmla="*/ 450 h 1233"/>
                <a:gd name="T36" fmla="*/ 169 w 669"/>
                <a:gd name="T37" fmla="*/ 494 h 1233"/>
                <a:gd name="T38" fmla="*/ 176 w 669"/>
                <a:gd name="T39" fmla="*/ 531 h 1233"/>
                <a:gd name="T40" fmla="*/ 168 w 669"/>
                <a:gd name="T41" fmla="*/ 553 h 1233"/>
                <a:gd name="T42" fmla="*/ 154 w 669"/>
                <a:gd name="T43" fmla="*/ 559 h 1233"/>
                <a:gd name="T44" fmla="*/ 147 w 669"/>
                <a:gd name="T45" fmla="*/ 574 h 1233"/>
                <a:gd name="T46" fmla="*/ 138 w 669"/>
                <a:gd name="T47" fmla="*/ 594 h 1233"/>
                <a:gd name="T48" fmla="*/ 134 w 669"/>
                <a:gd name="T49" fmla="*/ 673 h 1233"/>
                <a:gd name="T50" fmla="*/ 129 w 669"/>
                <a:gd name="T51" fmla="*/ 792 h 1233"/>
                <a:gd name="T52" fmla="*/ 106 w 669"/>
                <a:gd name="T53" fmla="*/ 839 h 1233"/>
                <a:gd name="T54" fmla="*/ 75 w 669"/>
                <a:gd name="T55" fmla="*/ 878 h 1233"/>
                <a:gd name="T56" fmla="*/ 22 w 669"/>
                <a:gd name="T57" fmla="*/ 934 h 1233"/>
                <a:gd name="T58" fmla="*/ 11 w 669"/>
                <a:gd name="T59" fmla="*/ 961 h 1233"/>
                <a:gd name="T60" fmla="*/ 11 w 669"/>
                <a:gd name="T61" fmla="*/ 1008 h 1233"/>
                <a:gd name="T62" fmla="*/ 20 w 669"/>
                <a:gd name="T63" fmla="*/ 1037 h 1233"/>
                <a:gd name="T64" fmla="*/ 16 w 669"/>
                <a:gd name="T65" fmla="*/ 1058 h 1233"/>
                <a:gd name="T66" fmla="*/ 9 w 669"/>
                <a:gd name="T67" fmla="*/ 1083 h 1233"/>
                <a:gd name="T68" fmla="*/ 12 w 669"/>
                <a:gd name="T69" fmla="*/ 1131 h 1233"/>
                <a:gd name="T70" fmla="*/ 9 w 669"/>
                <a:gd name="T71" fmla="*/ 1162 h 1233"/>
                <a:gd name="T72" fmla="*/ 1 w 669"/>
                <a:gd name="T73" fmla="*/ 1165 h 1233"/>
                <a:gd name="T74" fmla="*/ 0 w 669"/>
                <a:gd name="T75" fmla="*/ 1168 h 1233"/>
                <a:gd name="T76" fmla="*/ 12 w 669"/>
                <a:gd name="T77" fmla="*/ 1202 h 1233"/>
                <a:gd name="T78" fmla="*/ 11 w 669"/>
                <a:gd name="T79" fmla="*/ 1211 h 1233"/>
                <a:gd name="T80" fmla="*/ 35 w 669"/>
                <a:gd name="T81" fmla="*/ 1227 h 1233"/>
                <a:gd name="T82" fmla="*/ 71 w 669"/>
                <a:gd name="T83" fmla="*/ 1233 h 1233"/>
                <a:gd name="T84" fmla="*/ 113 w 669"/>
                <a:gd name="T85" fmla="*/ 1216 h 1233"/>
                <a:gd name="T86" fmla="*/ 134 w 669"/>
                <a:gd name="T87" fmla="*/ 1192 h 1233"/>
                <a:gd name="T88" fmla="*/ 182 w 669"/>
                <a:gd name="T89" fmla="*/ 1163 h 1233"/>
                <a:gd name="T90" fmla="*/ 224 w 669"/>
                <a:gd name="T91" fmla="*/ 1140 h 1233"/>
                <a:gd name="T92" fmla="*/ 266 w 669"/>
                <a:gd name="T93" fmla="*/ 1069 h 1233"/>
                <a:gd name="T94" fmla="*/ 384 w 669"/>
                <a:gd name="T95" fmla="*/ 846 h 1233"/>
                <a:gd name="T96" fmla="*/ 449 w 669"/>
                <a:gd name="T97" fmla="*/ 714 h 1233"/>
                <a:gd name="T98" fmla="*/ 509 w 669"/>
                <a:gd name="T99" fmla="*/ 566 h 1233"/>
                <a:gd name="T100" fmla="*/ 537 w 669"/>
                <a:gd name="T101" fmla="*/ 482 h 1233"/>
                <a:gd name="T102" fmla="*/ 551 w 669"/>
                <a:gd name="T103" fmla="*/ 456 h 1233"/>
                <a:gd name="T104" fmla="*/ 575 w 669"/>
                <a:gd name="T105" fmla="*/ 441 h 1233"/>
                <a:gd name="T106" fmla="*/ 592 w 669"/>
                <a:gd name="T107" fmla="*/ 423 h 1233"/>
                <a:gd name="T108" fmla="*/ 602 w 669"/>
                <a:gd name="T109" fmla="*/ 376 h 1233"/>
                <a:gd name="T110" fmla="*/ 634 w 669"/>
                <a:gd name="T111" fmla="*/ 339 h 1233"/>
                <a:gd name="T112" fmla="*/ 656 w 669"/>
                <a:gd name="T113" fmla="*/ 312 h 1233"/>
                <a:gd name="T114" fmla="*/ 666 w 669"/>
                <a:gd name="T115" fmla="*/ 275 h 1233"/>
                <a:gd name="T116" fmla="*/ 657 w 669"/>
                <a:gd name="T117" fmla="*/ 204 h 1233"/>
                <a:gd name="T118" fmla="*/ 664 w 669"/>
                <a:gd name="T119" fmla="*/ 124 h 1233"/>
                <a:gd name="T120" fmla="*/ 669 w 669"/>
                <a:gd name="T121" fmla="*/ 97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9" h="1233">
                  <a:moveTo>
                    <a:pt x="667" y="91"/>
                  </a:moveTo>
                  <a:lnTo>
                    <a:pt x="657" y="80"/>
                  </a:lnTo>
                  <a:lnTo>
                    <a:pt x="645" y="66"/>
                  </a:lnTo>
                  <a:lnTo>
                    <a:pt x="634" y="55"/>
                  </a:lnTo>
                  <a:lnTo>
                    <a:pt x="629" y="50"/>
                  </a:lnTo>
                  <a:lnTo>
                    <a:pt x="629" y="26"/>
                  </a:lnTo>
                  <a:lnTo>
                    <a:pt x="628" y="21"/>
                  </a:lnTo>
                  <a:lnTo>
                    <a:pt x="625" y="11"/>
                  </a:lnTo>
                  <a:lnTo>
                    <a:pt x="623" y="5"/>
                  </a:lnTo>
                  <a:lnTo>
                    <a:pt x="619" y="2"/>
                  </a:lnTo>
                  <a:lnTo>
                    <a:pt x="617" y="1"/>
                  </a:lnTo>
                  <a:lnTo>
                    <a:pt x="614" y="0"/>
                  </a:lnTo>
                  <a:lnTo>
                    <a:pt x="611" y="0"/>
                  </a:lnTo>
                  <a:lnTo>
                    <a:pt x="608" y="1"/>
                  </a:lnTo>
                  <a:lnTo>
                    <a:pt x="596" y="7"/>
                  </a:lnTo>
                  <a:lnTo>
                    <a:pt x="584" y="15"/>
                  </a:lnTo>
                  <a:lnTo>
                    <a:pt x="578" y="20"/>
                  </a:lnTo>
                  <a:lnTo>
                    <a:pt x="575" y="25"/>
                  </a:lnTo>
                  <a:lnTo>
                    <a:pt x="573" y="31"/>
                  </a:lnTo>
                  <a:lnTo>
                    <a:pt x="572" y="38"/>
                  </a:lnTo>
                  <a:lnTo>
                    <a:pt x="571" y="52"/>
                  </a:lnTo>
                  <a:lnTo>
                    <a:pt x="570" y="63"/>
                  </a:lnTo>
                  <a:lnTo>
                    <a:pt x="568" y="74"/>
                  </a:lnTo>
                  <a:lnTo>
                    <a:pt x="567" y="88"/>
                  </a:lnTo>
                  <a:lnTo>
                    <a:pt x="568" y="101"/>
                  </a:lnTo>
                  <a:lnTo>
                    <a:pt x="568" y="111"/>
                  </a:lnTo>
                  <a:lnTo>
                    <a:pt x="567" y="116"/>
                  </a:lnTo>
                  <a:lnTo>
                    <a:pt x="564" y="120"/>
                  </a:lnTo>
                  <a:lnTo>
                    <a:pt x="558" y="124"/>
                  </a:lnTo>
                  <a:lnTo>
                    <a:pt x="551" y="129"/>
                  </a:lnTo>
                  <a:lnTo>
                    <a:pt x="533" y="135"/>
                  </a:lnTo>
                  <a:lnTo>
                    <a:pt x="515" y="141"/>
                  </a:lnTo>
                  <a:lnTo>
                    <a:pt x="508" y="143"/>
                  </a:lnTo>
                  <a:lnTo>
                    <a:pt x="500" y="148"/>
                  </a:lnTo>
                  <a:lnTo>
                    <a:pt x="494" y="154"/>
                  </a:lnTo>
                  <a:lnTo>
                    <a:pt x="489" y="162"/>
                  </a:lnTo>
                  <a:lnTo>
                    <a:pt x="484" y="172"/>
                  </a:lnTo>
                  <a:lnTo>
                    <a:pt x="481" y="183"/>
                  </a:lnTo>
                  <a:lnTo>
                    <a:pt x="478" y="196"/>
                  </a:lnTo>
                  <a:lnTo>
                    <a:pt x="476" y="208"/>
                  </a:lnTo>
                  <a:lnTo>
                    <a:pt x="471" y="232"/>
                  </a:lnTo>
                  <a:lnTo>
                    <a:pt x="468" y="248"/>
                  </a:lnTo>
                  <a:lnTo>
                    <a:pt x="468" y="253"/>
                  </a:lnTo>
                  <a:lnTo>
                    <a:pt x="469" y="255"/>
                  </a:lnTo>
                  <a:lnTo>
                    <a:pt x="471" y="257"/>
                  </a:lnTo>
                  <a:lnTo>
                    <a:pt x="472" y="258"/>
                  </a:lnTo>
                  <a:lnTo>
                    <a:pt x="471" y="260"/>
                  </a:lnTo>
                  <a:lnTo>
                    <a:pt x="468" y="265"/>
                  </a:lnTo>
                  <a:lnTo>
                    <a:pt x="460" y="272"/>
                  </a:lnTo>
                  <a:lnTo>
                    <a:pt x="448" y="286"/>
                  </a:lnTo>
                  <a:lnTo>
                    <a:pt x="426" y="309"/>
                  </a:lnTo>
                  <a:lnTo>
                    <a:pt x="414" y="324"/>
                  </a:lnTo>
                  <a:lnTo>
                    <a:pt x="408" y="331"/>
                  </a:lnTo>
                  <a:lnTo>
                    <a:pt x="401" y="339"/>
                  </a:lnTo>
                  <a:lnTo>
                    <a:pt x="390" y="347"/>
                  </a:lnTo>
                  <a:lnTo>
                    <a:pt x="374" y="360"/>
                  </a:lnTo>
                  <a:lnTo>
                    <a:pt x="357" y="371"/>
                  </a:lnTo>
                  <a:lnTo>
                    <a:pt x="344" y="378"/>
                  </a:lnTo>
                  <a:lnTo>
                    <a:pt x="334" y="384"/>
                  </a:lnTo>
                  <a:lnTo>
                    <a:pt x="325" y="387"/>
                  </a:lnTo>
                  <a:lnTo>
                    <a:pt x="318" y="391"/>
                  </a:lnTo>
                  <a:lnTo>
                    <a:pt x="309" y="394"/>
                  </a:lnTo>
                  <a:lnTo>
                    <a:pt x="299" y="400"/>
                  </a:lnTo>
                  <a:lnTo>
                    <a:pt x="287" y="409"/>
                  </a:lnTo>
                  <a:lnTo>
                    <a:pt x="275" y="418"/>
                  </a:lnTo>
                  <a:lnTo>
                    <a:pt x="266" y="423"/>
                  </a:lnTo>
                  <a:lnTo>
                    <a:pt x="258" y="426"/>
                  </a:lnTo>
                  <a:lnTo>
                    <a:pt x="253" y="428"/>
                  </a:lnTo>
                  <a:lnTo>
                    <a:pt x="246" y="430"/>
                  </a:lnTo>
                  <a:lnTo>
                    <a:pt x="238" y="434"/>
                  </a:lnTo>
                  <a:lnTo>
                    <a:pt x="229" y="440"/>
                  </a:lnTo>
                  <a:lnTo>
                    <a:pt x="217" y="450"/>
                  </a:lnTo>
                  <a:lnTo>
                    <a:pt x="193" y="470"/>
                  </a:lnTo>
                  <a:lnTo>
                    <a:pt x="176" y="483"/>
                  </a:lnTo>
                  <a:lnTo>
                    <a:pt x="172" y="489"/>
                  </a:lnTo>
                  <a:lnTo>
                    <a:pt x="169" y="494"/>
                  </a:lnTo>
                  <a:lnTo>
                    <a:pt x="168" y="501"/>
                  </a:lnTo>
                  <a:lnTo>
                    <a:pt x="168" y="508"/>
                  </a:lnTo>
                  <a:lnTo>
                    <a:pt x="172" y="521"/>
                  </a:lnTo>
                  <a:lnTo>
                    <a:pt x="176" y="531"/>
                  </a:lnTo>
                  <a:lnTo>
                    <a:pt x="177" y="535"/>
                  </a:lnTo>
                  <a:lnTo>
                    <a:pt x="176" y="541"/>
                  </a:lnTo>
                  <a:lnTo>
                    <a:pt x="174" y="546"/>
                  </a:lnTo>
                  <a:lnTo>
                    <a:pt x="168" y="553"/>
                  </a:lnTo>
                  <a:lnTo>
                    <a:pt x="161" y="558"/>
                  </a:lnTo>
                  <a:lnTo>
                    <a:pt x="158" y="561"/>
                  </a:lnTo>
                  <a:lnTo>
                    <a:pt x="155" y="561"/>
                  </a:lnTo>
                  <a:lnTo>
                    <a:pt x="154" y="559"/>
                  </a:lnTo>
                  <a:lnTo>
                    <a:pt x="153" y="558"/>
                  </a:lnTo>
                  <a:lnTo>
                    <a:pt x="152" y="559"/>
                  </a:lnTo>
                  <a:lnTo>
                    <a:pt x="151" y="564"/>
                  </a:lnTo>
                  <a:lnTo>
                    <a:pt x="147" y="574"/>
                  </a:lnTo>
                  <a:lnTo>
                    <a:pt x="143" y="583"/>
                  </a:lnTo>
                  <a:lnTo>
                    <a:pt x="140" y="587"/>
                  </a:lnTo>
                  <a:lnTo>
                    <a:pt x="139" y="590"/>
                  </a:lnTo>
                  <a:lnTo>
                    <a:pt x="138" y="594"/>
                  </a:lnTo>
                  <a:lnTo>
                    <a:pt x="137" y="601"/>
                  </a:lnTo>
                  <a:lnTo>
                    <a:pt x="137" y="615"/>
                  </a:lnTo>
                  <a:lnTo>
                    <a:pt x="136" y="638"/>
                  </a:lnTo>
                  <a:lnTo>
                    <a:pt x="134" y="673"/>
                  </a:lnTo>
                  <a:lnTo>
                    <a:pt x="132" y="737"/>
                  </a:lnTo>
                  <a:lnTo>
                    <a:pt x="131" y="774"/>
                  </a:lnTo>
                  <a:lnTo>
                    <a:pt x="130" y="784"/>
                  </a:lnTo>
                  <a:lnTo>
                    <a:pt x="129" y="792"/>
                  </a:lnTo>
                  <a:lnTo>
                    <a:pt x="127" y="800"/>
                  </a:lnTo>
                  <a:lnTo>
                    <a:pt x="122" y="809"/>
                  </a:lnTo>
                  <a:lnTo>
                    <a:pt x="113" y="825"/>
                  </a:lnTo>
                  <a:lnTo>
                    <a:pt x="106" y="839"/>
                  </a:lnTo>
                  <a:lnTo>
                    <a:pt x="98" y="850"/>
                  </a:lnTo>
                  <a:lnTo>
                    <a:pt x="89" y="862"/>
                  </a:lnTo>
                  <a:lnTo>
                    <a:pt x="81" y="872"/>
                  </a:lnTo>
                  <a:lnTo>
                    <a:pt x="75" y="878"/>
                  </a:lnTo>
                  <a:lnTo>
                    <a:pt x="67" y="887"/>
                  </a:lnTo>
                  <a:lnTo>
                    <a:pt x="53" y="904"/>
                  </a:lnTo>
                  <a:lnTo>
                    <a:pt x="35" y="922"/>
                  </a:lnTo>
                  <a:lnTo>
                    <a:pt x="22" y="934"/>
                  </a:lnTo>
                  <a:lnTo>
                    <a:pt x="17" y="939"/>
                  </a:lnTo>
                  <a:lnTo>
                    <a:pt x="14" y="946"/>
                  </a:lnTo>
                  <a:lnTo>
                    <a:pt x="12" y="952"/>
                  </a:lnTo>
                  <a:lnTo>
                    <a:pt x="11" y="961"/>
                  </a:lnTo>
                  <a:lnTo>
                    <a:pt x="11" y="978"/>
                  </a:lnTo>
                  <a:lnTo>
                    <a:pt x="10" y="993"/>
                  </a:lnTo>
                  <a:lnTo>
                    <a:pt x="11" y="1001"/>
                  </a:lnTo>
                  <a:lnTo>
                    <a:pt x="11" y="1008"/>
                  </a:lnTo>
                  <a:lnTo>
                    <a:pt x="13" y="1015"/>
                  </a:lnTo>
                  <a:lnTo>
                    <a:pt x="15" y="1023"/>
                  </a:lnTo>
                  <a:lnTo>
                    <a:pt x="17" y="1030"/>
                  </a:lnTo>
                  <a:lnTo>
                    <a:pt x="20" y="1037"/>
                  </a:lnTo>
                  <a:lnTo>
                    <a:pt x="20" y="1043"/>
                  </a:lnTo>
                  <a:lnTo>
                    <a:pt x="20" y="1048"/>
                  </a:lnTo>
                  <a:lnTo>
                    <a:pt x="18" y="1054"/>
                  </a:lnTo>
                  <a:lnTo>
                    <a:pt x="16" y="1058"/>
                  </a:lnTo>
                  <a:lnTo>
                    <a:pt x="14" y="1064"/>
                  </a:lnTo>
                  <a:lnTo>
                    <a:pt x="11" y="1068"/>
                  </a:lnTo>
                  <a:lnTo>
                    <a:pt x="9" y="1074"/>
                  </a:lnTo>
                  <a:lnTo>
                    <a:pt x="9" y="1083"/>
                  </a:lnTo>
                  <a:lnTo>
                    <a:pt x="9" y="1094"/>
                  </a:lnTo>
                  <a:lnTo>
                    <a:pt x="10" y="1105"/>
                  </a:lnTo>
                  <a:lnTo>
                    <a:pt x="11" y="1118"/>
                  </a:lnTo>
                  <a:lnTo>
                    <a:pt x="12" y="1131"/>
                  </a:lnTo>
                  <a:lnTo>
                    <a:pt x="12" y="1143"/>
                  </a:lnTo>
                  <a:lnTo>
                    <a:pt x="11" y="1154"/>
                  </a:lnTo>
                  <a:lnTo>
                    <a:pt x="10" y="1159"/>
                  </a:lnTo>
                  <a:lnTo>
                    <a:pt x="9" y="1162"/>
                  </a:lnTo>
                  <a:lnTo>
                    <a:pt x="7" y="1164"/>
                  </a:lnTo>
                  <a:lnTo>
                    <a:pt x="6" y="1167"/>
                  </a:lnTo>
                  <a:lnTo>
                    <a:pt x="4" y="1167"/>
                  </a:lnTo>
                  <a:lnTo>
                    <a:pt x="1" y="1165"/>
                  </a:lnTo>
                  <a:lnTo>
                    <a:pt x="1" y="1165"/>
                  </a:lnTo>
                  <a:lnTo>
                    <a:pt x="0" y="1165"/>
                  </a:lnTo>
                  <a:lnTo>
                    <a:pt x="0" y="1167"/>
                  </a:lnTo>
                  <a:lnTo>
                    <a:pt x="0" y="1168"/>
                  </a:lnTo>
                  <a:lnTo>
                    <a:pt x="2" y="1173"/>
                  </a:lnTo>
                  <a:lnTo>
                    <a:pt x="7" y="1183"/>
                  </a:lnTo>
                  <a:lnTo>
                    <a:pt x="11" y="1195"/>
                  </a:lnTo>
                  <a:lnTo>
                    <a:pt x="12" y="1202"/>
                  </a:lnTo>
                  <a:lnTo>
                    <a:pt x="12" y="1206"/>
                  </a:lnTo>
                  <a:lnTo>
                    <a:pt x="11" y="1209"/>
                  </a:lnTo>
                  <a:lnTo>
                    <a:pt x="10" y="1210"/>
                  </a:lnTo>
                  <a:lnTo>
                    <a:pt x="11" y="1211"/>
                  </a:lnTo>
                  <a:lnTo>
                    <a:pt x="15" y="1214"/>
                  </a:lnTo>
                  <a:lnTo>
                    <a:pt x="23" y="1221"/>
                  </a:lnTo>
                  <a:lnTo>
                    <a:pt x="28" y="1224"/>
                  </a:lnTo>
                  <a:lnTo>
                    <a:pt x="35" y="1227"/>
                  </a:lnTo>
                  <a:lnTo>
                    <a:pt x="41" y="1230"/>
                  </a:lnTo>
                  <a:lnTo>
                    <a:pt x="47" y="1231"/>
                  </a:lnTo>
                  <a:lnTo>
                    <a:pt x="59" y="1232"/>
                  </a:lnTo>
                  <a:lnTo>
                    <a:pt x="71" y="1233"/>
                  </a:lnTo>
                  <a:lnTo>
                    <a:pt x="90" y="1231"/>
                  </a:lnTo>
                  <a:lnTo>
                    <a:pt x="98" y="1228"/>
                  </a:lnTo>
                  <a:lnTo>
                    <a:pt x="102" y="1225"/>
                  </a:lnTo>
                  <a:lnTo>
                    <a:pt x="113" y="1216"/>
                  </a:lnTo>
                  <a:lnTo>
                    <a:pt x="119" y="1211"/>
                  </a:lnTo>
                  <a:lnTo>
                    <a:pt x="126" y="1204"/>
                  </a:lnTo>
                  <a:lnTo>
                    <a:pt x="131" y="1199"/>
                  </a:lnTo>
                  <a:lnTo>
                    <a:pt x="134" y="1192"/>
                  </a:lnTo>
                  <a:lnTo>
                    <a:pt x="142" y="1178"/>
                  </a:lnTo>
                  <a:lnTo>
                    <a:pt x="143" y="1175"/>
                  </a:lnTo>
                  <a:lnTo>
                    <a:pt x="154" y="1172"/>
                  </a:lnTo>
                  <a:lnTo>
                    <a:pt x="182" y="1163"/>
                  </a:lnTo>
                  <a:lnTo>
                    <a:pt x="197" y="1158"/>
                  </a:lnTo>
                  <a:lnTo>
                    <a:pt x="212" y="1150"/>
                  </a:lnTo>
                  <a:lnTo>
                    <a:pt x="218" y="1146"/>
                  </a:lnTo>
                  <a:lnTo>
                    <a:pt x="224" y="1140"/>
                  </a:lnTo>
                  <a:lnTo>
                    <a:pt x="229" y="1136"/>
                  </a:lnTo>
                  <a:lnTo>
                    <a:pt x="234" y="1130"/>
                  </a:lnTo>
                  <a:lnTo>
                    <a:pt x="245" y="1109"/>
                  </a:lnTo>
                  <a:lnTo>
                    <a:pt x="266" y="1069"/>
                  </a:lnTo>
                  <a:lnTo>
                    <a:pt x="293" y="1019"/>
                  </a:lnTo>
                  <a:lnTo>
                    <a:pt x="323" y="960"/>
                  </a:lnTo>
                  <a:lnTo>
                    <a:pt x="355" y="902"/>
                  </a:lnTo>
                  <a:lnTo>
                    <a:pt x="384" y="846"/>
                  </a:lnTo>
                  <a:lnTo>
                    <a:pt x="407" y="801"/>
                  </a:lnTo>
                  <a:lnTo>
                    <a:pt x="423" y="771"/>
                  </a:lnTo>
                  <a:lnTo>
                    <a:pt x="436" y="746"/>
                  </a:lnTo>
                  <a:lnTo>
                    <a:pt x="449" y="714"/>
                  </a:lnTo>
                  <a:lnTo>
                    <a:pt x="466" y="676"/>
                  </a:lnTo>
                  <a:lnTo>
                    <a:pt x="481" y="637"/>
                  </a:lnTo>
                  <a:lnTo>
                    <a:pt x="496" y="599"/>
                  </a:lnTo>
                  <a:lnTo>
                    <a:pt x="509" y="566"/>
                  </a:lnTo>
                  <a:lnTo>
                    <a:pt x="520" y="540"/>
                  </a:lnTo>
                  <a:lnTo>
                    <a:pt x="526" y="524"/>
                  </a:lnTo>
                  <a:lnTo>
                    <a:pt x="533" y="504"/>
                  </a:lnTo>
                  <a:lnTo>
                    <a:pt x="537" y="482"/>
                  </a:lnTo>
                  <a:lnTo>
                    <a:pt x="541" y="472"/>
                  </a:lnTo>
                  <a:lnTo>
                    <a:pt x="545" y="463"/>
                  </a:lnTo>
                  <a:lnTo>
                    <a:pt x="547" y="459"/>
                  </a:lnTo>
                  <a:lnTo>
                    <a:pt x="551" y="456"/>
                  </a:lnTo>
                  <a:lnTo>
                    <a:pt x="555" y="452"/>
                  </a:lnTo>
                  <a:lnTo>
                    <a:pt x="560" y="450"/>
                  </a:lnTo>
                  <a:lnTo>
                    <a:pt x="567" y="446"/>
                  </a:lnTo>
                  <a:lnTo>
                    <a:pt x="575" y="441"/>
                  </a:lnTo>
                  <a:lnTo>
                    <a:pt x="581" y="437"/>
                  </a:lnTo>
                  <a:lnTo>
                    <a:pt x="585" y="432"/>
                  </a:lnTo>
                  <a:lnTo>
                    <a:pt x="589" y="428"/>
                  </a:lnTo>
                  <a:lnTo>
                    <a:pt x="592" y="423"/>
                  </a:lnTo>
                  <a:lnTo>
                    <a:pt x="595" y="416"/>
                  </a:lnTo>
                  <a:lnTo>
                    <a:pt x="596" y="409"/>
                  </a:lnTo>
                  <a:lnTo>
                    <a:pt x="599" y="393"/>
                  </a:lnTo>
                  <a:lnTo>
                    <a:pt x="602" y="376"/>
                  </a:lnTo>
                  <a:lnTo>
                    <a:pt x="604" y="364"/>
                  </a:lnTo>
                  <a:lnTo>
                    <a:pt x="605" y="360"/>
                  </a:lnTo>
                  <a:lnTo>
                    <a:pt x="613" y="354"/>
                  </a:lnTo>
                  <a:lnTo>
                    <a:pt x="634" y="339"/>
                  </a:lnTo>
                  <a:lnTo>
                    <a:pt x="639" y="333"/>
                  </a:lnTo>
                  <a:lnTo>
                    <a:pt x="646" y="326"/>
                  </a:lnTo>
                  <a:lnTo>
                    <a:pt x="651" y="319"/>
                  </a:lnTo>
                  <a:lnTo>
                    <a:pt x="656" y="312"/>
                  </a:lnTo>
                  <a:lnTo>
                    <a:pt x="663" y="299"/>
                  </a:lnTo>
                  <a:lnTo>
                    <a:pt x="667" y="293"/>
                  </a:lnTo>
                  <a:lnTo>
                    <a:pt x="667" y="288"/>
                  </a:lnTo>
                  <a:lnTo>
                    <a:pt x="666" y="275"/>
                  </a:lnTo>
                  <a:lnTo>
                    <a:pt x="664" y="257"/>
                  </a:lnTo>
                  <a:lnTo>
                    <a:pt x="662" y="240"/>
                  </a:lnTo>
                  <a:lnTo>
                    <a:pt x="659" y="223"/>
                  </a:lnTo>
                  <a:lnTo>
                    <a:pt x="657" y="204"/>
                  </a:lnTo>
                  <a:lnTo>
                    <a:pt x="655" y="188"/>
                  </a:lnTo>
                  <a:lnTo>
                    <a:pt x="653" y="183"/>
                  </a:lnTo>
                  <a:lnTo>
                    <a:pt x="662" y="129"/>
                  </a:lnTo>
                  <a:lnTo>
                    <a:pt x="664" y="124"/>
                  </a:lnTo>
                  <a:lnTo>
                    <a:pt x="668" y="115"/>
                  </a:lnTo>
                  <a:lnTo>
                    <a:pt x="669" y="109"/>
                  </a:lnTo>
                  <a:lnTo>
                    <a:pt x="669" y="102"/>
                  </a:lnTo>
                  <a:lnTo>
                    <a:pt x="669" y="97"/>
                  </a:lnTo>
                  <a:lnTo>
                    <a:pt x="667" y="91"/>
                  </a:lnTo>
                  <a:close/>
                </a:path>
              </a:pathLst>
            </a:custGeom>
            <a:solidFill>
              <a:srgbClr val="AAD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56" name="Freeform 27">
              <a:extLst>
                <a:ext uri="{FF2B5EF4-FFF2-40B4-BE49-F238E27FC236}">
                  <a16:creationId xmlns:a16="http://schemas.microsoft.com/office/drawing/2014/main" id="{C9386DB5-9365-5A32-CB59-937CA29FB438}"/>
                </a:ext>
              </a:extLst>
            </p:cNvPr>
            <p:cNvSpPr>
              <a:spLocks noEditPoints="1"/>
            </p:cNvSpPr>
            <p:nvPr/>
          </p:nvSpPr>
          <p:spPr bwMode="auto">
            <a:xfrm>
              <a:off x="9234042" y="3351017"/>
              <a:ext cx="2319091" cy="1807611"/>
            </a:xfrm>
            <a:custGeom>
              <a:avLst/>
              <a:gdLst>
                <a:gd name="T0" fmla="*/ 128 w 8314"/>
                <a:gd name="T1" fmla="*/ 308 h 6014"/>
                <a:gd name="T2" fmla="*/ 103 w 8314"/>
                <a:gd name="T3" fmla="*/ 745 h 6014"/>
                <a:gd name="T4" fmla="*/ 30 w 8314"/>
                <a:gd name="T5" fmla="*/ 1174 h 6014"/>
                <a:gd name="T6" fmla="*/ 168 w 8314"/>
                <a:gd name="T7" fmla="*/ 1634 h 6014"/>
                <a:gd name="T8" fmla="*/ 497 w 8314"/>
                <a:gd name="T9" fmla="*/ 2067 h 6014"/>
                <a:gd name="T10" fmla="*/ 969 w 8314"/>
                <a:gd name="T11" fmla="*/ 2393 h 6014"/>
                <a:gd name="T12" fmla="*/ 1486 w 8314"/>
                <a:gd name="T13" fmla="*/ 2356 h 6014"/>
                <a:gd name="T14" fmla="*/ 1859 w 8314"/>
                <a:gd name="T15" fmla="*/ 2180 h 6014"/>
                <a:gd name="T16" fmla="*/ 2228 w 8314"/>
                <a:gd name="T17" fmla="*/ 2367 h 6014"/>
                <a:gd name="T18" fmla="*/ 2564 w 8314"/>
                <a:gd name="T19" fmla="*/ 2385 h 6014"/>
                <a:gd name="T20" fmla="*/ 2618 w 8314"/>
                <a:gd name="T21" fmla="*/ 2759 h 6014"/>
                <a:gd name="T22" fmla="*/ 2593 w 8314"/>
                <a:gd name="T23" fmla="*/ 3084 h 6014"/>
                <a:gd name="T24" fmla="*/ 2861 w 8314"/>
                <a:gd name="T25" fmla="*/ 3546 h 6014"/>
                <a:gd name="T26" fmla="*/ 2917 w 8314"/>
                <a:gd name="T27" fmla="*/ 3759 h 6014"/>
                <a:gd name="T28" fmla="*/ 2863 w 8314"/>
                <a:gd name="T29" fmla="*/ 4259 h 6014"/>
                <a:gd name="T30" fmla="*/ 2821 w 8314"/>
                <a:gd name="T31" fmla="*/ 4842 h 6014"/>
                <a:gd name="T32" fmla="*/ 3097 w 8314"/>
                <a:gd name="T33" fmla="*/ 5562 h 6014"/>
                <a:gd name="T34" fmla="*/ 3170 w 8314"/>
                <a:gd name="T35" fmla="*/ 5854 h 6014"/>
                <a:gd name="T36" fmla="*/ 3307 w 8314"/>
                <a:gd name="T37" fmla="*/ 6014 h 6014"/>
                <a:gd name="T38" fmla="*/ 3730 w 8314"/>
                <a:gd name="T39" fmla="*/ 5920 h 6014"/>
                <a:gd name="T40" fmla="*/ 4404 w 8314"/>
                <a:gd name="T41" fmla="*/ 5391 h 6014"/>
                <a:gd name="T42" fmla="*/ 4773 w 8314"/>
                <a:gd name="T43" fmla="*/ 4873 h 6014"/>
                <a:gd name="T44" fmla="*/ 5067 w 8314"/>
                <a:gd name="T45" fmla="*/ 4380 h 6014"/>
                <a:gd name="T46" fmla="*/ 5335 w 8314"/>
                <a:gd name="T47" fmla="*/ 3754 h 6014"/>
                <a:gd name="T48" fmla="*/ 5267 w 8314"/>
                <a:gd name="T49" fmla="*/ 3336 h 6014"/>
                <a:gd name="T50" fmla="*/ 5667 w 8314"/>
                <a:gd name="T51" fmla="*/ 2649 h 6014"/>
                <a:gd name="T52" fmla="*/ 6248 w 8314"/>
                <a:gd name="T53" fmla="*/ 1670 h 6014"/>
                <a:gd name="T54" fmla="*/ 5989 w 8314"/>
                <a:gd name="T55" fmla="*/ 1548 h 6014"/>
                <a:gd name="T56" fmla="*/ 5673 w 8314"/>
                <a:gd name="T57" fmla="*/ 1442 h 6014"/>
                <a:gd name="T58" fmla="*/ 6126 w 8314"/>
                <a:gd name="T59" fmla="*/ 1224 h 6014"/>
                <a:gd name="T60" fmla="*/ 6466 w 8314"/>
                <a:gd name="T61" fmla="*/ 945 h 6014"/>
                <a:gd name="T62" fmla="*/ 6689 w 8314"/>
                <a:gd name="T63" fmla="*/ 637 h 6014"/>
                <a:gd name="T64" fmla="*/ 6503 w 8314"/>
                <a:gd name="T65" fmla="*/ 90 h 6014"/>
                <a:gd name="T66" fmla="*/ 6222 w 8314"/>
                <a:gd name="T67" fmla="*/ 212 h 6014"/>
                <a:gd name="T68" fmla="*/ 5169 w 8314"/>
                <a:gd name="T69" fmla="*/ 195 h 6014"/>
                <a:gd name="T70" fmla="*/ 5458 w 8314"/>
                <a:gd name="T71" fmla="*/ 704 h 6014"/>
                <a:gd name="T72" fmla="*/ 5614 w 8314"/>
                <a:gd name="T73" fmla="*/ 1076 h 6014"/>
                <a:gd name="T74" fmla="*/ 5506 w 8314"/>
                <a:gd name="T75" fmla="*/ 1256 h 6014"/>
                <a:gd name="T76" fmla="*/ 5329 w 8314"/>
                <a:gd name="T77" fmla="*/ 1009 h 6014"/>
                <a:gd name="T78" fmla="*/ 5171 w 8314"/>
                <a:gd name="T79" fmla="*/ 537 h 6014"/>
                <a:gd name="T80" fmla="*/ 4983 w 8314"/>
                <a:gd name="T81" fmla="*/ 205 h 6014"/>
                <a:gd name="T82" fmla="*/ 6804 w 8314"/>
                <a:gd name="T83" fmla="*/ 159 h 6014"/>
                <a:gd name="T84" fmla="*/ 7222 w 8314"/>
                <a:gd name="T85" fmla="*/ 282 h 6014"/>
                <a:gd name="T86" fmla="*/ 7322 w 8314"/>
                <a:gd name="T87" fmla="*/ 590 h 6014"/>
                <a:gd name="T88" fmla="*/ 7516 w 8314"/>
                <a:gd name="T89" fmla="*/ 973 h 6014"/>
                <a:gd name="T90" fmla="*/ 7671 w 8314"/>
                <a:gd name="T91" fmla="*/ 1590 h 6014"/>
                <a:gd name="T92" fmla="*/ 7815 w 8314"/>
                <a:gd name="T93" fmla="*/ 1490 h 6014"/>
                <a:gd name="T94" fmla="*/ 7966 w 8314"/>
                <a:gd name="T95" fmla="*/ 815 h 6014"/>
                <a:gd name="T96" fmla="*/ 8132 w 8314"/>
                <a:gd name="T97" fmla="*/ 613 h 6014"/>
                <a:gd name="T98" fmla="*/ 8252 w 8314"/>
                <a:gd name="T99" fmla="*/ 1423 h 6014"/>
                <a:gd name="T100" fmla="*/ 1840 w 8314"/>
                <a:gd name="T101" fmla="*/ 1600 h 6014"/>
                <a:gd name="T102" fmla="*/ 1657 w 8314"/>
                <a:gd name="T103" fmla="*/ 1604 h 6014"/>
                <a:gd name="T104" fmla="*/ 1418 w 8314"/>
                <a:gd name="T105" fmla="*/ 1640 h 6014"/>
                <a:gd name="T106" fmla="*/ 1338 w 8314"/>
                <a:gd name="T107" fmla="*/ 1745 h 6014"/>
                <a:gd name="T108" fmla="*/ 1178 w 8314"/>
                <a:gd name="T109" fmla="*/ 1721 h 6014"/>
                <a:gd name="T110" fmla="*/ 1237 w 8314"/>
                <a:gd name="T111" fmla="*/ 1545 h 6014"/>
                <a:gd name="T112" fmla="*/ 1345 w 8314"/>
                <a:gd name="T113" fmla="*/ 1411 h 6014"/>
                <a:gd name="T114" fmla="*/ 1602 w 8314"/>
                <a:gd name="T115" fmla="*/ 1215 h 6014"/>
                <a:gd name="T116" fmla="*/ 1788 w 8314"/>
                <a:gd name="T117" fmla="*/ 1419 h 6014"/>
                <a:gd name="T118" fmla="*/ 4798 w 8314"/>
                <a:gd name="T119" fmla="*/ 2940 h 6014"/>
                <a:gd name="T120" fmla="*/ 4666 w 8314"/>
                <a:gd name="T121" fmla="*/ 3023 h 6014"/>
                <a:gd name="T122" fmla="*/ 4734 w 8314"/>
                <a:gd name="T123" fmla="*/ 2800 h 6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314" h="6014">
                  <a:moveTo>
                    <a:pt x="300" y="0"/>
                  </a:moveTo>
                  <a:lnTo>
                    <a:pt x="297" y="8"/>
                  </a:lnTo>
                  <a:lnTo>
                    <a:pt x="295" y="17"/>
                  </a:lnTo>
                  <a:lnTo>
                    <a:pt x="294" y="26"/>
                  </a:lnTo>
                  <a:lnTo>
                    <a:pt x="293" y="36"/>
                  </a:lnTo>
                  <a:lnTo>
                    <a:pt x="294" y="40"/>
                  </a:lnTo>
                  <a:lnTo>
                    <a:pt x="295" y="43"/>
                  </a:lnTo>
                  <a:lnTo>
                    <a:pt x="296" y="46"/>
                  </a:lnTo>
                  <a:lnTo>
                    <a:pt x="298" y="48"/>
                  </a:lnTo>
                  <a:lnTo>
                    <a:pt x="302" y="51"/>
                  </a:lnTo>
                  <a:lnTo>
                    <a:pt x="303" y="53"/>
                  </a:lnTo>
                  <a:lnTo>
                    <a:pt x="303" y="56"/>
                  </a:lnTo>
                  <a:lnTo>
                    <a:pt x="302" y="58"/>
                  </a:lnTo>
                  <a:lnTo>
                    <a:pt x="298" y="60"/>
                  </a:lnTo>
                  <a:lnTo>
                    <a:pt x="295" y="64"/>
                  </a:lnTo>
                  <a:lnTo>
                    <a:pt x="282" y="74"/>
                  </a:lnTo>
                  <a:lnTo>
                    <a:pt x="260" y="90"/>
                  </a:lnTo>
                  <a:lnTo>
                    <a:pt x="238" y="104"/>
                  </a:lnTo>
                  <a:lnTo>
                    <a:pt x="222" y="114"/>
                  </a:lnTo>
                  <a:lnTo>
                    <a:pt x="211" y="118"/>
                  </a:lnTo>
                  <a:lnTo>
                    <a:pt x="205" y="121"/>
                  </a:lnTo>
                  <a:lnTo>
                    <a:pt x="201" y="122"/>
                  </a:lnTo>
                  <a:lnTo>
                    <a:pt x="198" y="124"/>
                  </a:lnTo>
                  <a:lnTo>
                    <a:pt x="195" y="129"/>
                  </a:lnTo>
                  <a:lnTo>
                    <a:pt x="190" y="139"/>
                  </a:lnTo>
                  <a:lnTo>
                    <a:pt x="185" y="152"/>
                  </a:lnTo>
                  <a:lnTo>
                    <a:pt x="180" y="163"/>
                  </a:lnTo>
                  <a:lnTo>
                    <a:pt x="177" y="173"/>
                  </a:lnTo>
                  <a:lnTo>
                    <a:pt x="175" y="182"/>
                  </a:lnTo>
                  <a:lnTo>
                    <a:pt x="173" y="199"/>
                  </a:lnTo>
                  <a:lnTo>
                    <a:pt x="169" y="213"/>
                  </a:lnTo>
                  <a:lnTo>
                    <a:pt x="169" y="218"/>
                  </a:lnTo>
                  <a:lnTo>
                    <a:pt x="170" y="220"/>
                  </a:lnTo>
                  <a:lnTo>
                    <a:pt x="171" y="222"/>
                  </a:lnTo>
                  <a:lnTo>
                    <a:pt x="173" y="223"/>
                  </a:lnTo>
                  <a:lnTo>
                    <a:pt x="173" y="227"/>
                  </a:lnTo>
                  <a:lnTo>
                    <a:pt x="170" y="233"/>
                  </a:lnTo>
                  <a:lnTo>
                    <a:pt x="166" y="243"/>
                  </a:lnTo>
                  <a:lnTo>
                    <a:pt x="157" y="259"/>
                  </a:lnTo>
                  <a:lnTo>
                    <a:pt x="143" y="282"/>
                  </a:lnTo>
                  <a:lnTo>
                    <a:pt x="138" y="288"/>
                  </a:lnTo>
                  <a:lnTo>
                    <a:pt x="136" y="292"/>
                  </a:lnTo>
                  <a:lnTo>
                    <a:pt x="128" y="308"/>
                  </a:lnTo>
                  <a:lnTo>
                    <a:pt x="114" y="340"/>
                  </a:lnTo>
                  <a:lnTo>
                    <a:pt x="97" y="376"/>
                  </a:lnTo>
                  <a:lnTo>
                    <a:pt x="84" y="403"/>
                  </a:lnTo>
                  <a:lnTo>
                    <a:pt x="79" y="415"/>
                  </a:lnTo>
                  <a:lnTo>
                    <a:pt x="78" y="413"/>
                  </a:lnTo>
                  <a:lnTo>
                    <a:pt x="75" y="413"/>
                  </a:lnTo>
                  <a:lnTo>
                    <a:pt x="73" y="414"/>
                  </a:lnTo>
                  <a:lnTo>
                    <a:pt x="70" y="419"/>
                  </a:lnTo>
                  <a:lnTo>
                    <a:pt x="67" y="425"/>
                  </a:lnTo>
                  <a:lnTo>
                    <a:pt x="62" y="435"/>
                  </a:lnTo>
                  <a:lnTo>
                    <a:pt x="53" y="460"/>
                  </a:lnTo>
                  <a:lnTo>
                    <a:pt x="47" y="482"/>
                  </a:lnTo>
                  <a:lnTo>
                    <a:pt x="44" y="494"/>
                  </a:lnTo>
                  <a:lnTo>
                    <a:pt x="43" y="506"/>
                  </a:lnTo>
                  <a:lnTo>
                    <a:pt x="43" y="520"/>
                  </a:lnTo>
                  <a:lnTo>
                    <a:pt x="46" y="535"/>
                  </a:lnTo>
                  <a:lnTo>
                    <a:pt x="49" y="548"/>
                  </a:lnTo>
                  <a:lnTo>
                    <a:pt x="53" y="557"/>
                  </a:lnTo>
                  <a:lnTo>
                    <a:pt x="58" y="562"/>
                  </a:lnTo>
                  <a:lnTo>
                    <a:pt x="63" y="567"/>
                  </a:lnTo>
                  <a:lnTo>
                    <a:pt x="69" y="569"/>
                  </a:lnTo>
                  <a:lnTo>
                    <a:pt x="75" y="572"/>
                  </a:lnTo>
                  <a:lnTo>
                    <a:pt x="81" y="575"/>
                  </a:lnTo>
                  <a:lnTo>
                    <a:pt x="87" y="580"/>
                  </a:lnTo>
                  <a:lnTo>
                    <a:pt x="100" y="589"/>
                  </a:lnTo>
                  <a:lnTo>
                    <a:pt x="110" y="595"/>
                  </a:lnTo>
                  <a:lnTo>
                    <a:pt x="114" y="599"/>
                  </a:lnTo>
                  <a:lnTo>
                    <a:pt x="117" y="605"/>
                  </a:lnTo>
                  <a:lnTo>
                    <a:pt x="120" y="613"/>
                  </a:lnTo>
                  <a:lnTo>
                    <a:pt x="120" y="625"/>
                  </a:lnTo>
                  <a:lnTo>
                    <a:pt x="120" y="648"/>
                  </a:lnTo>
                  <a:lnTo>
                    <a:pt x="118" y="665"/>
                  </a:lnTo>
                  <a:lnTo>
                    <a:pt x="116" y="677"/>
                  </a:lnTo>
                  <a:lnTo>
                    <a:pt x="116" y="691"/>
                  </a:lnTo>
                  <a:lnTo>
                    <a:pt x="116" y="697"/>
                  </a:lnTo>
                  <a:lnTo>
                    <a:pt x="118" y="698"/>
                  </a:lnTo>
                  <a:lnTo>
                    <a:pt x="121" y="698"/>
                  </a:lnTo>
                  <a:lnTo>
                    <a:pt x="122" y="697"/>
                  </a:lnTo>
                  <a:lnTo>
                    <a:pt x="123" y="698"/>
                  </a:lnTo>
                  <a:lnTo>
                    <a:pt x="116" y="711"/>
                  </a:lnTo>
                  <a:lnTo>
                    <a:pt x="111" y="723"/>
                  </a:lnTo>
                  <a:lnTo>
                    <a:pt x="106" y="734"/>
                  </a:lnTo>
                  <a:lnTo>
                    <a:pt x="103" y="745"/>
                  </a:lnTo>
                  <a:lnTo>
                    <a:pt x="100" y="755"/>
                  </a:lnTo>
                  <a:lnTo>
                    <a:pt x="99" y="764"/>
                  </a:lnTo>
                  <a:lnTo>
                    <a:pt x="99" y="772"/>
                  </a:lnTo>
                  <a:lnTo>
                    <a:pt x="99" y="780"/>
                  </a:lnTo>
                  <a:lnTo>
                    <a:pt x="100" y="786"/>
                  </a:lnTo>
                  <a:lnTo>
                    <a:pt x="101" y="792"/>
                  </a:lnTo>
                  <a:lnTo>
                    <a:pt x="100" y="790"/>
                  </a:lnTo>
                  <a:lnTo>
                    <a:pt x="100" y="790"/>
                  </a:lnTo>
                  <a:lnTo>
                    <a:pt x="104" y="803"/>
                  </a:lnTo>
                  <a:lnTo>
                    <a:pt x="111" y="828"/>
                  </a:lnTo>
                  <a:lnTo>
                    <a:pt x="117" y="860"/>
                  </a:lnTo>
                  <a:lnTo>
                    <a:pt x="120" y="877"/>
                  </a:lnTo>
                  <a:lnTo>
                    <a:pt x="122" y="893"/>
                  </a:lnTo>
                  <a:lnTo>
                    <a:pt x="124" y="909"/>
                  </a:lnTo>
                  <a:lnTo>
                    <a:pt x="124" y="922"/>
                  </a:lnTo>
                  <a:lnTo>
                    <a:pt x="124" y="932"/>
                  </a:lnTo>
                  <a:lnTo>
                    <a:pt x="123" y="938"/>
                  </a:lnTo>
                  <a:lnTo>
                    <a:pt x="121" y="941"/>
                  </a:lnTo>
                  <a:lnTo>
                    <a:pt x="118" y="944"/>
                  </a:lnTo>
                  <a:lnTo>
                    <a:pt x="115" y="950"/>
                  </a:lnTo>
                  <a:lnTo>
                    <a:pt x="112" y="957"/>
                  </a:lnTo>
                  <a:lnTo>
                    <a:pt x="108" y="972"/>
                  </a:lnTo>
                  <a:lnTo>
                    <a:pt x="104" y="992"/>
                  </a:lnTo>
                  <a:lnTo>
                    <a:pt x="97" y="1026"/>
                  </a:lnTo>
                  <a:lnTo>
                    <a:pt x="96" y="1037"/>
                  </a:lnTo>
                  <a:lnTo>
                    <a:pt x="95" y="1042"/>
                  </a:lnTo>
                  <a:lnTo>
                    <a:pt x="91" y="1058"/>
                  </a:lnTo>
                  <a:lnTo>
                    <a:pt x="90" y="1069"/>
                  </a:lnTo>
                  <a:lnTo>
                    <a:pt x="89" y="1078"/>
                  </a:lnTo>
                  <a:lnTo>
                    <a:pt x="89" y="1084"/>
                  </a:lnTo>
                  <a:lnTo>
                    <a:pt x="90" y="1090"/>
                  </a:lnTo>
                  <a:lnTo>
                    <a:pt x="90" y="1097"/>
                  </a:lnTo>
                  <a:lnTo>
                    <a:pt x="89" y="1102"/>
                  </a:lnTo>
                  <a:lnTo>
                    <a:pt x="85" y="1110"/>
                  </a:lnTo>
                  <a:lnTo>
                    <a:pt x="79" y="1120"/>
                  </a:lnTo>
                  <a:lnTo>
                    <a:pt x="64" y="1140"/>
                  </a:lnTo>
                  <a:lnTo>
                    <a:pt x="53" y="1156"/>
                  </a:lnTo>
                  <a:lnTo>
                    <a:pt x="48" y="1162"/>
                  </a:lnTo>
                  <a:lnTo>
                    <a:pt x="43" y="1167"/>
                  </a:lnTo>
                  <a:lnTo>
                    <a:pt x="38" y="1171"/>
                  </a:lnTo>
                  <a:lnTo>
                    <a:pt x="33" y="1173"/>
                  </a:lnTo>
                  <a:lnTo>
                    <a:pt x="31" y="1174"/>
                  </a:lnTo>
                  <a:lnTo>
                    <a:pt x="30" y="1174"/>
                  </a:lnTo>
                  <a:lnTo>
                    <a:pt x="29" y="1173"/>
                  </a:lnTo>
                  <a:lnTo>
                    <a:pt x="28" y="1172"/>
                  </a:lnTo>
                  <a:lnTo>
                    <a:pt x="28" y="1168"/>
                  </a:lnTo>
                  <a:lnTo>
                    <a:pt x="28" y="1166"/>
                  </a:lnTo>
                  <a:lnTo>
                    <a:pt x="27" y="1164"/>
                  </a:lnTo>
                  <a:lnTo>
                    <a:pt x="27" y="1165"/>
                  </a:lnTo>
                  <a:lnTo>
                    <a:pt x="25" y="1169"/>
                  </a:lnTo>
                  <a:lnTo>
                    <a:pt x="21" y="1177"/>
                  </a:lnTo>
                  <a:lnTo>
                    <a:pt x="12" y="1198"/>
                  </a:lnTo>
                  <a:lnTo>
                    <a:pt x="6" y="1215"/>
                  </a:lnTo>
                  <a:lnTo>
                    <a:pt x="2" y="1227"/>
                  </a:lnTo>
                  <a:lnTo>
                    <a:pt x="0" y="1231"/>
                  </a:lnTo>
                  <a:lnTo>
                    <a:pt x="26" y="1251"/>
                  </a:lnTo>
                  <a:lnTo>
                    <a:pt x="27" y="1252"/>
                  </a:lnTo>
                  <a:lnTo>
                    <a:pt x="29" y="1254"/>
                  </a:lnTo>
                  <a:lnTo>
                    <a:pt x="31" y="1258"/>
                  </a:lnTo>
                  <a:lnTo>
                    <a:pt x="32" y="1262"/>
                  </a:lnTo>
                  <a:lnTo>
                    <a:pt x="33" y="1268"/>
                  </a:lnTo>
                  <a:lnTo>
                    <a:pt x="33" y="1276"/>
                  </a:lnTo>
                  <a:lnTo>
                    <a:pt x="37" y="1306"/>
                  </a:lnTo>
                  <a:lnTo>
                    <a:pt x="43" y="1350"/>
                  </a:lnTo>
                  <a:lnTo>
                    <a:pt x="51" y="1396"/>
                  </a:lnTo>
                  <a:lnTo>
                    <a:pt x="54" y="1429"/>
                  </a:lnTo>
                  <a:lnTo>
                    <a:pt x="54" y="1438"/>
                  </a:lnTo>
                  <a:lnTo>
                    <a:pt x="57" y="1447"/>
                  </a:lnTo>
                  <a:lnTo>
                    <a:pt x="59" y="1453"/>
                  </a:lnTo>
                  <a:lnTo>
                    <a:pt x="62" y="1460"/>
                  </a:lnTo>
                  <a:lnTo>
                    <a:pt x="65" y="1467"/>
                  </a:lnTo>
                  <a:lnTo>
                    <a:pt x="70" y="1476"/>
                  </a:lnTo>
                  <a:lnTo>
                    <a:pt x="74" y="1487"/>
                  </a:lnTo>
                  <a:lnTo>
                    <a:pt x="79" y="1503"/>
                  </a:lnTo>
                  <a:lnTo>
                    <a:pt x="83" y="1517"/>
                  </a:lnTo>
                  <a:lnTo>
                    <a:pt x="89" y="1528"/>
                  </a:lnTo>
                  <a:lnTo>
                    <a:pt x="94" y="1536"/>
                  </a:lnTo>
                  <a:lnTo>
                    <a:pt x="100" y="1543"/>
                  </a:lnTo>
                  <a:lnTo>
                    <a:pt x="106" y="1549"/>
                  </a:lnTo>
                  <a:lnTo>
                    <a:pt x="114" y="1558"/>
                  </a:lnTo>
                  <a:lnTo>
                    <a:pt x="123" y="1569"/>
                  </a:lnTo>
                  <a:lnTo>
                    <a:pt x="133" y="1586"/>
                  </a:lnTo>
                  <a:lnTo>
                    <a:pt x="143" y="1602"/>
                  </a:lnTo>
                  <a:lnTo>
                    <a:pt x="153" y="1615"/>
                  </a:lnTo>
                  <a:lnTo>
                    <a:pt x="160" y="1626"/>
                  </a:lnTo>
                  <a:lnTo>
                    <a:pt x="168" y="1634"/>
                  </a:lnTo>
                  <a:lnTo>
                    <a:pt x="178" y="1644"/>
                  </a:lnTo>
                  <a:lnTo>
                    <a:pt x="181" y="1647"/>
                  </a:lnTo>
                  <a:lnTo>
                    <a:pt x="227" y="1679"/>
                  </a:lnTo>
                  <a:lnTo>
                    <a:pt x="229" y="1681"/>
                  </a:lnTo>
                  <a:lnTo>
                    <a:pt x="232" y="1685"/>
                  </a:lnTo>
                  <a:lnTo>
                    <a:pt x="238" y="1694"/>
                  </a:lnTo>
                  <a:lnTo>
                    <a:pt x="243" y="1709"/>
                  </a:lnTo>
                  <a:lnTo>
                    <a:pt x="248" y="1718"/>
                  </a:lnTo>
                  <a:lnTo>
                    <a:pt x="251" y="1726"/>
                  </a:lnTo>
                  <a:lnTo>
                    <a:pt x="255" y="1734"/>
                  </a:lnTo>
                  <a:lnTo>
                    <a:pt x="261" y="1740"/>
                  </a:lnTo>
                  <a:lnTo>
                    <a:pt x="271" y="1752"/>
                  </a:lnTo>
                  <a:lnTo>
                    <a:pt x="281" y="1762"/>
                  </a:lnTo>
                  <a:lnTo>
                    <a:pt x="292" y="1773"/>
                  </a:lnTo>
                  <a:lnTo>
                    <a:pt x="293" y="1774"/>
                  </a:lnTo>
                  <a:lnTo>
                    <a:pt x="350" y="1824"/>
                  </a:lnTo>
                  <a:lnTo>
                    <a:pt x="356" y="1825"/>
                  </a:lnTo>
                  <a:lnTo>
                    <a:pt x="367" y="1832"/>
                  </a:lnTo>
                  <a:lnTo>
                    <a:pt x="374" y="1837"/>
                  </a:lnTo>
                  <a:lnTo>
                    <a:pt x="379" y="1845"/>
                  </a:lnTo>
                  <a:lnTo>
                    <a:pt x="381" y="1849"/>
                  </a:lnTo>
                  <a:lnTo>
                    <a:pt x="382" y="1856"/>
                  </a:lnTo>
                  <a:lnTo>
                    <a:pt x="383" y="1862"/>
                  </a:lnTo>
                  <a:lnTo>
                    <a:pt x="383" y="1869"/>
                  </a:lnTo>
                  <a:lnTo>
                    <a:pt x="382" y="1898"/>
                  </a:lnTo>
                  <a:lnTo>
                    <a:pt x="381" y="1922"/>
                  </a:lnTo>
                  <a:lnTo>
                    <a:pt x="382" y="1933"/>
                  </a:lnTo>
                  <a:lnTo>
                    <a:pt x="383" y="1943"/>
                  </a:lnTo>
                  <a:lnTo>
                    <a:pt x="387" y="1952"/>
                  </a:lnTo>
                  <a:lnTo>
                    <a:pt x="392" y="1960"/>
                  </a:lnTo>
                  <a:lnTo>
                    <a:pt x="407" y="1976"/>
                  </a:lnTo>
                  <a:lnTo>
                    <a:pt x="423" y="1991"/>
                  </a:lnTo>
                  <a:lnTo>
                    <a:pt x="436" y="2001"/>
                  </a:lnTo>
                  <a:lnTo>
                    <a:pt x="442" y="2005"/>
                  </a:lnTo>
                  <a:lnTo>
                    <a:pt x="442" y="2008"/>
                  </a:lnTo>
                  <a:lnTo>
                    <a:pt x="442" y="2017"/>
                  </a:lnTo>
                  <a:lnTo>
                    <a:pt x="443" y="2023"/>
                  </a:lnTo>
                  <a:lnTo>
                    <a:pt x="445" y="2028"/>
                  </a:lnTo>
                  <a:lnTo>
                    <a:pt x="448" y="2034"/>
                  </a:lnTo>
                  <a:lnTo>
                    <a:pt x="450" y="2038"/>
                  </a:lnTo>
                  <a:lnTo>
                    <a:pt x="457" y="2045"/>
                  </a:lnTo>
                  <a:lnTo>
                    <a:pt x="475" y="2055"/>
                  </a:lnTo>
                  <a:lnTo>
                    <a:pt x="497" y="2067"/>
                  </a:lnTo>
                  <a:lnTo>
                    <a:pt x="524" y="2080"/>
                  </a:lnTo>
                  <a:lnTo>
                    <a:pt x="550" y="2095"/>
                  </a:lnTo>
                  <a:lnTo>
                    <a:pt x="575" y="2108"/>
                  </a:lnTo>
                  <a:lnTo>
                    <a:pt x="594" y="2120"/>
                  </a:lnTo>
                  <a:lnTo>
                    <a:pt x="607" y="2129"/>
                  </a:lnTo>
                  <a:lnTo>
                    <a:pt x="619" y="2141"/>
                  </a:lnTo>
                  <a:lnTo>
                    <a:pt x="628" y="2150"/>
                  </a:lnTo>
                  <a:lnTo>
                    <a:pt x="635" y="2160"/>
                  </a:lnTo>
                  <a:lnTo>
                    <a:pt x="643" y="2174"/>
                  </a:lnTo>
                  <a:lnTo>
                    <a:pt x="654" y="2193"/>
                  </a:lnTo>
                  <a:lnTo>
                    <a:pt x="665" y="2210"/>
                  </a:lnTo>
                  <a:lnTo>
                    <a:pt x="673" y="2223"/>
                  </a:lnTo>
                  <a:lnTo>
                    <a:pt x="676" y="2228"/>
                  </a:lnTo>
                  <a:lnTo>
                    <a:pt x="682" y="2230"/>
                  </a:lnTo>
                  <a:lnTo>
                    <a:pt x="693" y="2238"/>
                  </a:lnTo>
                  <a:lnTo>
                    <a:pt x="706" y="2247"/>
                  </a:lnTo>
                  <a:lnTo>
                    <a:pt x="718" y="2257"/>
                  </a:lnTo>
                  <a:lnTo>
                    <a:pt x="728" y="2266"/>
                  </a:lnTo>
                  <a:lnTo>
                    <a:pt x="741" y="2276"/>
                  </a:lnTo>
                  <a:lnTo>
                    <a:pt x="755" y="2287"/>
                  </a:lnTo>
                  <a:lnTo>
                    <a:pt x="767" y="2298"/>
                  </a:lnTo>
                  <a:lnTo>
                    <a:pt x="774" y="2304"/>
                  </a:lnTo>
                  <a:lnTo>
                    <a:pt x="783" y="2311"/>
                  </a:lnTo>
                  <a:lnTo>
                    <a:pt x="792" y="2316"/>
                  </a:lnTo>
                  <a:lnTo>
                    <a:pt x="802" y="2323"/>
                  </a:lnTo>
                  <a:lnTo>
                    <a:pt x="819" y="2332"/>
                  </a:lnTo>
                  <a:lnTo>
                    <a:pt x="825" y="2335"/>
                  </a:lnTo>
                  <a:lnTo>
                    <a:pt x="830" y="2337"/>
                  </a:lnTo>
                  <a:lnTo>
                    <a:pt x="842" y="2343"/>
                  </a:lnTo>
                  <a:lnTo>
                    <a:pt x="850" y="2346"/>
                  </a:lnTo>
                  <a:lnTo>
                    <a:pt x="856" y="2351"/>
                  </a:lnTo>
                  <a:lnTo>
                    <a:pt x="862" y="2355"/>
                  </a:lnTo>
                  <a:lnTo>
                    <a:pt x="866" y="2359"/>
                  </a:lnTo>
                  <a:lnTo>
                    <a:pt x="873" y="2365"/>
                  </a:lnTo>
                  <a:lnTo>
                    <a:pt x="884" y="2372"/>
                  </a:lnTo>
                  <a:lnTo>
                    <a:pt x="899" y="2378"/>
                  </a:lnTo>
                  <a:lnTo>
                    <a:pt x="916" y="2384"/>
                  </a:lnTo>
                  <a:lnTo>
                    <a:pt x="933" y="2389"/>
                  </a:lnTo>
                  <a:lnTo>
                    <a:pt x="949" y="2393"/>
                  </a:lnTo>
                  <a:lnTo>
                    <a:pt x="956" y="2394"/>
                  </a:lnTo>
                  <a:lnTo>
                    <a:pt x="961" y="2394"/>
                  </a:lnTo>
                  <a:lnTo>
                    <a:pt x="965" y="2394"/>
                  </a:lnTo>
                  <a:lnTo>
                    <a:pt x="969" y="2393"/>
                  </a:lnTo>
                  <a:lnTo>
                    <a:pt x="990" y="2373"/>
                  </a:lnTo>
                  <a:lnTo>
                    <a:pt x="1002" y="2359"/>
                  </a:lnTo>
                  <a:lnTo>
                    <a:pt x="1005" y="2359"/>
                  </a:lnTo>
                  <a:lnTo>
                    <a:pt x="1015" y="2356"/>
                  </a:lnTo>
                  <a:lnTo>
                    <a:pt x="1028" y="2353"/>
                  </a:lnTo>
                  <a:lnTo>
                    <a:pt x="1043" y="2347"/>
                  </a:lnTo>
                  <a:lnTo>
                    <a:pt x="1048" y="2345"/>
                  </a:lnTo>
                  <a:lnTo>
                    <a:pt x="1049" y="2346"/>
                  </a:lnTo>
                  <a:lnTo>
                    <a:pt x="1048" y="2347"/>
                  </a:lnTo>
                  <a:lnTo>
                    <a:pt x="1046" y="2350"/>
                  </a:lnTo>
                  <a:lnTo>
                    <a:pt x="1046" y="2350"/>
                  </a:lnTo>
                  <a:lnTo>
                    <a:pt x="1064" y="2340"/>
                  </a:lnTo>
                  <a:lnTo>
                    <a:pt x="1089" y="2324"/>
                  </a:lnTo>
                  <a:lnTo>
                    <a:pt x="1106" y="2314"/>
                  </a:lnTo>
                  <a:lnTo>
                    <a:pt x="1118" y="2308"/>
                  </a:lnTo>
                  <a:lnTo>
                    <a:pt x="1130" y="2302"/>
                  </a:lnTo>
                  <a:lnTo>
                    <a:pt x="1142" y="2298"/>
                  </a:lnTo>
                  <a:lnTo>
                    <a:pt x="1154" y="2294"/>
                  </a:lnTo>
                  <a:lnTo>
                    <a:pt x="1163" y="2294"/>
                  </a:lnTo>
                  <a:lnTo>
                    <a:pt x="1166" y="2293"/>
                  </a:lnTo>
                  <a:lnTo>
                    <a:pt x="1183" y="2295"/>
                  </a:lnTo>
                  <a:lnTo>
                    <a:pt x="1221" y="2300"/>
                  </a:lnTo>
                  <a:lnTo>
                    <a:pt x="1269" y="2304"/>
                  </a:lnTo>
                  <a:lnTo>
                    <a:pt x="1316" y="2306"/>
                  </a:lnTo>
                  <a:lnTo>
                    <a:pt x="1350" y="2304"/>
                  </a:lnTo>
                  <a:lnTo>
                    <a:pt x="1374" y="2302"/>
                  </a:lnTo>
                  <a:lnTo>
                    <a:pt x="1383" y="2303"/>
                  </a:lnTo>
                  <a:lnTo>
                    <a:pt x="1391" y="2304"/>
                  </a:lnTo>
                  <a:lnTo>
                    <a:pt x="1394" y="2306"/>
                  </a:lnTo>
                  <a:lnTo>
                    <a:pt x="1396" y="2308"/>
                  </a:lnTo>
                  <a:lnTo>
                    <a:pt x="1399" y="2311"/>
                  </a:lnTo>
                  <a:lnTo>
                    <a:pt x="1402" y="2314"/>
                  </a:lnTo>
                  <a:lnTo>
                    <a:pt x="1406" y="2322"/>
                  </a:lnTo>
                  <a:lnTo>
                    <a:pt x="1412" y="2327"/>
                  </a:lnTo>
                  <a:lnTo>
                    <a:pt x="1417" y="2333"/>
                  </a:lnTo>
                  <a:lnTo>
                    <a:pt x="1423" y="2337"/>
                  </a:lnTo>
                  <a:lnTo>
                    <a:pt x="1433" y="2343"/>
                  </a:lnTo>
                  <a:lnTo>
                    <a:pt x="1443" y="2347"/>
                  </a:lnTo>
                  <a:lnTo>
                    <a:pt x="1454" y="2351"/>
                  </a:lnTo>
                  <a:lnTo>
                    <a:pt x="1466" y="2355"/>
                  </a:lnTo>
                  <a:lnTo>
                    <a:pt x="1472" y="2356"/>
                  </a:lnTo>
                  <a:lnTo>
                    <a:pt x="1479" y="2356"/>
                  </a:lnTo>
                  <a:lnTo>
                    <a:pt x="1486" y="2356"/>
                  </a:lnTo>
                  <a:lnTo>
                    <a:pt x="1492" y="2356"/>
                  </a:lnTo>
                  <a:lnTo>
                    <a:pt x="1504" y="2352"/>
                  </a:lnTo>
                  <a:lnTo>
                    <a:pt x="1517" y="2347"/>
                  </a:lnTo>
                  <a:lnTo>
                    <a:pt x="1522" y="2345"/>
                  </a:lnTo>
                  <a:lnTo>
                    <a:pt x="1528" y="2341"/>
                  </a:lnTo>
                  <a:lnTo>
                    <a:pt x="1533" y="2336"/>
                  </a:lnTo>
                  <a:lnTo>
                    <a:pt x="1538" y="2331"/>
                  </a:lnTo>
                  <a:lnTo>
                    <a:pt x="1540" y="2329"/>
                  </a:lnTo>
                  <a:lnTo>
                    <a:pt x="1540" y="2325"/>
                  </a:lnTo>
                  <a:lnTo>
                    <a:pt x="1540" y="2324"/>
                  </a:lnTo>
                  <a:lnTo>
                    <a:pt x="1539" y="2322"/>
                  </a:lnTo>
                  <a:lnTo>
                    <a:pt x="1536" y="2321"/>
                  </a:lnTo>
                  <a:lnTo>
                    <a:pt x="1533" y="2320"/>
                  </a:lnTo>
                  <a:lnTo>
                    <a:pt x="1532" y="2319"/>
                  </a:lnTo>
                  <a:lnTo>
                    <a:pt x="1531" y="2319"/>
                  </a:lnTo>
                  <a:lnTo>
                    <a:pt x="1532" y="2319"/>
                  </a:lnTo>
                  <a:lnTo>
                    <a:pt x="1532" y="2319"/>
                  </a:lnTo>
                  <a:lnTo>
                    <a:pt x="1539" y="2316"/>
                  </a:lnTo>
                  <a:lnTo>
                    <a:pt x="1550" y="2314"/>
                  </a:lnTo>
                  <a:lnTo>
                    <a:pt x="1574" y="2310"/>
                  </a:lnTo>
                  <a:lnTo>
                    <a:pt x="1587" y="2308"/>
                  </a:lnTo>
                  <a:lnTo>
                    <a:pt x="1597" y="2306"/>
                  </a:lnTo>
                  <a:lnTo>
                    <a:pt x="1612" y="2302"/>
                  </a:lnTo>
                  <a:lnTo>
                    <a:pt x="1635" y="2294"/>
                  </a:lnTo>
                  <a:lnTo>
                    <a:pt x="1662" y="2284"/>
                  </a:lnTo>
                  <a:lnTo>
                    <a:pt x="1676" y="2279"/>
                  </a:lnTo>
                  <a:lnTo>
                    <a:pt x="1689" y="2273"/>
                  </a:lnTo>
                  <a:lnTo>
                    <a:pt x="1699" y="2267"/>
                  </a:lnTo>
                  <a:lnTo>
                    <a:pt x="1707" y="2261"/>
                  </a:lnTo>
                  <a:lnTo>
                    <a:pt x="1713" y="2255"/>
                  </a:lnTo>
                  <a:lnTo>
                    <a:pt x="1721" y="2250"/>
                  </a:lnTo>
                  <a:lnTo>
                    <a:pt x="1730" y="2246"/>
                  </a:lnTo>
                  <a:lnTo>
                    <a:pt x="1737" y="2242"/>
                  </a:lnTo>
                  <a:lnTo>
                    <a:pt x="1751" y="2238"/>
                  </a:lnTo>
                  <a:lnTo>
                    <a:pt x="1756" y="2236"/>
                  </a:lnTo>
                  <a:lnTo>
                    <a:pt x="1763" y="2231"/>
                  </a:lnTo>
                  <a:lnTo>
                    <a:pt x="1779" y="2221"/>
                  </a:lnTo>
                  <a:lnTo>
                    <a:pt x="1801" y="2208"/>
                  </a:lnTo>
                  <a:lnTo>
                    <a:pt x="1822" y="2195"/>
                  </a:lnTo>
                  <a:lnTo>
                    <a:pt x="1831" y="2189"/>
                  </a:lnTo>
                  <a:lnTo>
                    <a:pt x="1840" y="2185"/>
                  </a:lnTo>
                  <a:lnTo>
                    <a:pt x="1849" y="2182"/>
                  </a:lnTo>
                  <a:lnTo>
                    <a:pt x="1859" y="2180"/>
                  </a:lnTo>
                  <a:lnTo>
                    <a:pt x="1881" y="2177"/>
                  </a:lnTo>
                  <a:lnTo>
                    <a:pt x="1909" y="2174"/>
                  </a:lnTo>
                  <a:lnTo>
                    <a:pt x="1935" y="2170"/>
                  </a:lnTo>
                  <a:lnTo>
                    <a:pt x="1955" y="2165"/>
                  </a:lnTo>
                  <a:lnTo>
                    <a:pt x="1963" y="2164"/>
                  </a:lnTo>
                  <a:lnTo>
                    <a:pt x="1972" y="2163"/>
                  </a:lnTo>
                  <a:lnTo>
                    <a:pt x="1981" y="2164"/>
                  </a:lnTo>
                  <a:lnTo>
                    <a:pt x="1991" y="2166"/>
                  </a:lnTo>
                  <a:lnTo>
                    <a:pt x="2004" y="2168"/>
                  </a:lnTo>
                  <a:lnTo>
                    <a:pt x="2020" y="2171"/>
                  </a:lnTo>
                  <a:lnTo>
                    <a:pt x="2038" y="2171"/>
                  </a:lnTo>
                  <a:lnTo>
                    <a:pt x="2057" y="2172"/>
                  </a:lnTo>
                  <a:lnTo>
                    <a:pt x="2091" y="2173"/>
                  </a:lnTo>
                  <a:lnTo>
                    <a:pt x="2111" y="2174"/>
                  </a:lnTo>
                  <a:lnTo>
                    <a:pt x="2125" y="2178"/>
                  </a:lnTo>
                  <a:lnTo>
                    <a:pt x="2144" y="2184"/>
                  </a:lnTo>
                  <a:lnTo>
                    <a:pt x="2162" y="2188"/>
                  </a:lnTo>
                  <a:lnTo>
                    <a:pt x="2168" y="2191"/>
                  </a:lnTo>
                  <a:lnTo>
                    <a:pt x="2170" y="2193"/>
                  </a:lnTo>
                  <a:lnTo>
                    <a:pt x="2175" y="2198"/>
                  </a:lnTo>
                  <a:lnTo>
                    <a:pt x="2177" y="2203"/>
                  </a:lnTo>
                  <a:lnTo>
                    <a:pt x="2179" y="2208"/>
                  </a:lnTo>
                  <a:lnTo>
                    <a:pt x="2180" y="2215"/>
                  </a:lnTo>
                  <a:lnTo>
                    <a:pt x="2180" y="2224"/>
                  </a:lnTo>
                  <a:lnTo>
                    <a:pt x="2181" y="2241"/>
                  </a:lnTo>
                  <a:lnTo>
                    <a:pt x="2185" y="2256"/>
                  </a:lnTo>
                  <a:lnTo>
                    <a:pt x="2188" y="2266"/>
                  </a:lnTo>
                  <a:lnTo>
                    <a:pt x="2189" y="2269"/>
                  </a:lnTo>
                  <a:lnTo>
                    <a:pt x="2191" y="2270"/>
                  </a:lnTo>
                  <a:lnTo>
                    <a:pt x="2198" y="2273"/>
                  </a:lnTo>
                  <a:lnTo>
                    <a:pt x="2201" y="2276"/>
                  </a:lnTo>
                  <a:lnTo>
                    <a:pt x="2205" y="2279"/>
                  </a:lnTo>
                  <a:lnTo>
                    <a:pt x="2208" y="2284"/>
                  </a:lnTo>
                  <a:lnTo>
                    <a:pt x="2209" y="2290"/>
                  </a:lnTo>
                  <a:lnTo>
                    <a:pt x="2212" y="2301"/>
                  </a:lnTo>
                  <a:lnTo>
                    <a:pt x="2216" y="2310"/>
                  </a:lnTo>
                  <a:lnTo>
                    <a:pt x="2217" y="2320"/>
                  </a:lnTo>
                  <a:lnTo>
                    <a:pt x="2218" y="2331"/>
                  </a:lnTo>
                  <a:lnTo>
                    <a:pt x="2218" y="2343"/>
                  </a:lnTo>
                  <a:lnTo>
                    <a:pt x="2218" y="2353"/>
                  </a:lnTo>
                  <a:lnTo>
                    <a:pt x="2220" y="2358"/>
                  </a:lnTo>
                  <a:lnTo>
                    <a:pt x="2223" y="2363"/>
                  </a:lnTo>
                  <a:lnTo>
                    <a:pt x="2228" y="2367"/>
                  </a:lnTo>
                  <a:lnTo>
                    <a:pt x="2234" y="2372"/>
                  </a:lnTo>
                  <a:lnTo>
                    <a:pt x="2249" y="2382"/>
                  </a:lnTo>
                  <a:lnTo>
                    <a:pt x="2264" y="2391"/>
                  </a:lnTo>
                  <a:lnTo>
                    <a:pt x="2272" y="2395"/>
                  </a:lnTo>
                  <a:lnTo>
                    <a:pt x="2281" y="2398"/>
                  </a:lnTo>
                  <a:lnTo>
                    <a:pt x="2290" y="2400"/>
                  </a:lnTo>
                  <a:lnTo>
                    <a:pt x="2301" y="2400"/>
                  </a:lnTo>
                  <a:lnTo>
                    <a:pt x="2327" y="2400"/>
                  </a:lnTo>
                  <a:lnTo>
                    <a:pt x="2358" y="2399"/>
                  </a:lnTo>
                  <a:lnTo>
                    <a:pt x="2374" y="2398"/>
                  </a:lnTo>
                  <a:lnTo>
                    <a:pt x="2388" y="2396"/>
                  </a:lnTo>
                  <a:lnTo>
                    <a:pt x="2399" y="2393"/>
                  </a:lnTo>
                  <a:lnTo>
                    <a:pt x="2408" y="2388"/>
                  </a:lnTo>
                  <a:lnTo>
                    <a:pt x="2411" y="2385"/>
                  </a:lnTo>
                  <a:lnTo>
                    <a:pt x="2413" y="2382"/>
                  </a:lnTo>
                  <a:lnTo>
                    <a:pt x="2412" y="2380"/>
                  </a:lnTo>
                  <a:lnTo>
                    <a:pt x="2411" y="2379"/>
                  </a:lnTo>
                  <a:lnTo>
                    <a:pt x="2411" y="2378"/>
                  </a:lnTo>
                  <a:lnTo>
                    <a:pt x="2424" y="2376"/>
                  </a:lnTo>
                  <a:lnTo>
                    <a:pt x="2434" y="2375"/>
                  </a:lnTo>
                  <a:lnTo>
                    <a:pt x="2443" y="2376"/>
                  </a:lnTo>
                  <a:lnTo>
                    <a:pt x="2450" y="2376"/>
                  </a:lnTo>
                  <a:lnTo>
                    <a:pt x="2456" y="2378"/>
                  </a:lnTo>
                  <a:lnTo>
                    <a:pt x="2463" y="2378"/>
                  </a:lnTo>
                  <a:lnTo>
                    <a:pt x="2467" y="2379"/>
                  </a:lnTo>
                  <a:lnTo>
                    <a:pt x="2473" y="2378"/>
                  </a:lnTo>
                  <a:lnTo>
                    <a:pt x="2477" y="2376"/>
                  </a:lnTo>
                  <a:lnTo>
                    <a:pt x="2488" y="2369"/>
                  </a:lnTo>
                  <a:lnTo>
                    <a:pt x="2490" y="2368"/>
                  </a:lnTo>
                  <a:lnTo>
                    <a:pt x="2494" y="2364"/>
                  </a:lnTo>
                  <a:lnTo>
                    <a:pt x="2504" y="2356"/>
                  </a:lnTo>
                  <a:lnTo>
                    <a:pt x="2510" y="2353"/>
                  </a:lnTo>
                  <a:lnTo>
                    <a:pt x="2517" y="2351"/>
                  </a:lnTo>
                  <a:lnTo>
                    <a:pt x="2522" y="2350"/>
                  </a:lnTo>
                  <a:lnTo>
                    <a:pt x="2525" y="2350"/>
                  </a:lnTo>
                  <a:lnTo>
                    <a:pt x="2528" y="2351"/>
                  </a:lnTo>
                  <a:lnTo>
                    <a:pt x="2531" y="2352"/>
                  </a:lnTo>
                  <a:lnTo>
                    <a:pt x="2544" y="2358"/>
                  </a:lnTo>
                  <a:lnTo>
                    <a:pt x="2554" y="2366"/>
                  </a:lnTo>
                  <a:lnTo>
                    <a:pt x="2558" y="2371"/>
                  </a:lnTo>
                  <a:lnTo>
                    <a:pt x="2561" y="2375"/>
                  </a:lnTo>
                  <a:lnTo>
                    <a:pt x="2564" y="2379"/>
                  </a:lnTo>
                  <a:lnTo>
                    <a:pt x="2564" y="2385"/>
                  </a:lnTo>
                  <a:lnTo>
                    <a:pt x="2564" y="2395"/>
                  </a:lnTo>
                  <a:lnTo>
                    <a:pt x="2564" y="2397"/>
                  </a:lnTo>
                  <a:lnTo>
                    <a:pt x="2569" y="2404"/>
                  </a:lnTo>
                  <a:lnTo>
                    <a:pt x="2581" y="2419"/>
                  </a:lnTo>
                  <a:lnTo>
                    <a:pt x="2589" y="2429"/>
                  </a:lnTo>
                  <a:lnTo>
                    <a:pt x="2597" y="2439"/>
                  </a:lnTo>
                  <a:lnTo>
                    <a:pt x="2605" y="2448"/>
                  </a:lnTo>
                  <a:lnTo>
                    <a:pt x="2613" y="2454"/>
                  </a:lnTo>
                  <a:lnTo>
                    <a:pt x="2621" y="2461"/>
                  </a:lnTo>
                  <a:lnTo>
                    <a:pt x="2626" y="2468"/>
                  </a:lnTo>
                  <a:lnTo>
                    <a:pt x="2632" y="2473"/>
                  </a:lnTo>
                  <a:lnTo>
                    <a:pt x="2635" y="2479"/>
                  </a:lnTo>
                  <a:lnTo>
                    <a:pt x="2641" y="2488"/>
                  </a:lnTo>
                  <a:lnTo>
                    <a:pt x="2642" y="2492"/>
                  </a:lnTo>
                  <a:lnTo>
                    <a:pt x="2643" y="2496"/>
                  </a:lnTo>
                  <a:lnTo>
                    <a:pt x="2644" y="2509"/>
                  </a:lnTo>
                  <a:lnTo>
                    <a:pt x="2644" y="2526"/>
                  </a:lnTo>
                  <a:lnTo>
                    <a:pt x="2642" y="2549"/>
                  </a:lnTo>
                  <a:lnTo>
                    <a:pt x="2640" y="2568"/>
                  </a:lnTo>
                  <a:lnTo>
                    <a:pt x="2639" y="2580"/>
                  </a:lnTo>
                  <a:lnTo>
                    <a:pt x="2639" y="2590"/>
                  </a:lnTo>
                  <a:lnTo>
                    <a:pt x="2639" y="2602"/>
                  </a:lnTo>
                  <a:lnTo>
                    <a:pt x="2637" y="2611"/>
                  </a:lnTo>
                  <a:lnTo>
                    <a:pt x="2634" y="2621"/>
                  </a:lnTo>
                  <a:lnTo>
                    <a:pt x="2630" y="2632"/>
                  </a:lnTo>
                  <a:lnTo>
                    <a:pt x="2624" y="2643"/>
                  </a:lnTo>
                  <a:lnTo>
                    <a:pt x="2612" y="2664"/>
                  </a:lnTo>
                  <a:lnTo>
                    <a:pt x="2601" y="2681"/>
                  </a:lnTo>
                  <a:lnTo>
                    <a:pt x="2592" y="2692"/>
                  </a:lnTo>
                  <a:lnTo>
                    <a:pt x="2586" y="2701"/>
                  </a:lnTo>
                  <a:lnTo>
                    <a:pt x="2583" y="2705"/>
                  </a:lnTo>
                  <a:lnTo>
                    <a:pt x="2583" y="2712"/>
                  </a:lnTo>
                  <a:lnTo>
                    <a:pt x="2586" y="2718"/>
                  </a:lnTo>
                  <a:lnTo>
                    <a:pt x="2589" y="2726"/>
                  </a:lnTo>
                  <a:lnTo>
                    <a:pt x="2592" y="2734"/>
                  </a:lnTo>
                  <a:lnTo>
                    <a:pt x="2593" y="2738"/>
                  </a:lnTo>
                  <a:lnTo>
                    <a:pt x="2592" y="2739"/>
                  </a:lnTo>
                  <a:lnTo>
                    <a:pt x="2592" y="2740"/>
                  </a:lnTo>
                  <a:lnTo>
                    <a:pt x="2592" y="2743"/>
                  </a:lnTo>
                  <a:lnTo>
                    <a:pt x="2601" y="2751"/>
                  </a:lnTo>
                  <a:lnTo>
                    <a:pt x="2608" y="2757"/>
                  </a:lnTo>
                  <a:lnTo>
                    <a:pt x="2613" y="2759"/>
                  </a:lnTo>
                  <a:lnTo>
                    <a:pt x="2618" y="2759"/>
                  </a:lnTo>
                  <a:lnTo>
                    <a:pt x="2621" y="2758"/>
                  </a:lnTo>
                  <a:lnTo>
                    <a:pt x="2622" y="2758"/>
                  </a:lnTo>
                  <a:lnTo>
                    <a:pt x="2623" y="2759"/>
                  </a:lnTo>
                  <a:lnTo>
                    <a:pt x="2623" y="2764"/>
                  </a:lnTo>
                  <a:lnTo>
                    <a:pt x="2622" y="2771"/>
                  </a:lnTo>
                  <a:lnTo>
                    <a:pt x="2618" y="2797"/>
                  </a:lnTo>
                  <a:lnTo>
                    <a:pt x="2618" y="2800"/>
                  </a:lnTo>
                  <a:lnTo>
                    <a:pt x="2603" y="2823"/>
                  </a:lnTo>
                  <a:lnTo>
                    <a:pt x="2593" y="2840"/>
                  </a:lnTo>
                  <a:lnTo>
                    <a:pt x="2590" y="2846"/>
                  </a:lnTo>
                  <a:lnTo>
                    <a:pt x="2587" y="2853"/>
                  </a:lnTo>
                  <a:lnTo>
                    <a:pt x="2586" y="2860"/>
                  </a:lnTo>
                  <a:lnTo>
                    <a:pt x="2584" y="2866"/>
                  </a:lnTo>
                  <a:lnTo>
                    <a:pt x="2584" y="2870"/>
                  </a:lnTo>
                  <a:lnTo>
                    <a:pt x="2586" y="2873"/>
                  </a:lnTo>
                  <a:lnTo>
                    <a:pt x="2588" y="2874"/>
                  </a:lnTo>
                  <a:lnTo>
                    <a:pt x="2590" y="2875"/>
                  </a:lnTo>
                  <a:lnTo>
                    <a:pt x="2594" y="2876"/>
                  </a:lnTo>
                  <a:lnTo>
                    <a:pt x="2599" y="2877"/>
                  </a:lnTo>
                  <a:lnTo>
                    <a:pt x="2600" y="2877"/>
                  </a:lnTo>
                  <a:lnTo>
                    <a:pt x="2601" y="2877"/>
                  </a:lnTo>
                  <a:lnTo>
                    <a:pt x="2601" y="2877"/>
                  </a:lnTo>
                  <a:lnTo>
                    <a:pt x="2600" y="2878"/>
                  </a:lnTo>
                  <a:lnTo>
                    <a:pt x="2596" y="2881"/>
                  </a:lnTo>
                  <a:lnTo>
                    <a:pt x="2584" y="2887"/>
                  </a:lnTo>
                  <a:lnTo>
                    <a:pt x="2564" y="2899"/>
                  </a:lnTo>
                  <a:lnTo>
                    <a:pt x="2552" y="2905"/>
                  </a:lnTo>
                  <a:lnTo>
                    <a:pt x="2548" y="2907"/>
                  </a:lnTo>
                  <a:lnTo>
                    <a:pt x="2548" y="2908"/>
                  </a:lnTo>
                  <a:lnTo>
                    <a:pt x="2548" y="2910"/>
                  </a:lnTo>
                  <a:lnTo>
                    <a:pt x="2548" y="2921"/>
                  </a:lnTo>
                  <a:lnTo>
                    <a:pt x="2548" y="2940"/>
                  </a:lnTo>
                  <a:lnTo>
                    <a:pt x="2548" y="2970"/>
                  </a:lnTo>
                  <a:lnTo>
                    <a:pt x="2548" y="2984"/>
                  </a:lnTo>
                  <a:lnTo>
                    <a:pt x="2550" y="2995"/>
                  </a:lnTo>
                  <a:lnTo>
                    <a:pt x="2554" y="3004"/>
                  </a:lnTo>
                  <a:lnTo>
                    <a:pt x="2558" y="3011"/>
                  </a:lnTo>
                  <a:lnTo>
                    <a:pt x="2568" y="3024"/>
                  </a:lnTo>
                  <a:lnTo>
                    <a:pt x="2580" y="3044"/>
                  </a:lnTo>
                  <a:lnTo>
                    <a:pt x="2586" y="3055"/>
                  </a:lnTo>
                  <a:lnTo>
                    <a:pt x="2590" y="3066"/>
                  </a:lnTo>
                  <a:lnTo>
                    <a:pt x="2592" y="3075"/>
                  </a:lnTo>
                  <a:lnTo>
                    <a:pt x="2593" y="3084"/>
                  </a:lnTo>
                  <a:lnTo>
                    <a:pt x="2597" y="3099"/>
                  </a:lnTo>
                  <a:lnTo>
                    <a:pt x="2601" y="3113"/>
                  </a:lnTo>
                  <a:lnTo>
                    <a:pt x="2603" y="3117"/>
                  </a:lnTo>
                  <a:lnTo>
                    <a:pt x="2605" y="3121"/>
                  </a:lnTo>
                  <a:lnTo>
                    <a:pt x="2609" y="3125"/>
                  </a:lnTo>
                  <a:lnTo>
                    <a:pt x="2612" y="3127"/>
                  </a:lnTo>
                  <a:lnTo>
                    <a:pt x="2621" y="3133"/>
                  </a:lnTo>
                  <a:lnTo>
                    <a:pt x="2631" y="3138"/>
                  </a:lnTo>
                  <a:lnTo>
                    <a:pt x="2641" y="3143"/>
                  </a:lnTo>
                  <a:lnTo>
                    <a:pt x="2651" y="3150"/>
                  </a:lnTo>
                  <a:lnTo>
                    <a:pt x="2660" y="3155"/>
                  </a:lnTo>
                  <a:lnTo>
                    <a:pt x="2667" y="3163"/>
                  </a:lnTo>
                  <a:lnTo>
                    <a:pt x="2676" y="3172"/>
                  </a:lnTo>
                  <a:lnTo>
                    <a:pt x="2688" y="3182"/>
                  </a:lnTo>
                  <a:lnTo>
                    <a:pt x="2704" y="3193"/>
                  </a:lnTo>
                  <a:lnTo>
                    <a:pt x="2720" y="3204"/>
                  </a:lnTo>
                  <a:lnTo>
                    <a:pt x="2749" y="3222"/>
                  </a:lnTo>
                  <a:lnTo>
                    <a:pt x="2762" y="3229"/>
                  </a:lnTo>
                  <a:lnTo>
                    <a:pt x="2766" y="3235"/>
                  </a:lnTo>
                  <a:lnTo>
                    <a:pt x="2776" y="3251"/>
                  </a:lnTo>
                  <a:lnTo>
                    <a:pt x="2781" y="3263"/>
                  </a:lnTo>
                  <a:lnTo>
                    <a:pt x="2787" y="3275"/>
                  </a:lnTo>
                  <a:lnTo>
                    <a:pt x="2791" y="3287"/>
                  </a:lnTo>
                  <a:lnTo>
                    <a:pt x="2794" y="3299"/>
                  </a:lnTo>
                  <a:lnTo>
                    <a:pt x="2801" y="3322"/>
                  </a:lnTo>
                  <a:lnTo>
                    <a:pt x="2806" y="3342"/>
                  </a:lnTo>
                  <a:lnTo>
                    <a:pt x="2810" y="3355"/>
                  </a:lnTo>
                  <a:lnTo>
                    <a:pt x="2811" y="3361"/>
                  </a:lnTo>
                  <a:lnTo>
                    <a:pt x="2836" y="3382"/>
                  </a:lnTo>
                  <a:lnTo>
                    <a:pt x="2840" y="3394"/>
                  </a:lnTo>
                  <a:lnTo>
                    <a:pt x="2848" y="3423"/>
                  </a:lnTo>
                  <a:lnTo>
                    <a:pt x="2853" y="3440"/>
                  </a:lnTo>
                  <a:lnTo>
                    <a:pt x="2857" y="3458"/>
                  </a:lnTo>
                  <a:lnTo>
                    <a:pt x="2859" y="3474"/>
                  </a:lnTo>
                  <a:lnTo>
                    <a:pt x="2861" y="3489"/>
                  </a:lnTo>
                  <a:lnTo>
                    <a:pt x="2859" y="3500"/>
                  </a:lnTo>
                  <a:lnTo>
                    <a:pt x="2857" y="3508"/>
                  </a:lnTo>
                  <a:lnTo>
                    <a:pt x="2854" y="3514"/>
                  </a:lnTo>
                  <a:lnTo>
                    <a:pt x="2852" y="3521"/>
                  </a:lnTo>
                  <a:lnTo>
                    <a:pt x="2850" y="3525"/>
                  </a:lnTo>
                  <a:lnTo>
                    <a:pt x="2851" y="3532"/>
                  </a:lnTo>
                  <a:lnTo>
                    <a:pt x="2854" y="3539"/>
                  </a:lnTo>
                  <a:lnTo>
                    <a:pt x="2861" y="3546"/>
                  </a:lnTo>
                  <a:lnTo>
                    <a:pt x="2873" y="3557"/>
                  </a:lnTo>
                  <a:lnTo>
                    <a:pt x="2878" y="3559"/>
                  </a:lnTo>
                  <a:lnTo>
                    <a:pt x="2879" y="3562"/>
                  </a:lnTo>
                  <a:lnTo>
                    <a:pt x="2886" y="3571"/>
                  </a:lnTo>
                  <a:lnTo>
                    <a:pt x="2889" y="3578"/>
                  </a:lnTo>
                  <a:lnTo>
                    <a:pt x="2892" y="3586"/>
                  </a:lnTo>
                  <a:lnTo>
                    <a:pt x="2894" y="3593"/>
                  </a:lnTo>
                  <a:lnTo>
                    <a:pt x="2894" y="3599"/>
                  </a:lnTo>
                  <a:lnTo>
                    <a:pt x="2894" y="3614"/>
                  </a:lnTo>
                  <a:lnTo>
                    <a:pt x="2894" y="3629"/>
                  </a:lnTo>
                  <a:lnTo>
                    <a:pt x="2895" y="3637"/>
                  </a:lnTo>
                  <a:lnTo>
                    <a:pt x="2897" y="3643"/>
                  </a:lnTo>
                  <a:lnTo>
                    <a:pt x="2901" y="3651"/>
                  </a:lnTo>
                  <a:lnTo>
                    <a:pt x="2906" y="3657"/>
                  </a:lnTo>
                  <a:lnTo>
                    <a:pt x="2915" y="3667"/>
                  </a:lnTo>
                  <a:lnTo>
                    <a:pt x="2918" y="3670"/>
                  </a:lnTo>
                  <a:lnTo>
                    <a:pt x="2924" y="3669"/>
                  </a:lnTo>
                  <a:lnTo>
                    <a:pt x="2936" y="3669"/>
                  </a:lnTo>
                  <a:lnTo>
                    <a:pt x="2942" y="3671"/>
                  </a:lnTo>
                  <a:lnTo>
                    <a:pt x="2948" y="3675"/>
                  </a:lnTo>
                  <a:lnTo>
                    <a:pt x="2950" y="3678"/>
                  </a:lnTo>
                  <a:lnTo>
                    <a:pt x="2952" y="3681"/>
                  </a:lnTo>
                  <a:lnTo>
                    <a:pt x="2954" y="3685"/>
                  </a:lnTo>
                  <a:lnTo>
                    <a:pt x="2956" y="3691"/>
                  </a:lnTo>
                  <a:lnTo>
                    <a:pt x="2960" y="3709"/>
                  </a:lnTo>
                  <a:lnTo>
                    <a:pt x="2963" y="3720"/>
                  </a:lnTo>
                  <a:lnTo>
                    <a:pt x="2963" y="3725"/>
                  </a:lnTo>
                  <a:lnTo>
                    <a:pt x="2963" y="3729"/>
                  </a:lnTo>
                  <a:lnTo>
                    <a:pt x="2960" y="3734"/>
                  </a:lnTo>
                  <a:lnTo>
                    <a:pt x="2956" y="3739"/>
                  </a:lnTo>
                  <a:lnTo>
                    <a:pt x="2952" y="3743"/>
                  </a:lnTo>
                  <a:lnTo>
                    <a:pt x="2950" y="3744"/>
                  </a:lnTo>
                  <a:lnTo>
                    <a:pt x="2947" y="3744"/>
                  </a:lnTo>
                  <a:lnTo>
                    <a:pt x="2943" y="3743"/>
                  </a:lnTo>
                  <a:lnTo>
                    <a:pt x="2939" y="3741"/>
                  </a:lnTo>
                  <a:lnTo>
                    <a:pt x="2933" y="3738"/>
                  </a:lnTo>
                  <a:lnTo>
                    <a:pt x="2931" y="3738"/>
                  </a:lnTo>
                  <a:lnTo>
                    <a:pt x="2928" y="3738"/>
                  </a:lnTo>
                  <a:lnTo>
                    <a:pt x="2926" y="3739"/>
                  </a:lnTo>
                  <a:lnTo>
                    <a:pt x="2924" y="3742"/>
                  </a:lnTo>
                  <a:lnTo>
                    <a:pt x="2921" y="3746"/>
                  </a:lnTo>
                  <a:lnTo>
                    <a:pt x="2919" y="3752"/>
                  </a:lnTo>
                  <a:lnTo>
                    <a:pt x="2917" y="3759"/>
                  </a:lnTo>
                  <a:lnTo>
                    <a:pt x="2915" y="3768"/>
                  </a:lnTo>
                  <a:lnTo>
                    <a:pt x="2907" y="3802"/>
                  </a:lnTo>
                  <a:lnTo>
                    <a:pt x="2904" y="3819"/>
                  </a:lnTo>
                  <a:lnTo>
                    <a:pt x="2903" y="3826"/>
                  </a:lnTo>
                  <a:lnTo>
                    <a:pt x="2901" y="3827"/>
                  </a:lnTo>
                  <a:lnTo>
                    <a:pt x="2935" y="3888"/>
                  </a:lnTo>
                  <a:lnTo>
                    <a:pt x="2941" y="3896"/>
                  </a:lnTo>
                  <a:lnTo>
                    <a:pt x="2953" y="3915"/>
                  </a:lnTo>
                  <a:lnTo>
                    <a:pt x="2960" y="3927"/>
                  </a:lnTo>
                  <a:lnTo>
                    <a:pt x="2967" y="3938"/>
                  </a:lnTo>
                  <a:lnTo>
                    <a:pt x="2970" y="3949"/>
                  </a:lnTo>
                  <a:lnTo>
                    <a:pt x="2972" y="3958"/>
                  </a:lnTo>
                  <a:lnTo>
                    <a:pt x="2971" y="3976"/>
                  </a:lnTo>
                  <a:lnTo>
                    <a:pt x="2970" y="3997"/>
                  </a:lnTo>
                  <a:lnTo>
                    <a:pt x="2970" y="4017"/>
                  </a:lnTo>
                  <a:lnTo>
                    <a:pt x="2972" y="4032"/>
                  </a:lnTo>
                  <a:lnTo>
                    <a:pt x="2974" y="4037"/>
                  </a:lnTo>
                  <a:lnTo>
                    <a:pt x="2977" y="4040"/>
                  </a:lnTo>
                  <a:lnTo>
                    <a:pt x="2979" y="4041"/>
                  </a:lnTo>
                  <a:lnTo>
                    <a:pt x="2981" y="4043"/>
                  </a:lnTo>
                  <a:lnTo>
                    <a:pt x="2982" y="4047"/>
                  </a:lnTo>
                  <a:lnTo>
                    <a:pt x="2983" y="4054"/>
                  </a:lnTo>
                  <a:lnTo>
                    <a:pt x="2982" y="4065"/>
                  </a:lnTo>
                  <a:lnTo>
                    <a:pt x="2980" y="4082"/>
                  </a:lnTo>
                  <a:lnTo>
                    <a:pt x="2978" y="4092"/>
                  </a:lnTo>
                  <a:lnTo>
                    <a:pt x="2974" y="4099"/>
                  </a:lnTo>
                  <a:lnTo>
                    <a:pt x="2971" y="4107"/>
                  </a:lnTo>
                  <a:lnTo>
                    <a:pt x="2965" y="4114"/>
                  </a:lnTo>
                  <a:lnTo>
                    <a:pt x="2960" y="4119"/>
                  </a:lnTo>
                  <a:lnTo>
                    <a:pt x="2954" y="4125"/>
                  </a:lnTo>
                  <a:lnTo>
                    <a:pt x="2948" y="4128"/>
                  </a:lnTo>
                  <a:lnTo>
                    <a:pt x="2941" y="4132"/>
                  </a:lnTo>
                  <a:lnTo>
                    <a:pt x="2929" y="4138"/>
                  </a:lnTo>
                  <a:lnTo>
                    <a:pt x="2918" y="4143"/>
                  </a:lnTo>
                  <a:lnTo>
                    <a:pt x="2914" y="4146"/>
                  </a:lnTo>
                  <a:lnTo>
                    <a:pt x="2910" y="4148"/>
                  </a:lnTo>
                  <a:lnTo>
                    <a:pt x="2907" y="4150"/>
                  </a:lnTo>
                  <a:lnTo>
                    <a:pt x="2906" y="4152"/>
                  </a:lnTo>
                  <a:lnTo>
                    <a:pt x="2903" y="4161"/>
                  </a:lnTo>
                  <a:lnTo>
                    <a:pt x="2895" y="4180"/>
                  </a:lnTo>
                  <a:lnTo>
                    <a:pt x="2885" y="4203"/>
                  </a:lnTo>
                  <a:lnTo>
                    <a:pt x="2874" y="4231"/>
                  </a:lnTo>
                  <a:lnTo>
                    <a:pt x="2863" y="4259"/>
                  </a:lnTo>
                  <a:lnTo>
                    <a:pt x="2852" y="4287"/>
                  </a:lnTo>
                  <a:lnTo>
                    <a:pt x="2842" y="4311"/>
                  </a:lnTo>
                  <a:lnTo>
                    <a:pt x="2836" y="4329"/>
                  </a:lnTo>
                  <a:lnTo>
                    <a:pt x="2827" y="4351"/>
                  </a:lnTo>
                  <a:lnTo>
                    <a:pt x="2820" y="4366"/>
                  </a:lnTo>
                  <a:lnTo>
                    <a:pt x="2810" y="4384"/>
                  </a:lnTo>
                  <a:lnTo>
                    <a:pt x="2794" y="4412"/>
                  </a:lnTo>
                  <a:lnTo>
                    <a:pt x="2790" y="4419"/>
                  </a:lnTo>
                  <a:lnTo>
                    <a:pt x="2785" y="4425"/>
                  </a:lnTo>
                  <a:lnTo>
                    <a:pt x="2780" y="4430"/>
                  </a:lnTo>
                  <a:lnTo>
                    <a:pt x="2774" y="4434"/>
                  </a:lnTo>
                  <a:lnTo>
                    <a:pt x="2764" y="4438"/>
                  </a:lnTo>
                  <a:lnTo>
                    <a:pt x="2756" y="4442"/>
                  </a:lnTo>
                  <a:lnTo>
                    <a:pt x="2748" y="4444"/>
                  </a:lnTo>
                  <a:lnTo>
                    <a:pt x="2742" y="4447"/>
                  </a:lnTo>
                  <a:lnTo>
                    <a:pt x="2741" y="4450"/>
                  </a:lnTo>
                  <a:lnTo>
                    <a:pt x="2740" y="4454"/>
                  </a:lnTo>
                  <a:lnTo>
                    <a:pt x="2740" y="4458"/>
                  </a:lnTo>
                  <a:lnTo>
                    <a:pt x="2741" y="4465"/>
                  </a:lnTo>
                  <a:lnTo>
                    <a:pt x="2746" y="4488"/>
                  </a:lnTo>
                  <a:lnTo>
                    <a:pt x="2747" y="4503"/>
                  </a:lnTo>
                  <a:lnTo>
                    <a:pt x="2748" y="4519"/>
                  </a:lnTo>
                  <a:lnTo>
                    <a:pt x="2749" y="4539"/>
                  </a:lnTo>
                  <a:lnTo>
                    <a:pt x="2751" y="4554"/>
                  </a:lnTo>
                  <a:lnTo>
                    <a:pt x="2752" y="4573"/>
                  </a:lnTo>
                  <a:lnTo>
                    <a:pt x="2752" y="4595"/>
                  </a:lnTo>
                  <a:lnTo>
                    <a:pt x="2753" y="4619"/>
                  </a:lnTo>
                  <a:lnTo>
                    <a:pt x="2755" y="4644"/>
                  </a:lnTo>
                  <a:lnTo>
                    <a:pt x="2756" y="4667"/>
                  </a:lnTo>
                  <a:lnTo>
                    <a:pt x="2757" y="4689"/>
                  </a:lnTo>
                  <a:lnTo>
                    <a:pt x="2758" y="4708"/>
                  </a:lnTo>
                  <a:lnTo>
                    <a:pt x="2759" y="4716"/>
                  </a:lnTo>
                  <a:lnTo>
                    <a:pt x="2760" y="4724"/>
                  </a:lnTo>
                  <a:lnTo>
                    <a:pt x="2762" y="4731"/>
                  </a:lnTo>
                  <a:lnTo>
                    <a:pt x="2764" y="4739"/>
                  </a:lnTo>
                  <a:lnTo>
                    <a:pt x="2771" y="4751"/>
                  </a:lnTo>
                  <a:lnTo>
                    <a:pt x="2778" y="4763"/>
                  </a:lnTo>
                  <a:lnTo>
                    <a:pt x="2785" y="4775"/>
                  </a:lnTo>
                  <a:lnTo>
                    <a:pt x="2793" y="4787"/>
                  </a:lnTo>
                  <a:lnTo>
                    <a:pt x="2801" y="4800"/>
                  </a:lnTo>
                  <a:lnTo>
                    <a:pt x="2808" y="4815"/>
                  </a:lnTo>
                  <a:lnTo>
                    <a:pt x="2814" y="4830"/>
                  </a:lnTo>
                  <a:lnTo>
                    <a:pt x="2821" y="4842"/>
                  </a:lnTo>
                  <a:lnTo>
                    <a:pt x="2829" y="4853"/>
                  </a:lnTo>
                  <a:lnTo>
                    <a:pt x="2836" y="4863"/>
                  </a:lnTo>
                  <a:lnTo>
                    <a:pt x="2850" y="4879"/>
                  </a:lnTo>
                  <a:lnTo>
                    <a:pt x="2856" y="4890"/>
                  </a:lnTo>
                  <a:lnTo>
                    <a:pt x="2866" y="4909"/>
                  </a:lnTo>
                  <a:lnTo>
                    <a:pt x="2884" y="4941"/>
                  </a:lnTo>
                  <a:lnTo>
                    <a:pt x="2906" y="4979"/>
                  </a:lnTo>
                  <a:lnTo>
                    <a:pt x="2927" y="5017"/>
                  </a:lnTo>
                  <a:lnTo>
                    <a:pt x="2936" y="5031"/>
                  </a:lnTo>
                  <a:lnTo>
                    <a:pt x="2943" y="5042"/>
                  </a:lnTo>
                  <a:lnTo>
                    <a:pt x="2950" y="5050"/>
                  </a:lnTo>
                  <a:lnTo>
                    <a:pt x="2957" y="5056"/>
                  </a:lnTo>
                  <a:lnTo>
                    <a:pt x="2961" y="5063"/>
                  </a:lnTo>
                  <a:lnTo>
                    <a:pt x="2964" y="5072"/>
                  </a:lnTo>
                  <a:lnTo>
                    <a:pt x="2968" y="5083"/>
                  </a:lnTo>
                  <a:lnTo>
                    <a:pt x="2968" y="5099"/>
                  </a:lnTo>
                  <a:lnTo>
                    <a:pt x="2967" y="5134"/>
                  </a:lnTo>
                  <a:lnTo>
                    <a:pt x="2963" y="5162"/>
                  </a:lnTo>
                  <a:lnTo>
                    <a:pt x="2961" y="5187"/>
                  </a:lnTo>
                  <a:lnTo>
                    <a:pt x="2960" y="5207"/>
                  </a:lnTo>
                  <a:lnTo>
                    <a:pt x="2960" y="5217"/>
                  </a:lnTo>
                  <a:lnTo>
                    <a:pt x="2962" y="5229"/>
                  </a:lnTo>
                  <a:lnTo>
                    <a:pt x="2964" y="5242"/>
                  </a:lnTo>
                  <a:lnTo>
                    <a:pt x="2968" y="5255"/>
                  </a:lnTo>
                  <a:lnTo>
                    <a:pt x="2973" y="5276"/>
                  </a:lnTo>
                  <a:lnTo>
                    <a:pt x="2977" y="5285"/>
                  </a:lnTo>
                  <a:lnTo>
                    <a:pt x="2977" y="5292"/>
                  </a:lnTo>
                  <a:lnTo>
                    <a:pt x="2980" y="5309"/>
                  </a:lnTo>
                  <a:lnTo>
                    <a:pt x="2983" y="5335"/>
                  </a:lnTo>
                  <a:lnTo>
                    <a:pt x="2989" y="5366"/>
                  </a:lnTo>
                  <a:lnTo>
                    <a:pt x="2994" y="5396"/>
                  </a:lnTo>
                  <a:lnTo>
                    <a:pt x="3001" y="5427"/>
                  </a:lnTo>
                  <a:lnTo>
                    <a:pt x="3006" y="5453"/>
                  </a:lnTo>
                  <a:lnTo>
                    <a:pt x="3013" y="5470"/>
                  </a:lnTo>
                  <a:lnTo>
                    <a:pt x="3020" y="5483"/>
                  </a:lnTo>
                  <a:lnTo>
                    <a:pt x="3028" y="5497"/>
                  </a:lnTo>
                  <a:lnTo>
                    <a:pt x="3037" y="5510"/>
                  </a:lnTo>
                  <a:lnTo>
                    <a:pt x="3047" y="5523"/>
                  </a:lnTo>
                  <a:lnTo>
                    <a:pt x="3058" y="5536"/>
                  </a:lnTo>
                  <a:lnTo>
                    <a:pt x="3069" y="5547"/>
                  </a:lnTo>
                  <a:lnTo>
                    <a:pt x="3080" y="5554"/>
                  </a:lnTo>
                  <a:lnTo>
                    <a:pt x="3091" y="5561"/>
                  </a:lnTo>
                  <a:lnTo>
                    <a:pt x="3097" y="5562"/>
                  </a:lnTo>
                  <a:lnTo>
                    <a:pt x="3100" y="5563"/>
                  </a:lnTo>
                  <a:lnTo>
                    <a:pt x="3105" y="5562"/>
                  </a:lnTo>
                  <a:lnTo>
                    <a:pt x="3107" y="5561"/>
                  </a:lnTo>
                  <a:lnTo>
                    <a:pt x="3111" y="5558"/>
                  </a:lnTo>
                  <a:lnTo>
                    <a:pt x="3113" y="5553"/>
                  </a:lnTo>
                  <a:lnTo>
                    <a:pt x="3115" y="5551"/>
                  </a:lnTo>
                  <a:lnTo>
                    <a:pt x="3116" y="5551"/>
                  </a:lnTo>
                  <a:lnTo>
                    <a:pt x="3116" y="5551"/>
                  </a:lnTo>
                  <a:lnTo>
                    <a:pt x="3117" y="5552"/>
                  </a:lnTo>
                  <a:lnTo>
                    <a:pt x="3118" y="5559"/>
                  </a:lnTo>
                  <a:lnTo>
                    <a:pt x="3120" y="5573"/>
                  </a:lnTo>
                  <a:lnTo>
                    <a:pt x="3125" y="5600"/>
                  </a:lnTo>
                  <a:lnTo>
                    <a:pt x="3127" y="5613"/>
                  </a:lnTo>
                  <a:lnTo>
                    <a:pt x="3129" y="5625"/>
                  </a:lnTo>
                  <a:lnTo>
                    <a:pt x="3132" y="5647"/>
                  </a:lnTo>
                  <a:lnTo>
                    <a:pt x="3136" y="5661"/>
                  </a:lnTo>
                  <a:lnTo>
                    <a:pt x="3140" y="5672"/>
                  </a:lnTo>
                  <a:lnTo>
                    <a:pt x="3143" y="5681"/>
                  </a:lnTo>
                  <a:lnTo>
                    <a:pt x="3148" y="5688"/>
                  </a:lnTo>
                  <a:lnTo>
                    <a:pt x="3159" y="5700"/>
                  </a:lnTo>
                  <a:lnTo>
                    <a:pt x="3170" y="5713"/>
                  </a:lnTo>
                  <a:lnTo>
                    <a:pt x="3180" y="5727"/>
                  </a:lnTo>
                  <a:lnTo>
                    <a:pt x="3187" y="5739"/>
                  </a:lnTo>
                  <a:lnTo>
                    <a:pt x="3193" y="5751"/>
                  </a:lnTo>
                  <a:lnTo>
                    <a:pt x="3199" y="5766"/>
                  </a:lnTo>
                  <a:lnTo>
                    <a:pt x="3203" y="5775"/>
                  </a:lnTo>
                  <a:lnTo>
                    <a:pt x="3207" y="5782"/>
                  </a:lnTo>
                  <a:lnTo>
                    <a:pt x="3213" y="5788"/>
                  </a:lnTo>
                  <a:lnTo>
                    <a:pt x="3217" y="5793"/>
                  </a:lnTo>
                  <a:lnTo>
                    <a:pt x="3221" y="5798"/>
                  </a:lnTo>
                  <a:lnTo>
                    <a:pt x="3223" y="5804"/>
                  </a:lnTo>
                  <a:lnTo>
                    <a:pt x="3222" y="5806"/>
                  </a:lnTo>
                  <a:lnTo>
                    <a:pt x="3221" y="5809"/>
                  </a:lnTo>
                  <a:lnTo>
                    <a:pt x="3218" y="5813"/>
                  </a:lnTo>
                  <a:lnTo>
                    <a:pt x="3215" y="5816"/>
                  </a:lnTo>
                  <a:lnTo>
                    <a:pt x="3207" y="5824"/>
                  </a:lnTo>
                  <a:lnTo>
                    <a:pt x="3200" y="5829"/>
                  </a:lnTo>
                  <a:lnTo>
                    <a:pt x="3192" y="5834"/>
                  </a:lnTo>
                  <a:lnTo>
                    <a:pt x="3185" y="5838"/>
                  </a:lnTo>
                  <a:lnTo>
                    <a:pt x="3179" y="5841"/>
                  </a:lnTo>
                  <a:lnTo>
                    <a:pt x="3174" y="5845"/>
                  </a:lnTo>
                  <a:lnTo>
                    <a:pt x="3171" y="5849"/>
                  </a:lnTo>
                  <a:lnTo>
                    <a:pt x="3170" y="5854"/>
                  </a:lnTo>
                  <a:lnTo>
                    <a:pt x="3170" y="5856"/>
                  </a:lnTo>
                  <a:lnTo>
                    <a:pt x="3169" y="5856"/>
                  </a:lnTo>
                  <a:lnTo>
                    <a:pt x="3168" y="5857"/>
                  </a:lnTo>
                  <a:lnTo>
                    <a:pt x="3166" y="5857"/>
                  </a:lnTo>
                  <a:lnTo>
                    <a:pt x="3164" y="5855"/>
                  </a:lnTo>
                  <a:lnTo>
                    <a:pt x="3162" y="5854"/>
                  </a:lnTo>
                  <a:lnTo>
                    <a:pt x="3161" y="5854"/>
                  </a:lnTo>
                  <a:lnTo>
                    <a:pt x="3170" y="5866"/>
                  </a:lnTo>
                  <a:lnTo>
                    <a:pt x="3187" y="5891"/>
                  </a:lnTo>
                  <a:lnTo>
                    <a:pt x="3191" y="5894"/>
                  </a:lnTo>
                  <a:lnTo>
                    <a:pt x="3196" y="5895"/>
                  </a:lnTo>
                  <a:lnTo>
                    <a:pt x="3207" y="5899"/>
                  </a:lnTo>
                  <a:lnTo>
                    <a:pt x="3213" y="5902"/>
                  </a:lnTo>
                  <a:lnTo>
                    <a:pt x="3216" y="5906"/>
                  </a:lnTo>
                  <a:lnTo>
                    <a:pt x="3217" y="5910"/>
                  </a:lnTo>
                  <a:lnTo>
                    <a:pt x="3217" y="5912"/>
                  </a:lnTo>
                  <a:lnTo>
                    <a:pt x="3217" y="5915"/>
                  </a:lnTo>
                  <a:lnTo>
                    <a:pt x="3215" y="5920"/>
                  </a:lnTo>
                  <a:lnTo>
                    <a:pt x="3210" y="5929"/>
                  </a:lnTo>
                  <a:lnTo>
                    <a:pt x="3208" y="5930"/>
                  </a:lnTo>
                  <a:lnTo>
                    <a:pt x="3208" y="5931"/>
                  </a:lnTo>
                  <a:lnTo>
                    <a:pt x="3203" y="5940"/>
                  </a:lnTo>
                  <a:lnTo>
                    <a:pt x="3194" y="5956"/>
                  </a:lnTo>
                  <a:lnTo>
                    <a:pt x="3187" y="5973"/>
                  </a:lnTo>
                  <a:lnTo>
                    <a:pt x="3184" y="5985"/>
                  </a:lnTo>
                  <a:lnTo>
                    <a:pt x="3182" y="5989"/>
                  </a:lnTo>
                  <a:lnTo>
                    <a:pt x="3183" y="5990"/>
                  </a:lnTo>
                  <a:lnTo>
                    <a:pt x="3185" y="5994"/>
                  </a:lnTo>
                  <a:lnTo>
                    <a:pt x="3189" y="5998"/>
                  </a:lnTo>
                  <a:lnTo>
                    <a:pt x="3196" y="6004"/>
                  </a:lnTo>
                  <a:lnTo>
                    <a:pt x="3202" y="6005"/>
                  </a:lnTo>
                  <a:lnTo>
                    <a:pt x="3207" y="6007"/>
                  </a:lnTo>
                  <a:lnTo>
                    <a:pt x="3215" y="6008"/>
                  </a:lnTo>
                  <a:lnTo>
                    <a:pt x="3224" y="6008"/>
                  </a:lnTo>
                  <a:lnTo>
                    <a:pt x="3234" y="6008"/>
                  </a:lnTo>
                  <a:lnTo>
                    <a:pt x="3245" y="6007"/>
                  </a:lnTo>
                  <a:lnTo>
                    <a:pt x="3258" y="6005"/>
                  </a:lnTo>
                  <a:lnTo>
                    <a:pt x="3273" y="6001"/>
                  </a:lnTo>
                  <a:lnTo>
                    <a:pt x="3275" y="6004"/>
                  </a:lnTo>
                  <a:lnTo>
                    <a:pt x="3284" y="6008"/>
                  </a:lnTo>
                  <a:lnTo>
                    <a:pt x="3289" y="6010"/>
                  </a:lnTo>
                  <a:lnTo>
                    <a:pt x="3297" y="6012"/>
                  </a:lnTo>
                  <a:lnTo>
                    <a:pt x="3307" y="6014"/>
                  </a:lnTo>
                  <a:lnTo>
                    <a:pt x="3318" y="6014"/>
                  </a:lnTo>
                  <a:lnTo>
                    <a:pt x="3330" y="6014"/>
                  </a:lnTo>
                  <a:lnTo>
                    <a:pt x="3341" y="6012"/>
                  </a:lnTo>
                  <a:lnTo>
                    <a:pt x="3351" y="6009"/>
                  </a:lnTo>
                  <a:lnTo>
                    <a:pt x="3360" y="6007"/>
                  </a:lnTo>
                  <a:lnTo>
                    <a:pt x="3375" y="6000"/>
                  </a:lnTo>
                  <a:lnTo>
                    <a:pt x="3388" y="5994"/>
                  </a:lnTo>
                  <a:lnTo>
                    <a:pt x="3402" y="5985"/>
                  </a:lnTo>
                  <a:lnTo>
                    <a:pt x="3416" y="5976"/>
                  </a:lnTo>
                  <a:lnTo>
                    <a:pt x="3424" y="5972"/>
                  </a:lnTo>
                  <a:lnTo>
                    <a:pt x="3430" y="5968"/>
                  </a:lnTo>
                  <a:lnTo>
                    <a:pt x="3437" y="5965"/>
                  </a:lnTo>
                  <a:lnTo>
                    <a:pt x="3441" y="5964"/>
                  </a:lnTo>
                  <a:lnTo>
                    <a:pt x="3451" y="5966"/>
                  </a:lnTo>
                  <a:lnTo>
                    <a:pt x="3464" y="5969"/>
                  </a:lnTo>
                  <a:lnTo>
                    <a:pt x="3471" y="5969"/>
                  </a:lnTo>
                  <a:lnTo>
                    <a:pt x="3480" y="5969"/>
                  </a:lnTo>
                  <a:lnTo>
                    <a:pt x="3491" y="5968"/>
                  </a:lnTo>
                  <a:lnTo>
                    <a:pt x="3503" y="5964"/>
                  </a:lnTo>
                  <a:lnTo>
                    <a:pt x="3525" y="5957"/>
                  </a:lnTo>
                  <a:lnTo>
                    <a:pt x="3536" y="5954"/>
                  </a:lnTo>
                  <a:lnTo>
                    <a:pt x="3540" y="5953"/>
                  </a:lnTo>
                  <a:lnTo>
                    <a:pt x="3541" y="5952"/>
                  </a:lnTo>
                  <a:lnTo>
                    <a:pt x="3548" y="5947"/>
                  </a:lnTo>
                  <a:lnTo>
                    <a:pt x="3566" y="5935"/>
                  </a:lnTo>
                  <a:lnTo>
                    <a:pt x="3578" y="5929"/>
                  </a:lnTo>
                  <a:lnTo>
                    <a:pt x="3592" y="5923"/>
                  </a:lnTo>
                  <a:lnTo>
                    <a:pt x="3605" y="5918"/>
                  </a:lnTo>
                  <a:lnTo>
                    <a:pt x="3619" y="5915"/>
                  </a:lnTo>
                  <a:lnTo>
                    <a:pt x="3645" y="5911"/>
                  </a:lnTo>
                  <a:lnTo>
                    <a:pt x="3668" y="5905"/>
                  </a:lnTo>
                  <a:lnTo>
                    <a:pt x="3686" y="5901"/>
                  </a:lnTo>
                  <a:lnTo>
                    <a:pt x="3698" y="5899"/>
                  </a:lnTo>
                  <a:lnTo>
                    <a:pt x="3701" y="5900"/>
                  </a:lnTo>
                  <a:lnTo>
                    <a:pt x="3704" y="5902"/>
                  </a:lnTo>
                  <a:lnTo>
                    <a:pt x="3707" y="5906"/>
                  </a:lnTo>
                  <a:lnTo>
                    <a:pt x="3709" y="5911"/>
                  </a:lnTo>
                  <a:lnTo>
                    <a:pt x="3712" y="5914"/>
                  </a:lnTo>
                  <a:lnTo>
                    <a:pt x="3716" y="5918"/>
                  </a:lnTo>
                  <a:lnTo>
                    <a:pt x="3719" y="5919"/>
                  </a:lnTo>
                  <a:lnTo>
                    <a:pt x="3722" y="5920"/>
                  </a:lnTo>
                  <a:lnTo>
                    <a:pt x="3726" y="5920"/>
                  </a:lnTo>
                  <a:lnTo>
                    <a:pt x="3730" y="5920"/>
                  </a:lnTo>
                  <a:lnTo>
                    <a:pt x="3751" y="5914"/>
                  </a:lnTo>
                  <a:lnTo>
                    <a:pt x="3773" y="5908"/>
                  </a:lnTo>
                  <a:lnTo>
                    <a:pt x="3789" y="5901"/>
                  </a:lnTo>
                  <a:lnTo>
                    <a:pt x="3796" y="5899"/>
                  </a:lnTo>
                  <a:lnTo>
                    <a:pt x="3800" y="5895"/>
                  </a:lnTo>
                  <a:lnTo>
                    <a:pt x="3813" y="5890"/>
                  </a:lnTo>
                  <a:lnTo>
                    <a:pt x="3826" y="5883"/>
                  </a:lnTo>
                  <a:lnTo>
                    <a:pt x="3838" y="5878"/>
                  </a:lnTo>
                  <a:lnTo>
                    <a:pt x="3849" y="5874"/>
                  </a:lnTo>
                  <a:lnTo>
                    <a:pt x="3862" y="5870"/>
                  </a:lnTo>
                  <a:lnTo>
                    <a:pt x="3876" y="5867"/>
                  </a:lnTo>
                  <a:lnTo>
                    <a:pt x="3887" y="5866"/>
                  </a:lnTo>
                  <a:lnTo>
                    <a:pt x="3903" y="5866"/>
                  </a:lnTo>
                  <a:lnTo>
                    <a:pt x="3930" y="5862"/>
                  </a:lnTo>
                  <a:lnTo>
                    <a:pt x="3943" y="5860"/>
                  </a:lnTo>
                  <a:lnTo>
                    <a:pt x="3956" y="5856"/>
                  </a:lnTo>
                  <a:lnTo>
                    <a:pt x="3963" y="5852"/>
                  </a:lnTo>
                  <a:lnTo>
                    <a:pt x="3968" y="5849"/>
                  </a:lnTo>
                  <a:lnTo>
                    <a:pt x="3974" y="5846"/>
                  </a:lnTo>
                  <a:lnTo>
                    <a:pt x="3977" y="5841"/>
                  </a:lnTo>
                  <a:lnTo>
                    <a:pt x="3996" y="5821"/>
                  </a:lnTo>
                  <a:lnTo>
                    <a:pt x="4031" y="5787"/>
                  </a:lnTo>
                  <a:lnTo>
                    <a:pt x="4079" y="5741"/>
                  </a:lnTo>
                  <a:lnTo>
                    <a:pt x="4133" y="5690"/>
                  </a:lnTo>
                  <a:lnTo>
                    <a:pt x="4186" y="5638"/>
                  </a:lnTo>
                  <a:lnTo>
                    <a:pt x="4234" y="5592"/>
                  </a:lnTo>
                  <a:lnTo>
                    <a:pt x="4271" y="5557"/>
                  </a:lnTo>
                  <a:lnTo>
                    <a:pt x="4291" y="5537"/>
                  </a:lnTo>
                  <a:lnTo>
                    <a:pt x="4298" y="5526"/>
                  </a:lnTo>
                  <a:lnTo>
                    <a:pt x="4305" y="5517"/>
                  </a:lnTo>
                  <a:lnTo>
                    <a:pt x="4310" y="5508"/>
                  </a:lnTo>
                  <a:lnTo>
                    <a:pt x="4314" y="5500"/>
                  </a:lnTo>
                  <a:lnTo>
                    <a:pt x="4318" y="5491"/>
                  </a:lnTo>
                  <a:lnTo>
                    <a:pt x="4324" y="5481"/>
                  </a:lnTo>
                  <a:lnTo>
                    <a:pt x="4331" y="5470"/>
                  </a:lnTo>
                  <a:lnTo>
                    <a:pt x="4340" y="5458"/>
                  </a:lnTo>
                  <a:lnTo>
                    <a:pt x="4351" y="5445"/>
                  </a:lnTo>
                  <a:lnTo>
                    <a:pt x="4361" y="5435"/>
                  </a:lnTo>
                  <a:lnTo>
                    <a:pt x="4371" y="5425"/>
                  </a:lnTo>
                  <a:lnTo>
                    <a:pt x="4381" y="5417"/>
                  </a:lnTo>
                  <a:lnTo>
                    <a:pt x="4390" y="5409"/>
                  </a:lnTo>
                  <a:lnTo>
                    <a:pt x="4398" y="5401"/>
                  </a:lnTo>
                  <a:lnTo>
                    <a:pt x="4404" y="5391"/>
                  </a:lnTo>
                  <a:lnTo>
                    <a:pt x="4410" y="5380"/>
                  </a:lnTo>
                  <a:lnTo>
                    <a:pt x="4416" y="5369"/>
                  </a:lnTo>
                  <a:lnTo>
                    <a:pt x="4421" y="5360"/>
                  </a:lnTo>
                  <a:lnTo>
                    <a:pt x="4427" y="5352"/>
                  </a:lnTo>
                  <a:lnTo>
                    <a:pt x="4432" y="5346"/>
                  </a:lnTo>
                  <a:lnTo>
                    <a:pt x="4438" y="5338"/>
                  </a:lnTo>
                  <a:lnTo>
                    <a:pt x="4442" y="5330"/>
                  </a:lnTo>
                  <a:lnTo>
                    <a:pt x="4445" y="5319"/>
                  </a:lnTo>
                  <a:lnTo>
                    <a:pt x="4448" y="5305"/>
                  </a:lnTo>
                  <a:lnTo>
                    <a:pt x="4451" y="5272"/>
                  </a:lnTo>
                  <a:lnTo>
                    <a:pt x="4455" y="5236"/>
                  </a:lnTo>
                  <a:lnTo>
                    <a:pt x="4459" y="5209"/>
                  </a:lnTo>
                  <a:lnTo>
                    <a:pt x="4460" y="5198"/>
                  </a:lnTo>
                  <a:lnTo>
                    <a:pt x="4465" y="5196"/>
                  </a:lnTo>
                  <a:lnTo>
                    <a:pt x="4477" y="5190"/>
                  </a:lnTo>
                  <a:lnTo>
                    <a:pt x="4495" y="5179"/>
                  </a:lnTo>
                  <a:lnTo>
                    <a:pt x="4514" y="5166"/>
                  </a:lnTo>
                  <a:lnTo>
                    <a:pt x="4525" y="5157"/>
                  </a:lnTo>
                  <a:lnTo>
                    <a:pt x="4538" y="5148"/>
                  </a:lnTo>
                  <a:lnTo>
                    <a:pt x="4554" y="5138"/>
                  </a:lnTo>
                  <a:lnTo>
                    <a:pt x="4570" y="5129"/>
                  </a:lnTo>
                  <a:lnTo>
                    <a:pt x="4600" y="5112"/>
                  </a:lnTo>
                  <a:lnTo>
                    <a:pt x="4621" y="5099"/>
                  </a:lnTo>
                  <a:lnTo>
                    <a:pt x="4633" y="5090"/>
                  </a:lnTo>
                  <a:lnTo>
                    <a:pt x="4647" y="5079"/>
                  </a:lnTo>
                  <a:lnTo>
                    <a:pt x="4663" y="5069"/>
                  </a:lnTo>
                  <a:lnTo>
                    <a:pt x="4678" y="5059"/>
                  </a:lnTo>
                  <a:lnTo>
                    <a:pt x="4694" y="5048"/>
                  </a:lnTo>
                  <a:lnTo>
                    <a:pt x="4709" y="5037"/>
                  </a:lnTo>
                  <a:lnTo>
                    <a:pt x="4716" y="5029"/>
                  </a:lnTo>
                  <a:lnTo>
                    <a:pt x="4721" y="5022"/>
                  </a:lnTo>
                  <a:lnTo>
                    <a:pt x="4725" y="5013"/>
                  </a:lnTo>
                  <a:lnTo>
                    <a:pt x="4728" y="5005"/>
                  </a:lnTo>
                  <a:lnTo>
                    <a:pt x="4730" y="4985"/>
                  </a:lnTo>
                  <a:lnTo>
                    <a:pt x="4732" y="4964"/>
                  </a:lnTo>
                  <a:lnTo>
                    <a:pt x="4734" y="4954"/>
                  </a:lnTo>
                  <a:lnTo>
                    <a:pt x="4735" y="4944"/>
                  </a:lnTo>
                  <a:lnTo>
                    <a:pt x="4737" y="4935"/>
                  </a:lnTo>
                  <a:lnTo>
                    <a:pt x="4740" y="4926"/>
                  </a:lnTo>
                  <a:lnTo>
                    <a:pt x="4748" y="4911"/>
                  </a:lnTo>
                  <a:lnTo>
                    <a:pt x="4758" y="4896"/>
                  </a:lnTo>
                  <a:lnTo>
                    <a:pt x="4767" y="4883"/>
                  </a:lnTo>
                  <a:lnTo>
                    <a:pt x="4773" y="4873"/>
                  </a:lnTo>
                  <a:lnTo>
                    <a:pt x="4777" y="4863"/>
                  </a:lnTo>
                  <a:lnTo>
                    <a:pt x="4779" y="4853"/>
                  </a:lnTo>
                  <a:lnTo>
                    <a:pt x="4780" y="4849"/>
                  </a:lnTo>
                  <a:lnTo>
                    <a:pt x="4779" y="4843"/>
                  </a:lnTo>
                  <a:lnTo>
                    <a:pt x="4777" y="4838"/>
                  </a:lnTo>
                  <a:lnTo>
                    <a:pt x="4773" y="4831"/>
                  </a:lnTo>
                  <a:lnTo>
                    <a:pt x="4763" y="4820"/>
                  </a:lnTo>
                  <a:lnTo>
                    <a:pt x="4756" y="4811"/>
                  </a:lnTo>
                  <a:lnTo>
                    <a:pt x="4752" y="4807"/>
                  </a:lnTo>
                  <a:lnTo>
                    <a:pt x="4750" y="4804"/>
                  </a:lnTo>
                  <a:lnTo>
                    <a:pt x="4749" y="4799"/>
                  </a:lnTo>
                  <a:lnTo>
                    <a:pt x="4748" y="4795"/>
                  </a:lnTo>
                  <a:lnTo>
                    <a:pt x="4748" y="4774"/>
                  </a:lnTo>
                  <a:lnTo>
                    <a:pt x="4748" y="4762"/>
                  </a:lnTo>
                  <a:lnTo>
                    <a:pt x="4744" y="4759"/>
                  </a:lnTo>
                  <a:lnTo>
                    <a:pt x="4731" y="4754"/>
                  </a:lnTo>
                  <a:lnTo>
                    <a:pt x="4726" y="4750"/>
                  </a:lnTo>
                  <a:lnTo>
                    <a:pt x="4720" y="4746"/>
                  </a:lnTo>
                  <a:lnTo>
                    <a:pt x="4717" y="4742"/>
                  </a:lnTo>
                  <a:lnTo>
                    <a:pt x="4715" y="4736"/>
                  </a:lnTo>
                  <a:lnTo>
                    <a:pt x="4717" y="4721"/>
                  </a:lnTo>
                  <a:lnTo>
                    <a:pt x="4719" y="4699"/>
                  </a:lnTo>
                  <a:lnTo>
                    <a:pt x="4723" y="4680"/>
                  </a:lnTo>
                  <a:lnTo>
                    <a:pt x="4724" y="4671"/>
                  </a:lnTo>
                  <a:lnTo>
                    <a:pt x="4734" y="4659"/>
                  </a:lnTo>
                  <a:lnTo>
                    <a:pt x="4761" y="4628"/>
                  </a:lnTo>
                  <a:lnTo>
                    <a:pt x="4780" y="4608"/>
                  </a:lnTo>
                  <a:lnTo>
                    <a:pt x="4800" y="4587"/>
                  </a:lnTo>
                  <a:lnTo>
                    <a:pt x="4821" y="4566"/>
                  </a:lnTo>
                  <a:lnTo>
                    <a:pt x="4843" y="4548"/>
                  </a:lnTo>
                  <a:lnTo>
                    <a:pt x="4879" y="4514"/>
                  </a:lnTo>
                  <a:lnTo>
                    <a:pt x="4906" y="4489"/>
                  </a:lnTo>
                  <a:lnTo>
                    <a:pt x="4919" y="4477"/>
                  </a:lnTo>
                  <a:lnTo>
                    <a:pt x="4932" y="4466"/>
                  </a:lnTo>
                  <a:lnTo>
                    <a:pt x="4948" y="4454"/>
                  </a:lnTo>
                  <a:lnTo>
                    <a:pt x="4967" y="4440"/>
                  </a:lnTo>
                  <a:lnTo>
                    <a:pt x="4993" y="4422"/>
                  </a:lnTo>
                  <a:lnTo>
                    <a:pt x="5001" y="4417"/>
                  </a:lnTo>
                  <a:lnTo>
                    <a:pt x="5005" y="4414"/>
                  </a:lnTo>
                  <a:lnTo>
                    <a:pt x="5021" y="4403"/>
                  </a:lnTo>
                  <a:lnTo>
                    <a:pt x="5034" y="4394"/>
                  </a:lnTo>
                  <a:lnTo>
                    <a:pt x="5051" y="4386"/>
                  </a:lnTo>
                  <a:lnTo>
                    <a:pt x="5067" y="4380"/>
                  </a:lnTo>
                  <a:lnTo>
                    <a:pt x="5084" y="4373"/>
                  </a:lnTo>
                  <a:lnTo>
                    <a:pt x="5111" y="4364"/>
                  </a:lnTo>
                  <a:lnTo>
                    <a:pt x="5123" y="4362"/>
                  </a:lnTo>
                  <a:lnTo>
                    <a:pt x="5134" y="4347"/>
                  </a:lnTo>
                  <a:lnTo>
                    <a:pt x="5160" y="4310"/>
                  </a:lnTo>
                  <a:lnTo>
                    <a:pt x="5191" y="4268"/>
                  </a:lnTo>
                  <a:lnTo>
                    <a:pt x="5218" y="4234"/>
                  </a:lnTo>
                  <a:lnTo>
                    <a:pt x="5229" y="4222"/>
                  </a:lnTo>
                  <a:lnTo>
                    <a:pt x="5239" y="4209"/>
                  </a:lnTo>
                  <a:lnTo>
                    <a:pt x="5250" y="4194"/>
                  </a:lnTo>
                  <a:lnTo>
                    <a:pt x="5259" y="4181"/>
                  </a:lnTo>
                  <a:lnTo>
                    <a:pt x="5268" y="4167"/>
                  </a:lnTo>
                  <a:lnTo>
                    <a:pt x="5275" y="4153"/>
                  </a:lnTo>
                  <a:lnTo>
                    <a:pt x="5277" y="4147"/>
                  </a:lnTo>
                  <a:lnTo>
                    <a:pt x="5278" y="4140"/>
                  </a:lnTo>
                  <a:lnTo>
                    <a:pt x="5279" y="4134"/>
                  </a:lnTo>
                  <a:lnTo>
                    <a:pt x="5280" y="4127"/>
                  </a:lnTo>
                  <a:lnTo>
                    <a:pt x="5279" y="4115"/>
                  </a:lnTo>
                  <a:lnTo>
                    <a:pt x="5277" y="4103"/>
                  </a:lnTo>
                  <a:lnTo>
                    <a:pt x="5274" y="4092"/>
                  </a:lnTo>
                  <a:lnTo>
                    <a:pt x="5271" y="4081"/>
                  </a:lnTo>
                  <a:lnTo>
                    <a:pt x="5269" y="4070"/>
                  </a:lnTo>
                  <a:lnTo>
                    <a:pt x="5268" y="4058"/>
                  </a:lnTo>
                  <a:lnTo>
                    <a:pt x="5268" y="4053"/>
                  </a:lnTo>
                  <a:lnTo>
                    <a:pt x="5268" y="4047"/>
                  </a:lnTo>
                  <a:lnTo>
                    <a:pt x="5269" y="4042"/>
                  </a:lnTo>
                  <a:lnTo>
                    <a:pt x="5271" y="4036"/>
                  </a:lnTo>
                  <a:lnTo>
                    <a:pt x="5276" y="4020"/>
                  </a:lnTo>
                  <a:lnTo>
                    <a:pt x="5280" y="3994"/>
                  </a:lnTo>
                  <a:lnTo>
                    <a:pt x="5285" y="3962"/>
                  </a:lnTo>
                  <a:lnTo>
                    <a:pt x="5289" y="3929"/>
                  </a:lnTo>
                  <a:lnTo>
                    <a:pt x="5292" y="3895"/>
                  </a:lnTo>
                  <a:lnTo>
                    <a:pt x="5296" y="3865"/>
                  </a:lnTo>
                  <a:lnTo>
                    <a:pt x="5299" y="3843"/>
                  </a:lnTo>
                  <a:lnTo>
                    <a:pt x="5300" y="3830"/>
                  </a:lnTo>
                  <a:lnTo>
                    <a:pt x="5311" y="3813"/>
                  </a:lnTo>
                  <a:lnTo>
                    <a:pt x="5328" y="3790"/>
                  </a:lnTo>
                  <a:lnTo>
                    <a:pt x="5332" y="3784"/>
                  </a:lnTo>
                  <a:lnTo>
                    <a:pt x="5334" y="3778"/>
                  </a:lnTo>
                  <a:lnTo>
                    <a:pt x="5337" y="3771"/>
                  </a:lnTo>
                  <a:lnTo>
                    <a:pt x="5338" y="3766"/>
                  </a:lnTo>
                  <a:lnTo>
                    <a:pt x="5337" y="3759"/>
                  </a:lnTo>
                  <a:lnTo>
                    <a:pt x="5335" y="3754"/>
                  </a:lnTo>
                  <a:lnTo>
                    <a:pt x="5331" y="3748"/>
                  </a:lnTo>
                  <a:lnTo>
                    <a:pt x="5326" y="3744"/>
                  </a:lnTo>
                  <a:lnTo>
                    <a:pt x="5311" y="3735"/>
                  </a:lnTo>
                  <a:lnTo>
                    <a:pt x="5299" y="3725"/>
                  </a:lnTo>
                  <a:lnTo>
                    <a:pt x="5288" y="3715"/>
                  </a:lnTo>
                  <a:lnTo>
                    <a:pt x="5278" y="3705"/>
                  </a:lnTo>
                  <a:lnTo>
                    <a:pt x="5270" y="3693"/>
                  </a:lnTo>
                  <a:lnTo>
                    <a:pt x="5265" y="3681"/>
                  </a:lnTo>
                  <a:lnTo>
                    <a:pt x="5263" y="3674"/>
                  </a:lnTo>
                  <a:lnTo>
                    <a:pt x="5260" y="3668"/>
                  </a:lnTo>
                  <a:lnTo>
                    <a:pt x="5259" y="3661"/>
                  </a:lnTo>
                  <a:lnTo>
                    <a:pt x="5259" y="3653"/>
                  </a:lnTo>
                  <a:lnTo>
                    <a:pt x="5259" y="3638"/>
                  </a:lnTo>
                  <a:lnTo>
                    <a:pt x="5257" y="3622"/>
                  </a:lnTo>
                  <a:lnTo>
                    <a:pt x="5255" y="3608"/>
                  </a:lnTo>
                  <a:lnTo>
                    <a:pt x="5253" y="3595"/>
                  </a:lnTo>
                  <a:lnTo>
                    <a:pt x="5248" y="3573"/>
                  </a:lnTo>
                  <a:lnTo>
                    <a:pt x="5247" y="3558"/>
                  </a:lnTo>
                  <a:lnTo>
                    <a:pt x="5248" y="3545"/>
                  </a:lnTo>
                  <a:lnTo>
                    <a:pt x="5252" y="3530"/>
                  </a:lnTo>
                  <a:lnTo>
                    <a:pt x="5254" y="3515"/>
                  </a:lnTo>
                  <a:lnTo>
                    <a:pt x="5255" y="3509"/>
                  </a:lnTo>
                  <a:lnTo>
                    <a:pt x="5258" y="3502"/>
                  </a:lnTo>
                  <a:lnTo>
                    <a:pt x="5266" y="3487"/>
                  </a:lnTo>
                  <a:lnTo>
                    <a:pt x="5269" y="3478"/>
                  </a:lnTo>
                  <a:lnTo>
                    <a:pt x="5273" y="3469"/>
                  </a:lnTo>
                  <a:lnTo>
                    <a:pt x="5275" y="3461"/>
                  </a:lnTo>
                  <a:lnTo>
                    <a:pt x="5276" y="3456"/>
                  </a:lnTo>
                  <a:lnTo>
                    <a:pt x="5275" y="3441"/>
                  </a:lnTo>
                  <a:lnTo>
                    <a:pt x="5271" y="3423"/>
                  </a:lnTo>
                  <a:lnTo>
                    <a:pt x="5269" y="3405"/>
                  </a:lnTo>
                  <a:lnTo>
                    <a:pt x="5267" y="3398"/>
                  </a:lnTo>
                  <a:lnTo>
                    <a:pt x="5270" y="3395"/>
                  </a:lnTo>
                  <a:lnTo>
                    <a:pt x="5278" y="3388"/>
                  </a:lnTo>
                  <a:lnTo>
                    <a:pt x="5281" y="3384"/>
                  </a:lnTo>
                  <a:lnTo>
                    <a:pt x="5285" y="3378"/>
                  </a:lnTo>
                  <a:lnTo>
                    <a:pt x="5287" y="3374"/>
                  </a:lnTo>
                  <a:lnTo>
                    <a:pt x="5288" y="3368"/>
                  </a:lnTo>
                  <a:lnTo>
                    <a:pt x="5287" y="3364"/>
                  </a:lnTo>
                  <a:lnTo>
                    <a:pt x="5285" y="3357"/>
                  </a:lnTo>
                  <a:lnTo>
                    <a:pt x="5280" y="3352"/>
                  </a:lnTo>
                  <a:lnTo>
                    <a:pt x="5276" y="3345"/>
                  </a:lnTo>
                  <a:lnTo>
                    <a:pt x="5267" y="3336"/>
                  </a:lnTo>
                  <a:lnTo>
                    <a:pt x="5264" y="3332"/>
                  </a:lnTo>
                  <a:lnTo>
                    <a:pt x="5259" y="3328"/>
                  </a:lnTo>
                  <a:lnTo>
                    <a:pt x="5253" y="3318"/>
                  </a:lnTo>
                  <a:lnTo>
                    <a:pt x="5249" y="3312"/>
                  </a:lnTo>
                  <a:lnTo>
                    <a:pt x="5248" y="3306"/>
                  </a:lnTo>
                  <a:lnTo>
                    <a:pt x="5247" y="3303"/>
                  </a:lnTo>
                  <a:lnTo>
                    <a:pt x="5248" y="3300"/>
                  </a:lnTo>
                  <a:lnTo>
                    <a:pt x="5249" y="3298"/>
                  </a:lnTo>
                  <a:lnTo>
                    <a:pt x="5252" y="3295"/>
                  </a:lnTo>
                  <a:lnTo>
                    <a:pt x="5263" y="3286"/>
                  </a:lnTo>
                  <a:lnTo>
                    <a:pt x="5276" y="3278"/>
                  </a:lnTo>
                  <a:lnTo>
                    <a:pt x="5288" y="3272"/>
                  </a:lnTo>
                  <a:lnTo>
                    <a:pt x="5292" y="3270"/>
                  </a:lnTo>
                  <a:lnTo>
                    <a:pt x="5298" y="3259"/>
                  </a:lnTo>
                  <a:lnTo>
                    <a:pt x="5302" y="3247"/>
                  </a:lnTo>
                  <a:lnTo>
                    <a:pt x="5305" y="3233"/>
                  </a:lnTo>
                  <a:lnTo>
                    <a:pt x="5307" y="3219"/>
                  </a:lnTo>
                  <a:lnTo>
                    <a:pt x="5309" y="3197"/>
                  </a:lnTo>
                  <a:lnTo>
                    <a:pt x="5309" y="3187"/>
                  </a:lnTo>
                  <a:lnTo>
                    <a:pt x="5317" y="3147"/>
                  </a:lnTo>
                  <a:lnTo>
                    <a:pt x="5321" y="3138"/>
                  </a:lnTo>
                  <a:lnTo>
                    <a:pt x="5333" y="3113"/>
                  </a:lnTo>
                  <a:lnTo>
                    <a:pt x="5351" y="3078"/>
                  </a:lnTo>
                  <a:lnTo>
                    <a:pt x="5375" y="3036"/>
                  </a:lnTo>
                  <a:lnTo>
                    <a:pt x="5387" y="3014"/>
                  </a:lnTo>
                  <a:lnTo>
                    <a:pt x="5402" y="2992"/>
                  </a:lnTo>
                  <a:lnTo>
                    <a:pt x="5416" y="2970"/>
                  </a:lnTo>
                  <a:lnTo>
                    <a:pt x="5432" y="2948"/>
                  </a:lnTo>
                  <a:lnTo>
                    <a:pt x="5447" y="2929"/>
                  </a:lnTo>
                  <a:lnTo>
                    <a:pt x="5462" y="2910"/>
                  </a:lnTo>
                  <a:lnTo>
                    <a:pt x="5479" y="2895"/>
                  </a:lnTo>
                  <a:lnTo>
                    <a:pt x="5495" y="2883"/>
                  </a:lnTo>
                  <a:lnTo>
                    <a:pt x="5502" y="2877"/>
                  </a:lnTo>
                  <a:lnTo>
                    <a:pt x="5510" y="2870"/>
                  </a:lnTo>
                  <a:lnTo>
                    <a:pt x="5519" y="2862"/>
                  </a:lnTo>
                  <a:lnTo>
                    <a:pt x="5527" y="2853"/>
                  </a:lnTo>
                  <a:lnTo>
                    <a:pt x="5544" y="2833"/>
                  </a:lnTo>
                  <a:lnTo>
                    <a:pt x="5562" y="2810"/>
                  </a:lnTo>
                  <a:lnTo>
                    <a:pt x="5580" y="2786"/>
                  </a:lnTo>
                  <a:lnTo>
                    <a:pt x="5597" y="2759"/>
                  </a:lnTo>
                  <a:lnTo>
                    <a:pt x="5615" y="2732"/>
                  </a:lnTo>
                  <a:lnTo>
                    <a:pt x="5633" y="2704"/>
                  </a:lnTo>
                  <a:lnTo>
                    <a:pt x="5667" y="2649"/>
                  </a:lnTo>
                  <a:lnTo>
                    <a:pt x="5699" y="2600"/>
                  </a:lnTo>
                  <a:lnTo>
                    <a:pt x="5713" y="2579"/>
                  </a:lnTo>
                  <a:lnTo>
                    <a:pt x="5726" y="2562"/>
                  </a:lnTo>
                  <a:lnTo>
                    <a:pt x="5739" y="2547"/>
                  </a:lnTo>
                  <a:lnTo>
                    <a:pt x="5750" y="2537"/>
                  </a:lnTo>
                  <a:lnTo>
                    <a:pt x="5788" y="2509"/>
                  </a:lnTo>
                  <a:lnTo>
                    <a:pt x="5827" y="2483"/>
                  </a:lnTo>
                  <a:lnTo>
                    <a:pt x="5846" y="2469"/>
                  </a:lnTo>
                  <a:lnTo>
                    <a:pt x="5866" y="2453"/>
                  </a:lnTo>
                  <a:lnTo>
                    <a:pt x="5885" y="2435"/>
                  </a:lnTo>
                  <a:lnTo>
                    <a:pt x="5906" y="2414"/>
                  </a:lnTo>
                  <a:lnTo>
                    <a:pt x="5916" y="2401"/>
                  </a:lnTo>
                  <a:lnTo>
                    <a:pt x="5926" y="2389"/>
                  </a:lnTo>
                  <a:lnTo>
                    <a:pt x="5936" y="2377"/>
                  </a:lnTo>
                  <a:lnTo>
                    <a:pt x="5944" y="2365"/>
                  </a:lnTo>
                  <a:lnTo>
                    <a:pt x="5959" y="2341"/>
                  </a:lnTo>
                  <a:lnTo>
                    <a:pt x="5972" y="2318"/>
                  </a:lnTo>
                  <a:lnTo>
                    <a:pt x="5987" y="2283"/>
                  </a:lnTo>
                  <a:lnTo>
                    <a:pt x="5993" y="2269"/>
                  </a:lnTo>
                  <a:lnTo>
                    <a:pt x="5998" y="2259"/>
                  </a:lnTo>
                  <a:lnTo>
                    <a:pt x="6010" y="2230"/>
                  </a:lnTo>
                  <a:lnTo>
                    <a:pt x="6029" y="2191"/>
                  </a:lnTo>
                  <a:lnTo>
                    <a:pt x="6051" y="2143"/>
                  </a:lnTo>
                  <a:lnTo>
                    <a:pt x="6075" y="2093"/>
                  </a:lnTo>
                  <a:lnTo>
                    <a:pt x="6098" y="2048"/>
                  </a:lnTo>
                  <a:lnTo>
                    <a:pt x="6116" y="2012"/>
                  </a:lnTo>
                  <a:lnTo>
                    <a:pt x="6128" y="1989"/>
                  </a:lnTo>
                  <a:lnTo>
                    <a:pt x="6151" y="1957"/>
                  </a:lnTo>
                  <a:lnTo>
                    <a:pt x="6175" y="1918"/>
                  </a:lnTo>
                  <a:lnTo>
                    <a:pt x="6197" y="1881"/>
                  </a:lnTo>
                  <a:lnTo>
                    <a:pt x="6211" y="1853"/>
                  </a:lnTo>
                  <a:lnTo>
                    <a:pt x="6223" y="1823"/>
                  </a:lnTo>
                  <a:lnTo>
                    <a:pt x="6238" y="1783"/>
                  </a:lnTo>
                  <a:lnTo>
                    <a:pt x="6251" y="1745"/>
                  </a:lnTo>
                  <a:lnTo>
                    <a:pt x="6261" y="1717"/>
                  </a:lnTo>
                  <a:lnTo>
                    <a:pt x="6262" y="1713"/>
                  </a:lnTo>
                  <a:lnTo>
                    <a:pt x="6262" y="1708"/>
                  </a:lnTo>
                  <a:lnTo>
                    <a:pt x="6262" y="1704"/>
                  </a:lnTo>
                  <a:lnTo>
                    <a:pt x="6262" y="1699"/>
                  </a:lnTo>
                  <a:lnTo>
                    <a:pt x="6259" y="1692"/>
                  </a:lnTo>
                  <a:lnTo>
                    <a:pt x="6255" y="1684"/>
                  </a:lnTo>
                  <a:lnTo>
                    <a:pt x="6252" y="1676"/>
                  </a:lnTo>
                  <a:lnTo>
                    <a:pt x="6248" y="1670"/>
                  </a:lnTo>
                  <a:lnTo>
                    <a:pt x="6245" y="1664"/>
                  </a:lnTo>
                  <a:lnTo>
                    <a:pt x="6244" y="1660"/>
                  </a:lnTo>
                  <a:lnTo>
                    <a:pt x="6244" y="1650"/>
                  </a:lnTo>
                  <a:lnTo>
                    <a:pt x="6245" y="1640"/>
                  </a:lnTo>
                  <a:lnTo>
                    <a:pt x="6248" y="1634"/>
                  </a:lnTo>
                  <a:lnTo>
                    <a:pt x="6250" y="1630"/>
                  </a:lnTo>
                  <a:lnTo>
                    <a:pt x="6252" y="1625"/>
                  </a:lnTo>
                  <a:lnTo>
                    <a:pt x="6257" y="1622"/>
                  </a:lnTo>
                  <a:lnTo>
                    <a:pt x="6261" y="1619"/>
                  </a:lnTo>
                  <a:lnTo>
                    <a:pt x="6264" y="1613"/>
                  </a:lnTo>
                  <a:lnTo>
                    <a:pt x="6266" y="1607"/>
                  </a:lnTo>
                  <a:lnTo>
                    <a:pt x="6268" y="1601"/>
                  </a:lnTo>
                  <a:lnTo>
                    <a:pt x="6269" y="1590"/>
                  </a:lnTo>
                  <a:lnTo>
                    <a:pt x="6269" y="1586"/>
                  </a:lnTo>
                  <a:lnTo>
                    <a:pt x="6249" y="1572"/>
                  </a:lnTo>
                  <a:lnTo>
                    <a:pt x="6249" y="1519"/>
                  </a:lnTo>
                  <a:lnTo>
                    <a:pt x="6240" y="1474"/>
                  </a:lnTo>
                  <a:lnTo>
                    <a:pt x="6238" y="1470"/>
                  </a:lnTo>
                  <a:lnTo>
                    <a:pt x="6229" y="1462"/>
                  </a:lnTo>
                  <a:lnTo>
                    <a:pt x="6227" y="1460"/>
                  </a:lnTo>
                  <a:lnTo>
                    <a:pt x="6223" y="1460"/>
                  </a:lnTo>
                  <a:lnTo>
                    <a:pt x="6221" y="1460"/>
                  </a:lnTo>
                  <a:lnTo>
                    <a:pt x="6218" y="1460"/>
                  </a:lnTo>
                  <a:lnTo>
                    <a:pt x="6215" y="1462"/>
                  </a:lnTo>
                  <a:lnTo>
                    <a:pt x="6210" y="1464"/>
                  </a:lnTo>
                  <a:lnTo>
                    <a:pt x="6207" y="1469"/>
                  </a:lnTo>
                  <a:lnTo>
                    <a:pt x="6204" y="1474"/>
                  </a:lnTo>
                  <a:lnTo>
                    <a:pt x="6195" y="1485"/>
                  </a:lnTo>
                  <a:lnTo>
                    <a:pt x="6186" y="1495"/>
                  </a:lnTo>
                  <a:lnTo>
                    <a:pt x="6177" y="1504"/>
                  </a:lnTo>
                  <a:lnTo>
                    <a:pt x="6168" y="1511"/>
                  </a:lnTo>
                  <a:lnTo>
                    <a:pt x="6155" y="1520"/>
                  </a:lnTo>
                  <a:lnTo>
                    <a:pt x="6149" y="1524"/>
                  </a:lnTo>
                  <a:lnTo>
                    <a:pt x="6144" y="1525"/>
                  </a:lnTo>
                  <a:lnTo>
                    <a:pt x="6128" y="1527"/>
                  </a:lnTo>
                  <a:lnTo>
                    <a:pt x="6106" y="1530"/>
                  </a:lnTo>
                  <a:lnTo>
                    <a:pt x="6080" y="1532"/>
                  </a:lnTo>
                  <a:lnTo>
                    <a:pt x="6053" y="1532"/>
                  </a:lnTo>
                  <a:lnTo>
                    <a:pt x="6029" y="1534"/>
                  </a:lnTo>
                  <a:lnTo>
                    <a:pt x="6018" y="1536"/>
                  </a:lnTo>
                  <a:lnTo>
                    <a:pt x="6008" y="1538"/>
                  </a:lnTo>
                  <a:lnTo>
                    <a:pt x="5998" y="1543"/>
                  </a:lnTo>
                  <a:lnTo>
                    <a:pt x="5989" y="1548"/>
                  </a:lnTo>
                  <a:lnTo>
                    <a:pt x="5968" y="1561"/>
                  </a:lnTo>
                  <a:lnTo>
                    <a:pt x="5948" y="1572"/>
                  </a:lnTo>
                  <a:lnTo>
                    <a:pt x="5933" y="1581"/>
                  </a:lnTo>
                  <a:lnTo>
                    <a:pt x="5927" y="1586"/>
                  </a:lnTo>
                  <a:lnTo>
                    <a:pt x="5923" y="1584"/>
                  </a:lnTo>
                  <a:lnTo>
                    <a:pt x="5914" y="1582"/>
                  </a:lnTo>
                  <a:lnTo>
                    <a:pt x="5908" y="1581"/>
                  </a:lnTo>
                  <a:lnTo>
                    <a:pt x="5901" y="1581"/>
                  </a:lnTo>
                  <a:lnTo>
                    <a:pt x="5893" y="1582"/>
                  </a:lnTo>
                  <a:lnTo>
                    <a:pt x="5885" y="1586"/>
                  </a:lnTo>
                  <a:lnTo>
                    <a:pt x="5868" y="1593"/>
                  </a:lnTo>
                  <a:lnTo>
                    <a:pt x="5849" y="1602"/>
                  </a:lnTo>
                  <a:lnTo>
                    <a:pt x="5835" y="1611"/>
                  </a:lnTo>
                  <a:lnTo>
                    <a:pt x="5828" y="1614"/>
                  </a:lnTo>
                  <a:lnTo>
                    <a:pt x="5774" y="1634"/>
                  </a:lnTo>
                  <a:lnTo>
                    <a:pt x="5761" y="1635"/>
                  </a:lnTo>
                  <a:lnTo>
                    <a:pt x="5731" y="1634"/>
                  </a:lnTo>
                  <a:lnTo>
                    <a:pt x="5715" y="1633"/>
                  </a:lnTo>
                  <a:lnTo>
                    <a:pt x="5701" y="1631"/>
                  </a:lnTo>
                  <a:lnTo>
                    <a:pt x="5696" y="1630"/>
                  </a:lnTo>
                  <a:lnTo>
                    <a:pt x="5692" y="1628"/>
                  </a:lnTo>
                  <a:lnTo>
                    <a:pt x="5689" y="1625"/>
                  </a:lnTo>
                  <a:lnTo>
                    <a:pt x="5688" y="1622"/>
                  </a:lnTo>
                  <a:lnTo>
                    <a:pt x="5687" y="1604"/>
                  </a:lnTo>
                  <a:lnTo>
                    <a:pt x="5682" y="1579"/>
                  </a:lnTo>
                  <a:lnTo>
                    <a:pt x="5680" y="1567"/>
                  </a:lnTo>
                  <a:lnTo>
                    <a:pt x="5678" y="1556"/>
                  </a:lnTo>
                  <a:lnTo>
                    <a:pt x="5675" y="1546"/>
                  </a:lnTo>
                  <a:lnTo>
                    <a:pt x="5671" y="1540"/>
                  </a:lnTo>
                  <a:lnTo>
                    <a:pt x="5662" y="1533"/>
                  </a:lnTo>
                  <a:lnTo>
                    <a:pt x="5650" y="1525"/>
                  </a:lnTo>
                  <a:lnTo>
                    <a:pt x="5648" y="1524"/>
                  </a:lnTo>
                  <a:lnTo>
                    <a:pt x="5646" y="1522"/>
                  </a:lnTo>
                  <a:lnTo>
                    <a:pt x="5645" y="1518"/>
                  </a:lnTo>
                  <a:lnTo>
                    <a:pt x="5645" y="1515"/>
                  </a:lnTo>
                  <a:lnTo>
                    <a:pt x="5645" y="1512"/>
                  </a:lnTo>
                  <a:lnTo>
                    <a:pt x="5646" y="1508"/>
                  </a:lnTo>
                  <a:lnTo>
                    <a:pt x="5648" y="1504"/>
                  </a:lnTo>
                  <a:lnTo>
                    <a:pt x="5651" y="1498"/>
                  </a:lnTo>
                  <a:lnTo>
                    <a:pt x="5658" y="1486"/>
                  </a:lnTo>
                  <a:lnTo>
                    <a:pt x="5663" y="1472"/>
                  </a:lnTo>
                  <a:lnTo>
                    <a:pt x="5669" y="1458"/>
                  </a:lnTo>
                  <a:lnTo>
                    <a:pt x="5673" y="1442"/>
                  </a:lnTo>
                  <a:lnTo>
                    <a:pt x="5677" y="1428"/>
                  </a:lnTo>
                  <a:lnTo>
                    <a:pt x="5681" y="1417"/>
                  </a:lnTo>
                  <a:lnTo>
                    <a:pt x="5683" y="1411"/>
                  </a:lnTo>
                  <a:lnTo>
                    <a:pt x="5687" y="1408"/>
                  </a:lnTo>
                  <a:lnTo>
                    <a:pt x="5689" y="1406"/>
                  </a:lnTo>
                  <a:lnTo>
                    <a:pt x="5692" y="1403"/>
                  </a:lnTo>
                  <a:lnTo>
                    <a:pt x="5705" y="1399"/>
                  </a:lnTo>
                  <a:lnTo>
                    <a:pt x="5721" y="1395"/>
                  </a:lnTo>
                  <a:lnTo>
                    <a:pt x="5729" y="1391"/>
                  </a:lnTo>
                  <a:lnTo>
                    <a:pt x="5736" y="1389"/>
                  </a:lnTo>
                  <a:lnTo>
                    <a:pt x="5743" y="1388"/>
                  </a:lnTo>
                  <a:lnTo>
                    <a:pt x="5750" y="1387"/>
                  </a:lnTo>
                  <a:lnTo>
                    <a:pt x="5763" y="1388"/>
                  </a:lnTo>
                  <a:lnTo>
                    <a:pt x="5777" y="1389"/>
                  </a:lnTo>
                  <a:lnTo>
                    <a:pt x="5792" y="1389"/>
                  </a:lnTo>
                  <a:lnTo>
                    <a:pt x="5807" y="1387"/>
                  </a:lnTo>
                  <a:lnTo>
                    <a:pt x="5811" y="1386"/>
                  </a:lnTo>
                  <a:lnTo>
                    <a:pt x="5816" y="1384"/>
                  </a:lnTo>
                  <a:lnTo>
                    <a:pt x="5820" y="1381"/>
                  </a:lnTo>
                  <a:lnTo>
                    <a:pt x="5825" y="1377"/>
                  </a:lnTo>
                  <a:lnTo>
                    <a:pt x="5834" y="1368"/>
                  </a:lnTo>
                  <a:lnTo>
                    <a:pt x="5843" y="1359"/>
                  </a:lnTo>
                  <a:lnTo>
                    <a:pt x="5852" y="1349"/>
                  </a:lnTo>
                  <a:lnTo>
                    <a:pt x="5861" y="1342"/>
                  </a:lnTo>
                  <a:lnTo>
                    <a:pt x="5868" y="1336"/>
                  </a:lnTo>
                  <a:lnTo>
                    <a:pt x="5873" y="1334"/>
                  </a:lnTo>
                  <a:lnTo>
                    <a:pt x="5884" y="1333"/>
                  </a:lnTo>
                  <a:lnTo>
                    <a:pt x="5900" y="1329"/>
                  </a:lnTo>
                  <a:lnTo>
                    <a:pt x="5919" y="1327"/>
                  </a:lnTo>
                  <a:lnTo>
                    <a:pt x="5940" y="1325"/>
                  </a:lnTo>
                  <a:lnTo>
                    <a:pt x="5962" y="1325"/>
                  </a:lnTo>
                  <a:lnTo>
                    <a:pt x="5983" y="1323"/>
                  </a:lnTo>
                  <a:lnTo>
                    <a:pt x="6000" y="1321"/>
                  </a:lnTo>
                  <a:lnTo>
                    <a:pt x="6014" y="1317"/>
                  </a:lnTo>
                  <a:lnTo>
                    <a:pt x="6026" y="1311"/>
                  </a:lnTo>
                  <a:lnTo>
                    <a:pt x="6041" y="1302"/>
                  </a:lnTo>
                  <a:lnTo>
                    <a:pt x="6053" y="1292"/>
                  </a:lnTo>
                  <a:lnTo>
                    <a:pt x="6059" y="1289"/>
                  </a:lnTo>
                  <a:lnTo>
                    <a:pt x="6096" y="1264"/>
                  </a:lnTo>
                  <a:lnTo>
                    <a:pt x="6101" y="1254"/>
                  </a:lnTo>
                  <a:lnTo>
                    <a:pt x="6115" y="1235"/>
                  </a:lnTo>
                  <a:lnTo>
                    <a:pt x="6120" y="1229"/>
                  </a:lnTo>
                  <a:lnTo>
                    <a:pt x="6126" y="1224"/>
                  </a:lnTo>
                  <a:lnTo>
                    <a:pt x="6133" y="1218"/>
                  </a:lnTo>
                  <a:lnTo>
                    <a:pt x="6139" y="1214"/>
                  </a:lnTo>
                  <a:lnTo>
                    <a:pt x="6147" y="1209"/>
                  </a:lnTo>
                  <a:lnTo>
                    <a:pt x="6155" y="1206"/>
                  </a:lnTo>
                  <a:lnTo>
                    <a:pt x="6165" y="1204"/>
                  </a:lnTo>
                  <a:lnTo>
                    <a:pt x="6174" y="1201"/>
                  </a:lnTo>
                  <a:lnTo>
                    <a:pt x="6184" y="1200"/>
                  </a:lnTo>
                  <a:lnTo>
                    <a:pt x="6194" y="1199"/>
                  </a:lnTo>
                  <a:lnTo>
                    <a:pt x="6204" y="1196"/>
                  </a:lnTo>
                  <a:lnTo>
                    <a:pt x="6212" y="1193"/>
                  </a:lnTo>
                  <a:lnTo>
                    <a:pt x="6221" y="1189"/>
                  </a:lnTo>
                  <a:lnTo>
                    <a:pt x="6229" y="1185"/>
                  </a:lnTo>
                  <a:lnTo>
                    <a:pt x="6238" y="1179"/>
                  </a:lnTo>
                  <a:lnTo>
                    <a:pt x="6245" y="1174"/>
                  </a:lnTo>
                  <a:lnTo>
                    <a:pt x="6260" y="1161"/>
                  </a:lnTo>
                  <a:lnTo>
                    <a:pt x="6274" y="1146"/>
                  </a:lnTo>
                  <a:lnTo>
                    <a:pt x="6286" y="1130"/>
                  </a:lnTo>
                  <a:lnTo>
                    <a:pt x="6297" y="1112"/>
                  </a:lnTo>
                  <a:lnTo>
                    <a:pt x="6306" y="1094"/>
                  </a:lnTo>
                  <a:lnTo>
                    <a:pt x="6312" y="1080"/>
                  </a:lnTo>
                  <a:lnTo>
                    <a:pt x="6315" y="1067"/>
                  </a:lnTo>
                  <a:lnTo>
                    <a:pt x="6317" y="1057"/>
                  </a:lnTo>
                  <a:lnTo>
                    <a:pt x="6321" y="1046"/>
                  </a:lnTo>
                  <a:lnTo>
                    <a:pt x="6325" y="1037"/>
                  </a:lnTo>
                  <a:lnTo>
                    <a:pt x="6327" y="1031"/>
                  </a:lnTo>
                  <a:lnTo>
                    <a:pt x="6332" y="1027"/>
                  </a:lnTo>
                  <a:lnTo>
                    <a:pt x="6337" y="1021"/>
                  </a:lnTo>
                  <a:lnTo>
                    <a:pt x="6343" y="1017"/>
                  </a:lnTo>
                  <a:lnTo>
                    <a:pt x="6365" y="998"/>
                  </a:lnTo>
                  <a:lnTo>
                    <a:pt x="6379" y="986"/>
                  </a:lnTo>
                  <a:lnTo>
                    <a:pt x="6385" y="981"/>
                  </a:lnTo>
                  <a:lnTo>
                    <a:pt x="6390" y="976"/>
                  </a:lnTo>
                  <a:lnTo>
                    <a:pt x="6397" y="972"/>
                  </a:lnTo>
                  <a:lnTo>
                    <a:pt x="6405" y="967"/>
                  </a:lnTo>
                  <a:lnTo>
                    <a:pt x="6420" y="957"/>
                  </a:lnTo>
                  <a:lnTo>
                    <a:pt x="6432" y="949"/>
                  </a:lnTo>
                  <a:lnTo>
                    <a:pt x="6438" y="945"/>
                  </a:lnTo>
                  <a:lnTo>
                    <a:pt x="6443" y="943"/>
                  </a:lnTo>
                  <a:lnTo>
                    <a:pt x="6450" y="942"/>
                  </a:lnTo>
                  <a:lnTo>
                    <a:pt x="6459" y="942"/>
                  </a:lnTo>
                  <a:lnTo>
                    <a:pt x="6462" y="943"/>
                  </a:lnTo>
                  <a:lnTo>
                    <a:pt x="6465" y="944"/>
                  </a:lnTo>
                  <a:lnTo>
                    <a:pt x="6466" y="945"/>
                  </a:lnTo>
                  <a:lnTo>
                    <a:pt x="6466" y="948"/>
                  </a:lnTo>
                  <a:lnTo>
                    <a:pt x="6465" y="950"/>
                  </a:lnTo>
                  <a:lnTo>
                    <a:pt x="6463" y="952"/>
                  </a:lnTo>
                  <a:lnTo>
                    <a:pt x="6462" y="953"/>
                  </a:lnTo>
                  <a:lnTo>
                    <a:pt x="6462" y="953"/>
                  </a:lnTo>
                  <a:lnTo>
                    <a:pt x="6462" y="954"/>
                  </a:lnTo>
                  <a:lnTo>
                    <a:pt x="6464" y="953"/>
                  </a:lnTo>
                  <a:lnTo>
                    <a:pt x="6471" y="951"/>
                  </a:lnTo>
                  <a:lnTo>
                    <a:pt x="6483" y="946"/>
                  </a:lnTo>
                  <a:lnTo>
                    <a:pt x="6498" y="940"/>
                  </a:lnTo>
                  <a:lnTo>
                    <a:pt x="6509" y="933"/>
                  </a:lnTo>
                  <a:lnTo>
                    <a:pt x="6517" y="928"/>
                  </a:lnTo>
                  <a:lnTo>
                    <a:pt x="6523" y="921"/>
                  </a:lnTo>
                  <a:lnTo>
                    <a:pt x="6529" y="910"/>
                  </a:lnTo>
                  <a:lnTo>
                    <a:pt x="6537" y="901"/>
                  </a:lnTo>
                  <a:lnTo>
                    <a:pt x="6548" y="892"/>
                  </a:lnTo>
                  <a:lnTo>
                    <a:pt x="6562" y="879"/>
                  </a:lnTo>
                  <a:lnTo>
                    <a:pt x="6573" y="869"/>
                  </a:lnTo>
                  <a:lnTo>
                    <a:pt x="6578" y="864"/>
                  </a:lnTo>
                  <a:lnTo>
                    <a:pt x="6582" y="860"/>
                  </a:lnTo>
                  <a:lnTo>
                    <a:pt x="6592" y="851"/>
                  </a:lnTo>
                  <a:lnTo>
                    <a:pt x="6604" y="838"/>
                  </a:lnTo>
                  <a:lnTo>
                    <a:pt x="6615" y="823"/>
                  </a:lnTo>
                  <a:lnTo>
                    <a:pt x="6625" y="805"/>
                  </a:lnTo>
                  <a:lnTo>
                    <a:pt x="6636" y="786"/>
                  </a:lnTo>
                  <a:lnTo>
                    <a:pt x="6644" y="771"/>
                  </a:lnTo>
                  <a:lnTo>
                    <a:pt x="6649" y="765"/>
                  </a:lnTo>
                  <a:lnTo>
                    <a:pt x="6654" y="761"/>
                  </a:lnTo>
                  <a:lnTo>
                    <a:pt x="6668" y="749"/>
                  </a:lnTo>
                  <a:lnTo>
                    <a:pt x="6676" y="739"/>
                  </a:lnTo>
                  <a:lnTo>
                    <a:pt x="6683" y="729"/>
                  </a:lnTo>
                  <a:lnTo>
                    <a:pt x="6686" y="723"/>
                  </a:lnTo>
                  <a:lnTo>
                    <a:pt x="6687" y="717"/>
                  </a:lnTo>
                  <a:lnTo>
                    <a:pt x="6689" y="710"/>
                  </a:lnTo>
                  <a:lnTo>
                    <a:pt x="6689" y="704"/>
                  </a:lnTo>
                  <a:lnTo>
                    <a:pt x="6687" y="679"/>
                  </a:lnTo>
                  <a:lnTo>
                    <a:pt x="6685" y="659"/>
                  </a:lnTo>
                  <a:lnTo>
                    <a:pt x="6684" y="653"/>
                  </a:lnTo>
                  <a:lnTo>
                    <a:pt x="6684" y="646"/>
                  </a:lnTo>
                  <a:lnTo>
                    <a:pt x="6685" y="644"/>
                  </a:lnTo>
                  <a:lnTo>
                    <a:pt x="6686" y="642"/>
                  </a:lnTo>
                  <a:lnTo>
                    <a:pt x="6687" y="640"/>
                  </a:lnTo>
                  <a:lnTo>
                    <a:pt x="6689" y="637"/>
                  </a:lnTo>
                  <a:lnTo>
                    <a:pt x="6710" y="626"/>
                  </a:lnTo>
                  <a:lnTo>
                    <a:pt x="6723" y="621"/>
                  </a:lnTo>
                  <a:lnTo>
                    <a:pt x="6725" y="620"/>
                  </a:lnTo>
                  <a:lnTo>
                    <a:pt x="6731" y="615"/>
                  </a:lnTo>
                  <a:lnTo>
                    <a:pt x="6735" y="613"/>
                  </a:lnTo>
                  <a:lnTo>
                    <a:pt x="6738" y="609"/>
                  </a:lnTo>
                  <a:lnTo>
                    <a:pt x="6741" y="605"/>
                  </a:lnTo>
                  <a:lnTo>
                    <a:pt x="6742" y="601"/>
                  </a:lnTo>
                  <a:lnTo>
                    <a:pt x="6745" y="589"/>
                  </a:lnTo>
                  <a:lnTo>
                    <a:pt x="6744" y="573"/>
                  </a:lnTo>
                  <a:lnTo>
                    <a:pt x="6745" y="566"/>
                  </a:lnTo>
                  <a:lnTo>
                    <a:pt x="6746" y="557"/>
                  </a:lnTo>
                  <a:lnTo>
                    <a:pt x="6748" y="550"/>
                  </a:lnTo>
                  <a:lnTo>
                    <a:pt x="6751" y="542"/>
                  </a:lnTo>
                  <a:lnTo>
                    <a:pt x="6761" y="527"/>
                  </a:lnTo>
                  <a:lnTo>
                    <a:pt x="6770" y="508"/>
                  </a:lnTo>
                  <a:lnTo>
                    <a:pt x="6778" y="492"/>
                  </a:lnTo>
                  <a:lnTo>
                    <a:pt x="6780" y="485"/>
                  </a:lnTo>
                  <a:lnTo>
                    <a:pt x="6759" y="419"/>
                  </a:lnTo>
                  <a:lnTo>
                    <a:pt x="6755" y="411"/>
                  </a:lnTo>
                  <a:lnTo>
                    <a:pt x="6742" y="393"/>
                  </a:lnTo>
                  <a:lnTo>
                    <a:pt x="6730" y="372"/>
                  </a:lnTo>
                  <a:lnTo>
                    <a:pt x="6723" y="358"/>
                  </a:lnTo>
                  <a:lnTo>
                    <a:pt x="6714" y="341"/>
                  </a:lnTo>
                  <a:lnTo>
                    <a:pt x="6698" y="319"/>
                  </a:lnTo>
                  <a:lnTo>
                    <a:pt x="6684" y="301"/>
                  </a:lnTo>
                  <a:lnTo>
                    <a:pt x="6677" y="292"/>
                  </a:lnTo>
                  <a:lnTo>
                    <a:pt x="6615" y="280"/>
                  </a:lnTo>
                  <a:lnTo>
                    <a:pt x="6554" y="238"/>
                  </a:lnTo>
                  <a:lnTo>
                    <a:pt x="6545" y="228"/>
                  </a:lnTo>
                  <a:lnTo>
                    <a:pt x="6526" y="203"/>
                  </a:lnTo>
                  <a:lnTo>
                    <a:pt x="6517" y="188"/>
                  </a:lnTo>
                  <a:lnTo>
                    <a:pt x="6509" y="171"/>
                  </a:lnTo>
                  <a:lnTo>
                    <a:pt x="6507" y="164"/>
                  </a:lnTo>
                  <a:lnTo>
                    <a:pt x="6506" y="157"/>
                  </a:lnTo>
                  <a:lnTo>
                    <a:pt x="6506" y="149"/>
                  </a:lnTo>
                  <a:lnTo>
                    <a:pt x="6508" y="143"/>
                  </a:lnTo>
                  <a:lnTo>
                    <a:pt x="6519" y="114"/>
                  </a:lnTo>
                  <a:lnTo>
                    <a:pt x="6520" y="111"/>
                  </a:lnTo>
                  <a:lnTo>
                    <a:pt x="6518" y="106"/>
                  </a:lnTo>
                  <a:lnTo>
                    <a:pt x="6512" y="96"/>
                  </a:lnTo>
                  <a:lnTo>
                    <a:pt x="6508" y="93"/>
                  </a:lnTo>
                  <a:lnTo>
                    <a:pt x="6503" y="90"/>
                  </a:lnTo>
                  <a:lnTo>
                    <a:pt x="6501" y="89"/>
                  </a:lnTo>
                  <a:lnTo>
                    <a:pt x="6497" y="89"/>
                  </a:lnTo>
                  <a:lnTo>
                    <a:pt x="6495" y="89"/>
                  </a:lnTo>
                  <a:lnTo>
                    <a:pt x="6492" y="90"/>
                  </a:lnTo>
                  <a:lnTo>
                    <a:pt x="6486" y="92"/>
                  </a:lnTo>
                  <a:lnTo>
                    <a:pt x="6481" y="92"/>
                  </a:lnTo>
                  <a:lnTo>
                    <a:pt x="6476" y="91"/>
                  </a:lnTo>
                  <a:lnTo>
                    <a:pt x="6472" y="91"/>
                  </a:lnTo>
                  <a:lnTo>
                    <a:pt x="6467" y="91"/>
                  </a:lnTo>
                  <a:lnTo>
                    <a:pt x="6463" y="94"/>
                  </a:lnTo>
                  <a:lnTo>
                    <a:pt x="6459" y="100"/>
                  </a:lnTo>
                  <a:lnTo>
                    <a:pt x="6454" y="111"/>
                  </a:lnTo>
                  <a:lnTo>
                    <a:pt x="6445" y="132"/>
                  </a:lnTo>
                  <a:lnTo>
                    <a:pt x="6437" y="148"/>
                  </a:lnTo>
                  <a:lnTo>
                    <a:pt x="6433" y="155"/>
                  </a:lnTo>
                  <a:lnTo>
                    <a:pt x="6430" y="161"/>
                  </a:lnTo>
                  <a:lnTo>
                    <a:pt x="6428" y="169"/>
                  </a:lnTo>
                  <a:lnTo>
                    <a:pt x="6426" y="176"/>
                  </a:lnTo>
                  <a:lnTo>
                    <a:pt x="6423" y="189"/>
                  </a:lnTo>
                  <a:lnTo>
                    <a:pt x="6420" y="198"/>
                  </a:lnTo>
                  <a:lnTo>
                    <a:pt x="6417" y="201"/>
                  </a:lnTo>
                  <a:lnTo>
                    <a:pt x="6411" y="206"/>
                  </a:lnTo>
                  <a:lnTo>
                    <a:pt x="6403" y="209"/>
                  </a:lnTo>
                  <a:lnTo>
                    <a:pt x="6392" y="213"/>
                  </a:lnTo>
                  <a:lnTo>
                    <a:pt x="6376" y="220"/>
                  </a:lnTo>
                  <a:lnTo>
                    <a:pt x="6367" y="223"/>
                  </a:lnTo>
                  <a:lnTo>
                    <a:pt x="6358" y="222"/>
                  </a:lnTo>
                  <a:lnTo>
                    <a:pt x="6339" y="218"/>
                  </a:lnTo>
                  <a:lnTo>
                    <a:pt x="6325" y="214"/>
                  </a:lnTo>
                  <a:lnTo>
                    <a:pt x="6310" y="213"/>
                  </a:lnTo>
                  <a:lnTo>
                    <a:pt x="6294" y="212"/>
                  </a:lnTo>
                  <a:lnTo>
                    <a:pt x="6280" y="212"/>
                  </a:lnTo>
                  <a:lnTo>
                    <a:pt x="6258" y="212"/>
                  </a:lnTo>
                  <a:lnTo>
                    <a:pt x="6249" y="213"/>
                  </a:lnTo>
                  <a:lnTo>
                    <a:pt x="6247" y="218"/>
                  </a:lnTo>
                  <a:lnTo>
                    <a:pt x="6242" y="227"/>
                  </a:lnTo>
                  <a:lnTo>
                    <a:pt x="6240" y="230"/>
                  </a:lnTo>
                  <a:lnTo>
                    <a:pt x="6237" y="231"/>
                  </a:lnTo>
                  <a:lnTo>
                    <a:pt x="6234" y="230"/>
                  </a:lnTo>
                  <a:lnTo>
                    <a:pt x="6232" y="228"/>
                  </a:lnTo>
                  <a:lnTo>
                    <a:pt x="6230" y="226"/>
                  </a:lnTo>
                  <a:lnTo>
                    <a:pt x="6228" y="221"/>
                  </a:lnTo>
                  <a:lnTo>
                    <a:pt x="6222" y="212"/>
                  </a:lnTo>
                  <a:lnTo>
                    <a:pt x="6216" y="205"/>
                  </a:lnTo>
                  <a:lnTo>
                    <a:pt x="6209" y="198"/>
                  </a:lnTo>
                  <a:lnTo>
                    <a:pt x="6202" y="190"/>
                  </a:lnTo>
                  <a:lnTo>
                    <a:pt x="6198" y="184"/>
                  </a:lnTo>
                  <a:lnTo>
                    <a:pt x="6195" y="176"/>
                  </a:lnTo>
                  <a:lnTo>
                    <a:pt x="6195" y="173"/>
                  </a:lnTo>
                  <a:lnTo>
                    <a:pt x="6195" y="168"/>
                  </a:lnTo>
                  <a:lnTo>
                    <a:pt x="6197" y="164"/>
                  </a:lnTo>
                  <a:lnTo>
                    <a:pt x="6199" y="159"/>
                  </a:lnTo>
                  <a:lnTo>
                    <a:pt x="6205" y="150"/>
                  </a:lnTo>
                  <a:lnTo>
                    <a:pt x="6208" y="142"/>
                  </a:lnTo>
                  <a:lnTo>
                    <a:pt x="6211" y="134"/>
                  </a:lnTo>
                  <a:lnTo>
                    <a:pt x="6213" y="126"/>
                  </a:lnTo>
                  <a:lnTo>
                    <a:pt x="6216" y="113"/>
                  </a:lnTo>
                  <a:lnTo>
                    <a:pt x="6216" y="102"/>
                  </a:lnTo>
                  <a:lnTo>
                    <a:pt x="6212" y="89"/>
                  </a:lnTo>
                  <a:lnTo>
                    <a:pt x="6207" y="71"/>
                  </a:lnTo>
                  <a:lnTo>
                    <a:pt x="6201" y="56"/>
                  </a:lnTo>
                  <a:lnTo>
                    <a:pt x="6199" y="49"/>
                  </a:lnTo>
                  <a:lnTo>
                    <a:pt x="6170" y="49"/>
                  </a:lnTo>
                  <a:lnTo>
                    <a:pt x="6144" y="50"/>
                  </a:lnTo>
                  <a:lnTo>
                    <a:pt x="6124" y="52"/>
                  </a:lnTo>
                  <a:lnTo>
                    <a:pt x="6116" y="52"/>
                  </a:lnTo>
                  <a:lnTo>
                    <a:pt x="6115" y="48"/>
                  </a:lnTo>
                  <a:lnTo>
                    <a:pt x="6112" y="33"/>
                  </a:lnTo>
                  <a:lnTo>
                    <a:pt x="6107" y="17"/>
                  </a:lnTo>
                  <a:lnTo>
                    <a:pt x="6105" y="0"/>
                  </a:lnTo>
                  <a:lnTo>
                    <a:pt x="5060" y="0"/>
                  </a:lnTo>
                  <a:lnTo>
                    <a:pt x="5098" y="51"/>
                  </a:lnTo>
                  <a:lnTo>
                    <a:pt x="5108" y="67"/>
                  </a:lnTo>
                  <a:lnTo>
                    <a:pt x="5119" y="89"/>
                  </a:lnTo>
                  <a:lnTo>
                    <a:pt x="5130" y="109"/>
                  </a:lnTo>
                  <a:lnTo>
                    <a:pt x="5134" y="117"/>
                  </a:lnTo>
                  <a:lnTo>
                    <a:pt x="5136" y="123"/>
                  </a:lnTo>
                  <a:lnTo>
                    <a:pt x="5139" y="138"/>
                  </a:lnTo>
                  <a:lnTo>
                    <a:pt x="5141" y="155"/>
                  </a:lnTo>
                  <a:lnTo>
                    <a:pt x="5142" y="169"/>
                  </a:lnTo>
                  <a:lnTo>
                    <a:pt x="5143" y="173"/>
                  </a:lnTo>
                  <a:lnTo>
                    <a:pt x="5144" y="175"/>
                  </a:lnTo>
                  <a:lnTo>
                    <a:pt x="5148" y="178"/>
                  </a:lnTo>
                  <a:lnTo>
                    <a:pt x="5151" y="181"/>
                  </a:lnTo>
                  <a:lnTo>
                    <a:pt x="5159" y="188"/>
                  </a:lnTo>
                  <a:lnTo>
                    <a:pt x="5169" y="195"/>
                  </a:lnTo>
                  <a:lnTo>
                    <a:pt x="5186" y="206"/>
                  </a:lnTo>
                  <a:lnTo>
                    <a:pt x="5194" y="210"/>
                  </a:lnTo>
                  <a:lnTo>
                    <a:pt x="5236" y="263"/>
                  </a:lnTo>
                  <a:lnTo>
                    <a:pt x="5241" y="271"/>
                  </a:lnTo>
                  <a:lnTo>
                    <a:pt x="5252" y="290"/>
                  </a:lnTo>
                  <a:lnTo>
                    <a:pt x="5263" y="311"/>
                  </a:lnTo>
                  <a:lnTo>
                    <a:pt x="5269" y="323"/>
                  </a:lnTo>
                  <a:lnTo>
                    <a:pt x="5273" y="335"/>
                  </a:lnTo>
                  <a:lnTo>
                    <a:pt x="5277" y="355"/>
                  </a:lnTo>
                  <a:lnTo>
                    <a:pt x="5281" y="376"/>
                  </a:lnTo>
                  <a:lnTo>
                    <a:pt x="5282" y="392"/>
                  </a:lnTo>
                  <a:lnTo>
                    <a:pt x="5282" y="404"/>
                  </a:lnTo>
                  <a:lnTo>
                    <a:pt x="5282" y="419"/>
                  </a:lnTo>
                  <a:lnTo>
                    <a:pt x="5281" y="434"/>
                  </a:lnTo>
                  <a:lnTo>
                    <a:pt x="5280" y="452"/>
                  </a:lnTo>
                  <a:lnTo>
                    <a:pt x="5279" y="460"/>
                  </a:lnTo>
                  <a:lnTo>
                    <a:pt x="5279" y="465"/>
                  </a:lnTo>
                  <a:lnTo>
                    <a:pt x="5280" y="470"/>
                  </a:lnTo>
                  <a:lnTo>
                    <a:pt x="5281" y="473"/>
                  </a:lnTo>
                  <a:lnTo>
                    <a:pt x="5282" y="475"/>
                  </a:lnTo>
                  <a:lnTo>
                    <a:pt x="5285" y="478"/>
                  </a:lnTo>
                  <a:lnTo>
                    <a:pt x="5285" y="484"/>
                  </a:lnTo>
                  <a:lnTo>
                    <a:pt x="5286" y="490"/>
                  </a:lnTo>
                  <a:lnTo>
                    <a:pt x="5286" y="496"/>
                  </a:lnTo>
                  <a:lnTo>
                    <a:pt x="5288" y="503"/>
                  </a:lnTo>
                  <a:lnTo>
                    <a:pt x="5291" y="509"/>
                  </a:lnTo>
                  <a:lnTo>
                    <a:pt x="5296" y="518"/>
                  </a:lnTo>
                  <a:lnTo>
                    <a:pt x="5307" y="538"/>
                  </a:lnTo>
                  <a:lnTo>
                    <a:pt x="5320" y="558"/>
                  </a:lnTo>
                  <a:lnTo>
                    <a:pt x="5343" y="593"/>
                  </a:lnTo>
                  <a:lnTo>
                    <a:pt x="5354" y="609"/>
                  </a:lnTo>
                  <a:lnTo>
                    <a:pt x="5359" y="612"/>
                  </a:lnTo>
                  <a:lnTo>
                    <a:pt x="5371" y="620"/>
                  </a:lnTo>
                  <a:lnTo>
                    <a:pt x="5384" y="628"/>
                  </a:lnTo>
                  <a:lnTo>
                    <a:pt x="5395" y="634"/>
                  </a:lnTo>
                  <a:lnTo>
                    <a:pt x="5400" y="635"/>
                  </a:lnTo>
                  <a:lnTo>
                    <a:pt x="5404" y="640"/>
                  </a:lnTo>
                  <a:lnTo>
                    <a:pt x="5407" y="644"/>
                  </a:lnTo>
                  <a:lnTo>
                    <a:pt x="5412" y="651"/>
                  </a:lnTo>
                  <a:lnTo>
                    <a:pt x="5422" y="664"/>
                  </a:lnTo>
                  <a:lnTo>
                    <a:pt x="5430" y="677"/>
                  </a:lnTo>
                  <a:lnTo>
                    <a:pt x="5444" y="690"/>
                  </a:lnTo>
                  <a:lnTo>
                    <a:pt x="5458" y="704"/>
                  </a:lnTo>
                  <a:lnTo>
                    <a:pt x="5471" y="715"/>
                  </a:lnTo>
                  <a:lnTo>
                    <a:pt x="5480" y="721"/>
                  </a:lnTo>
                  <a:lnTo>
                    <a:pt x="5482" y="725"/>
                  </a:lnTo>
                  <a:lnTo>
                    <a:pt x="5483" y="730"/>
                  </a:lnTo>
                  <a:lnTo>
                    <a:pt x="5483" y="737"/>
                  </a:lnTo>
                  <a:lnTo>
                    <a:pt x="5482" y="744"/>
                  </a:lnTo>
                  <a:lnTo>
                    <a:pt x="5479" y="764"/>
                  </a:lnTo>
                  <a:lnTo>
                    <a:pt x="5475" y="784"/>
                  </a:lnTo>
                  <a:lnTo>
                    <a:pt x="5475" y="790"/>
                  </a:lnTo>
                  <a:lnTo>
                    <a:pt x="5475" y="795"/>
                  </a:lnTo>
                  <a:lnTo>
                    <a:pt x="5476" y="801"/>
                  </a:lnTo>
                  <a:lnTo>
                    <a:pt x="5478" y="806"/>
                  </a:lnTo>
                  <a:lnTo>
                    <a:pt x="5483" y="816"/>
                  </a:lnTo>
                  <a:lnTo>
                    <a:pt x="5490" y="826"/>
                  </a:lnTo>
                  <a:lnTo>
                    <a:pt x="5503" y="843"/>
                  </a:lnTo>
                  <a:lnTo>
                    <a:pt x="5511" y="853"/>
                  </a:lnTo>
                  <a:lnTo>
                    <a:pt x="5517" y="864"/>
                  </a:lnTo>
                  <a:lnTo>
                    <a:pt x="5530" y="881"/>
                  </a:lnTo>
                  <a:lnTo>
                    <a:pt x="5545" y="902"/>
                  </a:lnTo>
                  <a:lnTo>
                    <a:pt x="5563" y="922"/>
                  </a:lnTo>
                  <a:lnTo>
                    <a:pt x="5570" y="930"/>
                  </a:lnTo>
                  <a:lnTo>
                    <a:pt x="5572" y="936"/>
                  </a:lnTo>
                  <a:lnTo>
                    <a:pt x="5572" y="942"/>
                  </a:lnTo>
                  <a:lnTo>
                    <a:pt x="5570" y="945"/>
                  </a:lnTo>
                  <a:lnTo>
                    <a:pt x="5563" y="952"/>
                  </a:lnTo>
                  <a:lnTo>
                    <a:pt x="5557" y="957"/>
                  </a:lnTo>
                  <a:lnTo>
                    <a:pt x="5556" y="965"/>
                  </a:lnTo>
                  <a:lnTo>
                    <a:pt x="5559" y="974"/>
                  </a:lnTo>
                  <a:lnTo>
                    <a:pt x="5561" y="984"/>
                  </a:lnTo>
                  <a:lnTo>
                    <a:pt x="5563" y="993"/>
                  </a:lnTo>
                  <a:lnTo>
                    <a:pt x="5565" y="997"/>
                  </a:lnTo>
                  <a:lnTo>
                    <a:pt x="5567" y="999"/>
                  </a:lnTo>
                  <a:lnTo>
                    <a:pt x="5572" y="1001"/>
                  </a:lnTo>
                  <a:lnTo>
                    <a:pt x="5576" y="1002"/>
                  </a:lnTo>
                  <a:lnTo>
                    <a:pt x="5585" y="1003"/>
                  </a:lnTo>
                  <a:lnTo>
                    <a:pt x="5593" y="1004"/>
                  </a:lnTo>
                  <a:lnTo>
                    <a:pt x="5596" y="1007"/>
                  </a:lnTo>
                  <a:lnTo>
                    <a:pt x="5599" y="1012"/>
                  </a:lnTo>
                  <a:lnTo>
                    <a:pt x="5602" y="1019"/>
                  </a:lnTo>
                  <a:lnTo>
                    <a:pt x="5605" y="1028"/>
                  </a:lnTo>
                  <a:lnTo>
                    <a:pt x="5609" y="1046"/>
                  </a:lnTo>
                  <a:lnTo>
                    <a:pt x="5613" y="1062"/>
                  </a:lnTo>
                  <a:lnTo>
                    <a:pt x="5614" y="1076"/>
                  </a:lnTo>
                  <a:lnTo>
                    <a:pt x="5613" y="1091"/>
                  </a:lnTo>
                  <a:lnTo>
                    <a:pt x="5609" y="1108"/>
                  </a:lnTo>
                  <a:lnTo>
                    <a:pt x="5604" y="1122"/>
                  </a:lnTo>
                  <a:lnTo>
                    <a:pt x="5599" y="1134"/>
                  </a:lnTo>
                  <a:lnTo>
                    <a:pt x="5597" y="1143"/>
                  </a:lnTo>
                  <a:lnTo>
                    <a:pt x="5596" y="1150"/>
                  </a:lnTo>
                  <a:lnTo>
                    <a:pt x="5596" y="1155"/>
                  </a:lnTo>
                  <a:lnTo>
                    <a:pt x="5599" y="1165"/>
                  </a:lnTo>
                  <a:lnTo>
                    <a:pt x="5606" y="1179"/>
                  </a:lnTo>
                  <a:lnTo>
                    <a:pt x="5615" y="1195"/>
                  </a:lnTo>
                  <a:lnTo>
                    <a:pt x="5620" y="1207"/>
                  </a:lnTo>
                  <a:lnTo>
                    <a:pt x="5625" y="1221"/>
                  </a:lnTo>
                  <a:lnTo>
                    <a:pt x="5628" y="1241"/>
                  </a:lnTo>
                  <a:lnTo>
                    <a:pt x="5630" y="1261"/>
                  </a:lnTo>
                  <a:lnTo>
                    <a:pt x="5631" y="1279"/>
                  </a:lnTo>
                  <a:lnTo>
                    <a:pt x="5631" y="1285"/>
                  </a:lnTo>
                  <a:lnTo>
                    <a:pt x="5630" y="1290"/>
                  </a:lnTo>
                  <a:lnTo>
                    <a:pt x="5629" y="1293"/>
                  </a:lnTo>
                  <a:lnTo>
                    <a:pt x="5628" y="1296"/>
                  </a:lnTo>
                  <a:lnTo>
                    <a:pt x="5624" y="1305"/>
                  </a:lnTo>
                  <a:lnTo>
                    <a:pt x="5618" y="1320"/>
                  </a:lnTo>
                  <a:lnTo>
                    <a:pt x="5618" y="1320"/>
                  </a:lnTo>
                  <a:lnTo>
                    <a:pt x="5616" y="1325"/>
                  </a:lnTo>
                  <a:lnTo>
                    <a:pt x="5615" y="1328"/>
                  </a:lnTo>
                  <a:lnTo>
                    <a:pt x="5613" y="1331"/>
                  </a:lnTo>
                  <a:lnTo>
                    <a:pt x="5610" y="1332"/>
                  </a:lnTo>
                  <a:lnTo>
                    <a:pt x="5606" y="1333"/>
                  </a:lnTo>
                  <a:lnTo>
                    <a:pt x="5602" y="1332"/>
                  </a:lnTo>
                  <a:lnTo>
                    <a:pt x="5596" y="1329"/>
                  </a:lnTo>
                  <a:lnTo>
                    <a:pt x="5589" y="1326"/>
                  </a:lnTo>
                  <a:lnTo>
                    <a:pt x="5584" y="1324"/>
                  </a:lnTo>
                  <a:lnTo>
                    <a:pt x="5576" y="1323"/>
                  </a:lnTo>
                  <a:lnTo>
                    <a:pt x="5573" y="1323"/>
                  </a:lnTo>
                  <a:lnTo>
                    <a:pt x="5570" y="1322"/>
                  </a:lnTo>
                  <a:lnTo>
                    <a:pt x="5566" y="1320"/>
                  </a:lnTo>
                  <a:lnTo>
                    <a:pt x="5563" y="1317"/>
                  </a:lnTo>
                  <a:lnTo>
                    <a:pt x="5557" y="1312"/>
                  </a:lnTo>
                  <a:lnTo>
                    <a:pt x="5553" y="1305"/>
                  </a:lnTo>
                  <a:lnTo>
                    <a:pt x="5546" y="1293"/>
                  </a:lnTo>
                  <a:lnTo>
                    <a:pt x="5544" y="1288"/>
                  </a:lnTo>
                  <a:lnTo>
                    <a:pt x="5535" y="1281"/>
                  </a:lnTo>
                  <a:lnTo>
                    <a:pt x="5517" y="1265"/>
                  </a:lnTo>
                  <a:lnTo>
                    <a:pt x="5506" y="1256"/>
                  </a:lnTo>
                  <a:lnTo>
                    <a:pt x="5496" y="1246"/>
                  </a:lnTo>
                  <a:lnTo>
                    <a:pt x="5488" y="1236"/>
                  </a:lnTo>
                  <a:lnTo>
                    <a:pt x="5483" y="1227"/>
                  </a:lnTo>
                  <a:lnTo>
                    <a:pt x="5479" y="1215"/>
                  </a:lnTo>
                  <a:lnTo>
                    <a:pt x="5477" y="1210"/>
                  </a:lnTo>
                  <a:lnTo>
                    <a:pt x="5474" y="1206"/>
                  </a:lnTo>
                  <a:lnTo>
                    <a:pt x="5469" y="1199"/>
                  </a:lnTo>
                  <a:lnTo>
                    <a:pt x="5467" y="1195"/>
                  </a:lnTo>
                  <a:lnTo>
                    <a:pt x="5464" y="1190"/>
                  </a:lnTo>
                  <a:lnTo>
                    <a:pt x="5460" y="1188"/>
                  </a:lnTo>
                  <a:lnTo>
                    <a:pt x="5457" y="1186"/>
                  </a:lnTo>
                  <a:lnTo>
                    <a:pt x="5449" y="1183"/>
                  </a:lnTo>
                  <a:lnTo>
                    <a:pt x="5439" y="1180"/>
                  </a:lnTo>
                  <a:lnTo>
                    <a:pt x="5433" y="1178"/>
                  </a:lnTo>
                  <a:lnTo>
                    <a:pt x="5427" y="1176"/>
                  </a:lnTo>
                  <a:lnTo>
                    <a:pt x="5423" y="1173"/>
                  </a:lnTo>
                  <a:lnTo>
                    <a:pt x="5417" y="1169"/>
                  </a:lnTo>
                  <a:lnTo>
                    <a:pt x="5414" y="1165"/>
                  </a:lnTo>
                  <a:lnTo>
                    <a:pt x="5411" y="1159"/>
                  </a:lnTo>
                  <a:lnTo>
                    <a:pt x="5407" y="1155"/>
                  </a:lnTo>
                  <a:lnTo>
                    <a:pt x="5406" y="1150"/>
                  </a:lnTo>
                  <a:lnTo>
                    <a:pt x="5404" y="1142"/>
                  </a:lnTo>
                  <a:lnTo>
                    <a:pt x="5401" y="1135"/>
                  </a:lnTo>
                  <a:lnTo>
                    <a:pt x="5398" y="1129"/>
                  </a:lnTo>
                  <a:lnTo>
                    <a:pt x="5398" y="1116"/>
                  </a:lnTo>
                  <a:lnTo>
                    <a:pt x="5397" y="1106"/>
                  </a:lnTo>
                  <a:lnTo>
                    <a:pt x="5396" y="1102"/>
                  </a:lnTo>
                  <a:lnTo>
                    <a:pt x="5393" y="1099"/>
                  </a:lnTo>
                  <a:lnTo>
                    <a:pt x="5390" y="1095"/>
                  </a:lnTo>
                  <a:lnTo>
                    <a:pt x="5386" y="1092"/>
                  </a:lnTo>
                  <a:lnTo>
                    <a:pt x="5382" y="1090"/>
                  </a:lnTo>
                  <a:lnTo>
                    <a:pt x="5376" y="1089"/>
                  </a:lnTo>
                  <a:lnTo>
                    <a:pt x="5370" y="1087"/>
                  </a:lnTo>
                  <a:lnTo>
                    <a:pt x="5358" y="1084"/>
                  </a:lnTo>
                  <a:lnTo>
                    <a:pt x="5349" y="1081"/>
                  </a:lnTo>
                  <a:lnTo>
                    <a:pt x="5343" y="1076"/>
                  </a:lnTo>
                  <a:lnTo>
                    <a:pt x="5339" y="1068"/>
                  </a:lnTo>
                  <a:lnTo>
                    <a:pt x="5335" y="1062"/>
                  </a:lnTo>
                  <a:lnTo>
                    <a:pt x="5334" y="1059"/>
                  </a:lnTo>
                  <a:lnTo>
                    <a:pt x="5334" y="1055"/>
                  </a:lnTo>
                  <a:lnTo>
                    <a:pt x="5333" y="1041"/>
                  </a:lnTo>
                  <a:lnTo>
                    <a:pt x="5331" y="1026"/>
                  </a:lnTo>
                  <a:lnTo>
                    <a:pt x="5329" y="1009"/>
                  </a:lnTo>
                  <a:lnTo>
                    <a:pt x="5328" y="1004"/>
                  </a:lnTo>
                  <a:lnTo>
                    <a:pt x="5326" y="998"/>
                  </a:lnTo>
                  <a:lnTo>
                    <a:pt x="5322" y="995"/>
                  </a:lnTo>
                  <a:lnTo>
                    <a:pt x="5318" y="992"/>
                  </a:lnTo>
                  <a:lnTo>
                    <a:pt x="5315" y="988"/>
                  </a:lnTo>
                  <a:lnTo>
                    <a:pt x="5311" y="985"/>
                  </a:lnTo>
                  <a:lnTo>
                    <a:pt x="5309" y="981"/>
                  </a:lnTo>
                  <a:lnTo>
                    <a:pt x="5308" y="974"/>
                  </a:lnTo>
                  <a:lnTo>
                    <a:pt x="5305" y="952"/>
                  </a:lnTo>
                  <a:lnTo>
                    <a:pt x="5299" y="921"/>
                  </a:lnTo>
                  <a:lnTo>
                    <a:pt x="5296" y="895"/>
                  </a:lnTo>
                  <a:lnTo>
                    <a:pt x="5294" y="883"/>
                  </a:lnTo>
                  <a:lnTo>
                    <a:pt x="5286" y="878"/>
                  </a:lnTo>
                  <a:lnTo>
                    <a:pt x="5268" y="867"/>
                  </a:lnTo>
                  <a:lnTo>
                    <a:pt x="5258" y="859"/>
                  </a:lnTo>
                  <a:lnTo>
                    <a:pt x="5248" y="853"/>
                  </a:lnTo>
                  <a:lnTo>
                    <a:pt x="5241" y="845"/>
                  </a:lnTo>
                  <a:lnTo>
                    <a:pt x="5236" y="839"/>
                  </a:lnTo>
                  <a:lnTo>
                    <a:pt x="5232" y="835"/>
                  </a:lnTo>
                  <a:lnTo>
                    <a:pt x="5224" y="829"/>
                  </a:lnTo>
                  <a:lnTo>
                    <a:pt x="5215" y="824"/>
                  </a:lnTo>
                  <a:lnTo>
                    <a:pt x="5205" y="819"/>
                  </a:lnTo>
                  <a:lnTo>
                    <a:pt x="5184" y="810"/>
                  </a:lnTo>
                  <a:lnTo>
                    <a:pt x="5168" y="801"/>
                  </a:lnTo>
                  <a:lnTo>
                    <a:pt x="5162" y="796"/>
                  </a:lnTo>
                  <a:lnTo>
                    <a:pt x="5158" y="792"/>
                  </a:lnTo>
                  <a:lnTo>
                    <a:pt x="5154" y="787"/>
                  </a:lnTo>
                  <a:lnTo>
                    <a:pt x="5152" y="782"/>
                  </a:lnTo>
                  <a:lnTo>
                    <a:pt x="5150" y="775"/>
                  </a:lnTo>
                  <a:lnTo>
                    <a:pt x="5150" y="770"/>
                  </a:lnTo>
                  <a:lnTo>
                    <a:pt x="5150" y="762"/>
                  </a:lnTo>
                  <a:lnTo>
                    <a:pt x="5151" y="754"/>
                  </a:lnTo>
                  <a:lnTo>
                    <a:pt x="5152" y="740"/>
                  </a:lnTo>
                  <a:lnTo>
                    <a:pt x="5154" y="717"/>
                  </a:lnTo>
                  <a:lnTo>
                    <a:pt x="5158" y="687"/>
                  </a:lnTo>
                  <a:lnTo>
                    <a:pt x="5161" y="654"/>
                  </a:lnTo>
                  <a:lnTo>
                    <a:pt x="5164" y="621"/>
                  </a:lnTo>
                  <a:lnTo>
                    <a:pt x="5168" y="591"/>
                  </a:lnTo>
                  <a:lnTo>
                    <a:pt x="5171" y="568"/>
                  </a:lnTo>
                  <a:lnTo>
                    <a:pt x="5173" y="553"/>
                  </a:lnTo>
                  <a:lnTo>
                    <a:pt x="5174" y="547"/>
                  </a:lnTo>
                  <a:lnTo>
                    <a:pt x="5173" y="540"/>
                  </a:lnTo>
                  <a:lnTo>
                    <a:pt x="5171" y="537"/>
                  </a:lnTo>
                  <a:lnTo>
                    <a:pt x="5168" y="534"/>
                  </a:lnTo>
                  <a:lnTo>
                    <a:pt x="5162" y="530"/>
                  </a:lnTo>
                  <a:lnTo>
                    <a:pt x="5159" y="529"/>
                  </a:lnTo>
                  <a:lnTo>
                    <a:pt x="5152" y="524"/>
                  </a:lnTo>
                  <a:lnTo>
                    <a:pt x="5134" y="511"/>
                  </a:lnTo>
                  <a:lnTo>
                    <a:pt x="5125" y="504"/>
                  </a:lnTo>
                  <a:lnTo>
                    <a:pt x="5116" y="496"/>
                  </a:lnTo>
                  <a:lnTo>
                    <a:pt x="5109" y="488"/>
                  </a:lnTo>
                  <a:lnTo>
                    <a:pt x="5104" y="483"/>
                  </a:lnTo>
                  <a:lnTo>
                    <a:pt x="5101" y="477"/>
                  </a:lnTo>
                  <a:lnTo>
                    <a:pt x="5101" y="472"/>
                  </a:lnTo>
                  <a:lnTo>
                    <a:pt x="5101" y="466"/>
                  </a:lnTo>
                  <a:lnTo>
                    <a:pt x="5102" y="460"/>
                  </a:lnTo>
                  <a:lnTo>
                    <a:pt x="5104" y="449"/>
                  </a:lnTo>
                  <a:lnTo>
                    <a:pt x="5104" y="435"/>
                  </a:lnTo>
                  <a:lnTo>
                    <a:pt x="5102" y="430"/>
                  </a:lnTo>
                  <a:lnTo>
                    <a:pt x="5100" y="425"/>
                  </a:lnTo>
                  <a:lnTo>
                    <a:pt x="5096" y="421"/>
                  </a:lnTo>
                  <a:lnTo>
                    <a:pt x="5093" y="418"/>
                  </a:lnTo>
                  <a:lnTo>
                    <a:pt x="5088" y="413"/>
                  </a:lnTo>
                  <a:lnTo>
                    <a:pt x="5084" y="409"/>
                  </a:lnTo>
                  <a:lnTo>
                    <a:pt x="5080" y="403"/>
                  </a:lnTo>
                  <a:lnTo>
                    <a:pt x="5077" y="398"/>
                  </a:lnTo>
                  <a:lnTo>
                    <a:pt x="5072" y="389"/>
                  </a:lnTo>
                  <a:lnTo>
                    <a:pt x="5063" y="377"/>
                  </a:lnTo>
                  <a:lnTo>
                    <a:pt x="5052" y="364"/>
                  </a:lnTo>
                  <a:lnTo>
                    <a:pt x="5040" y="350"/>
                  </a:lnTo>
                  <a:lnTo>
                    <a:pt x="5015" y="322"/>
                  </a:lnTo>
                  <a:lnTo>
                    <a:pt x="4996" y="298"/>
                  </a:lnTo>
                  <a:lnTo>
                    <a:pt x="4988" y="285"/>
                  </a:lnTo>
                  <a:lnTo>
                    <a:pt x="4983" y="280"/>
                  </a:lnTo>
                  <a:lnTo>
                    <a:pt x="4981" y="275"/>
                  </a:lnTo>
                  <a:lnTo>
                    <a:pt x="4978" y="269"/>
                  </a:lnTo>
                  <a:lnTo>
                    <a:pt x="4977" y="263"/>
                  </a:lnTo>
                  <a:lnTo>
                    <a:pt x="4975" y="260"/>
                  </a:lnTo>
                  <a:lnTo>
                    <a:pt x="4975" y="256"/>
                  </a:lnTo>
                  <a:lnTo>
                    <a:pt x="4975" y="254"/>
                  </a:lnTo>
                  <a:lnTo>
                    <a:pt x="4978" y="249"/>
                  </a:lnTo>
                  <a:lnTo>
                    <a:pt x="4980" y="243"/>
                  </a:lnTo>
                  <a:lnTo>
                    <a:pt x="4982" y="235"/>
                  </a:lnTo>
                  <a:lnTo>
                    <a:pt x="4984" y="224"/>
                  </a:lnTo>
                  <a:lnTo>
                    <a:pt x="4984" y="213"/>
                  </a:lnTo>
                  <a:lnTo>
                    <a:pt x="4983" y="205"/>
                  </a:lnTo>
                  <a:lnTo>
                    <a:pt x="4980" y="199"/>
                  </a:lnTo>
                  <a:lnTo>
                    <a:pt x="4975" y="192"/>
                  </a:lnTo>
                  <a:lnTo>
                    <a:pt x="4968" y="181"/>
                  </a:lnTo>
                  <a:lnTo>
                    <a:pt x="4959" y="167"/>
                  </a:lnTo>
                  <a:lnTo>
                    <a:pt x="4948" y="145"/>
                  </a:lnTo>
                  <a:lnTo>
                    <a:pt x="4936" y="118"/>
                  </a:lnTo>
                  <a:lnTo>
                    <a:pt x="4924" y="92"/>
                  </a:lnTo>
                  <a:lnTo>
                    <a:pt x="4915" y="71"/>
                  </a:lnTo>
                  <a:lnTo>
                    <a:pt x="4910" y="62"/>
                  </a:lnTo>
                  <a:lnTo>
                    <a:pt x="4905" y="54"/>
                  </a:lnTo>
                  <a:lnTo>
                    <a:pt x="4899" y="48"/>
                  </a:lnTo>
                  <a:lnTo>
                    <a:pt x="4894" y="40"/>
                  </a:lnTo>
                  <a:lnTo>
                    <a:pt x="4887" y="32"/>
                  </a:lnTo>
                  <a:lnTo>
                    <a:pt x="4880" y="24"/>
                  </a:lnTo>
                  <a:lnTo>
                    <a:pt x="4874" y="12"/>
                  </a:lnTo>
                  <a:lnTo>
                    <a:pt x="4868" y="0"/>
                  </a:lnTo>
                  <a:lnTo>
                    <a:pt x="300" y="0"/>
                  </a:lnTo>
                  <a:close/>
                  <a:moveTo>
                    <a:pt x="6364" y="0"/>
                  </a:moveTo>
                  <a:lnTo>
                    <a:pt x="6372" y="6"/>
                  </a:lnTo>
                  <a:lnTo>
                    <a:pt x="6380" y="7"/>
                  </a:lnTo>
                  <a:lnTo>
                    <a:pt x="6396" y="8"/>
                  </a:lnTo>
                  <a:lnTo>
                    <a:pt x="6411" y="9"/>
                  </a:lnTo>
                  <a:lnTo>
                    <a:pt x="6420" y="9"/>
                  </a:lnTo>
                  <a:lnTo>
                    <a:pt x="6430" y="8"/>
                  </a:lnTo>
                  <a:lnTo>
                    <a:pt x="6440" y="5"/>
                  </a:lnTo>
                  <a:lnTo>
                    <a:pt x="6452" y="0"/>
                  </a:lnTo>
                  <a:lnTo>
                    <a:pt x="6364" y="0"/>
                  </a:lnTo>
                  <a:close/>
                  <a:moveTo>
                    <a:pt x="6614" y="0"/>
                  </a:moveTo>
                  <a:lnTo>
                    <a:pt x="6615" y="10"/>
                  </a:lnTo>
                  <a:lnTo>
                    <a:pt x="6615" y="20"/>
                  </a:lnTo>
                  <a:lnTo>
                    <a:pt x="6615" y="32"/>
                  </a:lnTo>
                  <a:lnTo>
                    <a:pt x="6617" y="43"/>
                  </a:lnTo>
                  <a:lnTo>
                    <a:pt x="6618" y="50"/>
                  </a:lnTo>
                  <a:lnTo>
                    <a:pt x="6619" y="56"/>
                  </a:lnTo>
                  <a:lnTo>
                    <a:pt x="6621" y="60"/>
                  </a:lnTo>
                  <a:lnTo>
                    <a:pt x="6623" y="65"/>
                  </a:lnTo>
                  <a:lnTo>
                    <a:pt x="6631" y="72"/>
                  </a:lnTo>
                  <a:lnTo>
                    <a:pt x="6644" y="81"/>
                  </a:lnTo>
                  <a:lnTo>
                    <a:pt x="6661" y="93"/>
                  </a:lnTo>
                  <a:lnTo>
                    <a:pt x="6681" y="104"/>
                  </a:lnTo>
                  <a:lnTo>
                    <a:pt x="6715" y="126"/>
                  </a:lnTo>
                  <a:lnTo>
                    <a:pt x="6730" y="135"/>
                  </a:lnTo>
                  <a:lnTo>
                    <a:pt x="6804" y="159"/>
                  </a:lnTo>
                  <a:lnTo>
                    <a:pt x="6812" y="160"/>
                  </a:lnTo>
                  <a:lnTo>
                    <a:pt x="6830" y="161"/>
                  </a:lnTo>
                  <a:lnTo>
                    <a:pt x="6840" y="164"/>
                  </a:lnTo>
                  <a:lnTo>
                    <a:pt x="6850" y="167"/>
                  </a:lnTo>
                  <a:lnTo>
                    <a:pt x="6860" y="170"/>
                  </a:lnTo>
                  <a:lnTo>
                    <a:pt x="6866" y="176"/>
                  </a:lnTo>
                  <a:lnTo>
                    <a:pt x="6874" y="182"/>
                  </a:lnTo>
                  <a:lnTo>
                    <a:pt x="6883" y="187"/>
                  </a:lnTo>
                  <a:lnTo>
                    <a:pt x="6893" y="191"/>
                  </a:lnTo>
                  <a:lnTo>
                    <a:pt x="6903" y="195"/>
                  </a:lnTo>
                  <a:lnTo>
                    <a:pt x="6914" y="197"/>
                  </a:lnTo>
                  <a:lnTo>
                    <a:pt x="6922" y="198"/>
                  </a:lnTo>
                  <a:lnTo>
                    <a:pt x="6930" y="198"/>
                  </a:lnTo>
                  <a:lnTo>
                    <a:pt x="6937" y="197"/>
                  </a:lnTo>
                  <a:lnTo>
                    <a:pt x="6948" y="194"/>
                  </a:lnTo>
                  <a:lnTo>
                    <a:pt x="6961" y="190"/>
                  </a:lnTo>
                  <a:lnTo>
                    <a:pt x="6974" y="188"/>
                  </a:lnTo>
                  <a:lnTo>
                    <a:pt x="6987" y="185"/>
                  </a:lnTo>
                  <a:lnTo>
                    <a:pt x="7000" y="181"/>
                  </a:lnTo>
                  <a:lnTo>
                    <a:pt x="7020" y="179"/>
                  </a:lnTo>
                  <a:lnTo>
                    <a:pt x="7036" y="177"/>
                  </a:lnTo>
                  <a:lnTo>
                    <a:pt x="7044" y="176"/>
                  </a:lnTo>
                  <a:lnTo>
                    <a:pt x="7056" y="171"/>
                  </a:lnTo>
                  <a:lnTo>
                    <a:pt x="7085" y="163"/>
                  </a:lnTo>
                  <a:lnTo>
                    <a:pt x="7093" y="160"/>
                  </a:lnTo>
                  <a:lnTo>
                    <a:pt x="7101" y="159"/>
                  </a:lnTo>
                  <a:lnTo>
                    <a:pt x="7110" y="159"/>
                  </a:lnTo>
                  <a:lnTo>
                    <a:pt x="7119" y="160"/>
                  </a:lnTo>
                  <a:lnTo>
                    <a:pt x="7127" y="163"/>
                  </a:lnTo>
                  <a:lnTo>
                    <a:pt x="7135" y="166"/>
                  </a:lnTo>
                  <a:lnTo>
                    <a:pt x="7141" y="170"/>
                  </a:lnTo>
                  <a:lnTo>
                    <a:pt x="7147" y="176"/>
                  </a:lnTo>
                  <a:lnTo>
                    <a:pt x="7157" y="190"/>
                  </a:lnTo>
                  <a:lnTo>
                    <a:pt x="7165" y="203"/>
                  </a:lnTo>
                  <a:lnTo>
                    <a:pt x="7173" y="216"/>
                  </a:lnTo>
                  <a:lnTo>
                    <a:pt x="7180" y="228"/>
                  </a:lnTo>
                  <a:lnTo>
                    <a:pt x="7191" y="249"/>
                  </a:lnTo>
                  <a:lnTo>
                    <a:pt x="7201" y="266"/>
                  </a:lnTo>
                  <a:lnTo>
                    <a:pt x="7203" y="271"/>
                  </a:lnTo>
                  <a:lnTo>
                    <a:pt x="7206" y="273"/>
                  </a:lnTo>
                  <a:lnTo>
                    <a:pt x="7210" y="276"/>
                  </a:lnTo>
                  <a:lnTo>
                    <a:pt x="7213" y="279"/>
                  </a:lnTo>
                  <a:lnTo>
                    <a:pt x="7222" y="282"/>
                  </a:lnTo>
                  <a:lnTo>
                    <a:pt x="7229" y="285"/>
                  </a:lnTo>
                  <a:lnTo>
                    <a:pt x="7237" y="287"/>
                  </a:lnTo>
                  <a:lnTo>
                    <a:pt x="7244" y="291"/>
                  </a:lnTo>
                  <a:lnTo>
                    <a:pt x="7246" y="293"/>
                  </a:lnTo>
                  <a:lnTo>
                    <a:pt x="7248" y="294"/>
                  </a:lnTo>
                  <a:lnTo>
                    <a:pt x="7249" y="297"/>
                  </a:lnTo>
                  <a:lnTo>
                    <a:pt x="7249" y="299"/>
                  </a:lnTo>
                  <a:lnTo>
                    <a:pt x="7249" y="314"/>
                  </a:lnTo>
                  <a:lnTo>
                    <a:pt x="7249" y="316"/>
                  </a:lnTo>
                  <a:lnTo>
                    <a:pt x="7263" y="361"/>
                  </a:lnTo>
                  <a:lnTo>
                    <a:pt x="7277" y="387"/>
                  </a:lnTo>
                  <a:lnTo>
                    <a:pt x="7279" y="390"/>
                  </a:lnTo>
                  <a:lnTo>
                    <a:pt x="7281" y="394"/>
                  </a:lnTo>
                  <a:lnTo>
                    <a:pt x="7288" y="404"/>
                  </a:lnTo>
                  <a:lnTo>
                    <a:pt x="7290" y="410"/>
                  </a:lnTo>
                  <a:lnTo>
                    <a:pt x="7292" y="417"/>
                  </a:lnTo>
                  <a:lnTo>
                    <a:pt x="7292" y="422"/>
                  </a:lnTo>
                  <a:lnTo>
                    <a:pt x="7291" y="428"/>
                  </a:lnTo>
                  <a:lnTo>
                    <a:pt x="7284" y="439"/>
                  </a:lnTo>
                  <a:lnTo>
                    <a:pt x="7276" y="451"/>
                  </a:lnTo>
                  <a:lnTo>
                    <a:pt x="7269" y="461"/>
                  </a:lnTo>
                  <a:lnTo>
                    <a:pt x="7266" y="465"/>
                  </a:lnTo>
                  <a:lnTo>
                    <a:pt x="7266" y="494"/>
                  </a:lnTo>
                  <a:lnTo>
                    <a:pt x="7269" y="496"/>
                  </a:lnTo>
                  <a:lnTo>
                    <a:pt x="7277" y="502"/>
                  </a:lnTo>
                  <a:lnTo>
                    <a:pt x="7280" y="506"/>
                  </a:lnTo>
                  <a:lnTo>
                    <a:pt x="7284" y="510"/>
                  </a:lnTo>
                  <a:lnTo>
                    <a:pt x="7286" y="516"/>
                  </a:lnTo>
                  <a:lnTo>
                    <a:pt x="7287" y="522"/>
                  </a:lnTo>
                  <a:lnTo>
                    <a:pt x="7288" y="528"/>
                  </a:lnTo>
                  <a:lnTo>
                    <a:pt x="7291" y="532"/>
                  </a:lnTo>
                  <a:lnTo>
                    <a:pt x="7296" y="537"/>
                  </a:lnTo>
                  <a:lnTo>
                    <a:pt x="7301" y="541"/>
                  </a:lnTo>
                  <a:lnTo>
                    <a:pt x="7307" y="546"/>
                  </a:lnTo>
                  <a:lnTo>
                    <a:pt x="7311" y="551"/>
                  </a:lnTo>
                  <a:lnTo>
                    <a:pt x="7313" y="553"/>
                  </a:lnTo>
                  <a:lnTo>
                    <a:pt x="7315" y="557"/>
                  </a:lnTo>
                  <a:lnTo>
                    <a:pt x="7316" y="560"/>
                  </a:lnTo>
                  <a:lnTo>
                    <a:pt x="7316" y="563"/>
                  </a:lnTo>
                  <a:lnTo>
                    <a:pt x="7316" y="571"/>
                  </a:lnTo>
                  <a:lnTo>
                    <a:pt x="7318" y="578"/>
                  </a:lnTo>
                  <a:lnTo>
                    <a:pt x="7319" y="584"/>
                  </a:lnTo>
                  <a:lnTo>
                    <a:pt x="7322" y="590"/>
                  </a:lnTo>
                  <a:lnTo>
                    <a:pt x="7327" y="595"/>
                  </a:lnTo>
                  <a:lnTo>
                    <a:pt x="7331" y="601"/>
                  </a:lnTo>
                  <a:lnTo>
                    <a:pt x="7338" y="606"/>
                  </a:lnTo>
                  <a:lnTo>
                    <a:pt x="7344" y="613"/>
                  </a:lnTo>
                  <a:lnTo>
                    <a:pt x="7361" y="625"/>
                  </a:lnTo>
                  <a:lnTo>
                    <a:pt x="7377" y="637"/>
                  </a:lnTo>
                  <a:lnTo>
                    <a:pt x="7385" y="642"/>
                  </a:lnTo>
                  <a:lnTo>
                    <a:pt x="7393" y="645"/>
                  </a:lnTo>
                  <a:lnTo>
                    <a:pt x="7400" y="646"/>
                  </a:lnTo>
                  <a:lnTo>
                    <a:pt x="7406" y="646"/>
                  </a:lnTo>
                  <a:lnTo>
                    <a:pt x="7413" y="644"/>
                  </a:lnTo>
                  <a:lnTo>
                    <a:pt x="7419" y="641"/>
                  </a:lnTo>
                  <a:lnTo>
                    <a:pt x="7427" y="636"/>
                  </a:lnTo>
                  <a:lnTo>
                    <a:pt x="7434" y="632"/>
                  </a:lnTo>
                  <a:lnTo>
                    <a:pt x="7444" y="624"/>
                  </a:lnTo>
                  <a:lnTo>
                    <a:pt x="7448" y="621"/>
                  </a:lnTo>
                  <a:lnTo>
                    <a:pt x="7449" y="615"/>
                  </a:lnTo>
                  <a:lnTo>
                    <a:pt x="7454" y="602"/>
                  </a:lnTo>
                  <a:lnTo>
                    <a:pt x="7456" y="594"/>
                  </a:lnTo>
                  <a:lnTo>
                    <a:pt x="7460" y="587"/>
                  </a:lnTo>
                  <a:lnTo>
                    <a:pt x="7464" y="580"/>
                  </a:lnTo>
                  <a:lnTo>
                    <a:pt x="7468" y="575"/>
                  </a:lnTo>
                  <a:lnTo>
                    <a:pt x="7472" y="573"/>
                  </a:lnTo>
                  <a:lnTo>
                    <a:pt x="7476" y="573"/>
                  </a:lnTo>
                  <a:lnTo>
                    <a:pt x="7478" y="574"/>
                  </a:lnTo>
                  <a:lnTo>
                    <a:pt x="7479" y="578"/>
                  </a:lnTo>
                  <a:lnTo>
                    <a:pt x="7480" y="589"/>
                  </a:lnTo>
                  <a:lnTo>
                    <a:pt x="7480" y="604"/>
                  </a:lnTo>
                  <a:lnTo>
                    <a:pt x="7480" y="621"/>
                  </a:lnTo>
                  <a:lnTo>
                    <a:pt x="7480" y="632"/>
                  </a:lnTo>
                  <a:lnTo>
                    <a:pt x="7480" y="641"/>
                  </a:lnTo>
                  <a:lnTo>
                    <a:pt x="7480" y="649"/>
                  </a:lnTo>
                  <a:lnTo>
                    <a:pt x="7483" y="669"/>
                  </a:lnTo>
                  <a:lnTo>
                    <a:pt x="7489" y="700"/>
                  </a:lnTo>
                  <a:lnTo>
                    <a:pt x="7495" y="728"/>
                  </a:lnTo>
                  <a:lnTo>
                    <a:pt x="7497" y="741"/>
                  </a:lnTo>
                  <a:lnTo>
                    <a:pt x="7493" y="835"/>
                  </a:lnTo>
                  <a:lnTo>
                    <a:pt x="7493" y="842"/>
                  </a:lnTo>
                  <a:lnTo>
                    <a:pt x="7497" y="858"/>
                  </a:lnTo>
                  <a:lnTo>
                    <a:pt x="7500" y="882"/>
                  </a:lnTo>
                  <a:lnTo>
                    <a:pt x="7504" y="911"/>
                  </a:lnTo>
                  <a:lnTo>
                    <a:pt x="7510" y="942"/>
                  </a:lnTo>
                  <a:lnTo>
                    <a:pt x="7516" y="973"/>
                  </a:lnTo>
                  <a:lnTo>
                    <a:pt x="7521" y="999"/>
                  </a:lnTo>
                  <a:lnTo>
                    <a:pt x="7525" y="1020"/>
                  </a:lnTo>
                  <a:lnTo>
                    <a:pt x="7533" y="1039"/>
                  </a:lnTo>
                  <a:lnTo>
                    <a:pt x="7543" y="1061"/>
                  </a:lnTo>
                  <a:lnTo>
                    <a:pt x="7555" y="1083"/>
                  </a:lnTo>
                  <a:lnTo>
                    <a:pt x="7567" y="1106"/>
                  </a:lnTo>
                  <a:lnTo>
                    <a:pt x="7580" y="1127"/>
                  </a:lnTo>
                  <a:lnTo>
                    <a:pt x="7591" y="1147"/>
                  </a:lnTo>
                  <a:lnTo>
                    <a:pt x="7594" y="1155"/>
                  </a:lnTo>
                  <a:lnTo>
                    <a:pt x="7597" y="1163"/>
                  </a:lnTo>
                  <a:lnTo>
                    <a:pt x="7599" y="1168"/>
                  </a:lnTo>
                  <a:lnTo>
                    <a:pt x="7601" y="1173"/>
                  </a:lnTo>
                  <a:lnTo>
                    <a:pt x="7601" y="1180"/>
                  </a:lnTo>
                  <a:lnTo>
                    <a:pt x="7602" y="1187"/>
                  </a:lnTo>
                  <a:lnTo>
                    <a:pt x="7604" y="1194"/>
                  </a:lnTo>
                  <a:lnTo>
                    <a:pt x="7607" y="1200"/>
                  </a:lnTo>
                  <a:lnTo>
                    <a:pt x="7613" y="1215"/>
                  </a:lnTo>
                  <a:lnTo>
                    <a:pt x="7617" y="1231"/>
                  </a:lnTo>
                  <a:lnTo>
                    <a:pt x="7617" y="1244"/>
                  </a:lnTo>
                  <a:lnTo>
                    <a:pt x="7617" y="1267"/>
                  </a:lnTo>
                  <a:lnTo>
                    <a:pt x="7617" y="1293"/>
                  </a:lnTo>
                  <a:lnTo>
                    <a:pt x="7617" y="1323"/>
                  </a:lnTo>
                  <a:lnTo>
                    <a:pt x="7617" y="1353"/>
                  </a:lnTo>
                  <a:lnTo>
                    <a:pt x="7619" y="1380"/>
                  </a:lnTo>
                  <a:lnTo>
                    <a:pt x="7620" y="1392"/>
                  </a:lnTo>
                  <a:lnTo>
                    <a:pt x="7623" y="1403"/>
                  </a:lnTo>
                  <a:lnTo>
                    <a:pt x="7626" y="1413"/>
                  </a:lnTo>
                  <a:lnTo>
                    <a:pt x="7629" y="1420"/>
                  </a:lnTo>
                  <a:lnTo>
                    <a:pt x="7636" y="1430"/>
                  </a:lnTo>
                  <a:lnTo>
                    <a:pt x="7643" y="1437"/>
                  </a:lnTo>
                  <a:lnTo>
                    <a:pt x="7647" y="1440"/>
                  </a:lnTo>
                  <a:lnTo>
                    <a:pt x="7651" y="1443"/>
                  </a:lnTo>
                  <a:lnTo>
                    <a:pt x="7655" y="1447"/>
                  </a:lnTo>
                  <a:lnTo>
                    <a:pt x="7658" y="1453"/>
                  </a:lnTo>
                  <a:lnTo>
                    <a:pt x="7660" y="1463"/>
                  </a:lnTo>
                  <a:lnTo>
                    <a:pt x="7662" y="1479"/>
                  </a:lnTo>
                  <a:lnTo>
                    <a:pt x="7665" y="1511"/>
                  </a:lnTo>
                  <a:lnTo>
                    <a:pt x="7666" y="1534"/>
                  </a:lnTo>
                  <a:lnTo>
                    <a:pt x="7666" y="1551"/>
                  </a:lnTo>
                  <a:lnTo>
                    <a:pt x="7666" y="1565"/>
                  </a:lnTo>
                  <a:lnTo>
                    <a:pt x="7668" y="1576"/>
                  </a:lnTo>
                  <a:lnTo>
                    <a:pt x="7670" y="1584"/>
                  </a:lnTo>
                  <a:lnTo>
                    <a:pt x="7671" y="1590"/>
                  </a:lnTo>
                  <a:lnTo>
                    <a:pt x="7673" y="1597"/>
                  </a:lnTo>
                  <a:lnTo>
                    <a:pt x="7675" y="1604"/>
                  </a:lnTo>
                  <a:lnTo>
                    <a:pt x="7675" y="1614"/>
                  </a:lnTo>
                  <a:lnTo>
                    <a:pt x="7675" y="1641"/>
                  </a:lnTo>
                  <a:lnTo>
                    <a:pt x="7675" y="1671"/>
                  </a:lnTo>
                  <a:lnTo>
                    <a:pt x="7675" y="1695"/>
                  </a:lnTo>
                  <a:lnTo>
                    <a:pt x="7675" y="1705"/>
                  </a:lnTo>
                  <a:lnTo>
                    <a:pt x="7672" y="1709"/>
                  </a:lnTo>
                  <a:lnTo>
                    <a:pt x="7669" y="1720"/>
                  </a:lnTo>
                  <a:lnTo>
                    <a:pt x="7669" y="1726"/>
                  </a:lnTo>
                  <a:lnTo>
                    <a:pt x="7671" y="1730"/>
                  </a:lnTo>
                  <a:lnTo>
                    <a:pt x="7672" y="1732"/>
                  </a:lnTo>
                  <a:lnTo>
                    <a:pt x="7676" y="1734"/>
                  </a:lnTo>
                  <a:lnTo>
                    <a:pt x="7678" y="1734"/>
                  </a:lnTo>
                  <a:lnTo>
                    <a:pt x="7682" y="1734"/>
                  </a:lnTo>
                  <a:lnTo>
                    <a:pt x="7698" y="1730"/>
                  </a:lnTo>
                  <a:lnTo>
                    <a:pt x="7707" y="1727"/>
                  </a:lnTo>
                  <a:lnTo>
                    <a:pt x="7710" y="1725"/>
                  </a:lnTo>
                  <a:lnTo>
                    <a:pt x="7712" y="1720"/>
                  </a:lnTo>
                  <a:lnTo>
                    <a:pt x="7714" y="1716"/>
                  </a:lnTo>
                  <a:lnTo>
                    <a:pt x="7715" y="1709"/>
                  </a:lnTo>
                  <a:lnTo>
                    <a:pt x="7718" y="1702"/>
                  </a:lnTo>
                  <a:lnTo>
                    <a:pt x="7722" y="1695"/>
                  </a:lnTo>
                  <a:lnTo>
                    <a:pt x="7726" y="1688"/>
                  </a:lnTo>
                  <a:lnTo>
                    <a:pt x="7732" y="1682"/>
                  </a:lnTo>
                  <a:lnTo>
                    <a:pt x="7737" y="1675"/>
                  </a:lnTo>
                  <a:lnTo>
                    <a:pt x="7742" y="1667"/>
                  </a:lnTo>
                  <a:lnTo>
                    <a:pt x="7746" y="1660"/>
                  </a:lnTo>
                  <a:lnTo>
                    <a:pt x="7749" y="1651"/>
                  </a:lnTo>
                  <a:lnTo>
                    <a:pt x="7751" y="1634"/>
                  </a:lnTo>
                  <a:lnTo>
                    <a:pt x="7751" y="1620"/>
                  </a:lnTo>
                  <a:lnTo>
                    <a:pt x="7752" y="1613"/>
                  </a:lnTo>
                  <a:lnTo>
                    <a:pt x="7753" y="1605"/>
                  </a:lnTo>
                  <a:lnTo>
                    <a:pt x="7754" y="1598"/>
                  </a:lnTo>
                  <a:lnTo>
                    <a:pt x="7756" y="1589"/>
                  </a:lnTo>
                  <a:lnTo>
                    <a:pt x="7764" y="1571"/>
                  </a:lnTo>
                  <a:lnTo>
                    <a:pt x="7772" y="1556"/>
                  </a:lnTo>
                  <a:lnTo>
                    <a:pt x="7778" y="1543"/>
                  </a:lnTo>
                  <a:lnTo>
                    <a:pt x="7786" y="1532"/>
                  </a:lnTo>
                  <a:lnTo>
                    <a:pt x="7794" y="1522"/>
                  </a:lnTo>
                  <a:lnTo>
                    <a:pt x="7805" y="1508"/>
                  </a:lnTo>
                  <a:lnTo>
                    <a:pt x="7810" y="1499"/>
                  </a:lnTo>
                  <a:lnTo>
                    <a:pt x="7815" y="1490"/>
                  </a:lnTo>
                  <a:lnTo>
                    <a:pt x="7817" y="1479"/>
                  </a:lnTo>
                  <a:lnTo>
                    <a:pt x="7818" y="1465"/>
                  </a:lnTo>
                  <a:lnTo>
                    <a:pt x="7818" y="1443"/>
                  </a:lnTo>
                  <a:lnTo>
                    <a:pt x="7818" y="1427"/>
                  </a:lnTo>
                  <a:lnTo>
                    <a:pt x="7818" y="1416"/>
                  </a:lnTo>
                  <a:lnTo>
                    <a:pt x="7818" y="1403"/>
                  </a:lnTo>
                  <a:lnTo>
                    <a:pt x="7817" y="1390"/>
                  </a:lnTo>
                  <a:lnTo>
                    <a:pt x="7815" y="1375"/>
                  </a:lnTo>
                  <a:lnTo>
                    <a:pt x="7815" y="1366"/>
                  </a:lnTo>
                  <a:lnTo>
                    <a:pt x="7817" y="1356"/>
                  </a:lnTo>
                  <a:lnTo>
                    <a:pt x="7820" y="1346"/>
                  </a:lnTo>
                  <a:lnTo>
                    <a:pt x="7827" y="1334"/>
                  </a:lnTo>
                  <a:lnTo>
                    <a:pt x="7834" y="1321"/>
                  </a:lnTo>
                  <a:lnTo>
                    <a:pt x="7839" y="1306"/>
                  </a:lnTo>
                  <a:lnTo>
                    <a:pt x="7842" y="1291"/>
                  </a:lnTo>
                  <a:lnTo>
                    <a:pt x="7845" y="1275"/>
                  </a:lnTo>
                  <a:lnTo>
                    <a:pt x="7847" y="1246"/>
                  </a:lnTo>
                  <a:lnTo>
                    <a:pt x="7848" y="1222"/>
                  </a:lnTo>
                  <a:lnTo>
                    <a:pt x="7846" y="1212"/>
                  </a:lnTo>
                  <a:lnTo>
                    <a:pt x="7842" y="1200"/>
                  </a:lnTo>
                  <a:lnTo>
                    <a:pt x="7838" y="1187"/>
                  </a:lnTo>
                  <a:lnTo>
                    <a:pt x="7832" y="1173"/>
                  </a:lnTo>
                  <a:lnTo>
                    <a:pt x="7829" y="1159"/>
                  </a:lnTo>
                  <a:lnTo>
                    <a:pt x="7827" y="1146"/>
                  </a:lnTo>
                  <a:lnTo>
                    <a:pt x="7826" y="1140"/>
                  </a:lnTo>
                  <a:lnTo>
                    <a:pt x="7827" y="1134"/>
                  </a:lnTo>
                  <a:lnTo>
                    <a:pt x="7828" y="1129"/>
                  </a:lnTo>
                  <a:lnTo>
                    <a:pt x="7831" y="1124"/>
                  </a:lnTo>
                  <a:lnTo>
                    <a:pt x="7842" y="1104"/>
                  </a:lnTo>
                  <a:lnTo>
                    <a:pt x="7853" y="1082"/>
                  </a:lnTo>
                  <a:lnTo>
                    <a:pt x="7865" y="1061"/>
                  </a:lnTo>
                  <a:lnTo>
                    <a:pt x="7877" y="1041"/>
                  </a:lnTo>
                  <a:lnTo>
                    <a:pt x="7882" y="1030"/>
                  </a:lnTo>
                  <a:lnTo>
                    <a:pt x="7889" y="1016"/>
                  </a:lnTo>
                  <a:lnTo>
                    <a:pt x="7895" y="999"/>
                  </a:lnTo>
                  <a:lnTo>
                    <a:pt x="7902" y="982"/>
                  </a:lnTo>
                  <a:lnTo>
                    <a:pt x="7913" y="950"/>
                  </a:lnTo>
                  <a:lnTo>
                    <a:pt x="7922" y="925"/>
                  </a:lnTo>
                  <a:lnTo>
                    <a:pt x="7931" y="902"/>
                  </a:lnTo>
                  <a:lnTo>
                    <a:pt x="7943" y="871"/>
                  </a:lnTo>
                  <a:lnTo>
                    <a:pt x="7954" y="843"/>
                  </a:lnTo>
                  <a:lnTo>
                    <a:pt x="7958" y="832"/>
                  </a:lnTo>
                  <a:lnTo>
                    <a:pt x="7966" y="815"/>
                  </a:lnTo>
                  <a:lnTo>
                    <a:pt x="7982" y="778"/>
                  </a:lnTo>
                  <a:lnTo>
                    <a:pt x="7989" y="754"/>
                  </a:lnTo>
                  <a:lnTo>
                    <a:pt x="7997" y="732"/>
                  </a:lnTo>
                  <a:lnTo>
                    <a:pt x="8000" y="721"/>
                  </a:lnTo>
                  <a:lnTo>
                    <a:pt x="8003" y="711"/>
                  </a:lnTo>
                  <a:lnTo>
                    <a:pt x="8004" y="702"/>
                  </a:lnTo>
                  <a:lnTo>
                    <a:pt x="8004" y="695"/>
                  </a:lnTo>
                  <a:lnTo>
                    <a:pt x="8003" y="666"/>
                  </a:lnTo>
                  <a:lnTo>
                    <a:pt x="8000" y="636"/>
                  </a:lnTo>
                  <a:lnTo>
                    <a:pt x="7997" y="614"/>
                  </a:lnTo>
                  <a:lnTo>
                    <a:pt x="7996" y="604"/>
                  </a:lnTo>
                  <a:lnTo>
                    <a:pt x="7997" y="599"/>
                  </a:lnTo>
                  <a:lnTo>
                    <a:pt x="8001" y="587"/>
                  </a:lnTo>
                  <a:lnTo>
                    <a:pt x="8005" y="579"/>
                  </a:lnTo>
                  <a:lnTo>
                    <a:pt x="8008" y="573"/>
                  </a:lnTo>
                  <a:lnTo>
                    <a:pt x="8010" y="571"/>
                  </a:lnTo>
                  <a:lnTo>
                    <a:pt x="8012" y="569"/>
                  </a:lnTo>
                  <a:lnTo>
                    <a:pt x="8015" y="568"/>
                  </a:lnTo>
                  <a:lnTo>
                    <a:pt x="8017" y="568"/>
                  </a:lnTo>
                  <a:lnTo>
                    <a:pt x="8025" y="571"/>
                  </a:lnTo>
                  <a:lnTo>
                    <a:pt x="8032" y="577"/>
                  </a:lnTo>
                  <a:lnTo>
                    <a:pt x="8037" y="579"/>
                  </a:lnTo>
                  <a:lnTo>
                    <a:pt x="8042" y="578"/>
                  </a:lnTo>
                  <a:lnTo>
                    <a:pt x="8049" y="574"/>
                  </a:lnTo>
                  <a:lnTo>
                    <a:pt x="8058" y="568"/>
                  </a:lnTo>
                  <a:lnTo>
                    <a:pt x="8079" y="546"/>
                  </a:lnTo>
                  <a:lnTo>
                    <a:pt x="8082" y="542"/>
                  </a:lnTo>
                  <a:lnTo>
                    <a:pt x="8084" y="537"/>
                  </a:lnTo>
                  <a:lnTo>
                    <a:pt x="8089" y="527"/>
                  </a:lnTo>
                  <a:lnTo>
                    <a:pt x="8092" y="521"/>
                  </a:lnTo>
                  <a:lnTo>
                    <a:pt x="8096" y="518"/>
                  </a:lnTo>
                  <a:lnTo>
                    <a:pt x="8099" y="518"/>
                  </a:lnTo>
                  <a:lnTo>
                    <a:pt x="8101" y="518"/>
                  </a:lnTo>
                  <a:lnTo>
                    <a:pt x="8104" y="520"/>
                  </a:lnTo>
                  <a:lnTo>
                    <a:pt x="8107" y="522"/>
                  </a:lnTo>
                  <a:lnTo>
                    <a:pt x="8113" y="530"/>
                  </a:lnTo>
                  <a:lnTo>
                    <a:pt x="8119" y="539"/>
                  </a:lnTo>
                  <a:lnTo>
                    <a:pt x="8123" y="550"/>
                  </a:lnTo>
                  <a:lnTo>
                    <a:pt x="8127" y="563"/>
                  </a:lnTo>
                  <a:lnTo>
                    <a:pt x="8131" y="575"/>
                  </a:lnTo>
                  <a:lnTo>
                    <a:pt x="8132" y="589"/>
                  </a:lnTo>
                  <a:lnTo>
                    <a:pt x="8133" y="601"/>
                  </a:lnTo>
                  <a:lnTo>
                    <a:pt x="8132" y="613"/>
                  </a:lnTo>
                  <a:lnTo>
                    <a:pt x="8130" y="632"/>
                  </a:lnTo>
                  <a:lnTo>
                    <a:pt x="8128" y="647"/>
                  </a:lnTo>
                  <a:lnTo>
                    <a:pt x="8127" y="660"/>
                  </a:lnTo>
                  <a:lnTo>
                    <a:pt x="8127" y="675"/>
                  </a:lnTo>
                  <a:lnTo>
                    <a:pt x="8128" y="681"/>
                  </a:lnTo>
                  <a:lnTo>
                    <a:pt x="8128" y="687"/>
                  </a:lnTo>
                  <a:lnTo>
                    <a:pt x="8130" y="693"/>
                  </a:lnTo>
                  <a:lnTo>
                    <a:pt x="8133" y="699"/>
                  </a:lnTo>
                  <a:lnTo>
                    <a:pt x="8139" y="718"/>
                  </a:lnTo>
                  <a:lnTo>
                    <a:pt x="8153" y="749"/>
                  </a:lnTo>
                  <a:lnTo>
                    <a:pt x="8168" y="790"/>
                  </a:lnTo>
                  <a:lnTo>
                    <a:pt x="8183" y="827"/>
                  </a:lnTo>
                  <a:lnTo>
                    <a:pt x="8189" y="845"/>
                  </a:lnTo>
                  <a:lnTo>
                    <a:pt x="8194" y="860"/>
                  </a:lnTo>
                  <a:lnTo>
                    <a:pt x="8197" y="874"/>
                  </a:lnTo>
                  <a:lnTo>
                    <a:pt x="8198" y="885"/>
                  </a:lnTo>
                  <a:lnTo>
                    <a:pt x="8198" y="898"/>
                  </a:lnTo>
                  <a:lnTo>
                    <a:pt x="8198" y="907"/>
                  </a:lnTo>
                  <a:lnTo>
                    <a:pt x="8199" y="920"/>
                  </a:lnTo>
                  <a:lnTo>
                    <a:pt x="8201" y="946"/>
                  </a:lnTo>
                  <a:lnTo>
                    <a:pt x="8205" y="975"/>
                  </a:lnTo>
                  <a:lnTo>
                    <a:pt x="8206" y="989"/>
                  </a:lnTo>
                  <a:lnTo>
                    <a:pt x="8206" y="995"/>
                  </a:lnTo>
                  <a:lnTo>
                    <a:pt x="8206" y="996"/>
                  </a:lnTo>
                  <a:lnTo>
                    <a:pt x="8234" y="1020"/>
                  </a:lnTo>
                  <a:lnTo>
                    <a:pt x="8251" y="1087"/>
                  </a:lnTo>
                  <a:lnTo>
                    <a:pt x="8251" y="1090"/>
                  </a:lnTo>
                  <a:lnTo>
                    <a:pt x="8249" y="1098"/>
                  </a:lnTo>
                  <a:lnTo>
                    <a:pt x="8247" y="1109"/>
                  </a:lnTo>
                  <a:lnTo>
                    <a:pt x="8243" y="1124"/>
                  </a:lnTo>
                  <a:lnTo>
                    <a:pt x="8242" y="1141"/>
                  </a:lnTo>
                  <a:lnTo>
                    <a:pt x="8244" y="1173"/>
                  </a:lnTo>
                  <a:lnTo>
                    <a:pt x="8247" y="1214"/>
                  </a:lnTo>
                  <a:lnTo>
                    <a:pt x="8250" y="1259"/>
                  </a:lnTo>
                  <a:lnTo>
                    <a:pt x="8253" y="1304"/>
                  </a:lnTo>
                  <a:lnTo>
                    <a:pt x="8257" y="1342"/>
                  </a:lnTo>
                  <a:lnTo>
                    <a:pt x="8259" y="1369"/>
                  </a:lnTo>
                  <a:lnTo>
                    <a:pt x="8260" y="1379"/>
                  </a:lnTo>
                  <a:lnTo>
                    <a:pt x="8259" y="1380"/>
                  </a:lnTo>
                  <a:lnTo>
                    <a:pt x="8255" y="1387"/>
                  </a:lnTo>
                  <a:lnTo>
                    <a:pt x="8254" y="1396"/>
                  </a:lnTo>
                  <a:lnTo>
                    <a:pt x="8252" y="1407"/>
                  </a:lnTo>
                  <a:lnTo>
                    <a:pt x="8252" y="1423"/>
                  </a:lnTo>
                  <a:lnTo>
                    <a:pt x="8251" y="1445"/>
                  </a:lnTo>
                  <a:lnTo>
                    <a:pt x="8252" y="1494"/>
                  </a:lnTo>
                  <a:lnTo>
                    <a:pt x="8253" y="1536"/>
                  </a:lnTo>
                  <a:lnTo>
                    <a:pt x="8254" y="1566"/>
                  </a:lnTo>
                  <a:lnTo>
                    <a:pt x="8255" y="1577"/>
                  </a:lnTo>
                  <a:lnTo>
                    <a:pt x="8263" y="1626"/>
                  </a:lnTo>
                  <a:lnTo>
                    <a:pt x="8265" y="1619"/>
                  </a:lnTo>
                  <a:lnTo>
                    <a:pt x="8269" y="1597"/>
                  </a:lnTo>
                  <a:lnTo>
                    <a:pt x="8274" y="1560"/>
                  </a:lnTo>
                  <a:lnTo>
                    <a:pt x="8281" y="1509"/>
                  </a:lnTo>
                  <a:lnTo>
                    <a:pt x="8287" y="1445"/>
                  </a:lnTo>
                  <a:lnTo>
                    <a:pt x="8295" y="1368"/>
                  </a:lnTo>
                  <a:lnTo>
                    <a:pt x="8302" y="1279"/>
                  </a:lnTo>
                  <a:lnTo>
                    <a:pt x="8307" y="1178"/>
                  </a:lnTo>
                  <a:lnTo>
                    <a:pt x="8310" y="1123"/>
                  </a:lnTo>
                  <a:lnTo>
                    <a:pt x="8312" y="1066"/>
                  </a:lnTo>
                  <a:lnTo>
                    <a:pt x="8313" y="1005"/>
                  </a:lnTo>
                  <a:lnTo>
                    <a:pt x="8314" y="942"/>
                  </a:lnTo>
                  <a:lnTo>
                    <a:pt x="8314" y="877"/>
                  </a:lnTo>
                  <a:lnTo>
                    <a:pt x="8313" y="808"/>
                  </a:lnTo>
                  <a:lnTo>
                    <a:pt x="8312" y="738"/>
                  </a:lnTo>
                  <a:lnTo>
                    <a:pt x="8308" y="665"/>
                  </a:lnTo>
                  <a:lnTo>
                    <a:pt x="8305" y="590"/>
                  </a:lnTo>
                  <a:lnTo>
                    <a:pt x="8301" y="511"/>
                  </a:lnTo>
                  <a:lnTo>
                    <a:pt x="8295" y="432"/>
                  </a:lnTo>
                  <a:lnTo>
                    <a:pt x="8289" y="349"/>
                  </a:lnTo>
                  <a:lnTo>
                    <a:pt x="8281" y="265"/>
                  </a:lnTo>
                  <a:lnTo>
                    <a:pt x="8271" y="179"/>
                  </a:lnTo>
                  <a:lnTo>
                    <a:pt x="8261" y="91"/>
                  </a:lnTo>
                  <a:lnTo>
                    <a:pt x="8249" y="0"/>
                  </a:lnTo>
                  <a:lnTo>
                    <a:pt x="6614" y="0"/>
                  </a:lnTo>
                  <a:close/>
                  <a:moveTo>
                    <a:pt x="1920" y="1556"/>
                  </a:moveTo>
                  <a:lnTo>
                    <a:pt x="1920" y="1556"/>
                  </a:lnTo>
                  <a:lnTo>
                    <a:pt x="1914" y="1587"/>
                  </a:lnTo>
                  <a:lnTo>
                    <a:pt x="1910" y="1587"/>
                  </a:lnTo>
                  <a:lnTo>
                    <a:pt x="1901" y="1587"/>
                  </a:lnTo>
                  <a:lnTo>
                    <a:pt x="1889" y="1587"/>
                  </a:lnTo>
                  <a:lnTo>
                    <a:pt x="1879" y="1587"/>
                  </a:lnTo>
                  <a:lnTo>
                    <a:pt x="1869" y="1589"/>
                  </a:lnTo>
                  <a:lnTo>
                    <a:pt x="1858" y="1593"/>
                  </a:lnTo>
                  <a:lnTo>
                    <a:pt x="1849" y="1598"/>
                  </a:lnTo>
                  <a:lnTo>
                    <a:pt x="1846" y="1600"/>
                  </a:lnTo>
                  <a:lnTo>
                    <a:pt x="1840" y="1600"/>
                  </a:lnTo>
                  <a:lnTo>
                    <a:pt x="1828" y="1600"/>
                  </a:lnTo>
                  <a:lnTo>
                    <a:pt x="1813" y="1600"/>
                  </a:lnTo>
                  <a:lnTo>
                    <a:pt x="1801" y="1600"/>
                  </a:lnTo>
                  <a:lnTo>
                    <a:pt x="1798" y="1601"/>
                  </a:lnTo>
                  <a:lnTo>
                    <a:pt x="1795" y="1603"/>
                  </a:lnTo>
                  <a:lnTo>
                    <a:pt x="1793" y="1605"/>
                  </a:lnTo>
                  <a:lnTo>
                    <a:pt x="1790" y="1609"/>
                  </a:lnTo>
                  <a:lnTo>
                    <a:pt x="1788" y="1614"/>
                  </a:lnTo>
                  <a:lnTo>
                    <a:pt x="1788" y="1617"/>
                  </a:lnTo>
                  <a:lnTo>
                    <a:pt x="1779" y="1642"/>
                  </a:lnTo>
                  <a:lnTo>
                    <a:pt x="1776" y="1642"/>
                  </a:lnTo>
                  <a:lnTo>
                    <a:pt x="1768" y="1643"/>
                  </a:lnTo>
                  <a:lnTo>
                    <a:pt x="1756" y="1644"/>
                  </a:lnTo>
                  <a:lnTo>
                    <a:pt x="1744" y="1644"/>
                  </a:lnTo>
                  <a:lnTo>
                    <a:pt x="1735" y="1644"/>
                  </a:lnTo>
                  <a:lnTo>
                    <a:pt x="1731" y="1643"/>
                  </a:lnTo>
                  <a:lnTo>
                    <a:pt x="1726" y="1642"/>
                  </a:lnTo>
                  <a:lnTo>
                    <a:pt x="1719" y="1642"/>
                  </a:lnTo>
                  <a:lnTo>
                    <a:pt x="1715" y="1641"/>
                  </a:lnTo>
                  <a:lnTo>
                    <a:pt x="1713" y="1640"/>
                  </a:lnTo>
                  <a:lnTo>
                    <a:pt x="1712" y="1637"/>
                  </a:lnTo>
                  <a:lnTo>
                    <a:pt x="1712" y="1634"/>
                  </a:lnTo>
                  <a:lnTo>
                    <a:pt x="1715" y="1630"/>
                  </a:lnTo>
                  <a:lnTo>
                    <a:pt x="1716" y="1628"/>
                  </a:lnTo>
                  <a:lnTo>
                    <a:pt x="1715" y="1624"/>
                  </a:lnTo>
                  <a:lnTo>
                    <a:pt x="1713" y="1617"/>
                  </a:lnTo>
                  <a:lnTo>
                    <a:pt x="1712" y="1611"/>
                  </a:lnTo>
                  <a:lnTo>
                    <a:pt x="1710" y="1605"/>
                  </a:lnTo>
                  <a:lnTo>
                    <a:pt x="1707" y="1600"/>
                  </a:lnTo>
                  <a:lnTo>
                    <a:pt x="1702" y="1594"/>
                  </a:lnTo>
                  <a:lnTo>
                    <a:pt x="1700" y="1591"/>
                  </a:lnTo>
                  <a:lnTo>
                    <a:pt x="1698" y="1589"/>
                  </a:lnTo>
                  <a:lnTo>
                    <a:pt x="1697" y="1589"/>
                  </a:lnTo>
                  <a:lnTo>
                    <a:pt x="1694" y="1590"/>
                  </a:lnTo>
                  <a:lnTo>
                    <a:pt x="1692" y="1592"/>
                  </a:lnTo>
                  <a:lnTo>
                    <a:pt x="1687" y="1594"/>
                  </a:lnTo>
                  <a:lnTo>
                    <a:pt x="1680" y="1596"/>
                  </a:lnTo>
                  <a:lnTo>
                    <a:pt x="1670" y="1598"/>
                  </a:lnTo>
                  <a:lnTo>
                    <a:pt x="1665" y="1598"/>
                  </a:lnTo>
                  <a:lnTo>
                    <a:pt x="1660" y="1599"/>
                  </a:lnTo>
                  <a:lnTo>
                    <a:pt x="1658" y="1601"/>
                  </a:lnTo>
                  <a:lnTo>
                    <a:pt x="1657" y="1602"/>
                  </a:lnTo>
                  <a:lnTo>
                    <a:pt x="1657" y="1604"/>
                  </a:lnTo>
                  <a:lnTo>
                    <a:pt x="1657" y="1605"/>
                  </a:lnTo>
                  <a:lnTo>
                    <a:pt x="1658" y="1608"/>
                  </a:lnTo>
                  <a:lnTo>
                    <a:pt x="1660" y="1610"/>
                  </a:lnTo>
                  <a:lnTo>
                    <a:pt x="1670" y="1617"/>
                  </a:lnTo>
                  <a:lnTo>
                    <a:pt x="1676" y="1620"/>
                  </a:lnTo>
                  <a:lnTo>
                    <a:pt x="1674" y="1623"/>
                  </a:lnTo>
                  <a:lnTo>
                    <a:pt x="1671" y="1632"/>
                  </a:lnTo>
                  <a:lnTo>
                    <a:pt x="1667" y="1642"/>
                  </a:lnTo>
                  <a:lnTo>
                    <a:pt x="1661" y="1650"/>
                  </a:lnTo>
                  <a:lnTo>
                    <a:pt x="1659" y="1652"/>
                  </a:lnTo>
                  <a:lnTo>
                    <a:pt x="1656" y="1653"/>
                  </a:lnTo>
                  <a:lnTo>
                    <a:pt x="1653" y="1654"/>
                  </a:lnTo>
                  <a:lnTo>
                    <a:pt x="1650" y="1653"/>
                  </a:lnTo>
                  <a:lnTo>
                    <a:pt x="1642" y="1650"/>
                  </a:lnTo>
                  <a:lnTo>
                    <a:pt x="1631" y="1644"/>
                  </a:lnTo>
                  <a:lnTo>
                    <a:pt x="1623" y="1641"/>
                  </a:lnTo>
                  <a:lnTo>
                    <a:pt x="1623" y="1641"/>
                  </a:lnTo>
                  <a:lnTo>
                    <a:pt x="1624" y="1641"/>
                  </a:lnTo>
                  <a:lnTo>
                    <a:pt x="1625" y="1641"/>
                  </a:lnTo>
                  <a:lnTo>
                    <a:pt x="1625" y="1640"/>
                  </a:lnTo>
                  <a:lnTo>
                    <a:pt x="1623" y="1639"/>
                  </a:lnTo>
                  <a:lnTo>
                    <a:pt x="1619" y="1637"/>
                  </a:lnTo>
                  <a:lnTo>
                    <a:pt x="1616" y="1636"/>
                  </a:lnTo>
                  <a:lnTo>
                    <a:pt x="1612" y="1635"/>
                  </a:lnTo>
                  <a:lnTo>
                    <a:pt x="1607" y="1635"/>
                  </a:lnTo>
                  <a:lnTo>
                    <a:pt x="1598" y="1635"/>
                  </a:lnTo>
                  <a:lnTo>
                    <a:pt x="1589" y="1636"/>
                  </a:lnTo>
                  <a:lnTo>
                    <a:pt x="1582" y="1636"/>
                  </a:lnTo>
                  <a:lnTo>
                    <a:pt x="1574" y="1639"/>
                  </a:lnTo>
                  <a:lnTo>
                    <a:pt x="1564" y="1642"/>
                  </a:lnTo>
                  <a:lnTo>
                    <a:pt x="1552" y="1644"/>
                  </a:lnTo>
                  <a:lnTo>
                    <a:pt x="1538" y="1645"/>
                  </a:lnTo>
                  <a:lnTo>
                    <a:pt x="1523" y="1646"/>
                  </a:lnTo>
                  <a:lnTo>
                    <a:pt x="1504" y="1645"/>
                  </a:lnTo>
                  <a:lnTo>
                    <a:pt x="1477" y="1644"/>
                  </a:lnTo>
                  <a:lnTo>
                    <a:pt x="1455" y="1642"/>
                  </a:lnTo>
                  <a:lnTo>
                    <a:pt x="1446" y="1640"/>
                  </a:lnTo>
                  <a:lnTo>
                    <a:pt x="1444" y="1637"/>
                  </a:lnTo>
                  <a:lnTo>
                    <a:pt x="1436" y="1636"/>
                  </a:lnTo>
                  <a:lnTo>
                    <a:pt x="1430" y="1635"/>
                  </a:lnTo>
                  <a:lnTo>
                    <a:pt x="1426" y="1636"/>
                  </a:lnTo>
                  <a:lnTo>
                    <a:pt x="1422" y="1637"/>
                  </a:lnTo>
                  <a:lnTo>
                    <a:pt x="1418" y="1640"/>
                  </a:lnTo>
                  <a:lnTo>
                    <a:pt x="1411" y="1646"/>
                  </a:lnTo>
                  <a:lnTo>
                    <a:pt x="1401" y="1653"/>
                  </a:lnTo>
                  <a:lnTo>
                    <a:pt x="1396" y="1655"/>
                  </a:lnTo>
                  <a:lnTo>
                    <a:pt x="1393" y="1656"/>
                  </a:lnTo>
                  <a:lnTo>
                    <a:pt x="1393" y="1656"/>
                  </a:lnTo>
                  <a:lnTo>
                    <a:pt x="1394" y="1657"/>
                  </a:lnTo>
                  <a:lnTo>
                    <a:pt x="1395" y="1658"/>
                  </a:lnTo>
                  <a:lnTo>
                    <a:pt x="1397" y="1660"/>
                  </a:lnTo>
                  <a:lnTo>
                    <a:pt x="1398" y="1662"/>
                  </a:lnTo>
                  <a:lnTo>
                    <a:pt x="1397" y="1666"/>
                  </a:lnTo>
                  <a:lnTo>
                    <a:pt x="1396" y="1676"/>
                  </a:lnTo>
                  <a:lnTo>
                    <a:pt x="1396" y="1686"/>
                  </a:lnTo>
                  <a:lnTo>
                    <a:pt x="1397" y="1696"/>
                  </a:lnTo>
                  <a:lnTo>
                    <a:pt x="1397" y="1705"/>
                  </a:lnTo>
                  <a:lnTo>
                    <a:pt x="1398" y="1713"/>
                  </a:lnTo>
                  <a:lnTo>
                    <a:pt x="1401" y="1722"/>
                  </a:lnTo>
                  <a:lnTo>
                    <a:pt x="1402" y="1729"/>
                  </a:lnTo>
                  <a:lnTo>
                    <a:pt x="1403" y="1735"/>
                  </a:lnTo>
                  <a:lnTo>
                    <a:pt x="1402" y="1742"/>
                  </a:lnTo>
                  <a:lnTo>
                    <a:pt x="1401" y="1751"/>
                  </a:lnTo>
                  <a:lnTo>
                    <a:pt x="1398" y="1762"/>
                  </a:lnTo>
                  <a:lnTo>
                    <a:pt x="1397" y="1762"/>
                  </a:lnTo>
                  <a:lnTo>
                    <a:pt x="1397" y="1762"/>
                  </a:lnTo>
                  <a:lnTo>
                    <a:pt x="1395" y="1768"/>
                  </a:lnTo>
                  <a:lnTo>
                    <a:pt x="1394" y="1770"/>
                  </a:lnTo>
                  <a:lnTo>
                    <a:pt x="1392" y="1772"/>
                  </a:lnTo>
                  <a:lnTo>
                    <a:pt x="1391" y="1773"/>
                  </a:lnTo>
                  <a:lnTo>
                    <a:pt x="1388" y="1773"/>
                  </a:lnTo>
                  <a:lnTo>
                    <a:pt x="1385" y="1772"/>
                  </a:lnTo>
                  <a:lnTo>
                    <a:pt x="1381" y="1770"/>
                  </a:lnTo>
                  <a:lnTo>
                    <a:pt x="1376" y="1766"/>
                  </a:lnTo>
                  <a:lnTo>
                    <a:pt x="1373" y="1761"/>
                  </a:lnTo>
                  <a:lnTo>
                    <a:pt x="1371" y="1756"/>
                  </a:lnTo>
                  <a:lnTo>
                    <a:pt x="1371" y="1751"/>
                  </a:lnTo>
                  <a:lnTo>
                    <a:pt x="1370" y="1748"/>
                  </a:lnTo>
                  <a:lnTo>
                    <a:pt x="1370" y="1747"/>
                  </a:lnTo>
                  <a:lnTo>
                    <a:pt x="1369" y="1747"/>
                  </a:lnTo>
                  <a:lnTo>
                    <a:pt x="1367" y="1747"/>
                  </a:lnTo>
                  <a:lnTo>
                    <a:pt x="1364" y="1747"/>
                  </a:lnTo>
                  <a:lnTo>
                    <a:pt x="1360" y="1748"/>
                  </a:lnTo>
                  <a:lnTo>
                    <a:pt x="1353" y="1747"/>
                  </a:lnTo>
                  <a:lnTo>
                    <a:pt x="1345" y="1746"/>
                  </a:lnTo>
                  <a:lnTo>
                    <a:pt x="1338" y="1745"/>
                  </a:lnTo>
                  <a:lnTo>
                    <a:pt x="1332" y="1745"/>
                  </a:lnTo>
                  <a:lnTo>
                    <a:pt x="1330" y="1746"/>
                  </a:lnTo>
                  <a:lnTo>
                    <a:pt x="1328" y="1747"/>
                  </a:lnTo>
                  <a:lnTo>
                    <a:pt x="1327" y="1749"/>
                  </a:lnTo>
                  <a:lnTo>
                    <a:pt x="1324" y="1751"/>
                  </a:lnTo>
                  <a:lnTo>
                    <a:pt x="1322" y="1752"/>
                  </a:lnTo>
                  <a:lnTo>
                    <a:pt x="1318" y="1755"/>
                  </a:lnTo>
                  <a:lnTo>
                    <a:pt x="1313" y="1756"/>
                  </a:lnTo>
                  <a:lnTo>
                    <a:pt x="1310" y="1759"/>
                  </a:lnTo>
                  <a:lnTo>
                    <a:pt x="1307" y="1762"/>
                  </a:lnTo>
                  <a:lnTo>
                    <a:pt x="1305" y="1766"/>
                  </a:lnTo>
                  <a:lnTo>
                    <a:pt x="1302" y="1773"/>
                  </a:lnTo>
                  <a:lnTo>
                    <a:pt x="1301" y="1777"/>
                  </a:lnTo>
                  <a:lnTo>
                    <a:pt x="1301" y="1779"/>
                  </a:lnTo>
                  <a:lnTo>
                    <a:pt x="1299" y="1784"/>
                  </a:lnTo>
                  <a:lnTo>
                    <a:pt x="1295" y="1793"/>
                  </a:lnTo>
                  <a:lnTo>
                    <a:pt x="1288" y="1803"/>
                  </a:lnTo>
                  <a:lnTo>
                    <a:pt x="1284" y="1807"/>
                  </a:lnTo>
                  <a:lnTo>
                    <a:pt x="1279" y="1810"/>
                  </a:lnTo>
                  <a:lnTo>
                    <a:pt x="1276" y="1810"/>
                  </a:lnTo>
                  <a:lnTo>
                    <a:pt x="1271" y="1809"/>
                  </a:lnTo>
                  <a:lnTo>
                    <a:pt x="1265" y="1804"/>
                  </a:lnTo>
                  <a:lnTo>
                    <a:pt x="1257" y="1801"/>
                  </a:lnTo>
                  <a:lnTo>
                    <a:pt x="1250" y="1800"/>
                  </a:lnTo>
                  <a:lnTo>
                    <a:pt x="1242" y="1800"/>
                  </a:lnTo>
                  <a:lnTo>
                    <a:pt x="1231" y="1799"/>
                  </a:lnTo>
                  <a:lnTo>
                    <a:pt x="1219" y="1798"/>
                  </a:lnTo>
                  <a:lnTo>
                    <a:pt x="1214" y="1796"/>
                  </a:lnTo>
                  <a:lnTo>
                    <a:pt x="1211" y="1793"/>
                  </a:lnTo>
                  <a:lnTo>
                    <a:pt x="1208" y="1789"/>
                  </a:lnTo>
                  <a:lnTo>
                    <a:pt x="1206" y="1784"/>
                  </a:lnTo>
                  <a:lnTo>
                    <a:pt x="1205" y="1774"/>
                  </a:lnTo>
                  <a:lnTo>
                    <a:pt x="1203" y="1766"/>
                  </a:lnTo>
                  <a:lnTo>
                    <a:pt x="1200" y="1761"/>
                  </a:lnTo>
                  <a:lnTo>
                    <a:pt x="1196" y="1758"/>
                  </a:lnTo>
                  <a:lnTo>
                    <a:pt x="1193" y="1756"/>
                  </a:lnTo>
                  <a:lnTo>
                    <a:pt x="1190" y="1755"/>
                  </a:lnTo>
                  <a:lnTo>
                    <a:pt x="1183" y="1752"/>
                  </a:lnTo>
                  <a:lnTo>
                    <a:pt x="1181" y="1751"/>
                  </a:lnTo>
                  <a:lnTo>
                    <a:pt x="1181" y="1749"/>
                  </a:lnTo>
                  <a:lnTo>
                    <a:pt x="1181" y="1741"/>
                  </a:lnTo>
                  <a:lnTo>
                    <a:pt x="1181" y="1731"/>
                  </a:lnTo>
                  <a:lnTo>
                    <a:pt x="1178" y="1721"/>
                  </a:lnTo>
                  <a:lnTo>
                    <a:pt x="1175" y="1717"/>
                  </a:lnTo>
                  <a:lnTo>
                    <a:pt x="1173" y="1714"/>
                  </a:lnTo>
                  <a:lnTo>
                    <a:pt x="1170" y="1710"/>
                  </a:lnTo>
                  <a:lnTo>
                    <a:pt x="1165" y="1708"/>
                  </a:lnTo>
                  <a:lnTo>
                    <a:pt x="1157" y="1703"/>
                  </a:lnTo>
                  <a:lnTo>
                    <a:pt x="1144" y="1694"/>
                  </a:lnTo>
                  <a:lnTo>
                    <a:pt x="1142" y="1690"/>
                  </a:lnTo>
                  <a:lnTo>
                    <a:pt x="1140" y="1688"/>
                  </a:lnTo>
                  <a:lnTo>
                    <a:pt x="1139" y="1685"/>
                  </a:lnTo>
                  <a:lnTo>
                    <a:pt x="1139" y="1683"/>
                  </a:lnTo>
                  <a:lnTo>
                    <a:pt x="1140" y="1677"/>
                  </a:lnTo>
                  <a:lnTo>
                    <a:pt x="1142" y="1671"/>
                  </a:lnTo>
                  <a:lnTo>
                    <a:pt x="1147" y="1664"/>
                  </a:lnTo>
                  <a:lnTo>
                    <a:pt x="1151" y="1656"/>
                  </a:lnTo>
                  <a:lnTo>
                    <a:pt x="1155" y="1647"/>
                  </a:lnTo>
                  <a:lnTo>
                    <a:pt x="1159" y="1636"/>
                  </a:lnTo>
                  <a:lnTo>
                    <a:pt x="1162" y="1622"/>
                  </a:lnTo>
                  <a:lnTo>
                    <a:pt x="1163" y="1622"/>
                  </a:lnTo>
                  <a:lnTo>
                    <a:pt x="1163" y="1625"/>
                  </a:lnTo>
                  <a:lnTo>
                    <a:pt x="1163" y="1628"/>
                  </a:lnTo>
                  <a:lnTo>
                    <a:pt x="1164" y="1629"/>
                  </a:lnTo>
                  <a:lnTo>
                    <a:pt x="1164" y="1629"/>
                  </a:lnTo>
                  <a:lnTo>
                    <a:pt x="1165" y="1629"/>
                  </a:lnTo>
                  <a:lnTo>
                    <a:pt x="1166" y="1628"/>
                  </a:lnTo>
                  <a:lnTo>
                    <a:pt x="1172" y="1623"/>
                  </a:lnTo>
                  <a:lnTo>
                    <a:pt x="1176" y="1619"/>
                  </a:lnTo>
                  <a:lnTo>
                    <a:pt x="1180" y="1614"/>
                  </a:lnTo>
                  <a:lnTo>
                    <a:pt x="1183" y="1605"/>
                  </a:lnTo>
                  <a:lnTo>
                    <a:pt x="1185" y="1598"/>
                  </a:lnTo>
                  <a:lnTo>
                    <a:pt x="1185" y="1593"/>
                  </a:lnTo>
                  <a:lnTo>
                    <a:pt x="1184" y="1590"/>
                  </a:lnTo>
                  <a:lnTo>
                    <a:pt x="1183" y="1583"/>
                  </a:lnTo>
                  <a:lnTo>
                    <a:pt x="1183" y="1580"/>
                  </a:lnTo>
                  <a:lnTo>
                    <a:pt x="1184" y="1577"/>
                  </a:lnTo>
                  <a:lnTo>
                    <a:pt x="1185" y="1573"/>
                  </a:lnTo>
                  <a:lnTo>
                    <a:pt x="1189" y="1570"/>
                  </a:lnTo>
                  <a:lnTo>
                    <a:pt x="1192" y="1567"/>
                  </a:lnTo>
                  <a:lnTo>
                    <a:pt x="1197" y="1564"/>
                  </a:lnTo>
                  <a:lnTo>
                    <a:pt x="1204" y="1560"/>
                  </a:lnTo>
                  <a:lnTo>
                    <a:pt x="1214" y="1556"/>
                  </a:lnTo>
                  <a:lnTo>
                    <a:pt x="1231" y="1549"/>
                  </a:lnTo>
                  <a:lnTo>
                    <a:pt x="1236" y="1548"/>
                  </a:lnTo>
                  <a:lnTo>
                    <a:pt x="1237" y="1545"/>
                  </a:lnTo>
                  <a:lnTo>
                    <a:pt x="1239" y="1538"/>
                  </a:lnTo>
                  <a:lnTo>
                    <a:pt x="1246" y="1525"/>
                  </a:lnTo>
                  <a:lnTo>
                    <a:pt x="1257" y="1507"/>
                  </a:lnTo>
                  <a:lnTo>
                    <a:pt x="1266" y="1494"/>
                  </a:lnTo>
                  <a:lnTo>
                    <a:pt x="1267" y="1494"/>
                  </a:lnTo>
                  <a:lnTo>
                    <a:pt x="1267" y="1495"/>
                  </a:lnTo>
                  <a:lnTo>
                    <a:pt x="1267" y="1496"/>
                  </a:lnTo>
                  <a:lnTo>
                    <a:pt x="1269" y="1495"/>
                  </a:lnTo>
                  <a:lnTo>
                    <a:pt x="1274" y="1491"/>
                  </a:lnTo>
                  <a:lnTo>
                    <a:pt x="1281" y="1483"/>
                  </a:lnTo>
                  <a:lnTo>
                    <a:pt x="1281" y="1482"/>
                  </a:lnTo>
                  <a:lnTo>
                    <a:pt x="1280" y="1482"/>
                  </a:lnTo>
                  <a:lnTo>
                    <a:pt x="1279" y="1480"/>
                  </a:lnTo>
                  <a:lnTo>
                    <a:pt x="1278" y="1476"/>
                  </a:lnTo>
                  <a:lnTo>
                    <a:pt x="1279" y="1471"/>
                  </a:lnTo>
                  <a:lnTo>
                    <a:pt x="1281" y="1461"/>
                  </a:lnTo>
                  <a:lnTo>
                    <a:pt x="1281" y="1455"/>
                  </a:lnTo>
                  <a:lnTo>
                    <a:pt x="1280" y="1450"/>
                  </a:lnTo>
                  <a:lnTo>
                    <a:pt x="1279" y="1441"/>
                  </a:lnTo>
                  <a:lnTo>
                    <a:pt x="1280" y="1431"/>
                  </a:lnTo>
                  <a:lnTo>
                    <a:pt x="1281" y="1426"/>
                  </a:lnTo>
                  <a:lnTo>
                    <a:pt x="1285" y="1418"/>
                  </a:lnTo>
                  <a:lnTo>
                    <a:pt x="1288" y="1406"/>
                  </a:lnTo>
                  <a:lnTo>
                    <a:pt x="1289" y="1399"/>
                  </a:lnTo>
                  <a:lnTo>
                    <a:pt x="1290" y="1396"/>
                  </a:lnTo>
                  <a:lnTo>
                    <a:pt x="1291" y="1395"/>
                  </a:lnTo>
                  <a:lnTo>
                    <a:pt x="1292" y="1395"/>
                  </a:lnTo>
                  <a:lnTo>
                    <a:pt x="1293" y="1396"/>
                  </a:lnTo>
                  <a:lnTo>
                    <a:pt x="1296" y="1396"/>
                  </a:lnTo>
                  <a:lnTo>
                    <a:pt x="1299" y="1394"/>
                  </a:lnTo>
                  <a:lnTo>
                    <a:pt x="1305" y="1389"/>
                  </a:lnTo>
                  <a:lnTo>
                    <a:pt x="1309" y="1384"/>
                  </a:lnTo>
                  <a:lnTo>
                    <a:pt x="1311" y="1381"/>
                  </a:lnTo>
                  <a:lnTo>
                    <a:pt x="1312" y="1382"/>
                  </a:lnTo>
                  <a:lnTo>
                    <a:pt x="1312" y="1384"/>
                  </a:lnTo>
                  <a:lnTo>
                    <a:pt x="1312" y="1387"/>
                  </a:lnTo>
                  <a:lnTo>
                    <a:pt x="1312" y="1390"/>
                  </a:lnTo>
                  <a:lnTo>
                    <a:pt x="1314" y="1394"/>
                  </a:lnTo>
                  <a:lnTo>
                    <a:pt x="1318" y="1397"/>
                  </a:lnTo>
                  <a:lnTo>
                    <a:pt x="1328" y="1403"/>
                  </a:lnTo>
                  <a:lnTo>
                    <a:pt x="1337" y="1408"/>
                  </a:lnTo>
                  <a:lnTo>
                    <a:pt x="1341" y="1410"/>
                  </a:lnTo>
                  <a:lnTo>
                    <a:pt x="1345" y="1411"/>
                  </a:lnTo>
                  <a:lnTo>
                    <a:pt x="1350" y="1411"/>
                  </a:lnTo>
                  <a:lnTo>
                    <a:pt x="1354" y="1411"/>
                  </a:lnTo>
                  <a:lnTo>
                    <a:pt x="1358" y="1409"/>
                  </a:lnTo>
                  <a:lnTo>
                    <a:pt x="1361" y="1407"/>
                  </a:lnTo>
                  <a:lnTo>
                    <a:pt x="1364" y="1402"/>
                  </a:lnTo>
                  <a:lnTo>
                    <a:pt x="1369" y="1398"/>
                  </a:lnTo>
                  <a:lnTo>
                    <a:pt x="1381" y="1385"/>
                  </a:lnTo>
                  <a:lnTo>
                    <a:pt x="1401" y="1367"/>
                  </a:lnTo>
                  <a:lnTo>
                    <a:pt x="1417" y="1354"/>
                  </a:lnTo>
                  <a:lnTo>
                    <a:pt x="1423" y="1349"/>
                  </a:lnTo>
                  <a:lnTo>
                    <a:pt x="1424" y="1347"/>
                  </a:lnTo>
                  <a:lnTo>
                    <a:pt x="1428" y="1336"/>
                  </a:lnTo>
                  <a:lnTo>
                    <a:pt x="1435" y="1324"/>
                  </a:lnTo>
                  <a:lnTo>
                    <a:pt x="1439" y="1316"/>
                  </a:lnTo>
                  <a:lnTo>
                    <a:pt x="1444" y="1310"/>
                  </a:lnTo>
                  <a:lnTo>
                    <a:pt x="1450" y="1299"/>
                  </a:lnTo>
                  <a:lnTo>
                    <a:pt x="1454" y="1293"/>
                  </a:lnTo>
                  <a:lnTo>
                    <a:pt x="1458" y="1290"/>
                  </a:lnTo>
                  <a:lnTo>
                    <a:pt x="1462" y="1289"/>
                  </a:lnTo>
                  <a:lnTo>
                    <a:pt x="1466" y="1290"/>
                  </a:lnTo>
                  <a:lnTo>
                    <a:pt x="1473" y="1292"/>
                  </a:lnTo>
                  <a:lnTo>
                    <a:pt x="1480" y="1293"/>
                  </a:lnTo>
                  <a:lnTo>
                    <a:pt x="1487" y="1290"/>
                  </a:lnTo>
                  <a:lnTo>
                    <a:pt x="1494" y="1285"/>
                  </a:lnTo>
                  <a:lnTo>
                    <a:pt x="1502" y="1279"/>
                  </a:lnTo>
                  <a:lnTo>
                    <a:pt x="1510" y="1268"/>
                  </a:lnTo>
                  <a:lnTo>
                    <a:pt x="1514" y="1263"/>
                  </a:lnTo>
                  <a:lnTo>
                    <a:pt x="1517" y="1261"/>
                  </a:lnTo>
                  <a:lnTo>
                    <a:pt x="1520" y="1260"/>
                  </a:lnTo>
                  <a:lnTo>
                    <a:pt x="1523" y="1260"/>
                  </a:lnTo>
                  <a:lnTo>
                    <a:pt x="1526" y="1261"/>
                  </a:lnTo>
                  <a:lnTo>
                    <a:pt x="1531" y="1262"/>
                  </a:lnTo>
                  <a:lnTo>
                    <a:pt x="1536" y="1263"/>
                  </a:lnTo>
                  <a:lnTo>
                    <a:pt x="1543" y="1262"/>
                  </a:lnTo>
                  <a:lnTo>
                    <a:pt x="1551" y="1261"/>
                  </a:lnTo>
                  <a:lnTo>
                    <a:pt x="1556" y="1260"/>
                  </a:lnTo>
                  <a:lnTo>
                    <a:pt x="1561" y="1259"/>
                  </a:lnTo>
                  <a:lnTo>
                    <a:pt x="1564" y="1257"/>
                  </a:lnTo>
                  <a:lnTo>
                    <a:pt x="1568" y="1251"/>
                  </a:lnTo>
                  <a:lnTo>
                    <a:pt x="1574" y="1243"/>
                  </a:lnTo>
                  <a:lnTo>
                    <a:pt x="1581" y="1233"/>
                  </a:lnTo>
                  <a:lnTo>
                    <a:pt x="1591" y="1226"/>
                  </a:lnTo>
                  <a:lnTo>
                    <a:pt x="1602" y="1215"/>
                  </a:lnTo>
                  <a:lnTo>
                    <a:pt x="1615" y="1199"/>
                  </a:lnTo>
                  <a:lnTo>
                    <a:pt x="1618" y="1195"/>
                  </a:lnTo>
                  <a:lnTo>
                    <a:pt x="1621" y="1191"/>
                  </a:lnTo>
                  <a:lnTo>
                    <a:pt x="1625" y="1189"/>
                  </a:lnTo>
                  <a:lnTo>
                    <a:pt x="1629" y="1187"/>
                  </a:lnTo>
                  <a:lnTo>
                    <a:pt x="1636" y="1186"/>
                  </a:lnTo>
                  <a:lnTo>
                    <a:pt x="1642" y="1185"/>
                  </a:lnTo>
                  <a:lnTo>
                    <a:pt x="1650" y="1186"/>
                  </a:lnTo>
                  <a:lnTo>
                    <a:pt x="1658" y="1186"/>
                  </a:lnTo>
                  <a:lnTo>
                    <a:pt x="1667" y="1187"/>
                  </a:lnTo>
                  <a:lnTo>
                    <a:pt x="1676" y="1186"/>
                  </a:lnTo>
                  <a:lnTo>
                    <a:pt x="1683" y="1185"/>
                  </a:lnTo>
                  <a:lnTo>
                    <a:pt x="1689" y="1186"/>
                  </a:lnTo>
                  <a:lnTo>
                    <a:pt x="1693" y="1188"/>
                  </a:lnTo>
                  <a:lnTo>
                    <a:pt x="1695" y="1191"/>
                  </a:lnTo>
                  <a:lnTo>
                    <a:pt x="1698" y="1198"/>
                  </a:lnTo>
                  <a:lnTo>
                    <a:pt x="1698" y="1201"/>
                  </a:lnTo>
                  <a:lnTo>
                    <a:pt x="1698" y="1210"/>
                  </a:lnTo>
                  <a:lnTo>
                    <a:pt x="1698" y="1229"/>
                  </a:lnTo>
                  <a:lnTo>
                    <a:pt x="1698" y="1251"/>
                  </a:lnTo>
                  <a:lnTo>
                    <a:pt x="1698" y="1268"/>
                  </a:lnTo>
                  <a:lnTo>
                    <a:pt x="1698" y="1275"/>
                  </a:lnTo>
                  <a:lnTo>
                    <a:pt x="1699" y="1275"/>
                  </a:lnTo>
                  <a:lnTo>
                    <a:pt x="1700" y="1275"/>
                  </a:lnTo>
                  <a:lnTo>
                    <a:pt x="1702" y="1276"/>
                  </a:lnTo>
                  <a:lnTo>
                    <a:pt x="1704" y="1278"/>
                  </a:lnTo>
                  <a:lnTo>
                    <a:pt x="1708" y="1282"/>
                  </a:lnTo>
                  <a:lnTo>
                    <a:pt x="1714" y="1291"/>
                  </a:lnTo>
                  <a:lnTo>
                    <a:pt x="1718" y="1300"/>
                  </a:lnTo>
                  <a:lnTo>
                    <a:pt x="1719" y="1304"/>
                  </a:lnTo>
                  <a:lnTo>
                    <a:pt x="1719" y="1306"/>
                  </a:lnTo>
                  <a:lnTo>
                    <a:pt x="1744" y="1350"/>
                  </a:lnTo>
                  <a:lnTo>
                    <a:pt x="1747" y="1352"/>
                  </a:lnTo>
                  <a:lnTo>
                    <a:pt x="1774" y="1361"/>
                  </a:lnTo>
                  <a:lnTo>
                    <a:pt x="1784" y="1366"/>
                  </a:lnTo>
                  <a:lnTo>
                    <a:pt x="1789" y="1370"/>
                  </a:lnTo>
                  <a:lnTo>
                    <a:pt x="1792" y="1375"/>
                  </a:lnTo>
                  <a:lnTo>
                    <a:pt x="1793" y="1379"/>
                  </a:lnTo>
                  <a:lnTo>
                    <a:pt x="1790" y="1386"/>
                  </a:lnTo>
                  <a:lnTo>
                    <a:pt x="1788" y="1389"/>
                  </a:lnTo>
                  <a:lnTo>
                    <a:pt x="1788" y="1394"/>
                  </a:lnTo>
                  <a:lnTo>
                    <a:pt x="1788" y="1406"/>
                  </a:lnTo>
                  <a:lnTo>
                    <a:pt x="1788" y="1419"/>
                  </a:lnTo>
                  <a:lnTo>
                    <a:pt x="1788" y="1430"/>
                  </a:lnTo>
                  <a:lnTo>
                    <a:pt x="1788" y="1434"/>
                  </a:lnTo>
                  <a:lnTo>
                    <a:pt x="1789" y="1438"/>
                  </a:lnTo>
                  <a:lnTo>
                    <a:pt x="1792" y="1441"/>
                  </a:lnTo>
                  <a:lnTo>
                    <a:pt x="1795" y="1444"/>
                  </a:lnTo>
                  <a:lnTo>
                    <a:pt x="1800" y="1449"/>
                  </a:lnTo>
                  <a:lnTo>
                    <a:pt x="1807" y="1452"/>
                  </a:lnTo>
                  <a:lnTo>
                    <a:pt x="1815" y="1456"/>
                  </a:lnTo>
                  <a:lnTo>
                    <a:pt x="1824" y="1464"/>
                  </a:lnTo>
                  <a:lnTo>
                    <a:pt x="1831" y="1471"/>
                  </a:lnTo>
                  <a:lnTo>
                    <a:pt x="1835" y="1474"/>
                  </a:lnTo>
                  <a:lnTo>
                    <a:pt x="1839" y="1473"/>
                  </a:lnTo>
                  <a:lnTo>
                    <a:pt x="1851" y="1473"/>
                  </a:lnTo>
                  <a:lnTo>
                    <a:pt x="1868" y="1473"/>
                  </a:lnTo>
                  <a:lnTo>
                    <a:pt x="1890" y="1474"/>
                  </a:lnTo>
                  <a:lnTo>
                    <a:pt x="1899" y="1475"/>
                  </a:lnTo>
                  <a:lnTo>
                    <a:pt x="1902" y="1475"/>
                  </a:lnTo>
                  <a:lnTo>
                    <a:pt x="1903" y="1475"/>
                  </a:lnTo>
                  <a:lnTo>
                    <a:pt x="1902" y="1476"/>
                  </a:lnTo>
                  <a:lnTo>
                    <a:pt x="1900" y="1477"/>
                  </a:lnTo>
                  <a:lnTo>
                    <a:pt x="1898" y="1479"/>
                  </a:lnTo>
                  <a:lnTo>
                    <a:pt x="1896" y="1480"/>
                  </a:lnTo>
                  <a:lnTo>
                    <a:pt x="1896" y="1482"/>
                  </a:lnTo>
                  <a:lnTo>
                    <a:pt x="1896" y="1483"/>
                  </a:lnTo>
                  <a:lnTo>
                    <a:pt x="1898" y="1485"/>
                  </a:lnTo>
                  <a:lnTo>
                    <a:pt x="1910" y="1502"/>
                  </a:lnTo>
                  <a:lnTo>
                    <a:pt x="1920" y="1517"/>
                  </a:lnTo>
                  <a:lnTo>
                    <a:pt x="1921" y="1523"/>
                  </a:lnTo>
                  <a:lnTo>
                    <a:pt x="1922" y="1528"/>
                  </a:lnTo>
                  <a:lnTo>
                    <a:pt x="1922" y="1535"/>
                  </a:lnTo>
                  <a:lnTo>
                    <a:pt x="1922" y="1541"/>
                  </a:lnTo>
                  <a:lnTo>
                    <a:pt x="1921" y="1551"/>
                  </a:lnTo>
                  <a:lnTo>
                    <a:pt x="1920" y="1556"/>
                  </a:lnTo>
                  <a:close/>
                  <a:moveTo>
                    <a:pt x="4852" y="2875"/>
                  </a:moveTo>
                  <a:lnTo>
                    <a:pt x="4852" y="2875"/>
                  </a:lnTo>
                  <a:lnTo>
                    <a:pt x="4843" y="2884"/>
                  </a:lnTo>
                  <a:lnTo>
                    <a:pt x="4833" y="2896"/>
                  </a:lnTo>
                  <a:lnTo>
                    <a:pt x="4821" y="2907"/>
                  </a:lnTo>
                  <a:lnTo>
                    <a:pt x="4810" y="2918"/>
                  </a:lnTo>
                  <a:lnTo>
                    <a:pt x="4805" y="2924"/>
                  </a:lnTo>
                  <a:lnTo>
                    <a:pt x="4802" y="2929"/>
                  </a:lnTo>
                  <a:lnTo>
                    <a:pt x="4800" y="2935"/>
                  </a:lnTo>
                  <a:lnTo>
                    <a:pt x="4798" y="2940"/>
                  </a:lnTo>
                  <a:lnTo>
                    <a:pt x="4795" y="2949"/>
                  </a:lnTo>
                  <a:lnTo>
                    <a:pt x="4793" y="2957"/>
                  </a:lnTo>
                  <a:lnTo>
                    <a:pt x="4791" y="2966"/>
                  </a:lnTo>
                  <a:lnTo>
                    <a:pt x="4788" y="2978"/>
                  </a:lnTo>
                  <a:lnTo>
                    <a:pt x="4786" y="2991"/>
                  </a:lnTo>
                  <a:lnTo>
                    <a:pt x="4782" y="3001"/>
                  </a:lnTo>
                  <a:lnTo>
                    <a:pt x="4781" y="3005"/>
                  </a:lnTo>
                  <a:lnTo>
                    <a:pt x="4780" y="3007"/>
                  </a:lnTo>
                  <a:lnTo>
                    <a:pt x="4778" y="3011"/>
                  </a:lnTo>
                  <a:lnTo>
                    <a:pt x="4776" y="3013"/>
                  </a:lnTo>
                  <a:lnTo>
                    <a:pt x="4769" y="3016"/>
                  </a:lnTo>
                  <a:lnTo>
                    <a:pt x="4763" y="3021"/>
                  </a:lnTo>
                  <a:lnTo>
                    <a:pt x="4760" y="3022"/>
                  </a:lnTo>
                  <a:lnTo>
                    <a:pt x="4757" y="3023"/>
                  </a:lnTo>
                  <a:lnTo>
                    <a:pt x="4753" y="3024"/>
                  </a:lnTo>
                  <a:lnTo>
                    <a:pt x="4750" y="3024"/>
                  </a:lnTo>
                  <a:lnTo>
                    <a:pt x="4747" y="3023"/>
                  </a:lnTo>
                  <a:lnTo>
                    <a:pt x="4742" y="3021"/>
                  </a:lnTo>
                  <a:lnTo>
                    <a:pt x="4738" y="3019"/>
                  </a:lnTo>
                  <a:lnTo>
                    <a:pt x="4734" y="3015"/>
                  </a:lnTo>
                  <a:lnTo>
                    <a:pt x="4727" y="3010"/>
                  </a:lnTo>
                  <a:lnTo>
                    <a:pt x="4728" y="3010"/>
                  </a:lnTo>
                  <a:lnTo>
                    <a:pt x="4730" y="3010"/>
                  </a:lnTo>
                  <a:lnTo>
                    <a:pt x="4732" y="3010"/>
                  </a:lnTo>
                  <a:lnTo>
                    <a:pt x="4735" y="3009"/>
                  </a:lnTo>
                  <a:lnTo>
                    <a:pt x="4736" y="3006"/>
                  </a:lnTo>
                  <a:lnTo>
                    <a:pt x="4736" y="3003"/>
                  </a:lnTo>
                  <a:lnTo>
                    <a:pt x="4735" y="3001"/>
                  </a:lnTo>
                  <a:lnTo>
                    <a:pt x="4731" y="2999"/>
                  </a:lnTo>
                  <a:lnTo>
                    <a:pt x="4728" y="2996"/>
                  </a:lnTo>
                  <a:lnTo>
                    <a:pt x="4719" y="2993"/>
                  </a:lnTo>
                  <a:lnTo>
                    <a:pt x="4712" y="2993"/>
                  </a:lnTo>
                  <a:lnTo>
                    <a:pt x="4707" y="2994"/>
                  </a:lnTo>
                  <a:lnTo>
                    <a:pt x="4704" y="2996"/>
                  </a:lnTo>
                  <a:lnTo>
                    <a:pt x="4699" y="3001"/>
                  </a:lnTo>
                  <a:lnTo>
                    <a:pt x="4694" y="3005"/>
                  </a:lnTo>
                  <a:lnTo>
                    <a:pt x="4687" y="3014"/>
                  </a:lnTo>
                  <a:lnTo>
                    <a:pt x="4684" y="3017"/>
                  </a:lnTo>
                  <a:lnTo>
                    <a:pt x="4678" y="3021"/>
                  </a:lnTo>
                  <a:lnTo>
                    <a:pt x="4675" y="3023"/>
                  </a:lnTo>
                  <a:lnTo>
                    <a:pt x="4672" y="3024"/>
                  </a:lnTo>
                  <a:lnTo>
                    <a:pt x="4668" y="3024"/>
                  </a:lnTo>
                  <a:lnTo>
                    <a:pt x="4666" y="3023"/>
                  </a:lnTo>
                  <a:lnTo>
                    <a:pt x="4664" y="3020"/>
                  </a:lnTo>
                  <a:lnTo>
                    <a:pt x="4663" y="3017"/>
                  </a:lnTo>
                  <a:lnTo>
                    <a:pt x="4662" y="3013"/>
                  </a:lnTo>
                  <a:lnTo>
                    <a:pt x="4661" y="3005"/>
                  </a:lnTo>
                  <a:lnTo>
                    <a:pt x="4660" y="2996"/>
                  </a:lnTo>
                  <a:lnTo>
                    <a:pt x="4661" y="2990"/>
                  </a:lnTo>
                  <a:lnTo>
                    <a:pt x="4662" y="2984"/>
                  </a:lnTo>
                  <a:lnTo>
                    <a:pt x="4666" y="2970"/>
                  </a:lnTo>
                  <a:lnTo>
                    <a:pt x="4673" y="2955"/>
                  </a:lnTo>
                  <a:lnTo>
                    <a:pt x="4675" y="2951"/>
                  </a:lnTo>
                  <a:lnTo>
                    <a:pt x="4677" y="2949"/>
                  </a:lnTo>
                  <a:lnTo>
                    <a:pt x="4679" y="2948"/>
                  </a:lnTo>
                  <a:lnTo>
                    <a:pt x="4682" y="2948"/>
                  </a:lnTo>
                  <a:lnTo>
                    <a:pt x="4685" y="2948"/>
                  </a:lnTo>
                  <a:lnTo>
                    <a:pt x="4686" y="2949"/>
                  </a:lnTo>
                  <a:lnTo>
                    <a:pt x="4692" y="2939"/>
                  </a:lnTo>
                  <a:lnTo>
                    <a:pt x="4703" y="2916"/>
                  </a:lnTo>
                  <a:lnTo>
                    <a:pt x="4707" y="2906"/>
                  </a:lnTo>
                  <a:lnTo>
                    <a:pt x="4709" y="2899"/>
                  </a:lnTo>
                  <a:lnTo>
                    <a:pt x="4708" y="2892"/>
                  </a:lnTo>
                  <a:lnTo>
                    <a:pt x="4708" y="2881"/>
                  </a:lnTo>
                  <a:lnTo>
                    <a:pt x="4707" y="2874"/>
                  </a:lnTo>
                  <a:lnTo>
                    <a:pt x="4705" y="2870"/>
                  </a:lnTo>
                  <a:lnTo>
                    <a:pt x="4702" y="2865"/>
                  </a:lnTo>
                  <a:lnTo>
                    <a:pt x="4697" y="2863"/>
                  </a:lnTo>
                  <a:lnTo>
                    <a:pt x="4689" y="2862"/>
                  </a:lnTo>
                  <a:lnTo>
                    <a:pt x="4686" y="2861"/>
                  </a:lnTo>
                  <a:lnTo>
                    <a:pt x="4686" y="2860"/>
                  </a:lnTo>
                  <a:lnTo>
                    <a:pt x="4686" y="2847"/>
                  </a:lnTo>
                  <a:lnTo>
                    <a:pt x="4687" y="2843"/>
                  </a:lnTo>
                  <a:lnTo>
                    <a:pt x="4689" y="2840"/>
                  </a:lnTo>
                  <a:lnTo>
                    <a:pt x="4692" y="2837"/>
                  </a:lnTo>
                  <a:lnTo>
                    <a:pt x="4695" y="2836"/>
                  </a:lnTo>
                  <a:lnTo>
                    <a:pt x="4700" y="2836"/>
                  </a:lnTo>
                  <a:lnTo>
                    <a:pt x="4703" y="2836"/>
                  </a:lnTo>
                  <a:lnTo>
                    <a:pt x="4707" y="2828"/>
                  </a:lnTo>
                  <a:lnTo>
                    <a:pt x="4714" y="2811"/>
                  </a:lnTo>
                  <a:lnTo>
                    <a:pt x="4715" y="2808"/>
                  </a:lnTo>
                  <a:lnTo>
                    <a:pt x="4717" y="2805"/>
                  </a:lnTo>
                  <a:lnTo>
                    <a:pt x="4719" y="2804"/>
                  </a:lnTo>
                  <a:lnTo>
                    <a:pt x="4721" y="2804"/>
                  </a:lnTo>
                  <a:lnTo>
                    <a:pt x="4727" y="2803"/>
                  </a:lnTo>
                  <a:lnTo>
                    <a:pt x="4734" y="2800"/>
                  </a:lnTo>
                  <a:lnTo>
                    <a:pt x="4741" y="2798"/>
                  </a:lnTo>
                  <a:lnTo>
                    <a:pt x="4750" y="2796"/>
                  </a:lnTo>
                  <a:lnTo>
                    <a:pt x="4762" y="2792"/>
                  </a:lnTo>
                  <a:lnTo>
                    <a:pt x="4774" y="2789"/>
                  </a:lnTo>
                  <a:lnTo>
                    <a:pt x="4784" y="2786"/>
                  </a:lnTo>
                  <a:lnTo>
                    <a:pt x="4791" y="2781"/>
                  </a:lnTo>
                  <a:lnTo>
                    <a:pt x="4797" y="2773"/>
                  </a:lnTo>
                  <a:lnTo>
                    <a:pt x="4804" y="2759"/>
                  </a:lnTo>
                  <a:lnTo>
                    <a:pt x="4809" y="2752"/>
                  </a:lnTo>
                  <a:lnTo>
                    <a:pt x="4813" y="2748"/>
                  </a:lnTo>
                  <a:lnTo>
                    <a:pt x="4816" y="2747"/>
                  </a:lnTo>
                  <a:lnTo>
                    <a:pt x="4820" y="2747"/>
                  </a:lnTo>
                  <a:lnTo>
                    <a:pt x="4827" y="2751"/>
                  </a:lnTo>
                  <a:lnTo>
                    <a:pt x="4837" y="2754"/>
                  </a:lnTo>
                  <a:lnTo>
                    <a:pt x="4844" y="2755"/>
                  </a:lnTo>
                  <a:lnTo>
                    <a:pt x="4850" y="2757"/>
                  </a:lnTo>
                  <a:lnTo>
                    <a:pt x="4854" y="2759"/>
                  </a:lnTo>
                  <a:lnTo>
                    <a:pt x="4858" y="2762"/>
                  </a:lnTo>
                  <a:lnTo>
                    <a:pt x="4865" y="2768"/>
                  </a:lnTo>
                  <a:lnTo>
                    <a:pt x="4868" y="2770"/>
                  </a:lnTo>
                  <a:lnTo>
                    <a:pt x="4868" y="2779"/>
                  </a:lnTo>
                  <a:lnTo>
                    <a:pt x="4868" y="2796"/>
                  </a:lnTo>
                  <a:lnTo>
                    <a:pt x="4868" y="2804"/>
                  </a:lnTo>
                  <a:lnTo>
                    <a:pt x="4869" y="2814"/>
                  </a:lnTo>
                  <a:lnTo>
                    <a:pt x="4871" y="2825"/>
                  </a:lnTo>
                  <a:lnTo>
                    <a:pt x="4871" y="2836"/>
                  </a:lnTo>
                  <a:lnTo>
                    <a:pt x="4871" y="2841"/>
                  </a:lnTo>
                  <a:lnTo>
                    <a:pt x="4868" y="2846"/>
                  </a:lnTo>
                  <a:lnTo>
                    <a:pt x="4866" y="2852"/>
                  </a:lnTo>
                  <a:lnTo>
                    <a:pt x="4864" y="2856"/>
                  </a:lnTo>
                  <a:lnTo>
                    <a:pt x="4857" y="2866"/>
                  </a:lnTo>
                  <a:lnTo>
                    <a:pt x="4852" y="2875"/>
                  </a:lnTo>
                  <a:close/>
                </a:path>
              </a:pathLst>
            </a:custGeom>
            <a:solidFill>
              <a:srgbClr val="AAD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57" name="Freeform 28">
              <a:extLst>
                <a:ext uri="{FF2B5EF4-FFF2-40B4-BE49-F238E27FC236}">
                  <a16:creationId xmlns:a16="http://schemas.microsoft.com/office/drawing/2014/main" id="{A003043F-E319-777E-BE2B-91D0F73E4982}"/>
                </a:ext>
              </a:extLst>
            </p:cNvPr>
            <p:cNvSpPr>
              <a:spLocks/>
            </p:cNvSpPr>
            <p:nvPr/>
          </p:nvSpPr>
          <p:spPr bwMode="auto">
            <a:xfrm>
              <a:off x="7112975" y="2932951"/>
              <a:ext cx="4801340" cy="806056"/>
            </a:xfrm>
            <a:custGeom>
              <a:avLst/>
              <a:gdLst>
                <a:gd name="T0" fmla="*/ 17170 w 17215"/>
                <a:gd name="T1" fmla="*/ 1477 h 2680"/>
                <a:gd name="T2" fmla="*/ 16944 w 17215"/>
                <a:gd name="T3" fmla="*/ 1675 h 2680"/>
                <a:gd name="T4" fmla="*/ 16538 w 17215"/>
                <a:gd name="T5" fmla="*/ 1862 h 2680"/>
                <a:gd name="T6" fmla="*/ 15969 w 17215"/>
                <a:gd name="T7" fmla="*/ 2035 h 2680"/>
                <a:gd name="T8" fmla="*/ 15249 w 17215"/>
                <a:gd name="T9" fmla="*/ 2192 h 2680"/>
                <a:gd name="T10" fmla="*/ 14394 w 17215"/>
                <a:gd name="T11" fmla="*/ 2332 h 2680"/>
                <a:gd name="T12" fmla="*/ 13420 w 17215"/>
                <a:gd name="T13" fmla="*/ 2452 h 2680"/>
                <a:gd name="T14" fmla="*/ 12339 w 17215"/>
                <a:gd name="T15" fmla="*/ 2549 h 2680"/>
                <a:gd name="T16" fmla="*/ 11167 w 17215"/>
                <a:gd name="T17" fmla="*/ 2620 h 2680"/>
                <a:gd name="T18" fmla="*/ 9918 w 17215"/>
                <a:gd name="T19" fmla="*/ 2665 h 2680"/>
                <a:gd name="T20" fmla="*/ 8607 w 17215"/>
                <a:gd name="T21" fmla="*/ 2680 h 2680"/>
                <a:gd name="T22" fmla="*/ 7296 w 17215"/>
                <a:gd name="T23" fmla="*/ 2665 h 2680"/>
                <a:gd name="T24" fmla="*/ 6047 w 17215"/>
                <a:gd name="T25" fmla="*/ 2620 h 2680"/>
                <a:gd name="T26" fmla="*/ 4875 w 17215"/>
                <a:gd name="T27" fmla="*/ 2549 h 2680"/>
                <a:gd name="T28" fmla="*/ 3794 w 17215"/>
                <a:gd name="T29" fmla="*/ 2452 h 2680"/>
                <a:gd name="T30" fmla="*/ 2819 w 17215"/>
                <a:gd name="T31" fmla="*/ 2332 h 2680"/>
                <a:gd name="T32" fmla="*/ 1965 w 17215"/>
                <a:gd name="T33" fmla="*/ 2192 h 2680"/>
                <a:gd name="T34" fmla="*/ 1245 w 17215"/>
                <a:gd name="T35" fmla="*/ 2035 h 2680"/>
                <a:gd name="T36" fmla="*/ 676 w 17215"/>
                <a:gd name="T37" fmla="*/ 1862 h 2680"/>
                <a:gd name="T38" fmla="*/ 270 w 17215"/>
                <a:gd name="T39" fmla="*/ 1675 h 2680"/>
                <a:gd name="T40" fmla="*/ 44 w 17215"/>
                <a:gd name="T41" fmla="*/ 1477 h 2680"/>
                <a:gd name="T42" fmla="*/ 11 w 17215"/>
                <a:gd name="T43" fmla="*/ 1271 h 2680"/>
                <a:gd name="T44" fmla="*/ 174 w 17215"/>
                <a:gd name="T45" fmla="*/ 1070 h 2680"/>
                <a:gd name="T46" fmla="*/ 522 w 17215"/>
                <a:gd name="T47" fmla="*/ 879 h 2680"/>
                <a:gd name="T48" fmla="*/ 1039 w 17215"/>
                <a:gd name="T49" fmla="*/ 702 h 2680"/>
                <a:gd name="T50" fmla="*/ 1709 w 17215"/>
                <a:gd name="T51" fmla="*/ 538 h 2680"/>
                <a:gd name="T52" fmla="*/ 2521 w 17215"/>
                <a:gd name="T53" fmla="*/ 393 h 2680"/>
                <a:gd name="T54" fmla="*/ 3457 w 17215"/>
                <a:gd name="T55" fmla="*/ 266 h 2680"/>
                <a:gd name="T56" fmla="*/ 4504 w 17215"/>
                <a:gd name="T57" fmla="*/ 162 h 2680"/>
                <a:gd name="T58" fmla="*/ 5647 w 17215"/>
                <a:gd name="T59" fmla="*/ 81 h 2680"/>
                <a:gd name="T60" fmla="*/ 6872 w 17215"/>
                <a:gd name="T61" fmla="*/ 27 h 2680"/>
                <a:gd name="T62" fmla="*/ 8164 w 17215"/>
                <a:gd name="T63" fmla="*/ 2 h 2680"/>
                <a:gd name="T64" fmla="*/ 9487 w 17215"/>
                <a:gd name="T65" fmla="*/ 7 h 2680"/>
                <a:gd name="T66" fmla="*/ 10758 w 17215"/>
                <a:gd name="T67" fmla="*/ 43 h 2680"/>
                <a:gd name="T68" fmla="*/ 11958 w 17215"/>
                <a:gd name="T69" fmla="*/ 106 h 2680"/>
                <a:gd name="T70" fmla="*/ 13070 w 17215"/>
                <a:gd name="T71" fmla="*/ 194 h 2680"/>
                <a:gd name="T72" fmla="*/ 14083 w 17215"/>
                <a:gd name="T73" fmla="*/ 307 h 2680"/>
                <a:gd name="T74" fmla="*/ 14978 w 17215"/>
                <a:gd name="T75" fmla="*/ 439 h 2680"/>
                <a:gd name="T76" fmla="*/ 15745 w 17215"/>
                <a:gd name="T77" fmla="*/ 590 h 2680"/>
                <a:gd name="T78" fmla="*/ 16365 w 17215"/>
                <a:gd name="T79" fmla="*/ 759 h 2680"/>
                <a:gd name="T80" fmla="*/ 16827 w 17215"/>
                <a:gd name="T81" fmla="*/ 941 h 2680"/>
                <a:gd name="T82" fmla="*/ 17115 w 17215"/>
                <a:gd name="T83" fmla="*/ 1136 h 2680"/>
                <a:gd name="T84" fmla="*/ 17215 w 17215"/>
                <a:gd name="T85" fmla="*/ 1340 h 2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215" h="2680">
                  <a:moveTo>
                    <a:pt x="17215" y="1340"/>
                  </a:moveTo>
                  <a:lnTo>
                    <a:pt x="17204" y="1409"/>
                  </a:lnTo>
                  <a:lnTo>
                    <a:pt x="17170" y="1477"/>
                  </a:lnTo>
                  <a:lnTo>
                    <a:pt x="17115" y="1544"/>
                  </a:lnTo>
                  <a:lnTo>
                    <a:pt x="17040" y="1610"/>
                  </a:lnTo>
                  <a:lnTo>
                    <a:pt x="16944" y="1675"/>
                  </a:lnTo>
                  <a:lnTo>
                    <a:pt x="16827" y="1738"/>
                  </a:lnTo>
                  <a:lnTo>
                    <a:pt x="16692" y="1801"/>
                  </a:lnTo>
                  <a:lnTo>
                    <a:pt x="16538" y="1862"/>
                  </a:lnTo>
                  <a:lnTo>
                    <a:pt x="16365" y="1922"/>
                  </a:lnTo>
                  <a:lnTo>
                    <a:pt x="16175" y="1979"/>
                  </a:lnTo>
                  <a:lnTo>
                    <a:pt x="15969" y="2035"/>
                  </a:lnTo>
                  <a:lnTo>
                    <a:pt x="15745" y="2089"/>
                  </a:lnTo>
                  <a:lnTo>
                    <a:pt x="15505" y="2142"/>
                  </a:lnTo>
                  <a:lnTo>
                    <a:pt x="15249" y="2192"/>
                  </a:lnTo>
                  <a:lnTo>
                    <a:pt x="14978" y="2241"/>
                  </a:lnTo>
                  <a:lnTo>
                    <a:pt x="14693" y="2288"/>
                  </a:lnTo>
                  <a:lnTo>
                    <a:pt x="14394" y="2332"/>
                  </a:lnTo>
                  <a:lnTo>
                    <a:pt x="14083" y="2374"/>
                  </a:lnTo>
                  <a:lnTo>
                    <a:pt x="13757" y="2414"/>
                  </a:lnTo>
                  <a:lnTo>
                    <a:pt x="13420" y="2452"/>
                  </a:lnTo>
                  <a:lnTo>
                    <a:pt x="13070" y="2486"/>
                  </a:lnTo>
                  <a:lnTo>
                    <a:pt x="12710" y="2519"/>
                  </a:lnTo>
                  <a:lnTo>
                    <a:pt x="12339" y="2549"/>
                  </a:lnTo>
                  <a:lnTo>
                    <a:pt x="11958" y="2575"/>
                  </a:lnTo>
                  <a:lnTo>
                    <a:pt x="11567" y="2599"/>
                  </a:lnTo>
                  <a:lnTo>
                    <a:pt x="11167" y="2620"/>
                  </a:lnTo>
                  <a:lnTo>
                    <a:pt x="10758" y="2638"/>
                  </a:lnTo>
                  <a:lnTo>
                    <a:pt x="10342" y="2654"/>
                  </a:lnTo>
                  <a:lnTo>
                    <a:pt x="9918" y="2665"/>
                  </a:lnTo>
                  <a:lnTo>
                    <a:pt x="9487" y="2673"/>
                  </a:lnTo>
                  <a:lnTo>
                    <a:pt x="9050" y="2679"/>
                  </a:lnTo>
                  <a:lnTo>
                    <a:pt x="8607" y="2680"/>
                  </a:lnTo>
                  <a:lnTo>
                    <a:pt x="8164" y="2679"/>
                  </a:lnTo>
                  <a:lnTo>
                    <a:pt x="7727" y="2673"/>
                  </a:lnTo>
                  <a:lnTo>
                    <a:pt x="7296" y="2665"/>
                  </a:lnTo>
                  <a:lnTo>
                    <a:pt x="6872" y="2654"/>
                  </a:lnTo>
                  <a:lnTo>
                    <a:pt x="6456" y="2638"/>
                  </a:lnTo>
                  <a:lnTo>
                    <a:pt x="6047" y="2620"/>
                  </a:lnTo>
                  <a:lnTo>
                    <a:pt x="5647" y="2599"/>
                  </a:lnTo>
                  <a:lnTo>
                    <a:pt x="5256" y="2575"/>
                  </a:lnTo>
                  <a:lnTo>
                    <a:pt x="4875" y="2549"/>
                  </a:lnTo>
                  <a:lnTo>
                    <a:pt x="4504" y="2519"/>
                  </a:lnTo>
                  <a:lnTo>
                    <a:pt x="4143" y="2486"/>
                  </a:lnTo>
                  <a:lnTo>
                    <a:pt x="3794" y="2452"/>
                  </a:lnTo>
                  <a:lnTo>
                    <a:pt x="3457" y="2414"/>
                  </a:lnTo>
                  <a:lnTo>
                    <a:pt x="3132" y="2374"/>
                  </a:lnTo>
                  <a:lnTo>
                    <a:pt x="2819" y="2332"/>
                  </a:lnTo>
                  <a:lnTo>
                    <a:pt x="2521" y="2288"/>
                  </a:lnTo>
                  <a:lnTo>
                    <a:pt x="2236" y="2241"/>
                  </a:lnTo>
                  <a:lnTo>
                    <a:pt x="1965" y="2192"/>
                  </a:lnTo>
                  <a:lnTo>
                    <a:pt x="1709" y="2142"/>
                  </a:lnTo>
                  <a:lnTo>
                    <a:pt x="1470" y="2089"/>
                  </a:lnTo>
                  <a:lnTo>
                    <a:pt x="1245" y="2035"/>
                  </a:lnTo>
                  <a:lnTo>
                    <a:pt x="1039" y="1979"/>
                  </a:lnTo>
                  <a:lnTo>
                    <a:pt x="848" y="1922"/>
                  </a:lnTo>
                  <a:lnTo>
                    <a:pt x="676" y="1862"/>
                  </a:lnTo>
                  <a:lnTo>
                    <a:pt x="522" y="1801"/>
                  </a:lnTo>
                  <a:lnTo>
                    <a:pt x="386" y="1738"/>
                  </a:lnTo>
                  <a:lnTo>
                    <a:pt x="270" y="1675"/>
                  </a:lnTo>
                  <a:lnTo>
                    <a:pt x="174" y="1610"/>
                  </a:lnTo>
                  <a:lnTo>
                    <a:pt x="99" y="1544"/>
                  </a:lnTo>
                  <a:lnTo>
                    <a:pt x="44" y="1477"/>
                  </a:lnTo>
                  <a:lnTo>
                    <a:pt x="11" y="1409"/>
                  </a:lnTo>
                  <a:lnTo>
                    <a:pt x="0" y="1340"/>
                  </a:lnTo>
                  <a:lnTo>
                    <a:pt x="11" y="1271"/>
                  </a:lnTo>
                  <a:lnTo>
                    <a:pt x="44" y="1203"/>
                  </a:lnTo>
                  <a:lnTo>
                    <a:pt x="99" y="1136"/>
                  </a:lnTo>
                  <a:lnTo>
                    <a:pt x="174" y="1070"/>
                  </a:lnTo>
                  <a:lnTo>
                    <a:pt x="270" y="1005"/>
                  </a:lnTo>
                  <a:lnTo>
                    <a:pt x="386" y="941"/>
                  </a:lnTo>
                  <a:lnTo>
                    <a:pt x="522" y="879"/>
                  </a:lnTo>
                  <a:lnTo>
                    <a:pt x="676" y="819"/>
                  </a:lnTo>
                  <a:lnTo>
                    <a:pt x="848" y="759"/>
                  </a:lnTo>
                  <a:lnTo>
                    <a:pt x="1039" y="702"/>
                  </a:lnTo>
                  <a:lnTo>
                    <a:pt x="1245" y="645"/>
                  </a:lnTo>
                  <a:lnTo>
                    <a:pt x="1470" y="590"/>
                  </a:lnTo>
                  <a:lnTo>
                    <a:pt x="1709" y="538"/>
                  </a:lnTo>
                  <a:lnTo>
                    <a:pt x="1965" y="488"/>
                  </a:lnTo>
                  <a:lnTo>
                    <a:pt x="2236" y="439"/>
                  </a:lnTo>
                  <a:lnTo>
                    <a:pt x="2521" y="393"/>
                  </a:lnTo>
                  <a:lnTo>
                    <a:pt x="2819" y="348"/>
                  </a:lnTo>
                  <a:lnTo>
                    <a:pt x="3132" y="307"/>
                  </a:lnTo>
                  <a:lnTo>
                    <a:pt x="3457" y="266"/>
                  </a:lnTo>
                  <a:lnTo>
                    <a:pt x="3794" y="229"/>
                  </a:lnTo>
                  <a:lnTo>
                    <a:pt x="4143" y="194"/>
                  </a:lnTo>
                  <a:lnTo>
                    <a:pt x="4504" y="162"/>
                  </a:lnTo>
                  <a:lnTo>
                    <a:pt x="4875" y="132"/>
                  </a:lnTo>
                  <a:lnTo>
                    <a:pt x="5256" y="106"/>
                  </a:lnTo>
                  <a:lnTo>
                    <a:pt x="5647" y="81"/>
                  </a:lnTo>
                  <a:lnTo>
                    <a:pt x="6047" y="60"/>
                  </a:lnTo>
                  <a:lnTo>
                    <a:pt x="6456" y="43"/>
                  </a:lnTo>
                  <a:lnTo>
                    <a:pt x="6872" y="27"/>
                  </a:lnTo>
                  <a:lnTo>
                    <a:pt x="7296" y="15"/>
                  </a:lnTo>
                  <a:lnTo>
                    <a:pt x="7727" y="7"/>
                  </a:lnTo>
                  <a:lnTo>
                    <a:pt x="8164" y="2"/>
                  </a:lnTo>
                  <a:lnTo>
                    <a:pt x="8607" y="0"/>
                  </a:lnTo>
                  <a:lnTo>
                    <a:pt x="9050" y="2"/>
                  </a:lnTo>
                  <a:lnTo>
                    <a:pt x="9487" y="7"/>
                  </a:lnTo>
                  <a:lnTo>
                    <a:pt x="9918" y="15"/>
                  </a:lnTo>
                  <a:lnTo>
                    <a:pt x="10342" y="27"/>
                  </a:lnTo>
                  <a:lnTo>
                    <a:pt x="10758" y="43"/>
                  </a:lnTo>
                  <a:lnTo>
                    <a:pt x="11167" y="60"/>
                  </a:lnTo>
                  <a:lnTo>
                    <a:pt x="11567" y="81"/>
                  </a:lnTo>
                  <a:lnTo>
                    <a:pt x="11958" y="106"/>
                  </a:lnTo>
                  <a:lnTo>
                    <a:pt x="12339" y="132"/>
                  </a:lnTo>
                  <a:lnTo>
                    <a:pt x="12710" y="162"/>
                  </a:lnTo>
                  <a:lnTo>
                    <a:pt x="13070" y="194"/>
                  </a:lnTo>
                  <a:lnTo>
                    <a:pt x="13420" y="229"/>
                  </a:lnTo>
                  <a:lnTo>
                    <a:pt x="13757" y="266"/>
                  </a:lnTo>
                  <a:lnTo>
                    <a:pt x="14083" y="307"/>
                  </a:lnTo>
                  <a:lnTo>
                    <a:pt x="14394" y="348"/>
                  </a:lnTo>
                  <a:lnTo>
                    <a:pt x="14693" y="393"/>
                  </a:lnTo>
                  <a:lnTo>
                    <a:pt x="14978" y="439"/>
                  </a:lnTo>
                  <a:lnTo>
                    <a:pt x="15249" y="488"/>
                  </a:lnTo>
                  <a:lnTo>
                    <a:pt x="15505" y="538"/>
                  </a:lnTo>
                  <a:lnTo>
                    <a:pt x="15745" y="590"/>
                  </a:lnTo>
                  <a:lnTo>
                    <a:pt x="15969" y="645"/>
                  </a:lnTo>
                  <a:lnTo>
                    <a:pt x="16175" y="702"/>
                  </a:lnTo>
                  <a:lnTo>
                    <a:pt x="16365" y="759"/>
                  </a:lnTo>
                  <a:lnTo>
                    <a:pt x="16538" y="819"/>
                  </a:lnTo>
                  <a:lnTo>
                    <a:pt x="16692" y="879"/>
                  </a:lnTo>
                  <a:lnTo>
                    <a:pt x="16827" y="941"/>
                  </a:lnTo>
                  <a:lnTo>
                    <a:pt x="16944" y="1005"/>
                  </a:lnTo>
                  <a:lnTo>
                    <a:pt x="17040" y="1070"/>
                  </a:lnTo>
                  <a:lnTo>
                    <a:pt x="17115" y="1136"/>
                  </a:lnTo>
                  <a:lnTo>
                    <a:pt x="17170" y="1203"/>
                  </a:lnTo>
                  <a:lnTo>
                    <a:pt x="17204" y="1271"/>
                  </a:lnTo>
                  <a:lnTo>
                    <a:pt x="17215" y="1340"/>
                  </a:lnTo>
                  <a:close/>
                </a:path>
              </a:pathLst>
            </a:custGeom>
            <a:gradFill flip="none" rotWithShape="1">
              <a:gsLst>
                <a:gs pos="10000">
                  <a:schemeClr val="accent1"/>
                </a:gs>
                <a:gs pos="100000">
                  <a:schemeClr val="accent1">
                    <a:lumMod val="50000"/>
                  </a:schemeClr>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58" name="Freeform 29">
              <a:extLst>
                <a:ext uri="{FF2B5EF4-FFF2-40B4-BE49-F238E27FC236}">
                  <a16:creationId xmlns:a16="http://schemas.microsoft.com/office/drawing/2014/main" id="{EC0A4A26-ECB3-C40E-3741-35BA65821810}"/>
                </a:ext>
              </a:extLst>
            </p:cNvPr>
            <p:cNvSpPr>
              <a:spLocks/>
            </p:cNvSpPr>
            <p:nvPr/>
          </p:nvSpPr>
          <p:spPr bwMode="auto">
            <a:xfrm>
              <a:off x="7270556" y="889237"/>
              <a:ext cx="4507095" cy="2305380"/>
            </a:xfrm>
            <a:custGeom>
              <a:avLst/>
              <a:gdLst>
                <a:gd name="T0" fmla="*/ 16162 w 16162"/>
                <a:gd name="T1" fmla="*/ 7664 h 7664"/>
                <a:gd name="T2" fmla="*/ 12731 w 16162"/>
                <a:gd name="T3" fmla="*/ 3898 h 7664"/>
                <a:gd name="T4" fmla="*/ 11845 w 16162"/>
                <a:gd name="T5" fmla="*/ 4954 h 7664"/>
                <a:gd name="T6" fmla="*/ 8607 w 16162"/>
                <a:gd name="T7" fmla="*/ 0 h 7664"/>
                <a:gd name="T8" fmla="*/ 6254 w 16162"/>
                <a:gd name="T9" fmla="*/ 3382 h 7664"/>
                <a:gd name="T10" fmla="*/ 5120 w 16162"/>
                <a:gd name="T11" fmla="*/ 2542 h 7664"/>
                <a:gd name="T12" fmla="*/ 3016 w 16162"/>
                <a:gd name="T13" fmla="*/ 5958 h 7664"/>
                <a:gd name="T14" fmla="*/ 0 w 16162"/>
                <a:gd name="T15" fmla="*/ 7664 h 7664"/>
                <a:gd name="T16" fmla="*/ 16162 w 16162"/>
                <a:gd name="T17" fmla="*/ 7664 h 7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2" h="7664">
                  <a:moveTo>
                    <a:pt x="16162" y="7664"/>
                  </a:moveTo>
                  <a:lnTo>
                    <a:pt x="12731" y="3898"/>
                  </a:lnTo>
                  <a:lnTo>
                    <a:pt x="11845" y="4954"/>
                  </a:lnTo>
                  <a:lnTo>
                    <a:pt x="8607" y="0"/>
                  </a:lnTo>
                  <a:lnTo>
                    <a:pt x="6254" y="3382"/>
                  </a:lnTo>
                  <a:lnTo>
                    <a:pt x="5120" y="2542"/>
                  </a:lnTo>
                  <a:lnTo>
                    <a:pt x="3016" y="5958"/>
                  </a:lnTo>
                  <a:lnTo>
                    <a:pt x="0" y="7664"/>
                  </a:lnTo>
                  <a:lnTo>
                    <a:pt x="16162" y="7664"/>
                  </a:lnTo>
                  <a:close/>
                </a:path>
              </a:pathLst>
            </a:custGeom>
            <a:solidFill>
              <a:srgbClr val="00A1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62" name="Oval 87">
              <a:extLst>
                <a:ext uri="{FF2B5EF4-FFF2-40B4-BE49-F238E27FC236}">
                  <a16:creationId xmlns:a16="http://schemas.microsoft.com/office/drawing/2014/main" id="{6F06BA8B-D74C-EFFC-0154-A40745C7B240}"/>
                </a:ext>
              </a:extLst>
            </p:cNvPr>
            <p:cNvSpPr/>
            <p:nvPr/>
          </p:nvSpPr>
          <p:spPr>
            <a:xfrm>
              <a:off x="8232776" y="3459292"/>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63" name="Freeform 30">
              <a:extLst>
                <a:ext uri="{FF2B5EF4-FFF2-40B4-BE49-F238E27FC236}">
                  <a16:creationId xmlns:a16="http://schemas.microsoft.com/office/drawing/2014/main" id="{256A9588-A7FB-17BD-D9E0-8147C6643400}"/>
                </a:ext>
              </a:extLst>
            </p:cNvPr>
            <p:cNvSpPr>
              <a:spLocks/>
            </p:cNvSpPr>
            <p:nvPr/>
          </p:nvSpPr>
          <p:spPr bwMode="auto">
            <a:xfrm>
              <a:off x="7231509" y="2905881"/>
              <a:ext cx="4546142" cy="296255"/>
            </a:xfrm>
            <a:custGeom>
              <a:avLst/>
              <a:gdLst>
                <a:gd name="T0" fmla="*/ 0 w 16301"/>
                <a:gd name="T1" fmla="*/ 988 h 988"/>
                <a:gd name="T2" fmla="*/ 8119 w 16301"/>
                <a:gd name="T3" fmla="*/ 0 h 988"/>
                <a:gd name="T4" fmla="*/ 7876 w 16301"/>
                <a:gd name="T5" fmla="*/ 383 h 988"/>
                <a:gd name="T6" fmla="*/ 9454 w 16301"/>
                <a:gd name="T7" fmla="*/ 636 h 988"/>
                <a:gd name="T8" fmla="*/ 16301 w 16301"/>
                <a:gd name="T9" fmla="*/ 960 h 988"/>
                <a:gd name="T10" fmla="*/ 0 w 16301"/>
                <a:gd name="T11" fmla="*/ 988 h 988"/>
              </a:gdLst>
              <a:ahLst/>
              <a:cxnLst>
                <a:cxn ang="0">
                  <a:pos x="T0" y="T1"/>
                </a:cxn>
                <a:cxn ang="0">
                  <a:pos x="T2" y="T3"/>
                </a:cxn>
                <a:cxn ang="0">
                  <a:pos x="T4" y="T5"/>
                </a:cxn>
                <a:cxn ang="0">
                  <a:pos x="T6" y="T7"/>
                </a:cxn>
                <a:cxn ang="0">
                  <a:pos x="T8" y="T9"/>
                </a:cxn>
                <a:cxn ang="0">
                  <a:pos x="T10" y="T11"/>
                </a:cxn>
              </a:cxnLst>
              <a:rect l="0" t="0" r="r" b="b"/>
              <a:pathLst>
                <a:path w="16301" h="988">
                  <a:moveTo>
                    <a:pt x="0" y="988"/>
                  </a:moveTo>
                  <a:lnTo>
                    <a:pt x="8119" y="0"/>
                  </a:lnTo>
                  <a:lnTo>
                    <a:pt x="7876" y="383"/>
                  </a:lnTo>
                  <a:lnTo>
                    <a:pt x="9454" y="636"/>
                  </a:lnTo>
                  <a:lnTo>
                    <a:pt x="16301" y="960"/>
                  </a:lnTo>
                  <a:lnTo>
                    <a:pt x="0" y="988"/>
                  </a:lnTo>
                  <a:close/>
                </a:path>
              </a:pathLst>
            </a:custGeom>
            <a:solidFill>
              <a:srgbClr val="007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64" name="Freeform 31">
              <a:extLst>
                <a:ext uri="{FF2B5EF4-FFF2-40B4-BE49-F238E27FC236}">
                  <a16:creationId xmlns:a16="http://schemas.microsoft.com/office/drawing/2014/main" id="{84B2A275-AC94-2D7A-F60A-E7797F2A8979}"/>
                </a:ext>
              </a:extLst>
            </p:cNvPr>
            <p:cNvSpPr>
              <a:spLocks/>
            </p:cNvSpPr>
            <p:nvPr/>
          </p:nvSpPr>
          <p:spPr bwMode="auto">
            <a:xfrm>
              <a:off x="9670528" y="889237"/>
              <a:ext cx="2107124" cy="2306884"/>
            </a:xfrm>
            <a:custGeom>
              <a:avLst/>
              <a:gdLst>
                <a:gd name="T0" fmla="*/ 0 w 7555"/>
                <a:gd name="T1" fmla="*/ 0 h 7673"/>
                <a:gd name="T2" fmla="*/ 685 w 7555"/>
                <a:gd name="T3" fmla="*/ 2373 h 7673"/>
                <a:gd name="T4" fmla="*/ 1369 w 7555"/>
                <a:gd name="T5" fmla="*/ 4748 h 7673"/>
                <a:gd name="T6" fmla="*/ 2001 w 7555"/>
                <a:gd name="T7" fmla="*/ 3582 h 7673"/>
                <a:gd name="T8" fmla="*/ 2706 w 7555"/>
                <a:gd name="T9" fmla="*/ 7673 h 7673"/>
                <a:gd name="T10" fmla="*/ 7555 w 7555"/>
                <a:gd name="T11" fmla="*/ 7664 h 7673"/>
                <a:gd name="T12" fmla="*/ 4124 w 7555"/>
                <a:gd name="T13" fmla="*/ 3898 h 7673"/>
                <a:gd name="T14" fmla="*/ 3238 w 7555"/>
                <a:gd name="T15" fmla="*/ 4954 h 7673"/>
                <a:gd name="T16" fmla="*/ 0 w 7555"/>
                <a:gd name="T17" fmla="*/ 0 h 7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55" h="7673">
                  <a:moveTo>
                    <a:pt x="0" y="0"/>
                  </a:moveTo>
                  <a:lnTo>
                    <a:pt x="685" y="2373"/>
                  </a:lnTo>
                  <a:lnTo>
                    <a:pt x="1369" y="4748"/>
                  </a:lnTo>
                  <a:lnTo>
                    <a:pt x="2001" y="3582"/>
                  </a:lnTo>
                  <a:lnTo>
                    <a:pt x="2706" y="7673"/>
                  </a:lnTo>
                  <a:lnTo>
                    <a:pt x="7555" y="7664"/>
                  </a:lnTo>
                  <a:lnTo>
                    <a:pt x="4124" y="3898"/>
                  </a:lnTo>
                  <a:lnTo>
                    <a:pt x="3238" y="4954"/>
                  </a:lnTo>
                  <a:lnTo>
                    <a:pt x="0" y="0"/>
                  </a:lnTo>
                  <a:close/>
                </a:path>
              </a:pathLst>
            </a:custGeom>
            <a:solidFill>
              <a:srgbClr val="0087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65" name="Freeform 32">
              <a:extLst>
                <a:ext uri="{FF2B5EF4-FFF2-40B4-BE49-F238E27FC236}">
                  <a16:creationId xmlns:a16="http://schemas.microsoft.com/office/drawing/2014/main" id="{086BE5A7-35ED-8DEF-9AD4-13842B94A94E}"/>
                </a:ext>
              </a:extLst>
            </p:cNvPr>
            <p:cNvSpPr>
              <a:spLocks/>
            </p:cNvSpPr>
            <p:nvPr/>
          </p:nvSpPr>
          <p:spPr bwMode="auto">
            <a:xfrm>
              <a:off x="10766623" y="2059222"/>
              <a:ext cx="1011029" cy="1135396"/>
            </a:xfrm>
            <a:custGeom>
              <a:avLst/>
              <a:gdLst>
                <a:gd name="T0" fmla="*/ 194 w 3625"/>
                <a:gd name="T1" fmla="*/ 0 h 3772"/>
                <a:gd name="T2" fmla="*/ 3625 w 3625"/>
                <a:gd name="T3" fmla="*/ 3772 h 3772"/>
                <a:gd name="T4" fmla="*/ 629 w 3625"/>
                <a:gd name="T5" fmla="*/ 1194 h 3772"/>
                <a:gd name="T6" fmla="*/ 0 w 3625"/>
                <a:gd name="T7" fmla="*/ 1414 h 3772"/>
                <a:gd name="T8" fmla="*/ 194 w 3625"/>
                <a:gd name="T9" fmla="*/ 0 h 3772"/>
              </a:gdLst>
              <a:ahLst/>
              <a:cxnLst>
                <a:cxn ang="0">
                  <a:pos x="T0" y="T1"/>
                </a:cxn>
                <a:cxn ang="0">
                  <a:pos x="T2" y="T3"/>
                </a:cxn>
                <a:cxn ang="0">
                  <a:pos x="T4" y="T5"/>
                </a:cxn>
                <a:cxn ang="0">
                  <a:pos x="T6" y="T7"/>
                </a:cxn>
                <a:cxn ang="0">
                  <a:pos x="T8" y="T9"/>
                </a:cxn>
              </a:cxnLst>
              <a:rect l="0" t="0" r="r" b="b"/>
              <a:pathLst>
                <a:path w="3625" h="3772">
                  <a:moveTo>
                    <a:pt x="194" y="0"/>
                  </a:moveTo>
                  <a:lnTo>
                    <a:pt x="3625" y="3772"/>
                  </a:lnTo>
                  <a:lnTo>
                    <a:pt x="629" y="1194"/>
                  </a:lnTo>
                  <a:lnTo>
                    <a:pt x="0" y="1414"/>
                  </a:lnTo>
                  <a:lnTo>
                    <a:pt x="194" y="0"/>
                  </a:lnTo>
                  <a:close/>
                </a:path>
              </a:pathLst>
            </a:custGeom>
            <a:solidFill>
              <a:srgbClr val="007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66" name="Freeform 33">
              <a:extLst>
                <a:ext uri="{FF2B5EF4-FFF2-40B4-BE49-F238E27FC236}">
                  <a16:creationId xmlns:a16="http://schemas.microsoft.com/office/drawing/2014/main" id="{D3C17269-DC79-B289-36EB-FC4E2B0C7450}"/>
                </a:ext>
              </a:extLst>
            </p:cNvPr>
            <p:cNvSpPr>
              <a:spLocks/>
            </p:cNvSpPr>
            <p:nvPr/>
          </p:nvSpPr>
          <p:spPr bwMode="auto">
            <a:xfrm>
              <a:off x="7231509" y="889237"/>
              <a:ext cx="2439020" cy="2312900"/>
            </a:xfrm>
            <a:custGeom>
              <a:avLst/>
              <a:gdLst>
                <a:gd name="T0" fmla="*/ 6285 w 8746"/>
                <a:gd name="T1" fmla="*/ 5148 h 7692"/>
                <a:gd name="T2" fmla="*/ 8746 w 8746"/>
                <a:gd name="T3" fmla="*/ 0 h 7692"/>
                <a:gd name="T4" fmla="*/ 6393 w 8746"/>
                <a:gd name="T5" fmla="*/ 3382 h 7692"/>
                <a:gd name="T6" fmla="*/ 5262 w 8746"/>
                <a:gd name="T7" fmla="*/ 2551 h 7692"/>
                <a:gd name="T8" fmla="*/ 3159 w 8746"/>
                <a:gd name="T9" fmla="*/ 5951 h 7692"/>
                <a:gd name="T10" fmla="*/ 0 w 8746"/>
                <a:gd name="T11" fmla="*/ 7692 h 7692"/>
                <a:gd name="T12" fmla="*/ 4029 w 8746"/>
                <a:gd name="T13" fmla="*/ 6174 h 7692"/>
                <a:gd name="T14" fmla="*/ 5826 w 8746"/>
                <a:gd name="T15" fmla="*/ 3501 h 7692"/>
                <a:gd name="T16" fmla="*/ 6285 w 8746"/>
                <a:gd name="T17" fmla="*/ 5148 h 7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46" h="7692">
                  <a:moveTo>
                    <a:pt x="6285" y="5148"/>
                  </a:moveTo>
                  <a:lnTo>
                    <a:pt x="8746" y="0"/>
                  </a:lnTo>
                  <a:lnTo>
                    <a:pt x="6393" y="3382"/>
                  </a:lnTo>
                  <a:lnTo>
                    <a:pt x="5262" y="2551"/>
                  </a:lnTo>
                  <a:lnTo>
                    <a:pt x="3159" y="5951"/>
                  </a:lnTo>
                  <a:lnTo>
                    <a:pt x="0" y="7692"/>
                  </a:lnTo>
                  <a:lnTo>
                    <a:pt x="4029" y="6174"/>
                  </a:lnTo>
                  <a:lnTo>
                    <a:pt x="5826" y="3501"/>
                  </a:lnTo>
                  <a:lnTo>
                    <a:pt x="6285" y="5148"/>
                  </a:lnTo>
                  <a:close/>
                </a:path>
              </a:pathLst>
            </a:custGeom>
            <a:solidFill>
              <a:srgbClr val="11B5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67" name="Freeform 34">
              <a:extLst>
                <a:ext uri="{FF2B5EF4-FFF2-40B4-BE49-F238E27FC236}">
                  <a16:creationId xmlns:a16="http://schemas.microsoft.com/office/drawing/2014/main" id="{85B92BE7-ED25-6476-964E-226BD9891CD6}"/>
                </a:ext>
              </a:extLst>
            </p:cNvPr>
            <p:cNvSpPr>
              <a:spLocks/>
            </p:cNvSpPr>
            <p:nvPr/>
          </p:nvSpPr>
          <p:spPr bwMode="auto">
            <a:xfrm>
              <a:off x="9330265" y="887734"/>
              <a:ext cx="755831" cy="691764"/>
            </a:xfrm>
            <a:custGeom>
              <a:avLst/>
              <a:gdLst>
                <a:gd name="T0" fmla="*/ 0 w 2710"/>
                <a:gd name="T1" fmla="*/ 1760 h 2304"/>
                <a:gd name="T2" fmla="*/ 1221 w 2710"/>
                <a:gd name="T3" fmla="*/ 0 h 2304"/>
                <a:gd name="T4" fmla="*/ 2710 w 2710"/>
                <a:gd name="T5" fmla="*/ 2281 h 2304"/>
                <a:gd name="T6" fmla="*/ 1525 w 2710"/>
                <a:gd name="T7" fmla="*/ 1572 h 2304"/>
                <a:gd name="T8" fmla="*/ 1276 w 2710"/>
                <a:gd name="T9" fmla="*/ 2304 h 2304"/>
                <a:gd name="T10" fmla="*/ 639 w 2710"/>
                <a:gd name="T11" fmla="*/ 1600 h 2304"/>
                <a:gd name="T12" fmla="*/ 0 w 2710"/>
                <a:gd name="T13" fmla="*/ 1760 h 2304"/>
              </a:gdLst>
              <a:ahLst/>
              <a:cxnLst>
                <a:cxn ang="0">
                  <a:pos x="T0" y="T1"/>
                </a:cxn>
                <a:cxn ang="0">
                  <a:pos x="T2" y="T3"/>
                </a:cxn>
                <a:cxn ang="0">
                  <a:pos x="T4" y="T5"/>
                </a:cxn>
                <a:cxn ang="0">
                  <a:pos x="T6" y="T7"/>
                </a:cxn>
                <a:cxn ang="0">
                  <a:pos x="T8" y="T9"/>
                </a:cxn>
                <a:cxn ang="0">
                  <a:pos x="T10" y="T11"/>
                </a:cxn>
                <a:cxn ang="0">
                  <a:pos x="T12" y="T13"/>
                </a:cxn>
              </a:cxnLst>
              <a:rect l="0" t="0" r="r" b="b"/>
              <a:pathLst>
                <a:path w="2710" h="2304">
                  <a:moveTo>
                    <a:pt x="0" y="1760"/>
                  </a:moveTo>
                  <a:lnTo>
                    <a:pt x="1221" y="0"/>
                  </a:lnTo>
                  <a:lnTo>
                    <a:pt x="2710" y="2281"/>
                  </a:lnTo>
                  <a:lnTo>
                    <a:pt x="1525" y="1572"/>
                  </a:lnTo>
                  <a:lnTo>
                    <a:pt x="1276" y="2304"/>
                  </a:lnTo>
                  <a:lnTo>
                    <a:pt x="639" y="1600"/>
                  </a:lnTo>
                  <a:lnTo>
                    <a:pt x="0" y="1760"/>
                  </a:lnTo>
                  <a:close/>
                </a:path>
              </a:pathLst>
            </a:custGeom>
            <a:solidFill>
              <a:srgbClr val="CFE4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68" name="Freeform 35">
              <a:extLst>
                <a:ext uri="{FF2B5EF4-FFF2-40B4-BE49-F238E27FC236}">
                  <a16:creationId xmlns:a16="http://schemas.microsoft.com/office/drawing/2014/main" id="{DBA02589-A06B-98AD-FD56-2EF44C2D1141}"/>
                </a:ext>
              </a:extLst>
            </p:cNvPr>
            <p:cNvSpPr>
              <a:spLocks/>
            </p:cNvSpPr>
            <p:nvPr/>
          </p:nvSpPr>
          <p:spPr bwMode="auto">
            <a:xfrm>
              <a:off x="9670528" y="887734"/>
              <a:ext cx="415568" cy="691764"/>
            </a:xfrm>
            <a:custGeom>
              <a:avLst/>
              <a:gdLst>
                <a:gd name="T0" fmla="*/ 55 w 1489"/>
                <a:gd name="T1" fmla="*/ 2304 h 2304"/>
                <a:gd name="T2" fmla="*/ 0 w 1489"/>
                <a:gd name="T3" fmla="*/ 0 h 2304"/>
                <a:gd name="T4" fmla="*/ 1489 w 1489"/>
                <a:gd name="T5" fmla="*/ 2281 h 2304"/>
                <a:gd name="T6" fmla="*/ 304 w 1489"/>
                <a:gd name="T7" fmla="*/ 1572 h 2304"/>
                <a:gd name="T8" fmla="*/ 55 w 1489"/>
                <a:gd name="T9" fmla="*/ 2304 h 2304"/>
              </a:gdLst>
              <a:ahLst/>
              <a:cxnLst>
                <a:cxn ang="0">
                  <a:pos x="T0" y="T1"/>
                </a:cxn>
                <a:cxn ang="0">
                  <a:pos x="T2" y="T3"/>
                </a:cxn>
                <a:cxn ang="0">
                  <a:pos x="T4" y="T5"/>
                </a:cxn>
                <a:cxn ang="0">
                  <a:pos x="T6" y="T7"/>
                </a:cxn>
                <a:cxn ang="0">
                  <a:pos x="T8" y="T9"/>
                </a:cxn>
              </a:cxnLst>
              <a:rect l="0" t="0" r="r" b="b"/>
              <a:pathLst>
                <a:path w="1489" h="2304">
                  <a:moveTo>
                    <a:pt x="55" y="2304"/>
                  </a:moveTo>
                  <a:lnTo>
                    <a:pt x="0" y="0"/>
                  </a:lnTo>
                  <a:lnTo>
                    <a:pt x="1489" y="2281"/>
                  </a:lnTo>
                  <a:lnTo>
                    <a:pt x="304" y="1572"/>
                  </a:lnTo>
                  <a:lnTo>
                    <a:pt x="55" y="2304"/>
                  </a:lnTo>
                  <a:close/>
                </a:path>
              </a:pathLst>
            </a:custGeom>
            <a:solidFill>
              <a:srgbClr val="A0CF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69" name="Freeform 36">
              <a:extLst>
                <a:ext uri="{FF2B5EF4-FFF2-40B4-BE49-F238E27FC236}">
                  <a16:creationId xmlns:a16="http://schemas.microsoft.com/office/drawing/2014/main" id="{8D103B1D-D75A-9769-11B7-0F1A01331539}"/>
                </a:ext>
              </a:extLst>
            </p:cNvPr>
            <p:cNvSpPr>
              <a:spLocks/>
            </p:cNvSpPr>
            <p:nvPr/>
          </p:nvSpPr>
          <p:spPr bwMode="auto">
            <a:xfrm>
              <a:off x="8433586" y="1653186"/>
              <a:ext cx="581516" cy="488746"/>
            </a:xfrm>
            <a:custGeom>
              <a:avLst/>
              <a:gdLst>
                <a:gd name="T0" fmla="*/ 2085 w 2085"/>
                <a:gd name="T1" fmla="*/ 840 h 1626"/>
                <a:gd name="T2" fmla="*/ 951 w 2085"/>
                <a:gd name="T3" fmla="*/ 0 h 1626"/>
                <a:gd name="T4" fmla="*/ 0 w 2085"/>
                <a:gd name="T5" fmla="*/ 1544 h 1626"/>
                <a:gd name="T6" fmla="*/ 563 w 2085"/>
                <a:gd name="T7" fmla="*/ 1003 h 1626"/>
                <a:gd name="T8" fmla="*/ 840 w 2085"/>
                <a:gd name="T9" fmla="*/ 1626 h 1626"/>
                <a:gd name="T10" fmla="*/ 1393 w 2085"/>
                <a:gd name="T11" fmla="*/ 678 h 1626"/>
                <a:gd name="T12" fmla="*/ 2085 w 2085"/>
                <a:gd name="T13" fmla="*/ 840 h 1626"/>
              </a:gdLst>
              <a:ahLst/>
              <a:cxnLst>
                <a:cxn ang="0">
                  <a:pos x="T0" y="T1"/>
                </a:cxn>
                <a:cxn ang="0">
                  <a:pos x="T2" y="T3"/>
                </a:cxn>
                <a:cxn ang="0">
                  <a:pos x="T4" y="T5"/>
                </a:cxn>
                <a:cxn ang="0">
                  <a:pos x="T6" y="T7"/>
                </a:cxn>
                <a:cxn ang="0">
                  <a:pos x="T8" y="T9"/>
                </a:cxn>
                <a:cxn ang="0">
                  <a:pos x="T10" y="T11"/>
                </a:cxn>
                <a:cxn ang="0">
                  <a:pos x="T12" y="T13"/>
                </a:cxn>
              </a:cxnLst>
              <a:rect l="0" t="0" r="r" b="b"/>
              <a:pathLst>
                <a:path w="2085" h="1626">
                  <a:moveTo>
                    <a:pt x="2085" y="840"/>
                  </a:moveTo>
                  <a:lnTo>
                    <a:pt x="951" y="0"/>
                  </a:lnTo>
                  <a:lnTo>
                    <a:pt x="0" y="1544"/>
                  </a:lnTo>
                  <a:lnTo>
                    <a:pt x="563" y="1003"/>
                  </a:lnTo>
                  <a:lnTo>
                    <a:pt x="840" y="1626"/>
                  </a:lnTo>
                  <a:lnTo>
                    <a:pt x="1393" y="678"/>
                  </a:lnTo>
                  <a:lnTo>
                    <a:pt x="2085" y="840"/>
                  </a:lnTo>
                  <a:close/>
                </a:path>
              </a:pathLst>
            </a:custGeom>
            <a:solidFill>
              <a:srgbClr val="CFE4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0" name="Freeform 37">
              <a:extLst>
                <a:ext uri="{FF2B5EF4-FFF2-40B4-BE49-F238E27FC236}">
                  <a16:creationId xmlns:a16="http://schemas.microsoft.com/office/drawing/2014/main" id="{28B9A065-5698-C739-6E53-4FCC18D06FC3}"/>
                </a:ext>
              </a:extLst>
            </p:cNvPr>
            <p:cNvSpPr>
              <a:spLocks/>
            </p:cNvSpPr>
            <p:nvPr/>
          </p:nvSpPr>
          <p:spPr bwMode="auto">
            <a:xfrm>
              <a:off x="8667866" y="1653186"/>
              <a:ext cx="347237" cy="488746"/>
            </a:xfrm>
            <a:custGeom>
              <a:avLst/>
              <a:gdLst>
                <a:gd name="T0" fmla="*/ 0 w 1245"/>
                <a:gd name="T1" fmla="*/ 1626 h 1626"/>
                <a:gd name="T2" fmla="*/ 111 w 1245"/>
                <a:gd name="T3" fmla="*/ 0 h 1626"/>
                <a:gd name="T4" fmla="*/ 1245 w 1245"/>
                <a:gd name="T5" fmla="*/ 840 h 1626"/>
                <a:gd name="T6" fmla="*/ 553 w 1245"/>
                <a:gd name="T7" fmla="*/ 678 h 1626"/>
                <a:gd name="T8" fmla="*/ 0 w 1245"/>
                <a:gd name="T9" fmla="*/ 1626 h 1626"/>
              </a:gdLst>
              <a:ahLst/>
              <a:cxnLst>
                <a:cxn ang="0">
                  <a:pos x="T0" y="T1"/>
                </a:cxn>
                <a:cxn ang="0">
                  <a:pos x="T2" y="T3"/>
                </a:cxn>
                <a:cxn ang="0">
                  <a:pos x="T4" y="T5"/>
                </a:cxn>
                <a:cxn ang="0">
                  <a:pos x="T6" y="T7"/>
                </a:cxn>
                <a:cxn ang="0">
                  <a:pos x="T8" y="T9"/>
                </a:cxn>
              </a:cxnLst>
              <a:rect l="0" t="0" r="r" b="b"/>
              <a:pathLst>
                <a:path w="1245" h="1626">
                  <a:moveTo>
                    <a:pt x="0" y="1626"/>
                  </a:moveTo>
                  <a:lnTo>
                    <a:pt x="111" y="0"/>
                  </a:lnTo>
                  <a:lnTo>
                    <a:pt x="1245" y="840"/>
                  </a:lnTo>
                  <a:lnTo>
                    <a:pt x="553" y="678"/>
                  </a:lnTo>
                  <a:lnTo>
                    <a:pt x="0" y="1626"/>
                  </a:lnTo>
                  <a:close/>
                </a:path>
              </a:pathLst>
            </a:custGeom>
            <a:solidFill>
              <a:srgbClr val="A0CF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1" name="Freeform 38">
              <a:extLst>
                <a:ext uri="{FF2B5EF4-FFF2-40B4-BE49-F238E27FC236}">
                  <a16:creationId xmlns:a16="http://schemas.microsoft.com/office/drawing/2014/main" id="{3AC4F5FB-AFCD-3F41-A42A-4CDA7A8900E1}"/>
                </a:ext>
              </a:extLst>
            </p:cNvPr>
            <p:cNvSpPr>
              <a:spLocks/>
            </p:cNvSpPr>
            <p:nvPr/>
          </p:nvSpPr>
          <p:spPr bwMode="auto">
            <a:xfrm>
              <a:off x="10574178" y="2059222"/>
              <a:ext cx="626141" cy="449646"/>
            </a:xfrm>
            <a:custGeom>
              <a:avLst/>
              <a:gdLst>
                <a:gd name="T0" fmla="*/ 0 w 2247"/>
                <a:gd name="T1" fmla="*/ 1062 h 1494"/>
                <a:gd name="T2" fmla="*/ 886 w 2247"/>
                <a:gd name="T3" fmla="*/ 0 h 1494"/>
                <a:gd name="T4" fmla="*/ 2247 w 2247"/>
                <a:gd name="T5" fmla="*/ 1494 h 1494"/>
                <a:gd name="T6" fmla="*/ 1052 w 2247"/>
                <a:gd name="T7" fmla="*/ 846 h 1494"/>
                <a:gd name="T8" fmla="*/ 692 w 2247"/>
                <a:gd name="T9" fmla="*/ 1414 h 1494"/>
                <a:gd name="T10" fmla="*/ 526 w 2247"/>
                <a:gd name="T11" fmla="*/ 900 h 1494"/>
                <a:gd name="T12" fmla="*/ 0 w 2247"/>
                <a:gd name="T13" fmla="*/ 1062 h 1494"/>
              </a:gdLst>
              <a:ahLst/>
              <a:cxnLst>
                <a:cxn ang="0">
                  <a:pos x="T0" y="T1"/>
                </a:cxn>
                <a:cxn ang="0">
                  <a:pos x="T2" y="T3"/>
                </a:cxn>
                <a:cxn ang="0">
                  <a:pos x="T4" y="T5"/>
                </a:cxn>
                <a:cxn ang="0">
                  <a:pos x="T6" y="T7"/>
                </a:cxn>
                <a:cxn ang="0">
                  <a:pos x="T8" y="T9"/>
                </a:cxn>
                <a:cxn ang="0">
                  <a:pos x="T10" y="T11"/>
                </a:cxn>
                <a:cxn ang="0">
                  <a:pos x="T12" y="T13"/>
                </a:cxn>
              </a:cxnLst>
              <a:rect l="0" t="0" r="r" b="b"/>
              <a:pathLst>
                <a:path w="2247" h="1494">
                  <a:moveTo>
                    <a:pt x="0" y="1062"/>
                  </a:moveTo>
                  <a:lnTo>
                    <a:pt x="886" y="0"/>
                  </a:lnTo>
                  <a:lnTo>
                    <a:pt x="2247" y="1494"/>
                  </a:lnTo>
                  <a:lnTo>
                    <a:pt x="1052" y="846"/>
                  </a:lnTo>
                  <a:lnTo>
                    <a:pt x="692" y="1414"/>
                  </a:lnTo>
                  <a:lnTo>
                    <a:pt x="526" y="900"/>
                  </a:lnTo>
                  <a:lnTo>
                    <a:pt x="0" y="1062"/>
                  </a:lnTo>
                  <a:close/>
                </a:path>
              </a:pathLst>
            </a:custGeom>
            <a:solidFill>
              <a:srgbClr val="CFE4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2" name="Freeform 39">
              <a:extLst>
                <a:ext uri="{FF2B5EF4-FFF2-40B4-BE49-F238E27FC236}">
                  <a16:creationId xmlns:a16="http://schemas.microsoft.com/office/drawing/2014/main" id="{E4981B6C-1CA8-934A-4749-AF9158C0CDAF}"/>
                </a:ext>
              </a:extLst>
            </p:cNvPr>
            <p:cNvSpPr>
              <a:spLocks/>
            </p:cNvSpPr>
            <p:nvPr/>
          </p:nvSpPr>
          <p:spPr bwMode="auto">
            <a:xfrm>
              <a:off x="10766623" y="2059222"/>
              <a:ext cx="433697" cy="449646"/>
            </a:xfrm>
            <a:custGeom>
              <a:avLst/>
              <a:gdLst>
                <a:gd name="T0" fmla="*/ 0 w 1555"/>
                <a:gd name="T1" fmla="*/ 1414 h 1494"/>
                <a:gd name="T2" fmla="*/ 194 w 1555"/>
                <a:gd name="T3" fmla="*/ 0 h 1494"/>
                <a:gd name="T4" fmla="*/ 1555 w 1555"/>
                <a:gd name="T5" fmla="*/ 1494 h 1494"/>
                <a:gd name="T6" fmla="*/ 360 w 1555"/>
                <a:gd name="T7" fmla="*/ 846 h 1494"/>
                <a:gd name="T8" fmla="*/ 0 w 1555"/>
                <a:gd name="T9" fmla="*/ 1414 h 1494"/>
              </a:gdLst>
              <a:ahLst/>
              <a:cxnLst>
                <a:cxn ang="0">
                  <a:pos x="T0" y="T1"/>
                </a:cxn>
                <a:cxn ang="0">
                  <a:pos x="T2" y="T3"/>
                </a:cxn>
                <a:cxn ang="0">
                  <a:pos x="T4" y="T5"/>
                </a:cxn>
                <a:cxn ang="0">
                  <a:pos x="T6" y="T7"/>
                </a:cxn>
                <a:cxn ang="0">
                  <a:pos x="T8" y="T9"/>
                </a:cxn>
              </a:cxnLst>
              <a:rect l="0" t="0" r="r" b="b"/>
              <a:pathLst>
                <a:path w="1555" h="1494">
                  <a:moveTo>
                    <a:pt x="0" y="1414"/>
                  </a:moveTo>
                  <a:lnTo>
                    <a:pt x="194" y="0"/>
                  </a:lnTo>
                  <a:lnTo>
                    <a:pt x="1555" y="1494"/>
                  </a:lnTo>
                  <a:lnTo>
                    <a:pt x="360" y="846"/>
                  </a:lnTo>
                  <a:lnTo>
                    <a:pt x="0" y="1414"/>
                  </a:lnTo>
                  <a:close/>
                </a:path>
              </a:pathLst>
            </a:custGeom>
            <a:solidFill>
              <a:srgbClr val="A0CF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3" name="Freeform 40">
              <a:extLst>
                <a:ext uri="{FF2B5EF4-FFF2-40B4-BE49-F238E27FC236}">
                  <a16:creationId xmlns:a16="http://schemas.microsoft.com/office/drawing/2014/main" id="{E76A21C3-8DF1-9E35-5045-30A591C2138E}"/>
                </a:ext>
              </a:extLst>
            </p:cNvPr>
            <p:cNvSpPr>
              <a:spLocks/>
            </p:cNvSpPr>
            <p:nvPr/>
          </p:nvSpPr>
          <p:spPr bwMode="auto">
            <a:xfrm>
              <a:off x="8045909" y="1368961"/>
              <a:ext cx="135269" cy="461677"/>
            </a:xfrm>
            <a:custGeom>
              <a:avLst/>
              <a:gdLst>
                <a:gd name="T0" fmla="*/ 0 w 485"/>
                <a:gd name="T1" fmla="*/ 0 h 1537"/>
                <a:gd name="T2" fmla="*/ 469 w 485"/>
                <a:gd name="T3" fmla="*/ 1537 h 1537"/>
                <a:gd name="T4" fmla="*/ 471 w 485"/>
                <a:gd name="T5" fmla="*/ 1525 h 1537"/>
                <a:gd name="T6" fmla="*/ 474 w 485"/>
                <a:gd name="T7" fmla="*/ 1493 h 1537"/>
                <a:gd name="T8" fmla="*/ 479 w 485"/>
                <a:gd name="T9" fmla="*/ 1442 h 1537"/>
                <a:gd name="T10" fmla="*/ 483 w 485"/>
                <a:gd name="T11" fmla="*/ 1373 h 1537"/>
                <a:gd name="T12" fmla="*/ 484 w 485"/>
                <a:gd name="T13" fmla="*/ 1333 h 1537"/>
                <a:gd name="T14" fmla="*/ 485 w 485"/>
                <a:gd name="T15" fmla="*/ 1290 h 1537"/>
                <a:gd name="T16" fmla="*/ 485 w 485"/>
                <a:gd name="T17" fmla="*/ 1244 h 1537"/>
                <a:gd name="T18" fmla="*/ 484 w 485"/>
                <a:gd name="T19" fmla="*/ 1194 h 1537"/>
                <a:gd name="T20" fmla="*/ 482 w 485"/>
                <a:gd name="T21" fmla="*/ 1142 h 1537"/>
                <a:gd name="T22" fmla="*/ 479 w 485"/>
                <a:gd name="T23" fmla="*/ 1088 h 1537"/>
                <a:gd name="T24" fmla="*/ 473 w 485"/>
                <a:gd name="T25" fmla="*/ 1032 h 1537"/>
                <a:gd name="T26" fmla="*/ 467 w 485"/>
                <a:gd name="T27" fmla="*/ 973 h 1537"/>
                <a:gd name="T28" fmla="*/ 459 w 485"/>
                <a:gd name="T29" fmla="*/ 914 h 1537"/>
                <a:gd name="T30" fmla="*/ 448 w 485"/>
                <a:gd name="T31" fmla="*/ 852 h 1537"/>
                <a:gd name="T32" fmla="*/ 436 w 485"/>
                <a:gd name="T33" fmla="*/ 789 h 1537"/>
                <a:gd name="T34" fmla="*/ 421 w 485"/>
                <a:gd name="T35" fmla="*/ 726 h 1537"/>
                <a:gd name="T36" fmla="*/ 404 w 485"/>
                <a:gd name="T37" fmla="*/ 662 h 1537"/>
                <a:gd name="T38" fmla="*/ 384 w 485"/>
                <a:gd name="T39" fmla="*/ 598 h 1537"/>
                <a:gd name="T40" fmla="*/ 361 w 485"/>
                <a:gd name="T41" fmla="*/ 534 h 1537"/>
                <a:gd name="T42" fmla="*/ 335 w 485"/>
                <a:gd name="T43" fmla="*/ 471 h 1537"/>
                <a:gd name="T44" fmla="*/ 305 w 485"/>
                <a:gd name="T45" fmla="*/ 407 h 1537"/>
                <a:gd name="T46" fmla="*/ 273 w 485"/>
                <a:gd name="T47" fmla="*/ 344 h 1537"/>
                <a:gd name="T48" fmla="*/ 237 w 485"/>
                <a:gd name="T49" fmla="*/ 284 h 1537"/>
                <a:gd name="T50" fmla="*/ 198 w 485"/>
                <a:gd name="T51" fmla="*/ 223 h 1537"/>
                <a:gd name="T52" fmla="*/ 154 w 485"/>
                <a:gd name="T53" fmla="*/ 164 h 1537"/>
                <a:gd name="T54" fmla="*/ 107 w 485"/>
                <a:gd name="T55" fmla="*/ 107 h 1537"/>
                <a:gd name="T56" fmla="*/ 55 w 485"/>
                <a:gd name="T57" fmla="*/ 53 h 1537"/>
                <a:gd name="T58" fmla="*/ 0 w 485"/>
                <a:gd name="T59"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1537">
                  <a:moveTo>
                    <a:pt x="0" y="0"/>
                  </a:moveTo>
                  <a:lnTo>
                    <a:pt x="469" y="1537"/>
                  </a:lnTo>
                  <a:lnTo>
                    <a:pt x="471" y="1525"/>
                  </a:lnTo>
                  <a:lnTo>
                    <a:pt x="474" y="1493"/>
                  </a:lnTo>
                  <a:lnTo>
                    <a:pt x="479" y="1442"/>
                  </a:lnTo>
                  <a:lnTo>
                    <a:pt x="483" y="1373"/>
                  </a:lnTo>
                  <a:lnTo>
                    <a:pt x="484" y="1333"/>
                  </a:lnTo>
                  <a:lnTo>
                    <a:pt x="485" y="1290"/>
                  </a:lnTo>
                  <a:lnTo>
                    <a:pt x="485" y="1244"/>
                  </a:lnTo>
                  <a:lnTo>
                    <a:pt x="484" y="1194"/>
                  </a:lnTo>
                  <a:lnTo>
                    <a:pt x="482" y="1142"/>
                  </a:lnTo>
                  <a:lnTo>
                    <a:pt x="479" y="1088"/>
                  </a:lnTo>
                  <a:lnTo>
                    <a:pt x="473" y="1032"/>
                  </a:lnTo>
                  <a:lnTo>
                    <a:pt x="467" y="973"/>
                  </a:lnTo>
                  <a:lnTo>
                    <a:pt x="459" y="914"/>
                  </a:lnTo>
                  <a:lnTo>
                    <a:pt x="448" y="852"/>
                  </a:lnTo>
                  <a:lnTo>
                    <a:pt x="436" y="789"/>
                  </a:lnTo>
                  <a:lnTo>
                    <a:pt x="421" y="726"/>
                  </a:lnTo>
                  <a:lnTo>
                    <a:pt x="404" y="662"/>
                  </a:lnTo>
                  <a:lnTo>
                    <a:pt x="384" y="598"/>
                  </a:lnTo>
                  <a:lnTo>
                    <a:pt x="361" y="534"/>
                  </a:lnTo>
                  <a:lnTo>
                    <a:pt x="335" y="471"/>
                  </a:lnTo>
                  <a:lnTo>
                    <a:pt x="305" y="407"/>
                  </a:lnTo>
                  <a:lnTo>
                    <a:pt x="273" y="344"/>
                  </a:lnTo>
                  <a:lnTo>
                    <a:pt x="237" y="284"/>
                  </a:lnTo>
                  <a:lnTo>
                    <a:pt x="198" y="223"/>
                  </a:lnTo>
                  <a:lnTo>
                    <a:pt x="154" y="164"/>
                  </a:lnTo>
                  <a:lnTo>
                    <a:pt x="107" y="107"/>
                  </a:lnTo>
                  <a:lnTo>
                    <a:pt x="55" y="53"/>
                  </a:lnTo>
                  <a:lnTo>
                    <a:pt x="0"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4" name="Freeform 41">
              <a:extLst>
                <a:ext uri="{FF2B5EF4-FFF2-40B4-BE49-F238E27FC236}">
                  <a16:creationId xmlns:a16="http://schemas.microsoft.com/office/drawing/2014/main" id="{222DC1B9-B60D-0C53-8F01-F1607751A6AC}"/>
                </a:ext>
              </a:extLst>
            </p:cNvPr>
            <p:cNvSpPr>
              <a:spLocks/>
            </p:cNvSpPr>
            <p:nvPr/>
          </p:nvSpPr>
          <p:spPr bwMode="auto">
            <a:xfrm>
              <a:off x="8034753" y="1368961"/>
              <a:ext cx="142241" cy="461677"/>
            </a:xfrm>
            <a:custGeom>
              <a:avLst/>
              <a:gdLst>
                <a:gd name="T0" fmla="*/ 40 w 509"/>
                <a:gd name="T1" fmla="*/ 0 h 1537"/>
                <a:gd name="T2" fmla="*/ 509 w 509"/>
                <a:gd name="T3" fmla="*/ 1537 h 1537"/>
                <a:gd name="T4" fmla="*/ 502 w 509"/>
                <a:gd name="T5" fmla="*/ 1529 h 1537"/>
                <a:gd name="T6" fmla="*/ 480 w 509"/>
                <a:gd name="T7" fmla="*/ 1503 h 1537"/>
                <a:gd name="T8" fmla="*/ 448 w 509"/>
                <a:gd name="T9" fmla="*/ 1464 h 1537"/>
                <a:gd name="T10" fmla="*/ 406 w 509"/>
                <a:gd name="T11" fmla="*/ 1410 h 1537"/>
                <a:gd name="T12" fmla="*/ 383 w 509"/>
                <a:gd name="T13" fmla="*/ 1378 h 1537"/>
                <a:gd name="T14" fmla="*/ 358 w 509"/>
                <a:gd name="T15" fmla="*/ 1341 h 1537"/>
                <a:gd name="T16" fmla="*/ 332 w 509"/>
                <a:gd name="T17" fmla="*/ 1304 h 1537"/>
                <a:gd name="T18" fmla="*/ 306 w 509"/>
                <a:gd name="T19" fmla="*/ 1262 h 1537"/>
                <a:gd name="T20" fmla="*/ 278 w 509"/>
                <a:gd name="T21" fmla="*/ 1217 h 1537"/>
                <a:gd name="T22" fmla="*/ 251 w 509"/>
                <a:gd name="T23" fmla="*/ 1170 h 1537"/>
                <a:gd name="T24" fmla="*/ 223 w 509"/>
                <a:gd name="T25" fmla="*/ 1120 h 1537"/>
                <a:gd name="T26" fmla="*/ 195 w 509"/>
                <a:gd name="T27" fmla="*/ 1068 h 1537"/>
                <a:gd name="T28" fmla="*/ 169 w 509"/>
                <a:gd name="T29" fmla="*/ 1014 h 1537"/>
                <a:gd name="T30" fmla="*/ 143 w 509"/>
                <a:gd name="T31" fmla="*/ 957 h 1537"/>
                <a:gd name="T32" fmla="*/ 119 w 509"/>
                <a:gd name="T33" fmla="*/ 898 h 1537"/>
                <a:gd name="T34" fmla="*/ 96 w 509"/>
                <a:gd name="T35" fmla="*/ 838 h 1537"/>
                <a:gd name="T36" fmla="*/ 75 w 509"/>
                <a:gd name="T37" fmla="*/ 776 h 1537"/>
                <a:gd name="T38" fmla="*/ 55 w 509"/>
                <a:gd name="T39" fmla="*/ 711 h 1537"/>
                <a:gd name="T40" fmla="*/ 38 w 509"/>
                <a:gd name="T41" fmla="*/ 646 h 1537"/>
                <a:gd name="T42" fmla="*/ 24 w 509"/>
                <a:gd name="T43" fmla="*/ 578 h 1537"/>
                <a:gd name="T44" fmla="*/ 13 w 509"/>
                <a:gd name="T45" fmla="*/ 509 h 1537"/>
                <a:gd name="T46" fmla="*/ 5 w 509"/>
                <a:gd name="T47" fmla="*/ 439 h 1537"/>
                <a:gd name="T48" fmla="*/ 0 w 509"/>
                <a:gd name="T49" fmla="*/ 367 h 1537"/>
                <a:gd name="T50" fmla="*/ 0 w 509"/>
                <a:gd name="T51" fmla="*/ 296 h 1537"/>
                <a:gd name="T52" fmla="*/ 2 w 509"/>
                <a:gd name="T53" fmla="*/ 223 h 1537"/>
                <a:gd name="T54" fmla="*/ 10 w 509"/>
                <a:gd name="T55" fmla="*/ 149 h 1537"/>
                <a:gd name="T56" fmla="*/ 22 w 509"/>
                <a:gd name="T57" fmla="*/ 75 h 1537"/>
                <a:gd name="T58" fmla="*/ 40 w 509"/>
                <a:gd name="T59"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9" h="1537">
                  <a:moveTo>
                    <a:pt x="40" y="0"/>
                  </a:moveTo>
                  <a:lnTo>
                    <a:pt x="509" y="1537"/>
                  </a:lnTo>
                  <a:lnTo>
                    <a:pt x="502" y="1529"/>
                  </a:lnTo>
                  <a:lnTo>
                    <a:pt x="480" y="1503"/>
                  </a:lnTo>
                  <a:lnTo>
                    <a:pt x="448" y="1464"/>
                  </a:lnTo>
                  <a:lnTo>
                    <a:pt x="406" y="1410"/>
                  </a:lnTo>
                  <a:lnTo>
                    <a:pt x="383" y="1378"/>
                  </a:lnTo>
                  <a:lnTo>
                    <a:pt x="358" y="1341"/>
                  </a:lnTo>
                  <a:lnTo>
                    <a:pt x="332" y="1304"/>
                  </a:lnTo>
                  <a:lnTo>
                    <a:pt x="306" y="1262"/>
                  </a:lnTo>
                  <a:lnTo>
                    <a:pt x="278" y="1217"/>
                  </a:lnTo>
                  <a:lnTo>
                    <a:pt x="251" y="1170"/>
                  </a:lnTo>
                  <a:lnTo>
                    <a:pt x="223" y="1120"/>
                  </a:lnTo>
                  <a:lnTo>
                    <a:pt x="195" y="1068"/>
                  </a:lnTo>
                  <a:lnTo>
                    <a:pt x="169" y="1014"/>
                  </a:lnTo>
                  <a:lnTo>
                    <a:pt x="143" y="957"/>
                  </a:lnTo>
                  <a:lnTo>
                    <a:pt x="119" y="898"/>
                  </a:lnTo>
                  <a:lnTo>
                    <a:pt x="96" y="838"/>
                  </a:lnTo>
                  <a:lnTo>
                    <a:pt x="75" y="776"/>
                  </a:lnTo>
                  <a:lnTo>
                    <a:pt x="55" y="711"/>
                  </a:lnTo>
                  <a:lnTo>
                    <a:pt x="38" y="646"/>
                  </a:lnTo>
                  <a:lnTo>
                    <a:pt x="24" y="578"/>
                  </a:lnTo>
                  <a:lnTo>
                    <a:pt x="13" y="509"/>
                  </a:lnTo>
                  <a:lnTo>
                    <a:pt x="5" y="439"/>
                  </a:lnTo>
                  <a:lnTo>
                    <a:pt x="0" y="367"/>
                  </a:lnTo>
                  <a:lnTo>
                    <a:pt x="0" y="296"/>
                  </a:lnTo>
                  <a:lnTo>
                    <a:pt x="2" y="223"/>
                  </a:lnTo>
                  <a:lnTo>
                    <a:pt x="10" y="149"/>
                  </a:lnTo>
                  <a:lnTo>
                    <a:pt x="22" y="7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5" name="Freeform 42">
              <a:extLst>
                <a:ext uri="{FF2B5EF4-FFF2-40B4-BE49-F238E27FC236}">
                  <a16:creationId xmlns:a16="http://schemas.microsoft.com/office/drawing/2014/main" id="{D7840B8D-8021-698C-F406-8C8BCAEF90B6}"/>
                </a:ext>
              </a:extLst>
            </p:cNvPr>
            <p:cNvSpPr>
              <a:spLocks/>
            </p:cNvSpPr>
            <p:nvPr/>
          </p:nvSpPr>
          <p:spPr bwMode="auto">
            <a:xfrm>
              <a:off x="7870200" y="1814096"/>
              <a:ext cx="308190" cy="350393"/>
            </a:xfrm>
            <a:custGeom>
              <a:avLst/>
              <a:gdLst>
                <a:gd name="T0" fmla="*/ 0 w 1106"/>
                <a:gd name="T1" fmla="*/ 1167 h 1167"/>
                <a:gd name="T2" fmla="*/ 1106 w 1106"/>
                <a:gd name="T3" fmla="*/ 0 h 1167"/>
                <a:gd name="T4" fmla="*/ 1102 w 1106"/>
                <a:gd name="T5" fmla="*/ 10 h 1167"/>
                <a:gd name="T6" fmla="*/ 1091 w 1106"/>
                <a:gd name="T7" fmla="*/ 41 h 1167"/>
                <a:gd name="T8" fmla="*/ 1073 w 1106"/>
                <a:gd name="T9" fmla="*/ 90 h 1167"/>
                <a:gd name="T10" fmla="*/ 1046 w 1106"/>
                <a:gd name="T11" fmla="*/ 153 h 1167"/>
                <a:gd name="T12" fmla="*/ 1029 w 1106"/>
                <a:gd name="T13" fmla="*/ 189 h 1167"/>
                <a:gd name="T14" fmla="*/ 1011 w 1106"/>
                <a:gd name="T15" fmla="*/ 228 h 1167"/>
                <a:gd name="T16" fmla="*/ 990 w 1106"/>
                <a:gd name="T17" fmla="*/ 270 h 1167"/>
                <a:gd name="T18" fmla="*/ 967 w 1106"/>
                <a:gd name="T19" fmla="*/ 313 h 1167"/>
                <a:gd name="T20" fmla="*/ 942 w 1106"/>
                <a:gd name="T21" fmla="*/ 359 h 1167"/>
                <a:gd name="T22" fmla="*/ 915 w 1106"/>
                <a:gd name="T23" fmla="*/ 405 h 1167"/>
                <a:gd name="T24" fmla="*/ 885 w 1106"/>
                <a:gd name="T25" fmla="*/ 454 h 1167"/>
                <a:gd name="T26" fmla="*/ 853 w 1106"/>
                <a:gd name="T27" fmla="*/ 504 h 1167"/>
                <a:gd name="T28" fmla="*/ 819 w 1106"/>
                <a:gd name="T29" fmla="*/ 553 h 1167"/>
                <a:gd name="T30" fmla="*/ 782 w 1106"/>
                <a:gd name="T31" fmla="*/ 604 h 1167"/>
                <a:gd name="T32" fmla="*/ 742 w 1106"/>
                <a:gd name="T33" fmla="*/ 654 h 1167"/>
                <a:gd name="T34" fmla="*/ 701 w 1106"/>
                <a:gd name="T35" fmla="*/ 705 h 1167"/>
                <a:gd name="T36" fmla="*/ 657 w 1106"/>
                <a:gd name="T37" fmla="*/ 753 h 1167"/>
                <a:gd name="T38" fmla="*/ 611 w 1106"/>
                <a:gd name="T39" fmla="*/ 802 h 1167"/>
                <a:gd name="T40" fmla="*/ 562 w 1106"/>
                <a:gd name="T41" fmla="*/ 849 h 1167"/>
                <a:gd name="T42" fmla="*/ 510 w 1106"/>
                <a:gd name="T43" fmla="*/ 895 h 1167"/>
                <a:gd name="T44" fmla="*/ 456 w 1106"/>
                <a:gd name="T45" fmla="*/ 939 h 1167"/>
                <a:gd name="T46" fmla="*/ 399 w 1106"/>
                <a:gd name="T47" fmla="*/ 981 h 1167"/>
                <a:gd name="T48" fmla="*/ 339 w 1106"/>
                <a:gd name="T49" fmla="*/ 1019 h 1167"/>
                <a:gd name="T50" fmla="*/ 277 w 1106"/>
                <a:gd name="T51" fmla="*/ 1056 h 1167"/>
                <a:gd name="T52" fmla="*/ 212 w 1106"/>
                <a:gd name="T53" fmla="*/ 1089 h 1167"/>
                <a:gd name="T54" fmla="*/ 145 w 1106"/>
                <a:gd name="T55" fmla="*/ 1119 h 1167"/>
                <a:gd name="T56" fmla="*/ 74 w 1106"/>
                <a:gd name="T57" fmla="*/ 1145 h 1167"/>
                <a:gd name="T58" fmla="*/ 0 w 1106"/>
                <a:gd name="T59" fmla="*/ 1167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6" h="1167">
                  <a:moveTo>
                    <a:pt x="0" y="1167"/>
                  </a:moveTo>
                  <a:lnTo>
                    <a:pt x="1106" y="0"/>
                  </a:lnTo>
                  <a:lnTo>
                    <a:pt x="1102" y="10"/>
                  </a:lnTo>
                  <a:lnTo>
                    <a:pt x="1091" y="41"/>
                  </a:lnTo>
                  <a:lnTo>
                    <a:pt x="1073" y="90"/>
                  </a:lnTo>
                  <a:lnTo>
                    <a:pt x="1046" y="153"/>
                  </a:lnTo>
                  <a:lnTo>
                    <a:pt x="1029" y="189"/>
                  </a:lnTo>
                  <a:lnTo>
                    <a:pt x="1011" y="228"/>
                  </a:lnTo>
                  <a:lnTo>
                    <a:pt x="990" y="270"/>
                  </a:lnTo>
                  <a:lnTo>
                    <a:pt x="967" y="313"/>
                  </a:lnTo>
                  <a:lnTo>
                    <a:pt x="942" y="359"/>
                  </a:lnTo>
                  <a:lnTo>
                    <a:pt x="915" y="405"/>
                  </a:lnTo>
                  <a:lnTo>
                    <a:pt x="885" y="454"/>
                  </a:lnTo>
                  <a:lnTo>
                    <a:pt x="853" y="504"/>
                  </a:lnTo>
                  <a:lnTo>
                    <a:pt x="819" y="553"/>
                  </a:lnTo>
                  <a:lnTo>
                    <a:pt x="782" y="604"/>
                  </a:lnTo>
                  <a:lnTo>
                    <a:pt x="742" y="654"/>
                  </a:lnTo>
                  <a:lnTo>
                    <a:pt x="701" y="705"/>
                  </a:lnTo>
                  <a:lnTo>
                    <a:pt x="657" y="753"/>
                  </a:lnTo>
                  <a:lnTo>
                    <a:pt x="611" y="802"/>
                  </a:lnTo>
                  <a:lnTo>
                    <a:pt x="562" y="849"/>
                  </a:lnTo>
                  <a:lnTo>
                    <a:pt x="510" y="895"/>
                  </a:lnTo>
                  <a:lnTo>
                    <a:pt x="456" y="939"/>
                  </a:lnTo>
                  <a:lnTo>
                    <a:pt x="399" y="981"/>
                  </a:lnTo>
                  <a:lnTo>
                    <a:pt x="339" y="1019"/>
                  </a:lnTo>
                  <a:lnTo>
                    <a:pt x="277" y="1056"/>
                  </a:lnTo>
                  <a:lnTo>
                    <a:pt x="212" y="1089"/>
                  </a:lnTo>
                  <a:lnTo>
                    <a:pt x="145" y="1119"/>
                  </a:lnTo>
                  <a:lnTo>
                    <a:pt x="74" y="1145"/>
                  </a:lnTo>
                  <a:lnTo>
                    <a:pt x="0" y="1167"/>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6" name="Freeform 43">
              <a:extLst>
                <a:ext uri="{FF2B5EF4-FFF2-40B4-BE49-F238E27FC236}">
                  <a16:creationId xmlns:a16="http://schemas.microsoft.com/office/drawing/2014/main" id="{D2614CD2-BDDD-1E90-20EB-9504B8844DBA}"/>
                </a:ext>
              </a:extLst>
            </p:cNvPr>
            <p:cNvSpPr>
              <a:spLocks/>
            </p:cNvSpPr>
            <p:nvPr/>
          </p:nvSpPr>
          <p:spPr bwMode="auto">
            <a:xfrm>
              <a:off x="7870200" y="1814096"/>
              <a:ext cx="308190" cy="350393"/>
            </a:xfrm>
            <a:custGeom>
              <a:avLst/>
              <a:gdLst>
                <a:gd name="T0" fmla="*/ 0 w 1106"/>
                <a:gd name="T1" fmla="*/ 1167 h 1167"/>
                <a:gd name="T2" fmla="*/ 1106 w 1106"/>
                <a:gd name="T3" fmla="*/ 0 h 1167"/>
                <a:gd name="T4" fmla="*/ 1096 w 1106"/>
                <a:gd name="T5" fmla="*/ 5 h 1167"/>
                <a:gd name="T6" fmla="*/ 1065 w 1106"/>
                <a:gd name="T7" fmla="*/ 17 h 1167"/>
                <a:gd name="T8" fmla="*/ 1018 w 1106"/>
                <a:gd name="T9" fmla="*/ 38 h 1167"/>
                <a:gd name="T10" fmla="*/ 957 w 1106"/>
                <a:gd name="T11" fmla="*/ 69 h 1167"/>
                <a:gd name="T12" fmla="*/ 921 w 1106"/>
                <a:gd name="T13" fmla="*/ 86 h 1167"/>
                <a:gd name="T14" fmla="*/ 884 w 1106"/>
                <a:gd name="T15" fmla="*/ 107 h 1167"/>
                <a:gd name="T16" fmla="*/ 843 w 1106"/>
                <a:gd name="T17" fmla="*/ 131 h 1167"/>
                <a:gd name="T18" fmla="*/ 801 w 1106"/>
                <a:gd name="T19" fmla="*/ 156 h 1167"/>
                <a:gd name="T20" fmla="*/ 757 w 1106"/>
                <a:gd name="T21" fmla="*/ 184 h 1167"/>
                <a:gd name="T22" fmla="*/ 710 w 1106"/>
                <a:gd name="T23" fmla="*/ 213 h 1167"/>
                <a:gd name="T24" fmla="*/ 664 w 1106"/>
                <a:gd name="T25" fmla="*/ 245 h 1167"/>
                <a:gd name="T26" fmla="*/ 616 w 1106"/>
                <a:gd name="T27" fmla="*/ 280 h 1167"/>
                <a:gd name="T28" fmla="*/ 569 w 1106"/>
                <a:gd name="T29" fmla="*/ 317 h 1167"/>
                <a:gd name="T30" fmla="*/ 520 w 1106"/>
                <a:gd name="T31" fmla="*/ 356 h 1167"/>
                <a:gd name="T32" fmla="*/ 472 w 1106"/>
                <a:gd name="T33" fmla="*/ 398 h 1167"/>
                <a:gd name="T34" fmla="*/ 424 w 1106"/>
                <a:gd name="T35" fmla="*/ 442 h 1167"/>
                <a:gd name="T36" fmla="*/ 378 w 1106"/>
                <a:gd name="T37" fmla="*/ 488 h 1167"/>
                <a:gd name="T38" fmla="*/ 331 w 1106"/>
                <a:gd name="T39" fmla="*/ 538 h 1167"/>
                <a:gd name="T40" fmla="*/ 287 w 1106"/>
                <a:gd name="T41" fmla="*/ 589 h 1167"/>
                <a:gd name="T42" fmla="*/ 244 w 1106"/>
                <a:gd name="T43" fmla="*/ 643 h 1167"/>
                <a:gd name="T44" fmla="*/ 203 w 1106"/>
                <a:gd name="T45" fmla="*/ 699 h 1167"/>
                <a:gd name="T46" fmla="*/ 165 w 1106"/>
                <a:gd name="T47" fmla="*/ 759 h 1167"/>
                <a:gd name="T48" fmla="*/ 129 w 1106"/>
                <a:gd name="T49" fmla="*/ 821 h 1167"/>
                <a:gd name="T50" fmla="*/ 96 w 1106"/>
                <a:gd name="T51" fmla="*/ 885 h 1167"/>
                <a:gd name="T52" fmla="*/ 66 w 1106"/>
                <a:gd name="T53" fmla="*/ 951 h 1167"/>
                <a:gd name="T54" fmla="*/ 40 w 1106"/>
                <a:gd name="T55" fmla="*/ 1020 h 1167"/>
                <a:gd name="T56" fmla="*/ 18 w 1106"/>
                <a:gd name="T57" fmla="*/ 1092 h 1167"/>
                <a:gd name="T58" fmla="*/ 0 w 1106"/>
                <a:gd name="T59" fmla="*/ 1167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6" h="1167">
                  <a:moveTo>
                    <a:pt x="0" y="1167"/>
                  </a:moveTo>
                  <a:lnTo>
                    <a:pt x="1106" y="0"/>
                  </a:lnTo>
                  <a:lnTo>
                    <a:pt x="1096" y="5"/>
                  </a:lnTo>
                  <a:lnTo>
                    <a:pt x="1065" y="17"/>
                  </a:lnTo>
                  <a:lnTo>
                    <a:pt x="1018" y="38"/>
                  </a:lnTo>
                  <a:lnTo>
                    <a:pt x="957" y="69"/>
                  </a:lnTo>
                  <a:lnTo>
                    <a:pt x="921" y="86"/>
                  </a:lnTo>
                  <a:lnTo>
                    <a:pt x="884" y="107"/>
                  </a:lnTo>
                  <a:lnTo>
                    <a:pt x="843" y="131"/>
                  </a:lnTo>
                  <a:lnTo>
                    <a:pt x="801" y="156"/>
                  </a:lnTo>
                  <a:lnTo>
                    <a:pt x="757" y="184"/>
                  </a:lnTo>
                  <a:lnTo>
                    <a:pt x="710" y="213"/>
                  </a:lnTo>
                  <a:lnTo>
                    <a:pt x="664" y="245"/>
                  </a:lnTo>
                  <a:lnTo>
                    <a:pt x="616" y="280"/>
                  </a:lnTo>
                  <a:lnTo>
                    <a:pt x="569" y="317"/>
                  </a:lnTo>
                  <a:lnTo>
                    <a:pt x="520" y="356"/>
                  </a:lnTo>
                  <a:lnTo>
                    <a:pt x="472" y="398"/>
                  </a:lnTo>
                  <a:lnTo>
                    <a:pt x="424" y="442"/>
                  </a:lnTo>
                  <a:lnTo>
                    <a:pt x="378" y="488"/>
                  </a:lnTo>
                  <a:lnTo>
                    <a:pt x="331" y="538"/>
                  </a:lnTo>
                  <a:lnTo>
                    <a:pt x="287" y="589"/>
                  </a:lnTo>
                  <a:lnTo>
                    <a:pt x="244" y="643"/>
                  </a:lnTo>
                  <a:lnTo>
                    <a:pt x="203" y="699"/>
                  </a:lnTo>
                  <a:lnTo>
                    <a:pt x="165" y="759"/>
                  </a:lnTo>
                  <a:lnTo>
                    <a:pt x="129" y="821"/>
                  </a:lnTo>
                  <a:lnTo>
                    <a:pt x="96" y="885"/>
                  </a:lnTo>
                  <a:lnTo>
                    <a:pt x="66" y="951"/>
                  </a:lnTo>
                  <a:lnTo>
                    <a:pt x="40" y="1020"/>
                  </a:lnTo>
                  <a:lnTo>
                    <a:pt x="18" y="1092"/>
                  </a:lnTo>
                  <a:lnTo>
                    <a:pt x="0" y="1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7" name="Freeform 44">
              <a:extLst>
                <a:ext uri="{FF2B5EF4-FFF2-40B4-BE49-F238E27FC236}">
                  <a16:creationId xmlns:a16="http://schemas.microsoft.com/office/drawing/2014/main" id="{2E0E013F-72F9-198F-99D1-73E453C50FCE}"/>
                </a:ext>
              </a:extLst>
            </p:cNvPr>
            <p:cNvSpPr>
              <a:spLocks/>
            </p:cNvSpPr>
            <p:nvPr/>
          </p:nvSpPr>
          <p:spPr bwMode="auto">
            <a:xfrm>
              <a:off x="8170023" y="1806577"/>
              <a:ext cx="436486" cy="123315"/>
            </a:xfrm>
            <a:custGeom>
              <a:avLst/>
              <a:gdLst>
                <a:gd name="T0" fmla="*/ 1562 w 1562"/>
                <a:gd name="T1" fmla="*/ 413 h 413"/>
                <a:gd name="T2" fmla="*/ 0 w 1562"/>
                <a:gd name="T3" fmla="*/ 36 h 413"/>
                <a:gd name="T4" fmla="*/ 11 w 1562"/>
                <a:gd name="T5" fmla="*/ 34 h 413"/>
                <a:gd name="T6" fmla="*/ 43 w 1562"/>
                <a:gd name="T7" fmla="*/ 28 h 413"/>
                <a:gd name="T8" fmla="*/ 94 w 1562"/>
                <a:gd name="T9" fmla="*/ 21 h 413"/>
                <a:gd name="T10" fmla="*/ 162 w 1562"/>
                <a:gd name="T11" fmla="*/ 13 h 413"/>
                <a:gd name="T12" fmla="*/ 201 w 1562"/>
                <a:gd name="T13" fmla="*/ 9 h 413"/>
                <a:gd name="T14" fmla="*/ 245 w 1562"/>
                <a:gd name="T15" fmla="*/ 5 h 413"/>
                <a:gd name="T16" fmla="*/ 291 w 1562"/>
                <a:gd name="T17" fmla="*/ 3 h 413"/>
                <a:gd name="T18" fmla="*/ 340 w 1562"/>
                <a:gd name="T19" fmla="*/ 1 h 413"/>
                <a:gd name="T20" fmla="*/ 392 w 1562"/>
                <a:gd name="T21" fmla="*/ 0 h 413"/>
                <a:gd name="T22" fmla="*/ 447 w 1562"/>
                <a:gd name="T23" fmla="*/ 0 h 413"/>
                <a:gd name="T24" fmla="*/ 503 w 1562"/>
                <a:gd name="T25" fmla="*/ 2 h 413"/>
                <a:gd name="T26" fmla="*/ 562 w 1562"/>
                <a:gd name="T27" fmla="*/ 5 h 413"/>
                <a:gd name="T28" fmla="*/ 623 w 1562"/>
                <a:gd name="T29" fmla="*/ 10 h 413"/>
                <a:gd name="T30" fmla="*/ 684 w 1562"/>
                <a:gd name="T31" fmla="*/ 16 h 413"/>
                <a:gd name="T32" fmla="*/ 747 w 1562"/>
                <a:gd name="T33" fmla="*/ 25 h 413"/>
                <a:gd name="T34" fmla="*/ 811 w 1562"/>
                <a:gd name="T35" fmla="*/ 36 h 413"/>
                <a:gd name="T36" fmla="*/ 877 w 1562"/>
                <a:gd name="T37" fmla="*/ 49 h 413"/>
                <a:gd name="T38" fmla="*/ 942 w 1562"/>
                <a:gd name="T39" fmla="*/ 66 h 413"/>
                <a:gd name="T40" fmla="*/ 1007 w 1562"/>
                <a:gd name="T41" fmla="*/ 85 h 413"/>
                <a:gd name="T42" fmla="*/ 1072 w 1562"/>
                <a:gd name="T43" fmla="*/ 107 h 413"/>
                <a:gd name="T44" fmla="*/ 1137 w 1562"/>
                <a:gd name="T45" fmla="*/ 132 h 413"/>
                <a:gd name="T46" fmla="*/ 1201 w 1562"/>
                <a:gd name="T47" fmla="*/ 161 h 413"/>
                <a:gd name="T48" fmla="*/ 1265 w 1562"/>
                <a:gd name="T49" fmla="*/ 193 h 413"/>
                <a:gd name="T50" fmla="*/ 1327 w 1562"/>
                <a:gd name="T51" fmla="*/ 228 h 413"/>
                <a:gd name="T52" fmla="*/ 1389 w 1562"/>
                <a:gd name="T53" fmla="*/ 268 h 413"/>
                <a:gd name="T54" fmla="*/ 1449 w 1562"/>
                <a:gd name="T55" fmla="*/ 312 h 413"/>
                <a:gd name="T56" fmla="*/ 1506 w 1562"/>
                <a:gd name="T57" fmla="*/ 361 h 413"/>
                <a:gd name="T58" fmla="*/ 1562 w 1562"/>
                <a:gd name="T59"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2" h="413">
                  <a:moveTo>
                    <a:pt x="1562" y="413"/>
                  </a:moveTo>
                  <a:lnTo>
                    <a:pt x="0" y="36"/>
                  </a:lnTo>
                  <a:lnTo>
                    <a:pt x="11" y="34"/>
                  </a:lnTo>
                  <a:lnTo>
                    <a:pt x="43" y="28"/>
                  </a:lnTo>
                  <a:lnTo>
                    <a:pt x="94" y="21"/>
                  </a:lnTo>
                  <a:lnTo>
                    <a:pt x="162" y="13"/>
                  </a:lnTo>
                  <a:lnTo>
                    <a:pt x="201" y="9"/>
                  </a:lnTo>
                  <a:lnTo>
                    <a:pt x="245" y="5"/>
                  </a:lnTo>
                  <a:lnTo>
                    <a:pt x="291" y="3"/>
                  </a:lnTo>
                  <a:lnTo>
                    <a:pt x="340" y="1"/>
                  </a:lnTo>
                  <a:lnTo>
                    <a:pt x="392" y="0"/>
                  </a:lnTo>
                  <a:lnTo>
                    <a:pt x="447" y="0"/>
                  </a:lnTo>
                  <a:lnTo>
                    <a:pt x="503" y="2"/>
                  </a:lnTo>
                  <a:lnTo>
                    <a:pt x="562" y="5"/>
                  </a:lnTo>
                  <a:lnTo>
                    <a:pt x="623" y="10"/>
                  </a:lnTo>
                  <a:lnTo>
                    <a:pt x="684" y="16"/>
                  </a:lnTo>
                  <a:lnTo>
                    <a:pt x="747" y="25"/>
                  </a:lnTo>
                  <a:lnTo>
                    <a:pt x="811" y="36"/>
                  </a:lnTo>
                  <a:lnTo>
                    <a:pt x="877" y="49"/>
                  </a:lnTo>
                  <a:lnTo>
                    <a:pt x="942" y="66"/>
                  </a:lnTo>
                  <a:lnTo>
                    <a:pt x="1007" y="85"/>
                  </a:lnTo>
                  <a:lnTo>
                    <a:pt x="1072" y="107"/>
                  </a:lnTo>
                  <a:lnTo>
                    <a:pt x="1137" y="132"/>
                  </a:lnTo>
                  <a:lnTo>
                    <a:pt x="1201" y="161"/>
                  </a:lnTo>
                  <a:lnTo>
                    <a:pt x="1265" y="193"/>
                  </a:lnTo>
                  <a:lnTo>
                    <a:pt x="1327" y="228"/>
                  </a:lnTo>
                  <a:lnTo>
                    <a:pt x="1389" y="268"/>
                  </a:lnTo>
                  <a:lnTo>
                    <a:pt x="1449" y="312"/>
                  </a:lnTo>
                  <a:lnTo>
                    <a:pt x="1506" y="361"/>
                  </a:lnTo>
                  <a:lnTo>
                    <a:pt x="1562" y="413"/>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8" name="Freeform 45">
              <a:extLst>
                <a:ext uri="{FF2B5EF4-FFF2-40B4-BE49-F238E27FC236}">
                  <a16:creationId xmlns:a16="http://schemas.microsoft.com/office/drawing/2014/main" id="{3529896E-BC38-749A-E478-8724FF9D922D}"/>
                </a:ext>
              </a:extLst>
            </p:cNvPr>
            <p:cNvSpPr>
              <a:spLocks/>
            </p:cNvSpPr>
            <p:nvPr/>
          </p:nvSpPr>
          <p:spPr bwMode="auto">
            <a:xfrm>
              <a:off x="8170023" y="1817104"/>
              <a:ext cx="436486" cy="130834"/>
            </a:xfrm>
            <a:custGeom>
              <a:avLst/>
              <a:gdLst>
                <a:gd name="T0" fmla="*/ 1562 w 1562"/>
                <a:gd name="T1" fmla="*/ 377 h 438"/>
                <a:gd name="T2" fmla="*/ 0 w 1562"/>
                <a:gd name="T3" fmla="*/ 0 h 438"/>
                <a:gd name="T4" fmla="*/ 9 w 1562"/>
                <a:gd name="T5" fmla="*/ 8 h 438"/>
                <a:gd name="T6" fmla="*/ 34 w 1562"/>
                <a:gd name="T7" fmla="*/ 28 h 438"/>
                <a:gd name="T8" fmla="*/ 76 w 1562"/>
                <a:gd name="T9" fmla="*/ 58 h 438"/>
                <a:gd name="T10" fmla="*/ 133 w 1562"/>
                <a:gd name="T11" fmla="*/ 96 h 438"/>
                <a:gd name="T12" fmla="*/ 166 w 1562"/>
                <a:gd name="T13" fmla="*/ 117 h 438"/>
                <a:gd name="T14" fmla="*/ 203 w 1562"/>
                <a:gd name="T15" fmla="*/ 139 h 438"/>
                <a:gd name="T16" fmla="*/ 244 w 1562"/>
                <a:gd name="T17" fmla="*/ 164 h 438"/>
                <a:gd name="T18" fmla="*/ 287 w 1562"/>
                <a:gd name="T19" fmla="*/ 188 h 438"/>
                <a:gd name="T20" fmla="*/ 332 w 1562"/>
                <a:gd name="T21" fmla="*/ 212 h 438"/>
                <a:gd name="T22" fmla="*/ 381 w 1562"/>
                <a:gd name="T23" fmla="*/ 236 h 438"/>
                <a:gd name="T24" fmla="*/ 433 w 1562"/>
                <a:gd name="T25" fmla="*/ 262 h 438"/>
                <a:gd name="T26" fmla="*/ 486 w 1562"/>
                <a:gd name="T27" fmla="*/ 285 h 438"/>
                <a:gd name="T28" fmla="*/ 542 w 1562"/>
                <a:gd name="T29" fmla="*/ 308 h 438"/>
                <a:gd name="T30" fmla="*/ 599 w 1562"/>
                <a:gd name="T31" fmla="*/ 331 h 438"/>
                <a:gd name="T32" fmla="*/ 660 w 1562"/>
                <a:gd name="T33" fmla="*/ 351 h 438"/>
                <a:gd name="T34" fmla="*/ 722 w 1562"/>
                <a:gd name="T35" fmla="*/ 371 h 438"/>
                <a:gd name="T36" fmla="*/ 786 w 1562"/>
                <a:gd name="T37" fmla="*/ 389 h 438"/>
                <a:gd name="T38" fmla="*/ 851 w 1562"/>
                <a:gd name="T39" fmla="*/ 404 h 438"/>
                <a:gd name="T40" fmla="*/ 919 w 1562"/>
                <a:gd name="T41" fmla="*/ 416 h 438"/>
                <a:gd name="T42" fmla="*/ 986 w 1562"/>
                <a:gd name="T43" fmla="*/ 426 h 438"/>
                <a:gd name="T44" fmla="*/ 1056 w 1562"/>
                <a:gd name="T45" fmla="*/ 434 h 438"/>
                <a:gd name="T46" fmla="*/ 1126 w 1562"/>
                <a:gd name="T47" fmla="*/ 438 h 438"/>
                <a:gd name="T48" fmla="*/ 1197 w 1562"/>
                <a:gd name="T49" fmla="*/ 438 h 438"/>
                <a:gd name="T50" fmla="*/ 1270 w 1562"/>
                <a:gd name="T51" fmla="*/ 435 h 438"/>
                <a:gd name="T52" fmla="*/ 1342 w 1562"/>
                <a:gd name="T53" fmla="*/ 427 h 438"/>
                <a:gd name="T54" fmla="*/ 1416 w 1562"/>
                <a:gd name="T55" fmla="*/ 415 h 438"/>
                <a:gd name="T56" fmla="*/ 1488 w 1562"/>
                <a:gd name="T57" fmla="*/ 399 h 438"/>
                <a:gd name="T58" fmla="*/ 1562 w 1562"/>
                <a:gd name="T59" fmla="*/ 37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2" h="438">
                  <a:moveTo>
                    <a:pt x="1562" y="377"/>
                  </a:moveTo>
                  <a:lnTo>
                    <a:pt x="0" y="0"/>
                  </a:lnTo>
                  <a:lnTo>
                    <a:pt x="9" y="8"/>
                  </a:lnTo>
                  <a:lnTo>
                    <a:pt x="34" y="28"/>
                  </a:lnTo>
                  <a:lnTo>
                    <a:pt x="76" y="58"/>
                  </a:lnTo>
                  <a:lnTo>
                    <a:pt x="133" y="96"/>
                  </a:lnTo>
                  <a:lnTo>
                    <a:pt x="166" y="117"/>
                  </a:lnTo>
                  <a:lnTo>
                    <a:pt x="203" y="139"/>
                  </a:lnTo>
                  <a:lnTo>
                    <a:pt x="244" y="164"/>
                  </a:lnTo>
                  <a:lnTo>
                    <a:pt x="287" y="188"/>
                  </a:lnTo>
                  <a:lnTo>
                    <a:pt x="332" y="212"/>
                  </a:lnTo>
                  <a:lnTo>
                    <a:pt x="381" y="236"/>
                  </a:lnTo>
                  <a:lnTo>
                    <a:pt x="433" y="262"/>
                  </a:lnTo>
                  <a:lnTo>
                    <a:pt x="486" y="285"/>
                  </a:lnTo>
                  <a:lnTo>
                    <a:pt x="542" y="308"/>
                  </a:lnTo>
                  <a:lnTo>
                    <a:pt x="599" y="331"/>
                  </a:lnTo>
                  <a:lnTo>
                    <a:pt x="660" y="351"/>
                  </a:lnTo>
                  <a:lnTo>
                    <a:pt x="722" y="371"/>
                  </a:lnTo>
                  <a:lnTo>
                    <a:pt x="786" y="389"/>
                  </a:lnTo>
                  <a:lnTo>
                    <a:pt x="851" y="404"/>
                  </a:lnTo>
                  <a:lnTo>
                    <a:pt x="919" y="416"/>
                  </a:lnTo>
                  <a:lnTo>
                    <a:pt x="986" y="426"/>
                  </a:lnTo>
                  <a:lnTo>
                    <a:pt x="1056" y="434"/>
                  </a:lnTo>
                  <a:lnTo>
                    <a:pt x="1126" y="438"/>
                  </a:lnTo>
                  <a:lnTo>
                    <a:pt x="1197" y="438"/>
                  </a:lnTo>
                  <a:lnTo>
                    <a:pt x="1270" y="435"/>
                  </a:lnTo>
                  <a:lnTo>
                    <a:pt x="1342" y="427"/>
                  </a:lnTo>
                  <a:lnTo>
                    <a:pt x="1416" y="415"/>
                  </a:lnTo>
                  <a:lnTo>
                    <a:pt x="1488" y="399"/>
                  </a:lnTo>
                  <a:lnTo>
                    <a:pt x="1562" y="3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79" name="Freeform 46">
              <a:extLst>
                <a:ext uri="{FF2B5EF4-FFF2-40B4-BE49-F238E27FC236}">
                  <a16:creationId xmlns:a16="http://schemas.microsoft.com/office/drawing/2014/main" id="{BDA14082-CE96-9BEB-DF45-02367DF7F604}"/>
                </a:ext>
              </a:extLst>
            </p:cNvPr>
            <p:cNvSpPr>
              <a:spLocks/>
            </p:cNvSpPr>
            <p:nvPr/>
          </p:nvSpPr>
          <p:spPr bwMode="auto">
            <a:xfrm>
              <a:off x="8129581" y="1845677"/>
              <a:ext cx="85066" cy="1400071"/>
            </a:xfrm>
            <a:custGeom>
              <a:avLst/>
              <a:gdLst>
                <a:gd name="T0" fmla="*/ 0 w 305"/>
                <a:gd name="T1" fmla="*/ 4653 h 4653"/>
                <a:gd name="T2" fmla="*/ 305 w 305"/>
                <a:gd name="T3" fmla="*/ 4653 h 4653"/>
                <a:gd name="T4" fmla="*/ 204 w 305"/>
                <a:gd name="T5" fmla="*/ 0 h 4653"/>
                <a:gd name="T6" fmla="*/ 101 w 305"/>
                <a:gd name="T7" fmla="*/ 0 h 4653"/>
                <a:gd name="T8" fmla="*/ 0 w 305"/>
                <a:gd name="T9" fmla="*/ 4653 h 4653"/>
              </a:gdLst>
              <a:ahLst/>
              <a:cxnLst>
                <a:cxn ang="0">
                  <a:pos x="T0" y="T1"/>
                </a:cxn>
                <a:cxn ang="0">
                  <a:pos x="T2" y="T3"/>
                </a:cxn>
                <a:cxn ang="0">
                  <a:pos x="T4" y="T5"/>
                </a:cxn>
                <a:cxn ang="0">
                  <a:pos x="T6" y="T7"/>
                </a:cxn>
                <a:cxn ang="0">
                  <a:pos x="T8" y="T9"/>
                </a:cxn>
              </a:cxnLst>
              <a:rect l="0" t="0" r="r" b="b"/>
              <a:pathLst>
                <a:path w="305" h="4653">
                  <a:moveTo>
                    <a:pt x="0" y="4653"/>
                  </a:moveTo>
                  <a:lnTo>
                    <a:pt x="305" y="4653"/>
                  </a:lnTo>
                  <a:lnTo>
                    <a:pt x="204" y="0"/>
                  </a:lnTo>
                  <a:lnTo>
                    <a:pt x="101" y="0"/>
                  </a:lnTo>
                  <a:lnTo>
                    <a:pt x="0" y="46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0" name="Freeform 47">
              <a:extLst>
                <a:ext uri="{FF2B5EF4-FFF2-40B4-BE49-F238E27FC236}">
                  <a16:creationId xmlns:a16="http://schemas.microsoft.com/office/drawing/2014/main" id="{E30D93E9-84BB-BC63-DE30-A7AB9D5AE68B}"/>
                </a:ext>
              </a:extLst>
            </p:cNvPr>
            <p:cNvSpPr>
              <a:spLocks/>
            </p:cNvSpPr>
            <p:nvPr/>
          </p:nvSpPr>
          <p:spPr bwMode="auto">
            <a:xfrm>
              <a:off x="8129581" y="1845677"/>
              <a:ext cx="39047" cy="1400071"/>
            </a:xfrm>
            <a:custGeom>
              <a:avLst/>
              <a:gdLst>
                <a:gd name="T0" fmla="*/ 0 w 139"/>
                <a:gd name="T1" fmla="*/ 4653 h 4653"/>
                <a:gd name="T2" fmla="*/ 114 w 139"/>
                <a:gd name="T3" fmla="*/ 4653 h 4653"/>
                <a:gd name="T4" fmla="*/ 139 w 139"/>
                <a:gd name="T5" fmla="*/ 0 h 4653"/>
                <a:gd name="T6" fmla="*/ 101 w 139"/>
                <a:gd name="T7" fmla="*/ 0 h 4653"/>
                <a:gd name="T8" fmla="*/ 0 w 139"/>
                <a:gd name="T9" fmla="*/ 4653 h 4653"/>
              </a:gdLst>
              <a:ahLst/>
              <a:cxnLst>
                <a:cxn ang="0">
                  <a:pos x="T0" y="T1"/>
                </a:cxn>
                <a:cxn ang="0">
                  <a:pos x="T2" y="T3"/>
                </a:cxn>
                <a:cxn ang="0">
                  <a:pos x="T4" y="T5"/>
                </a:cxn>
                <a:cxn ang="0">
                  <a:pos x="T6" y="T7"/>
                </a:cxn>
                <a:cxn ang="0">
                  <a:pos x="T8" y="T9"/>
                </a:cxn>
              </a:cxnLst>
              <a:rect l="0" t="0" r="r" b="b"/>
              <a:pathLst>
                <a:path w="139" h="4653">
                  <a:moveTo>
                    <a:pt x="0" y="4653"/>
                  </a:moveTo>
                  <a:lnTo>
                    <a:pt x="114" y="4653"/>
                  </a:lnTo>
                  <a:lnTo>
                    <a:pt x="139" y="0"/>
                  </a:lnTo>
                  <a:lnTo>
                    <a:pt x="101" y="0"/>
                  </a:lnTo>
                  <a:lnTo>
                    <a:pt x="0" y="465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1" name="Freeform 48">
              <a:extLst>
                <a:ext uri="{FF2B5EF4-FFF2-40B4-BE49-F238E27FC236}">
                  <a16:creationId xmlns:a16="http://schemas.microsoft.com/office/drawing/2014/main" id="{8F46A4E6-1F3D-E6A2-9F0F-BF5A1430DFB9}"/>
                </a:ext>
              </a:extLst>
            </p:cNvPr>
            <p:cNvSpPr>
              <a:spLocks/>
            </p:cNvSpPr>
            <p:nvPr/>
          </p:nvSpPr>
          <p:spPr bwMode="auto">
            <a:xfrm>
              <a:off x="8125398" y="1776500"/>
              <a:ext cx="94827" cy="102261"/>
            </a:xfrm>
            <a:custGeom>
              <a:avLst/>
              <a:gdLst>
                <a:gd name="T0" fmla="*/ 2 w 342"/>
                <a:gd name="T1" fmla="*/ 188 h 342"/>
                <a:gd name="T2" fmla="*/ 8 w 342"/>
                <a:gd name="T3" fmla="*/ 221 h 342"/>
                <a:gd name="T4" fmla="*/ 21 w 342"/>
                <a:gd name="T5" fmla="*/ 252 h 342"/>
                <a:gd name="T6" fmla="*/ 39 w 342"/>
                <a:gd name="T7" fmla="*/ 279 h 342"/>
                <a:gd name="T8" fmla="*/ 62 w 342"/>
                <a:gd name="T9" fmla="*/ 302 h 342"/>
                <a:gd name="T10" fmla="*/ 90 w 342"/>
                <a:gd name="T11" fmla="*/ 321 h 342"/>
                <a:gd name="T12" fmla="*/ 120 w 342"/>
                <a:gd name="T13" fmla="*/ 334 h 342"/>
                <a:gd name="T14" fmla="*/ 153 w 342"/>
                <a:gd name="T15" fmla="*/ 340 h 342"/>
                <a:gd name="T16" fmla="*/ 188 w 342"/>
                <a:gd name="T17" fmla="*/ 340 h 342"/>
                <a:gd name="T18" fmla="*/ 221 w 342"/>
                <a:gd name="T19" fmla="*/ 334 h 342"/>
                <a:gd name="T20" fmla="*/ 252 w 342"/>
                <a:gd name="T21" fmla="*/ 321 h 342"/>
                <a:gd name="T22" fmla="*/ 280 w 342"/>
                <a:gd name="T23" fmla="*/ 302 h 342"/>
                <a:gd name="T24" fmla="*/ 302 w 342"/>
                <a:gd name="T25" fmla="*/ 279 h 342"/>
                <a:gd name="T26" fmla="*/ 321 w 342"/>
                <a:gd name="T27" fmla="*/ 252 h 342"/>
                <a:gd name="T28" fmla="*/ 334 w 342"/>
                <a:gd name="T29" fmla="*/ 221 h 342"/>
                <a:gd name="T30" fmla="*/ 341 w 342"/>
                <a:gd name="T31" fmla="*/ 188 h 342"/>
                <a:gd name="T32" fmla="*/ 341 w 342"/>
                <a:gd name="T33" fmla="*/ 154 h 342"/>
                <a:gd name="T34" fmla="*/ 334 w 342"/>
                <a:gd name="T35" fmla="*/ 120 h 342"/>
                <a:gd name="T36" fmla="*/ 321 w 342"/>
                <a:gd name="T37" fmla="*/ 90 h 342"/>
                <a:gd name="T38" fmla="*/ 302 w 342"/>
                <a:gd name="T39" fmla="*/ 62 h 342"/>
                <a:gd name="T40" fmla="*/ 280 w 342"/>
                <a:gd name="T41" fmla="*/ 39 h 342"/>
                <a:gd name="T42" fmla="*/ 252 w 342"/>
                <a:gd name="T43" fmla="*/ 21 h 342"/>
                <a:gd name="T44" fmla="*/ 221 w 342"/>
                <a:gd name="T45" fmla="*/ 8 h 342"/>
                <a:gd name="T46" fmla="*/ 188 w 342"/>
                <a:gd name="T47" fmla="*/ 2 h 342"/>
                <a:gd name="T48" fmla="*/ 153 w 342"/>
                <a:gd name="T49" fmla="*/ 2 h 342"/>
                <a:gd name="T50" fmla="*/ 120 w 342"/>
                <a:gd name="T51" fmla="*/ 8 h 342"/>
                <a:gd name="T52" fmla="*/ 90 w 342"/>
                <a:gd name="T53" fmla="*/ 21 h 342"/>
                <a:gd name="T54" fmla="*/ 62 w 342"/>
                <a:gd name="T55" fmla="*/ 39 h 342"/>
                <a:gd name="T56" fmla="*/ 39 w 342"/>
                <a:gd name="T57" fmla="*/ 62 h 342"/>
                <a:gd name="T58" fmla="*/ 21 w 342"/>
                <a:gd name="T59" fmla="*/ 90 h 342"/>
                <a:gd name="T60" fmla="*/ 8 w 342"/>
                <a:gd name="T61" fmla="*/ 120 h 342"/>
                <a:gd name="T62" fmla="*/ 2 w 342"/>
                <a:gd name="T63" fmla="*/ 15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2" h="342">
                  <a:moveTo>
                    <a:pt x="0" y="170"/>
                  </a:moveTo>
                  <a:lnTo>
                    <a:pt x="2" y="188"/>
                  </a:lnTo>
                  <a:lnTo>
                    <a:pt x="4" y="205"/>
                  </a:lnTo>
                  <a:lnTo>
                    <a:pt x="8" y="221"/>
                  </a:lnTo>
                  <a:lnTo>
                    <a:pt x="14" y="237"/>
                  </a:lnTo>
                  <a:lnTo>
                    <a:pt x="21" y="252"/>
                  </a:lnTo>
                  <a:lnTo>
                    <a:pt x="29" y="267"/>
                  </a:lnTo>
                  <a:lnTo>
                    <a:pt x="39" y="279"/>
                  </a:lnTo>
                  <a:lnTo>
                    <a:pt x="50" y="291"/>
                  </a:lnTo>
                  <a:lnTo>
                    <a:pt x="62" y="302"/>
                  </a:lnTo>
                  <a:lnTo>
                    <a:pt x="76" y="312"/>
                  </a:lnTo>
                  <a:lnTo>
                    <a:pt x="90" y="321"/>
                  </a:lnTo>
                  <a:lnTo>
                    <a:pt x="104" y="327"/>
                  </a:lnTo>
                  <a:lnTo>
                    <a:pt x="120" y="334"/>
                  </a:lnTo>
                  <a:lnTo>
                    <a:pt x="136" y="337"/>
                  </a:lnTo>
                  <a:lnTo>
                    <a:pt x="153" y="340"/>
                  </a:lnTo>
                  <a:lnTo>
                    <a:pt x="171" y="342"/>
                  </a:lnTo>
                  <a:lnTo>
                    <a:pt x="188" y="340"/>
                  </a:lnTo>
                  <a:lnTo>
                    <a:pt x="205" y="337"/>
                  </a:lnTo>
                  <a:lnTo>
                    <a:pt x="221" y="334"/>
                  </a:lnTo>
                  <a:lnTo>
                    <a:pt x="237" y="327"/>
                  </a:lnTo>
                  <a:lnTo>
                    <a:pt x="252" y="321"/>
                  </a:lnTo>
                  <a:lnTo>
                    <a:pt x="267" y="312"/>
                  </a:lnTo>
                  <a:lnTo>
                    <a:pt x="280" y="302"/>
                  </a:lnTo>
                  <a:lnTo>
                    <a:pt x="292" y="291"/>
                  </a:lnTo>
                  <a:lnTo>
                    <a:pt x="302" y="279"/>
                  </a:lnTo>
                  <a:lnTo>
                    <a:pt x="312" y="267"/>
                  </a:lnTo>
                  <a:lnTo>
                    <a:pt x="321" y="252"/>
                  </a:lnTo>
                  <a:lnTo>
                    <a:pt x="328" y="237"/>
                  </a:lnTo>
                  <a:lnTo>
                    <a:pt x="334" y="221"/>
                  </a:lnTo>
                  <a:lnTo>
                    <a:pt x="338" y="205"/>
                  </a:lnTo>
                  <a:lnTo>
                    <a:pt x="341" y="188"/>
                  </a:lnTo>
                  <a:lnTo>
                    <a:pt x="342" y="170"/>
                  </a:lnTo>
                  <a:lnTo>
                    <a:pt x="341" y="154"/>
                  </a:lnTo>
                  <a:lnTo>
                    <a:pt x="338" y="136"/>
                  </a:lnTo>
                  <a:lnTo>
                    <a:pt x="334" y="120"/>
                  </a:lnTo>
                  <a:lnTo>
                    <a:pt x="328" y="104"/>
                  </a:lnTo>
                  <a:lnTo>
                    <a:pt x="321" y="90"/>
                  </a:lnTo>
                  <a:lnTo>
                    <a:pt x="312" y="76"/>
                  </a:lnTo>
                  <a:lnTo>
                    <a:pt x="302" y="62"/>
                  </a:lnTo>
                  <a:lnTo>
                    <a:pt x="292" y="50"/>
                  </a:lnTo>
                  <a:lnTo>
                    <a:pt x="280" y="39"/>
                  </a:lnTo>
                  <a:lnTo>
                    <a:pt x="267" y="29"/>
                  </a:lnTo>
                  <a:lnTo>
                    <a:pt x="252" y="21"/>
                  </a:lnTo>
                  <a:lnTo>
                    <a:pt x="237" y="14"/>
                  </a:lnTo>
                  <a:lnTo>
                    <a:pt x="221" y="8"/>
                  </a:lnTo>
                  <a:lnTo>
                    <a:pt x="205" y="4"/>
                  </a:lnTo>
                  <a:lnTo>
                    <a:pt x="188" y="2"/>
                  </a:lnTo>
                  <a:lnTo>
                    <a:pt x="171" y="0"/>
                  </a:lnTo>
                  <a:lnTo>
                    <a:pt x="153" y="2"/>
                  </a:lnTo>
                  <a:lnTo>
                    <a:pt x="136" y="4"/>
                  </a:lnTo>
                  <a:lnTo>
                    <a:pt x="120" y="8"/>
                  </a:lnTo>
                  <a:lnTo>
                    <a:pt x="104" y="14"/>
                  </a:lnTo>
                  <a:lnTo>
                    <a:pt x="90" y="21"/>
                  </a:lnTo>
                  <a:lnTo>
                    <a:pt x="76" y="29"/>
                  </a:lnTo>
                  <a:lnTo>
                    <a:pt x="62" y="39"/>
                  </a:lnTo>
                  <a:lnTo>
                    <a:pt x="50" y="50"/>
                  </a:lnTo>
                  <a:lnTo>
                    <a:pt x="39" y="62"/>
                  </a:lnTo>
                  <a:lnTo>
                    <a:pt x="29" y="76"/>
                  </a:lnTo>
                  <a:lnTo>
                    <a:pt x="21" y="90"/>
                  </a:lnTo>
                  <a:lnTo>
                    <a:pt x="14" y="104"/>
                  </a:lnTo>
                  <a:lnTo>
                    <a:pt x="8" y="120"/>
                  </a:lnTo>
                  <a:lnTo>
                    <a:pt x="4" y="136"/>
                  </a:lnTo>
                  <a:lnTo>
                    <a:pt x="2" y="154"/>
                  </a:lnTo>
                  <a:lnTo>
                    <a:pt x="0" y="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2" name="Freeform 49">
              <a:extLst>
                <a:ext uri="{FF2B5EF4-FFF2-40B4-BE49-F238E27FC236}">
                  <a16:creationId xmlns:a16="http://schemas.microsoft.com/office/drawing/2014/main" id="{D77D95E7-2D2C-C7E3-5D26-AB8BCACC51A0}"/>
                </a:ext>
              </a:extLst>
            </p:cNvPr>
            <p:cNvSpPr>
              <a:spLocks/>
            </p:cNvSpPr>
            <p:nvPr/>
          </p:nvSpPr>
          <p:spPr bwMode="auto">
            <a:xfrm>
              <a:off x="8136554" y="1788531"/>
              <a:ext cx="72515" cy="78199"/>
            </a:xfrm>
            <a:custGeom>
              <a:avLst/>
              <a:gdLst>
                <a:gd name="T0" fmla="*/ 1 w 259"/>
                <a:gd name="T1" fmla="*/ 143 h 259"/>
                <a:gd name="T2" fmla="*/ 7 w 259"/>
                <a:gd name="T3" fmla="*/ 168 h 259"/>
                <a:gd name="T4" fmla="*/ 16 w 259"/>
                <a:gd name="T5" fmla="*/ 191 h 259"/>
                <a:gd name="T6" fmla="*/ 30 w 259"/>
                <a:gd name="T7" fmla="*/ 212 h 259"/>
                <a:gd name="T8" fmla="*/ 48 w 259"/>
                <a:gd name="T9" fmla="*/ 229 h 259"/>
                <a:gd name="T10" fmla="*/ 69 w 259"/>
                <a:gd name="T11" fmla="*/ 243 h 259"/>
                <a:gd name="T12" fmla="*/ 91 w 259"/>
                <a:gd name="T13" fmla="*/ 253 h 259"/>
                <a:gd name="T14" fmla="*/ 116 w 259"/>
                <a:gd name="T15" fmla="*/ 259 h 259"/>
                <a:gd name="T16" fmla="*/ 143 w 259"/>
                <a:gd name="T17" fmla="*/ 259 h 259"/>
                <a:gd name="T18" fmla="*/ 168 w 259"/>
                <a:gd name="T19" fmla="*/ 253 h 259"/>
                <a:gd name="T20" fmla="*/ 191 w 259"/>
                <a:gd name="T21" fmla="*/ 243 h 259"/>
                <a:gd name="T22" fmla="*/ 212 w 259"/>
                <a:gd name="T23" fmla="*/ 229 h 259"/>
                <a:gd name="T24" fmla="*/ 230 w 259"/>
                <a:gd name="T25" fmla="*/ 212 h 259"/>
                <a:gd name="T26" fmla="*/ 243 w 259"/>
                <a:gd name="T27" fmla="*/ 191 h 259"/>
                <a:gd name="T28" fmla="*/ 253 w 259"/>
                <a:gd name="T29" fmla="*/ 168 h 259"/>
                <a:gd name="T30" fmla="*/ 259 w 259"/>
                <a:gd name="T31" fmla="*/ 143 h 259"/>
                <a:gd name="T32" fmla="*/ 259 w 259"/>
                <a:gd name="T33" fmla="*/ 116 h 259"/>
                <a:gd name="T34" fmla="*/ 253 w 259"/>
                <a:gd name="T35" fmla="*/ 92 h 259"/>
                <a:gd name="T36" fmla="*/ 243 w 259"/>
                <a:gd name="T37" fmla="*/ 69 h 259"/>
                <a:gd name="T38" fmla="*/ 230 w 259"/>
                <a:gd name="T39" fmla="*/ 48 h 259"/>
                <a:gd name="T40" fmla="*/ 212 w 259"/>
                <a:gd name="T41" fmla="*/ 30 h 259"/>
                <a:gd name="T42" fmla="*/ 191 w 259"/>
                <a:gd name="T43" fmla="*/ 17 h 259"/>
                <a:gd name="T44" fmla="*/ 168 w 259"/>
                <a:gd name="T45" fmla="*/ 7 h 259"/>
                <a:gd name="T46" fmla="*/ 143 w 259"/>
                <a:gd name="T47" fmla="*/ 1 h 259"/>
                <a:gd name="T48" fmla="*/ 116 w 259"/>
                <a:gd name="T49" fmla="*/ 1 h 259"/>
                <a:gd name="T50" fmla="*/ 91 w 259"/>
                <a:gd name="T51" fmla="*/ 7 h 259"/>
                <a:gd name="T52" fmla="*/ 69 w 259"/>
                <a:gd name="T53" fmla="*/ 17 h 259"/>
                <a:gd name="T54" fmla="*/ 48 w 259"/>
                <a:gd name="T55" fmla="*/ 30 h 259"/>
                <a:gd name="T56" fmla="*/ 30 w 259"/>
                <a:gd name="T57" fmla="*/ 48 h 259"/>
                <a:gd name="T58" fmla="*/ 16 w 259"/>
                <a:gd name="T59" fmla="*/ 69 h 259"/>
                <a:gd name="T60" fmla="*/ 7 w 259"/>
                <a:gd name="T61" fmla="*/ 92 h 259"/>
                <a:gd name="T62" fmla="*/ 1 w 259"/>
                <a:gd name="T63" fmla="*/ 11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9" h="259">
                  <a:moveTo>
                    <a:pt x="0" y="129"/>
                  </a:moveTo>
                  <a:lnTo>
                    <a:pt x="1" y="143"/>
                  </a:lnTo>
                  <a:lnTo>
                    <a:pt x="4" y="156"/>
                  </a:lnTo>
                  <a:lnTo>
                    <a:pt x="7" y="168"/>
                  </a:lnTo>
                  <a:lnTo>
                    <a:pt x="11" y="180"/>
                  </a:lnTo>
                  <a:lnTo>
                    <a:pt x="16" y="191"/>
                  </a:lnTo>
                  <a:lnTo>
                    <a:pt x="22" y="202"/>
                  </a:lnTo>
                  <a:lnTo>
                    <a:pt x="30" y="212"/>
                  </a:lnTo>
                  <a:lnTo>
                    <a:pt x="39" y="221"/>
                  </a:lnTo>
                  <a:lnTo>
                    <a:pt x="48" y="229"/>
                  </a:lnTo>
                  <a:lnTo>
                    <a:pt x="58" y="237"/>
                  </a:lnTo>
                  <a:lnTo>
                    <a:pt x="69" y="243"/>
                  </a:lnTo>
                  <a:lnTo>
                    <a:pt x="80" y="249"/>
                  </a:lnTo>
                  <a:lnTo>
                    <a:pt x="91" y="253"/>
                  </a:lnTo>
                  <a:lnTo>
                    <a:pt x="104" y="256"/>
                  </a:lnTo>
                  <a:lnTo>
                    <a:pt x="116" y="259"/>
                  </a:lnTo>
                  <a:lnTo>
                    <a:pt x="130" y="259"/>
                  </a:lnTo>
                  <a:lnTo>
                    <a:pt x="143" y="259"/>
                  </a:lnTo>
                  <a:lnTo>
                    <a:pt x="156" y="256"/>
                  </a:lnTo>
                  <a:lnTo>
                    <a:pt x="168" y="253"/>
                  </a:lnTo>
                  <a:lnTo>
                    <a:pt x="180" y="249"/>
                  </a:lnTo>
                  <a:lnTo>
                    <a:pt x="191" y="243"/>
                  </a:lnTo>
                  <a:lnTo>
                    <a:pt x="202" y="237"/>
                  </a:lnTo>
                  <a:lnTo>
                    <a:pt x="212" y="229"/>
                  </a:lnTo>
                  <a:lnTo>
                    <a:pt x="221" y="221"/>
                  </a:lnTo>
                  <a:lnTo>
                    <a:pt x="230" y="212"/>
                  </a:lnTo>
                  <a:lnTo>
                    <a:pt x="237" y="202"/>
                  </a:lnTo>
                  <a:lnTo>
                    <a:pt x="243" y="191"/>
                  </a:lnTo>
                  <a:lnTo>
                    <a:pt x="249" y="180"/>
                  </a:lnTo>
                  <a:lnTo>
                    <a:pt x="253" y="168"/>
                  </a:lnTo>
                  <a:lnTo>
                    <a:pt x="257" y="156"/>
                  </a:lnTo>
                  <a:lnTo>
                    <a:pt x="259" y="143"/>
                  </a:lnTo>
                  <a:lnTo>
                    <a:pt x="259" y="129"/>
                  </a:lnTo>
                  <a:lnTo>
                    <a:pt x="259" y="116"/>
                  </a:lnTo>
                  <a:lnTo>
                    <a:pt x="257" y="104"/>
                  </a:lnTo>
                  <a:lnTo>
                    <a:pt x="253" y="92"/>
                  </a:lnTo>
                  <a:lnTo>
                    <a:pt x="249" y="80"/>
                  </a:lnTo>
                  <a:lnTo>
                    <a:pt x="243" y="69"/>
                  </a:lnTo>
                  <a:lnTo>
                    <a:pt x="237" y="58"/>
                  </a:lnTo>
                  <a:lnTo>
                    <a:pt x="230" y="48"/>
                  </a:lnTo>
                  <a:lnTo>
                    <a:pt x="221" y="39"/>
                  </a:lnTo>
                  <a:lnTo>
                    <a:pt x="212" y="30"/>
                  </a:lnTo>
                  <a:lnTo>
                    <a:pt x="202" y="22"/>
                  </a:lnTo>
                  <a:lnTo>
                    <a:pt x="191" y="17"/>
                  </a:lnTo>
                  <a:lnTo>
                    <a:pt x="180" y="11"/>
                  </a:lnTo>
                  <a:lnTo>
                    <a:pt x="168" y="7"/>
                  </a:lnTo>
                  <a:lnTo>
                    <a:pt x="156" y="4"/>
                  </a:lnTo>
                  <a:lnTo>
                    <a:pt x="143" y="1"/>
                  </a:lnTo>
                  <a:lnTo>
                    <a:pt x="130" y="0"/>
                  </a:lnTo>
                  <a:lnTo>
                    <a:pt x="116" y="1"/>
                  </a:lnTo>
                  <a:lnTo>
                    <a:pt x="104" y="4"/>
                  </a:lnTo>
                  <a:lnTo>
                    <a:pt x="91" y="7"/>
                  </a:lnTo>
                  <a:lnTo>
                    <a:pt x="80" y="11"/>
                  </a:lnTo>
                  <a:lnTo>
                    <a:pt x="69" y="17"/>
                  </a:lnTo>
                  <a:lnTo>
                    <a:pt x="58" y="22"/>
                  </a:lnTo>
                  <a:lnTo>
                    <a:pt x="48" y="30"/>
                  </a:lnTo>
                  <a:lnTo>
                    <a:pt x="39" y="39"/>
                  </a:lnTo>
                  <a:lnTo>
                    <a:pt x="30" y="48"/>
                  </a:lnTo>
                  <a:lnTo>
                    <a:pt x="22" y="58"/>
                  </a:lnTo>
                  <a:lnTo>
                    <a:pt x="16" y="69"/>
                  </a:lnTo>
                  <a:lnTo>
                    <a:pt x="11" y="80"/>
                  </a:lnTo>
                  <a:lnTo>
                    <a:pt x="7" y="92"/>
                  </a:lnTo>
                  <a:lnTo>
                    <a:pt x="4" y="104"/>
                  </a:lnTo>
                  <a:lnTo>
                    <a:pt x="1" y="116"/>
                  </a:lnTo>
                  <a:lnTo>
                    <a:pt x="0" y="129"/>
                  </a:lnTo>
                  <a:close/>
                </a:path>
              </a:pathLst>
            </a:custGeom>
            <a:solidFill>
              <a:srgbClr val="9AD8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3" name="Freeform 50">
              <a:extLst>
                <a:ext uri="{FF2B5EF4-FFF2-40B4-BE49-F238E27FC236}">
                  <a16:creationId xmlns:a16="http://schemas.microsoft.com/office/drawing/2014/main" id="{8343DE13-C0FB-5EF1-65CF-1475B28ACCED}"/>
                </a:ext>
              </a:extLst>
            </p:cNvPr>
            <p:cNvSpPr>
              <a:spLocks/>
            </p:cNvSpPr>
            <p:nvPr/>
          </p:nvSpPr>
          <p:spPr bwMode="auto">
            <a:xfrm>
              <a:off x="8136554" y="1791539"/>
              <a:ext cx="58570" cy="75192"/>
            </a:xfrm>
            <a:custGeom>
              <a:avLst/>
              <a:gdLst>
                <a:gd name="T0" fmla="*/ 74 w 212"/>
                <a:gd name="T1" fmla="*/ 9 h 249"/>
                <a:gd name="T2" fmla="*/ 58 w 212"/>
                <a:gd name="T3" fmla="*/ 31 h 249"/>
                <a:gd name="T4" fmla="*/ 46 w 212"/>
                <a:gd name="T5" fmla="*/ 55 h 249"/>
                <a:gd name="T6" fmla="*/ 39 w 212"/>
                <a:gd name="T7" fmla="*/ 82 h 249"/>
                <a:gd name="T8" fmla="*/ 39 w 212"/>
                <a:gd name="T9" fmla="*/ 110 h 249"/>
                <a:gd name="T10" fmla="*/ 43 w 212"/>
                <a:gd name="T11" fmla="*/ 135 h 249"/>
                <a:gd name="T12" fmla="*/ 53 w 212"/>
                <a:gd name="T13" fmla="*/ 158 h 249"/>
                <a:gd name="T14" fmla="*/ 68 w 212"/>
                <a:gd name="T15" fmla="*/ 179 h 249"/>
                <a:gd name="T16" fmla="*/ 85 w 212"/>
                <a:gd name="T17" fmla="*/ 197 h 249"/>
                <a:gd name="T18" fmla="*/ 105 w 212"/>
                <a:gd name="T19" fmla="*/ 210 h 249"/>
                <a:gd name="T20" fmla="*/ 128 w 212"/>
                <a:gd name="T21" fmla="*/ 220 h 249"/>
                <a:gd name="T22" fmla="*/ 154 w 212"/>
                <a:gd name="T23" fmla="*/ 225 h 249"/>
                <a:gd name="T24" fmla="*/ 179 w 212"/>
                <a:gd name="T25" fmla="*/ 225 h 249"/>
                <a:gd name="T26" fmla="*/ 202 w 212"/>
                <a:gd name="T27" fmla="*/ 220 h 249"/>
                <a:gd name="T28" fmla="*/ 204 w 212"/>
                <a:gd name="T29" fmla="*/ 223 h 249"/>
                <a:gd name="T30" fmla="*/ 185 w 212"/>
                <a:gd name="T31" fmla="*/ 235 h 249"/>
                <a:gd name="T32" fmla="*/ 164 w 212"/>
                <a:gd name="T33" fmla="*/ 244 h 249"/>
                <a:gd name="T34" fmla="*/ 142 w 212"/>
                <a:gd name="T35" fmla="*/ 249 h 249"/>
                <a:gd name="T36" fmla="*/ 116 w 212"/>
                <a:gd name="T37" fmla="*/ 249 h 249"/>
                <a:gd name="T38" fmla="*/ 91 w 212"/>
                <a:gd name="T39" fmla="*/ 243 h 249"/>
                <a:gd name="T40" fmla="*/ 69 w 212"/>
                <a:gd name="T41" fmla="*/ 233 h 249"/>
                <a:gd name="T42" fmla="*/ 48 w 212"/>
                <a:gd name="T43" fmla="*/ 219 h 249"/>
                <a:gd name="T44" fmla="*/ 30 w 212"/>
                <a:gd name="T45" fmla="*/ 202 h 249"/>
                <a:gd name="T46" fmla="*/ 16 w 212"/>
                <a:gd name="T47" fmla="*/ 181 h 249"/>
                <a:gd name="T48" fmla="*/ 7 w 212"/>
                <a:gd name="T49" fmla="*/ 158 h 249"/>
                <a:gd name="T50" fmla="*/ 1 w 212"/>
                <a:gd name="T51" fmla="*/ 133 h 249"/>
                <a:gd name="T52" fmla="*/ 1 w 212"/>
                <a:gd name="T53" fmla="*/ 110 h 249"/>
                <a:gd name="T54" fmla="*/ 5 w 212"/>
                <a:gd name="T55" fmla="*/ 90 h 249"/>
                <a:gd name="T56" fmla="*/ 10 w 212"/>
                <a:gd name="T57" fmla="*/ 71 h 249"/>
                <a:gd name="T58" fmla="*/ 19 w 212"/>
                <a:gd name="T59" fmla="*/ 54 h 249"/>
                <a:gd name="T60" fmla="*/ 30 w 212"/>
                <a:gd name="T61" fmla="*/ 39 h 249"/>
                <a:gd name="T62" fmla="*/ 43 w 212"/>
                <a:gd name="T63" fmla="*/ 25 h 249"/>
                <a:gd name="T64" fmla="*/ 59 w 212"/>
                <a:gd name="T65" fmla="*/ 13 h 249"/>
                <a:gd name="T66" fmla="*/ 75 w 212"/>
                <a:gd name="T67" fmla="*/ 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2" h="249">
                  <a:moveTo>
                    <a:pt x="84" y="0"/>
                  </a:moveTo>
                  <a:lnTo>
                    <a:pt x="74" y="9"/>
                  </a:lnTo>
                  <a:lnTo>
                    <a:pt x="66" y="19"/>
                  </a:lnTo>
                  <a:lnTo>
                    <a:pt x="58" y="31"/>
                  </a:lnTo>
                  <a:lnTo>
                    <a:pt x="51" y="42"/>
                  </a:lnTo>
                  <a:lnTo>
                    <a:pt x="46" y="55"/>
                  </a:lnTo>
                  <a:lnTo>
                    <a:pt x="41" y="69"/>
                  </a:lnTo>
                  <a:lnTo>
                    <a:pt x="39" y="82"/>
                  </a:lnTo>
                  <a:lnTo>
                    <a:pt x="38" y="97"/>
                  </a:lnTo>
                  <a:lnTo>
                    <a:pt x="39" y="110"/>
                  </a:lnTo>
                  <a:lnTo>
                    <a:pt x="41" y="123"/>
                  </a:lnTo>
                  <a:lnTo>
                    <a:pt x="43" y="135"/>
                  </a:lnTo>
                  <a:lnTo>
                    <a:pt x="48" y="147"/>
                  </a:lnTo>
                  <a:lnTo>
                    <a:pt x="53" y="158"/>
                  </a:lnTo>
                  <a:lnTo>
                    <a:pt x="60" y="169"/>
                  </a:lnTo>
                  <a:lnTo>
                    <a:pt x="68" y="179"/>
                  </a:lnTo>
                  <a:lnTo>
                    <a:pt x="75" y="188"/>
                  </a:lnTo>
                  <a:lnTo>
                    <a:pt x="85" y="197"/>
                  </a:lnTo>
                  <a:lnTo>
                    <a:pt x="95" y="203"/>
                  </a:lnTo>
                  <a:lnTo>
                    <a:pt x="105" y="210"/>
                  </a:lnTo>
                  <a:lnTo>
                    <a:pt x="117" y="216"/>
                  </a:lnTo>
                  <a:lnTo>
                    <a:pt x="128" y="220"/>
                  </a:lnTo>
                  <a:lnTo>
                    <a:pt x="141" y="223"/>
                  </a:lnTo>
                  <a:lnTo>
                    <a:pt x="154" y="225"/>
                  </a:lnTo>
                  <a:lnTo>
                    <a:pt x="167" y="225"/>
                  </a:lnTo>
                  <a:lnTo>
                    <a:pt x="179" y="225"/>
                  </a:lnTo>
                  <a:lnTo>
                    <a:pt x="190" y="223"/>
                  </a:lnTo>
                  <a:lnTo>
                    <a:pt x="202" y="220"/>
                  </a:lnTo>
                  <a:lnTo>
                    <a:pt x="212" y="217"/>
                  </a:lnTo>
                  <a:lnTo>
                    <a:pt x="204" y="223"/>
                  </a:lnTo>
                  <a:lnTo>
                    <a:pt x="195" y="230"/>
                  </a:lnTo>
                  <a:lnTo>
                    <a:pt x="185" y="235"/>
                  </a:lnTo>
                  <a:lnTo>
                    <a:pt x="175" y="240"/>
                  </a:lnTo>
                  <a:lnTo>
                    <a:pt x="164" y="244"/>
                  </a:lnTo>
                  <a:lnTo>
                    <a:pt x="153" y="246"/>
                  </a:lnTo>
                  <a:lnTo>
                    <a:pt x="142" y="249"/>
                  </a:lnTo>
                  <a:lnTo>
                    <a:pt x="130" y="249"/>
                  </a:lnTo>
                  <a:lnTo>
                    <a:pt x="116" y="249"/>
                  </a:lnTo>
                  <a:lnTo>
                    <a:pt x="104" y="246"/>
                  </a:lnTo>
                  <a:lnTo>
                    <a:pt x="91" y="243"/>
                  </a:lnTo>
                  <a:lnTo>
                    <a:pt x="80" y="239"/>
                  </a:lnTo>
                  <a:lnTo>
                    <a:pt x="69" y="233"/>
                  </a:lnTo>
                  <a:lnTo>
                    <a:pt x="58" y="227"/>
                  </a:lnTo>
                  <a:lnTo>
                    <a:pt x="48" y="219"/>
                  </a:lnTo>
                  <a:lnTo>
                    <a:pt x="39" y="211"/>
                  </a:lnTo>
                  <a:lnTo>
                    <a:pt x="30" y="202"/>
                  </a:lnTo>
                  <a:lnTo>
                    <a:pt x="22" y="192"/>
                  </a:lnTo>
                  <a:lnTo>
                    <a:pt x="16" y="181"/>
                  </a:lnTo>
                  <a:lnTo>
                    <a:pt x="11" y="170"/>
                  </a:lnTo>
                  <a:lnTo>
                    <a:pt x="7" y="158"/>
                  </a:lnTo>
                  <a:lnTo>
                    <a:pt x="4" y="146"/>
                  </a:lnTo>
                  <a:lnTo>
                    <a:pt x="1" y="133"/>
                  </a:lnTo>
                  <a:lnTo>
                    <a:pt x="0" y="119"/>
                  </a:lnTo>
                  <a:lnTo>
                    <a:pt x="1" y="110"/>
                  </a:lnTo>
                  <a:lnTo>
                    <a:pt x="3" y="100"/>
                  </a:lnTo>
                  <a:lnTo>
                    <a:pt x="5" y="90"/>
                  </a:lnTo>
                  <a:lnTo>
                    <a:pt x="7" y="81"/>
                  </a:lnTo>
                  <a:lnTo>
                    <a:pt x="10" y="71"/>
                  </a:lnTo>
                  <a:lnTo>
                    <a:pt x="15" y="62"/>
                  </a:lnTo>
                  <a:lnTo>
                    <a:pt x="19" y="54"/>
                  </a:lnTo>
                  <a:lnTo>
                    <a:pt x="25" y="47"/>
                  </a:lnTo>
                  <a:lnTo>
                    <a:pt x="30" y="39"/>
                  </a:lnTo>
                  <a:lnTo>
                    <a:pt x="37" y="31"/>
                  </a:lnTo>
                  <a:lnTo>
                    <a:pt x="43" y="25"/>
                  </a:lnTo>
                  <a:lnTo>
                    <a:pt x="51" y="19"/>
                  </a:lnTo>
                  <a:lnTo>
                    <a:pt x="59" y="13"/>
                  </a:lnTo>
                  <a:lnTo>
                    <a:pt x="67" y="8"/>
                  </a:lnTo>
                  <a:lnTo>
                    <a:pt x="75" y="4"/>
                  </a:lnTo>
                  <a:lnTo>
                    <a:pt x="84" y="0"/>
                  </a:lnTo>
                  <a:close/>
                </a:path>
              </a:pathLst>
            </a:custGeom>
            <a:solidFill>
              <a:srgbClr val="72C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4" name="Freeform 51">
              <a:extLst>
                <a:ext uri="{FF2B5EF4-FFF2-40B4-BE49-F238E27FC236}">
                  <a16:creationId xmlns:a16="http://schemas.microsoft.com/office/drawing/2014/main" id="{8A4D0139-2B3F-A99F-95F1-B4D5B391A1DA}"/>
                </a:ext>
              </a:extLst>
            </p:cNvPr>
            <p:cNvSpPr>
              <a:spLocks/>
            </p:cNvSpPr>
            <p:nvPr/>
          </p:nvSpPr>
          <p:spPr bwMode="auto">
            <a:xfrm>
              <a:off x="8059855" y="3203641"/>
              <a:ext cx="223124" cy="67672"/>
            </a:xfrm>
            <a:custGeom>
              <a:avLst/>
              <a:gdLst>
                <a:gd name="T0" fmla="*/ 0 w 802"/>
                <a:gd name="T1" fmla="*/ 213 h 226"/>
                <a:gd name="T2" fmla="*/ 5 w 802"/>
                <a:gd name="T3" fmla="*/ 191 h 226"/>
                <a:gd name="T4" fmla="*/ 13 w 802"/>
                <a:gd name="T5" fmla="*/ 169 h 226"/>
                <a:gd name="T6" fmla="*/ 25 w 802"/>
                <a:gd name="T7" fmla="*/ 148 h 226"/>
                <a:gd name="T8" fmla="*/ 39 w 802"/>
                <a:gd name="T9" fmla="*/ 128 h 226"/>
                <a:gd name="T10" fmla="*/ 58 w 802"/>
                <a:gd name="T11" fmla="*/ 109 h 226"/>
                <a:gd name="T12" fmla="*/ 80 w 802"/>
                <a:gd name="T13" fmla="*/ 91 h 226"/>
                <a:gd name="T14" fmla="*/ 104 w 802"/>
                <a:gd name="T15" fmla="*/ 74 h 226"/>
                <a:gd name="T16" fmla="*/ 132 w 802"/>
                <a:gd name="T17" fmla="*/ 59 h 226"/>
                <a:gd name="T18" fmla="*/ 162 w 802"/>
                <a:gd name="T19" fmla="*/ 46 h 226"/>
                <a:gd name="T20" fmla="*/ 194 w 802"/>
                <a:gd name="T21" fmla="*/ 33 h 226"/>
                <a:gd name="T22" fmla="*/ 227 w 802"/>
                <a:gd name="T23" fmla="*/ 22 h 226"/>
                <a:gd name="T24" fmla="*/ 263 w 802"/>
                <a:gd name="T25" fmla="*/ 15 h 226"/>
                <a:gd name="T26" fmla="*/ 301 w 802"/>
                <a:gd name="T27" fmla="*/ 8 h 226"/>
                <a:gd name="T28" fmla="*/ 341 w 802"/>
                <a:gd name="T29" fmla="*/ 4 h 226"/>
                <a:gd name="T30" fmla="*/ 380 w 802"/>
                <a:gd name="T31" fmla="*/ 1 h 226"/>
                <a:gd name="T32" fmla="*/ 422 w 802"/>
                <a:gd name="T33" fmla="*/ 1 h 226"/>
                <a:gd name="T34" fmla="*/ 462 w 802"/>
                <a:gd name="T35" fmla="*/ 4 h 226"/>
                <a:gd name="T36" fmla="*/ 502 w 802"/>
                <a:gd name="T37" fmla="*/ 8 h 226"/>
                <a:gd name="T38" fmla="*/ 539 w 802"/>
                <a:gd name="T39" fmla="*/ 15 h 226"/>
                <a:gd name="T40" fmla="*/ 575 w 802"/>
                <a:gd name="T41" fmla="*/ 22 h 226"/>
                <a:gd name="T42" fmla="*/ 609 w 802"/>
                <a:gd name="T43" fmla="*/ 33 h 226"/>
                <a:gd name="T44" fmla="*/ 641 w 802"/>
                <a:gd name="T45" fmla="*/ 46 h 226"/>
                <a:gd name="T46" fmla="*/ 671 w 802"/>
                <a:gd name="T47" fmla="*/ 59 h 226"/>
                <a:gd name="T48" fmla="*/ 698 w 802"/>
                <a:gd name="T49" fmla="*/ 74 h 226"/>
                <a:gd name="T50" fmla="*/ 723 w 802"/>
                <a:gd name="T51" fmla="*/ 91 h 226"/>
                <a:gd name="T52" fmla="*/ 745 w 802"/>
                <a:gd name="T53" fmla="*/ 109 h 226"/>
                <a:gd name="T54" fmla="*/ 762 w 802"/>
                <a:gd name="T55" fmla="*/ 128 h 226"/>
                <a:gd name="T56" fmla="*/ 778 w 802"/>
                <a:gd name="T57" fmla="*/ 148 h 226"/>
                <a:gd name="T58" fmla="*/ 790 w 802"/>
                <a:gd name="T59" fmla="*/ 169 h 226"/>
                <a:gd name="T60" fmla="*/ 798 w 802"/>
                <a:gd name="T61" fmla="*/ 191 h 226"/>
                <a:gd name="T62" fmla="*/ 802 w 802"/>
                <a:gd name="T63" fmla="*/ 213 h 226"/>
                <a:gd name="T64" fmla="*/ 0 w 802"/>
                <a:gd name="T65"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2" h="226">
                  <a:moveTo>
                    <a:pt x="0" y="226"/>
                  </a:moveTo>
                  <a:lnTo>
                    <a:pt x="0" y="213"/>
                  </a:lnTo>
                  <a:lnTo>
                    <a:pt x="3" y="202"/>
                  </a:lnTo>
                  <a:lnTo>
                    <a:pt x="5" y="191"/>
                  </a:lnTo>
                  <a:lnTo>
                    <a:pt x="8" y="180"/>
                  </a:lnTo>
                  <a:lnTo>
                    <a:pt x="13" y="169"/>
                  </a:lnTo>
                  <a:lnTo>
                    <a:pt x="18" y="158"/>
                  </a:lnTo>
                  <a:lnTo>
                    <a:pt x="25" y="148"/>
                  </a:lnTo>
                  <a:lnTo>
                    <a:pt x="31" y="138"/>
                  </a:lnTo>
                  <a:lnTo>
                    <a:pt x="39" y="128"/>
                  </a:lnTo>
                  <a:lnTo>
                    <a:pt x="48" y="118"/>
                  </a:lnTo>
                  <a:lnTo>
                    <a:pt x="58" y="109"/>
                  </a:lnTo>
                  <a:lnTo>
                    <a:pt x="69" y="100"/>
                  </a:lnTo>
                  <a:lnTo>
                    <a:pt x="80" y="91"/>
                  </a:lnTo>
                  <a:lnTo>
                    <a:pt x="92" y="82"/>
                  </a:lnTo>
                  <a:lnTo>
                    <a:pt x="104" y="74"/>
                  </a:lnTo>
                  <a:lnTo>
                    <a:pt x="117" y="67"/>
                  </a:lnTo>
                  <a:lnTo>
                    <a:pt x="132" y="59"/>
                  </a:lnTo>
                  <a:lnTo>
                    <a:pt x="146" y="52"/>
                  </a:lnTo>
                  <a:lnTo>
                    <a:pt x="162" y="46"/>
                  </a:lnTo>
                  <a:lnTo>
                    <a:pt x="177" y="39"/>
                  </a:lnTo>
                  <a:lnTo>
                    <a:pt x="194" y="33"/>
                  </a:lnTo>
                  <a:lnTo>
                    <a:pt x="210" y="28"/>
                  </a:lnTo>
                  <a:lnTo>
                    <a:pt x="227" y="22"/>
                  </a:lnTo>
                  <a:lnTo>
                    <a:pt x="246" y="18"/>
                  </a:lnTo>
                  <a:lnTo>
                    <a:pt x="263" y="15"/>
                  </a:lnTo>
                  <a:lnTo>
                    <a:pt x="282" y="10"/>
                  </a:lnTo>
                  <a:lnTo>
                    <a:pt x="301" y="8"/>
                  </a:lnTo>
                  <a:lnTo>
                    <a:pt x="321" y="5"/>
                  </a:lnTo>
                  <a:lnTo>
                    <a:pt x="341" y="4"/>
                  </a:lnTo>
                  <a:lnTo>
                    <a:pt x="360" y="1"/>
                  </a:lnTo>
                  <a:lnTo>
                    <a:pt x="380" y="1"/>
                  </a:lnTo>
                  <a:lnTo>
                    <a:pt x="401" y="0"/>
                  </a:lnTo>
                  <a:lnTo>
                    <a:pt x="422" y="1"/>
                  </a:lnTo>
                  <a:lnTo>
                    <a:pt x="442" y="1"/>
                  </a:lnTo>
                  <a:lnTo>
                    <a:pt x="462" y="4"/>
                  </a:lnTo>
                  <a:lnTo>
                    <a:pt x="482" y="5"/>
                  </a:lnTo>
                  <a:lnTo>
                    <a:pt x="502" y="8"/>
                  </a:lnTo>
                  <a:lnTo>
                    <a:pt x="521" y="10"/>
                  </a:lnTo>
                  <a:lnTo>
                    <a:pt x="539" y="15"/>
                  </a:lnTo>
                  <a:lnTo>
                    <a:pt x="557" y="18"/>
                  </a:lnTo>
                  <a:lnTo>
                    <a:pt x="575" y="22"/>
                  </a:lnTo>
                  <a:lnTo>
                    <a:pt x="592" y="28"/>
                  </a:lnTo>
                  <a:lnTo>
                    <a:pt x="609" y="33"/>
                  </a:lnTo>
                  <a:lnTo>
                    <a:pt x="625" y="39"/>
                  </a:lnTo>
                  <a:lnTo>
                    <a:pt x="641" y="46"/>
                  </a:lnTo>
                  <a:lnTo>
                    <a:pt x="656" y="52"/>
                  </a:lnTo>
                  <a:lnTo>
                    <a:pt x="671" y="59"/>
                  </a:lnTo>
                  <a:lnTo>
                    <a:pt x="685" y="67"/>
                  </a:lnTo>
                  <a:lnTo>
                    <a:pt x="698" y="74"/>
                  </a:lnTo>
                  <a:lnTo>
                    <a:pt x="710" y="82"/>
                  </a:lnTo>
                  <a:lnTo>
                    <a:pt x="723" y="91"/>
                  </a:lnTo>
                  <a:lnTo>
                    <a:pt x="734" y="100"/>
                  </a:lnTo>
                  <a:lnTo>
                    <a:pt x="745" y="109"/>
                  </a:lnTo>
                  <a:lnTo>
                    <a:pt x="754" y="118"/>
                  </a:lnTo>
                  <a:lnTo>
                    <a:pt x="762" y="128"/>
                  </a:lnTo>
                  <a:lnTo>
                    <a:pt x="771" y="138"/>
                  </a:lnTo>
                  <a:lnTo>
                    <a:pt x="778" y="148"/>
                  </a:lnTo>
                  <a:lnTo>
                    <a:pt x="784" y="158"/>
                  </a:lnTo>
                  <a:lnTo>
                    <a:pt x="790" y="169"/>
                  </a:lnTo>
                  <a:lnTo>
                    <a:pt x="794" y="180"/>
                  </a:lnTo>
                  <a:lnTo>
                    <a:pt x="798" y="191"/>
                  </a:lnTo>
                  <a:lnTo>
                    <a:pt x="800" y="202"/>
                  </a:lnTo>
                  <a:lnTo>
                    <a:pt x="802" y="213"/>
                  </a:lnTo>
                  <a:lnTo>
                    <a:pt x="802" y="226"/>
                  </a:lnTo>
                  <a:lnTo>
                    <a:pt x="0" y="226"/>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89" name="Freeform 52">
              <a:extLst>
                <a:ext uri="{FF2B5EF4-FFF2-40B4-BE49-F238E27FC236}">
                  <a16:creationId xmlns:a16="http://schemas.microsoft.com/office/drawing/2014/main" id="{A6C8910B-8C1B-83F6-7E3D-28B24F96EB85}"/>
                </a:ext>
              </a:extLst>
            </p:cNvPr>
            <p:cNvSpPr>
              <a:spLocks/>
            </p:cNvSpPr>
            <p:nvPr/>
          </p:nvSpPr>
          <p:spPr bwMode="auto">
            <a:xfrm>
              <a:off x="8059855" y="3203641"/>
              <a:ext cx="129691" cy="67672"/>
            </a:xfrm>
            <a:custGeom>
              <a:avLst/>
              <a:gdLst>
                <a:gd name="T0" fmla="*/ 401 w 463"/>
                <a:gd name="T1" fmla="*/ 0 h 226"/>
                <a:gd name="T2" fmla="*/ 417 w 463"/>
                <a:gd name="T3" fmla="*/ 1 h 226"/>
                <a:gd name="T4" fmla="*/ 432 w 463"/>
                <a:gd name="T5" fmla="*/ 1 h 226"/>
                <a:gd name="T6" fmla="*/ 448 w 463"/>
                <a:gd name="T7" fmla="*/ 3 h 226"/>
                <a:gd name="T8" fmla="*/ 463 w 463"/>
                <a:gd name="T9" fmla="*/ 4 h 226"/>
                <a:gd name="T10" fmla="*/ 427 w 463"/>
                <a:gd name="T11" fmla="*/ 8 h 226"/>
                <a:gd name="T12" fmla="*/ 392 w 463"/>
                <a:gd name="T13" fmla="*/ 14 h 226"/>
                <a:gd name="T14" fmla="*/ 360 w 463"/>
                <a:gd name="T15" fmla="*/ 20 h 226"/>
                <a:gd name="T16" fmla="*/ 328 w 463"/>
                <a:gd name="T17" fmla="*/ 29 h 226"/>
                <a:gd name="T18" fmla="*/ 299 w 463"/>
                <a:gd name="T19" fmla="*/ 40 h 226"/>
                <a:gd name="T20" fmla="*/ 271 w 463"/>
                <a:gd name="T21" fmla="*/ 51 h 226"/>
                <a:gd name="T22" fmla="*/ 244 w 463"/>
                <a:gd name="T23" fmla="*/ 64 h 226"/>
                <a:gd name="T24" fmla="*/ 220 w 463"/>
                <a:gd name="T25" fmla="*/ 79 h 226"/>
                <a:gd name="T26" fmla="*/ 209 w 463"/>
                <a:gd name="T27" fmla="*/ 86 h 226"/>
                <a:gd name="T28" fmla="*/ 199 w 463"/>
                <a:gd name="T29" fmla="*/ 94 h 226"/>
                <a:gd name="T30" fmla="*/ 189 w 463"/>
                <a:gd name="T31" fmla="*/ 102 h 226"/>
                <a:gd name="T32" fmla="*/ 179 w 463"/>
                <a:gd name="T33" fmla="*/ 110 h 226"/>
                <a:gd name="T34" fmla="*/ 172 w 463"/>
                <a:gd name="T35" fmla="*/ 118 h 226"/>
                <a:gd name="T36" fmla="*/ 163 w 463"/>
                <a:gd name="T37" fmla="*/ 127 h 226"/>
                <a:gd name="T38" fmla="*/ 156 w 463"/>
                <a:gd name="T39" fmla="*/ 136 h 226"/>
                <a:gd name="T40" fmla="*/ 149 w 463"/>
                <a:gd name="T41" fmla="*/ 146 h 226"/>
                <a:gd name="T42" fmla="*/ 143 w 463"/>
                <a:gd name="T43" fmla="*/ 155 h 226"/>
                <a:gd name="T44" fmla="*/ 137 w 463"/>
                <a:gd name="T45" fmla="*/ 165 h 226"/>
                <a:gd name="T46" fmla="*/ 133 w 463"/>
                <a:gd name="T47" fmla="*/ 175 h 226"/>
                <a:gd name="T48" fmla="*/ 130 w 463"/>
                <a:gd name="T49" fmla="*/ 185 h 226"/>
                <a:gd name="T50" fmla="*/ 126 w 463"/>
                <a:gd name="T51" fmla="*/ 195 h 226"/>
                <a:gd name="T52" fmla="*/ 125 w 463"/>
                <a:gd name="T53" fmla="*/ 205 h 226"/>
                <a:gd name="T54" fmla="*/ 123 w 463"/>
                <a:gd name="T55" fmla="*/ 215 h 226"/>
                <a:gd name="T56" fmla="*/ 123 w 463"/>
                <a:gd name="T57" fmla="*/ 226 h 226"/>
                <a:gd name="T58" fmla="*/ 0 w 463"/>
                <a:gd name="T59" fmla="*/ 226 h 226"/>
                <a:gd name="T60" fmla="*/ 0 w 463"/>
                <a:gd name="T61" fmla="*/ 213 h 226"/>
                <a:gd name="T62" fmla="*/ 3 w 463"/>
                <a:gd name="T63" fmla="*/ 202 h 226"/>
                <a:gd name="T64" fmla="*/ 5 w 463"/>
                <a:gd name="T65" fmla="*/ 191 h 226"/>
                <a:gd name="T66" fmla="*/ 8 w 463"/>
                <a:gd name="T67" fmla="*/ 180 h 226"/>
                <a:gd name="T68" fmla="*/ 13 w 463"/>
                <a:gd name="T69" fmla="*/ 169 h 226"/>
                <a:gd name="T70" fmla="*/ 18 w 463"/>
                <a:gd name="T71" fmla="*/ 158 h 226"/>
                <a:gd name="T72" fmla="*/ 25 w 463"/>
                <a:gd name="T73" fmla="*/ 148 h 226"/>
                <a:gd name="T74" fmla="*/ 31 w 463"/>
                <a:gd name="T75" fmla="*/ 138 h 226"/>
                <a:gd name="T76" fmla="*/ 39 w 463"/>
                <a:gd name="T77" fmla="*/ 128 h 226"/>
                <a:gd name="T78" fmla="*/ 48 w 463"/>
                <a:gd name="T79" fmla="*/ 118 h 226"/>
                <a:gd name="T80" fmla="*/ 58 w 463"/>
                <a:gd name="T81" fmla="*/ 109 h 226"/>
                <a:gd name="T82" fmla="*/ 69 w 463"/>
                <a:gd name="T83" fmla="*/ 100 h 226"/>
                <a:gd name="T84" fmla="*/ 80 w 463"/>
                <a:gd name="T85" fmla="*/ 91 h 226"/>
                <a:gd name="T86" fmla="*/ 92 w 463"/>
                <a:gd name="T87" fmla="*/ 82 h 226"/>
                <a:gd name="T88" fmla="*/ 104 w 463"/>
                <a:gd name="T89" fmla="*/ 74 h 226"/>
                <a:gd name="T90" fmla="*/ 117 w 463"/>
                <a:gd name="T91" fmla="*/ 67 h 226"/>
                <a:gd name="T92" fmla="*/ 132 w 463"/>
                <a:gd name="T93" fmla="*/ 59 h 226"/>
                <a:gd name="T94" fmla="*/ 146 w 463"/>
                <a:gd name="T95" fmla="*/ 52 h 226"/>
                <a:gd name="T96" fmla="*/ 162 w 463"/>
                <a:gd name="T97" fmla="*/ 46 h 226"/>
                <a:gd name="T98" fmla="*/ 177 w 463"/>
                <a:gd name="T99" fmla="*/ 39 h 226"/>
                <a:gd name="T100" fmla="*/ 194 w 463"/>
                <a:gd name="T101" fmla="*/ 33 h 226"/>
                <a:gd name="T102" fmla="*/ 210 w 463"/>
                <a:gd name="T103" fmla="*/ 28 h 226"/>
                <a:gd name="T104" fmla="*/ 227 w 463"/>
                <a:gd name="T105" fmla="*/ 22 h 226"/>
                <a:gd name="T106" fmla="*/ 246 w 463"/>
                <a:gd name="T107" fmla="*/ 18 h 226"/>
                <a:gd name="T108" fmla="*/ 263 w 463"/>
                <a:gd name="T109" fmla="*/ 15 h 226"/>
                <a:gd name="T110" fmla="*/ 282 w 463"/>
                <a:gd name="T111" fmla="*/ 10 h 226"/>
                <a:gd name="T112" fmla="*/ 301 w 463"/>
                <a:gd name="T113" fmla="*/ 8 h 226"/>
                <a:gd name="T114" fmla="*/ 321 w 463"/>
                <a:gd name="T115" fmla="*/ 5 h 226"/>
                <a:gd name="T116" fmla="*/ 341 w 463"/>
                <a:gd name="T117" fmla="*/ 4 h 226"/>
                <a:gd name="T118" fmla="*/ 360 w 463"/>
                <a:gd name="T119" fmla="*/ 1 h 226"/>
                <a:gd name="T120" fmla="*/ 380 w 463"/>
                <a:gd name="T121" fmla="*/ 1 h 226"/>
                <a:gd name="T122" fmla="*/ 401 w 463"/>
                <a:gd name="T12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3" h="226">
                  <a:moveTo>
                    <a:pt x="401" y="0"/>
                  </a:moveTo>
                  <a:lnTo>
                    <a:pt x="417" y="1"/>
                  </a:lnTo>
                  <a:lnTo>
                    <a:pt x="432" y="1"/>
                  </a:lnTo>
                  <a:lnTo>
                    <a:pt x="448" y="3"/>
                  </a:lnTo>
                  <a:lnTo>
                    <a:pt x="463" y="4"/>
                  </a:lnTo>
                  <a:lnTo>
                    <a:pt x="427" y="8"/>
                  </a:lnTo>
                  <a:lnTo>
                    <a:pt x="392" y="14"/>
                  </a:lnTo>
                  <a:lnTo>
                    <a:pt x="360" y="20"/>
                  </a:lnTo>
                  <a:lnTo>
                    <a:pt x="328" y="29"/>
                  </a:lnTo>
                  <a:lnTo>
                    <a:pt x="299" y="40"/>
                  </a:lnTo>
                  <a:lnTo>
                    <a:pt x="271" y="51"/>
                  </a:lnTo>
                  <a:lnTo>
                    <a:pt x="244" y="64"/>
                  </a:lnTo>
                  <a:lnTo>
                    <a:pt x="220" y="79"/>
                  </a:lnTo>
                  <a:lnTo>
                    <a:pt x="209" y="86"/>
                  </a:lnTo>
                  <a:lnTo>
                    <a:pt x="199" y="94"/>
                  </a:lnTo>
                  <a:lnTo>
                    <a:pt x="189" y="102"/>
                  </a:lnTo>
                  <a:lnTo>
                    <a:pt x="179" y="110"/>
                  </a:lnTo>
                  <a:lnTo>
                    <a:pt x="172" y="118"/>
                  </a:lnTo>
                  <a:lnTo>
                    <a:pt x="163" y="127"/>
                  </a:lnTo>
                  <a:lnTo>
                    <a:pt x="156" y="136"/>
                  </a:lnTo>
                  <a:lnTo>
                    <a:pt x="149" y="146"/>
                  </a:lnTo>
                  <a:lnTo>
                    <a:pt x="143" y="155"/>
                  </a:lnTo>
                  <a:lnTo>
                    <a:pt x="137" y="165"/>
                  </a:lnTo>
                  <a:lnTo>
                    <a:pt x="133" y="175"/>
                  </a:lnTo>
                  <a:lnTo>
                    <a:pt x="130" y="185"/>
                  </a:lnTo>
                  <a:lnTo>
                    <a:pt x="126" y="195"/>
                  </a:lnTo>
                  <a:lnTo>
                    <a:pt x="125" y="205"/>
                  </a:lnTo>
                  <a:lnTo>
                    <a:pt x="123" y="215"/>
                  </a:lnTo>
                  <a:lnTo>
                    <a:pt x="123" y="226"/>
                  </a:lnTo>
                  <a:lnTo>
                    <a:pt x="0" y="226"/>
                  </a:lnTo>
                  <a:lnTo>
                    <a:pt x="0" y="213"/>
                  </a:lnTo>
                  <a:lnTo>
                    <a:pt x="3" y="202"/>
                  </a:lnTo>
                  <a:lnTo>
                    <a:pt x="5" y="191"/>
                  </a:lnTo>
                  <a:lnTo>
                    <a:pt x="8" y="180"/>
                  </a:lnTo>
                  <a:lnTo>
                    <a:pt x="13" y="169"/>
                  </a:lnTo>
                  <a:lnTo>
                    <a:pt x="18" y="158"/>
                  </a:lnTo>
                  <a:lnTo>
                    <a:pt x="25" y="148"/>
                  </a:lnTo>
                  <a:lnTo>
                    <a:pt x="31" y="138"/>
                  </a:lnTo>
                  <a:lnTo>
                    <a:pt x="39" y="128"/>
                  </a:lnTo>
                  <a:lnTo>
                    <a:pt x="48" y="118"/>
                  </a:lnTo>
                  <a:lnTo>
                    <a:pt x="58" y="109"/>
                  </a:lnTo>
                  <a:lnTo>
                    <a:pt x="69" y="100"/>
                  </a:lnTo>
                  <a:lnTo>
                    <a:pt x="80" y="91"/>
                  </a:lnTo>
                  <a:lnTo>
                    <a:pt x="92" y="82"/>
                  </a:lnTo>
                  <a:lnTo>
                    <a:pt x="104" y="74"/>
                  </a:lnTo>
                  <a:lnTo>
                    <a:pt x="117" y="67"/>
                  </a:lnTo>
                  <a:lnTo>
                    <a:pt x="132" y="59"/>
                  </a:lnTo>
                  <a:lnTo>
                    <a:pt x="146" y="52"/>
                  </a:lnTo>
                  <a:lnTo>
                    <a:pt x="162" y="46"/>
                  </a:lnTo>
                  <a:lnTo>
                    <a:pt x="177" y="39"/>
                  </a:lnTo>
                  <a:lnTo>
                    <a:pt x="194" y="33"/>
                  </a:lnTo>
                  <a:lnTo>
                    <a:pt x="210" y="28"/>
                  </a:lnTo>
                  <a:lnTo>
                    <a:pt x="227" y="22"/>
                  </a:lnTo>
                  <a:lnTo>
                    <a:pt x="246" y="18"/>
                  </a:lnTo>
                  <a:lnTo>
                    <a:pt x="263" y="15"/>
                  </a:lnTo>
                  <a:lnTo>
                    <a:pt x="282" y="10"/>
                  </a:lnTo>
                  <a:lnTo>
                    <a:pt x="301" y="8"/>
                  </a:lnTo>
                  <a:lnTo>
                    <a:pt x="321" y="5"/>
                  </a:lnTo>
                  <a:lnTo>
                    <a:pt x="341" y="4"/>
                  </a:lnTo>
                  <a:lnTo>
                    <a:pt x="360" y="1"/>
                  </a:lnTo>
                  <a:lnTo>
                    <a:pt x="380" y="1"/>
                  </a:lnTo>
                  <a:lnTo>
                    <a:pt x="401"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0" name="Freeform 53">
              <a:extLst>
                <a:ext uri="{FF2B5EF4-FFF2-40B4-BE49-F238E27FC236}">
                  <a16:creationId xmlns:a16="http://schemas.microsoft.com/office/drawing/2014/main" id="{14779EBC-37C6-0E41-BC54-7E277BDB6484}"/>
                </a:ext>
              </a:extLst>
            </p:cNvPr>
            <p:cNvSpPr>
              <a:spLocks/>
            </p:cNvSpPr>
            <p:nvPr/>
          </p:nvSpPr>
          <p:spPr bwMode="auto">
            <a:xfrm>
              <a:off x="9638454" y="1944930"/>
              <a:ext cx="99011" cy="335355"/>
            </a:xfrm>
            <a:custGeom>
              <a:avLst/>
              <a:gdLst>
                <a:gd name="T0" fmla="*/ 0 w 353"/>
                <a:gd name="T1" fmla="*/ 0 h 1115"/>
                <a:gd name="T2" fmla="*/ 342 w 353"/>
                <a:gd name="T3" fmla="*/ 1115 h 1115"/>
                <a:gd name="T4" fmla="*/ 343 w 353"/>
                <a:gd name="T5" fmla="*/ 1107 h 1115"/>
                <a:gd name="T6" fmla="*/ 345 w 353"/>
                <a:gd name="T7" fmla="*/ 1084 h 1115"/>
                <a:gd name="T8" fmla="*/ 348 w 353"/>
                <a:gd name="T9" fmla="*/ 1047 h 1115"/>
                <a:gd name="T10" fmla="*/ 351 w 353"/>
                <a:gd name="T11" fmla="*/ 997 h 1115"/>
                <a:gd name="T12" fmla="*/ 353 w 353"/>
                <a:gd name="T13" fmla="*/ 968 h 1115"/>
                <a:gd name="T14" fmla="*/ 353 w 353"/>
                <a:gd name="T15" fmla="*/ 936 h 1115"/>
                <a:gd name="T16" fmla="*/ 353 w 353"/>
                <a:gd name="T17" fmla="*/ 903 h 1115"/>
                <a:gd name="T18" fmla="*/ 353 w 353"/>
                <a:gd name="T19" fmla="*/ 867 h 1115"/>
                <a:gd name="T20" fmla="*/ 350 w 353"/>
                <a:gd name="T21" fmla="*/ 829 h 1115"/>
                <a:gd name="T22" fmla="*/ 348 w 353"/>
                <a:gd name="T23" fmla="*/ 789 h 1115"/>
                <a:gd name="T24" fmla="*/ 345 w 353"/>
                <a:gd name="T25" fmla="*/ 749 h 1115"/>
                <a:gd name="T26" fmla="*/ 339 w 353"/>
                <a:gd name="T27" fmla="*/ 707 h 1115"/>
                <a:gd name="T28" fmla="*/ 334 w 353"/>
                <a:gd name="T29" fmla="*/ 662 h 1115"/>
                <a:gd name="T30" fmla="*/ 326 w 353"/>
                <a:gd name="T31" fmla="*/ 618 h 1115"/>
                <a:gd name="T32" fmla="*/ 317 w 353"/>
                <a:gd name="T33" fmla="*/ 573 h 1115"/>
                <a:gd name="T34" fmla="*/ 306 w 353"/>
                <a:gd name="T35" fmla="*/ 527 h 1115"/>
                <a:gd name="T36" fmla="*/ 294 w 353"/>
                <a:gd name="T37" fmla="*/ 481 h 1115"/>
                <a:gd name="T38" fmla="*/ 279 w 353"/>
                <a:gd name="T39" fmla="*/ 434 h 1115"/>
                <a:gd name="T40" fmla="*/ 262 w 353"/>
                <a:gd name="T41" fmla="*/ 388 h 1115"/>
                <a:gd name="T42" fmla="*/ 243 w 353"/>
                <a:gd name="T43" fmla="*/ 341 h 1115"/>
                <a:gd name="T44" fmla="*/ 222 w 353"/>
                <a:gd name="T45" fmla="*/ 296 h 1115"/>
                <a:gd name="T46" fmla="*/ 199 w 353"/>
                <a:gd name="T47" fmla="*/ 250 h 1115"/>
                <a:gd name="T48" fmla="*/ 173 w 353"/>
                <a:gd name="T49" fmla="*/ 205 h 1115"/>
                <a:gd name="T50" fmla="*/ 144 w 353"/>
                <a:gd name="T51" fmla="*/ 161 h 1115"/>
                <a:gd name="T52" fmla="*/ 113 w 353"/>
                <a:gd name="T53" fmla="*/ 119 h 1115"/>
                <a:gd name="T54" fmla="*/ 79 w 353"/>
                <a:gd name="T55" fmla="*/ 77 h 1115"/>
                <a:gd name="T56" fmla="*/ 41 w 353"/>
                <a:gd name="T57" fmla="*/ 38 h 1115"/>
                <a:gd name="T58" fmla="*/ 0 w 353"/>
                <a:gd name="T59" fmla="*/ 0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3" h="1115">
                  <a:moveTo>
                    <a:pt x="0" y="0"/>
                  </a:moveTo>
                  <a:lnTo>
                    <a:pt x="342" y="1115"/>
                  </a:lnTo>
                  <a:lnTo>
                    <a:pt x="343" y="1107"/>
                  </a:lnTo>
                  <a:lnTo>
                    <a:pt x="345" y="1084"/>
                  </a:lnTo>
                  <a:lnTo>
                    <a:pt x="348" y="1047"/>
                  </a:lnTo>
                  <a:lnTo>
                    <a:pt x="351" y="997"/>
                  </a:lnTo>
                  <a:lnTo>
                    <a:pt x="353" y="968"/>
                  </a:lnTo>
                  <a:lnTo>
                    <a:pt x="353" y="936"/>
                  </a:lnTo>
                  <a:lnTo>
                    <a:pt x="353" y="903"/>
                  </a:lnTo>
                  <a:lnTo>
                    <a:pt x="353" y="867"/>
                  </a:lnTo>
                  <a:lnTo>
                    <a:pt x="350" y="829"/>
                  </a:lnTo>
                  <a:lnTo>
                    <a:pt x="348" y="789"/>
                  </a:lnTo>
                  <a:lnTo>
                    <a:pt x="345" y="749"/>
                  </a:lnTo>
                  <a:lnTo>
                    <a:pt x="339" y="707"/>
                  </a:lnTo>
                  <a:lnTo>
                    <a:pt x="334" y="662"/>
                  </a:lnTo>
                  <a:lnTo>
                    <a:pt x="326" y="618"/>
                  </a:lnTo>
                  <a:lnTo>
                    <a:pt x="317" y="573"/>
                  </a:lnTo>
                  <a:lnTo>
                    <a:pt x="306" y="527"/>
                  </a:lnTo>
                  <a:lnTo>
                    <a:pt x="294" y="481"/>
                  </a:lnTo>
                  <a:lnTo>
                    <a:pt x="279" y="434"/>
                  </a:lnTo>
                  <a:lnTo>
                    <a:pt x="262" y="388"/>
                  </a:lnTo>
                  <a:lnTo>
                    <a:pt x="243" y="341"/>
                  </a:lnTo>
                  <a:lnTo>
                    <a:pt x="222" y="296"/>
                  </a:lnTo>
                  <a:lnTo>
                    <a:pt x="199" y="250"/>
                  </a:lnTo>
                  <a:lnTo>
                    <a:pt x="173" y="205"/>
                  </a:lnTo>
                  <a:lnTo>
                    <a:pt x="144" y="161"/>
                  </a:lnTo>
                  <a:lnTo>
                    <a:pt x="113" y="119"/>
                  </a:lnTo>
                  <a:lnTo>
                    <a:pt x="79" y="77"/>
                  </a:lnTo>
                  <a:lnTo>
                    <a:pt x="41" y="38"/>
                  </a:lnTo>
                  <a:lnTo>
                    <a:pt x="0"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1" name="Freeform 54">
              <a:extLst>
                <a:ext uri="{FF2B5EF4-FFF2-40B4-BE49-F238E27FC236}">
                  <a16:creationId xmlns:a16="http://schemas.microsoft.com/office/drawing/2014/main" id="{4975A4AA-0699-B8D6-BBA0-18095D69CE46}"/>
                </a:ext>
              </a:extLst>
            </p:cNvPr>
            <p:cNvSpPr>
              <a:spLocks/>
            </p:cNvSpPr>
            <p:nvPr/>
          </p:nvSpPr>
          <p:spPr bwMode="auto">
            <a:xfrm>
              <a:off x="9630087" y="1944930"/>
              <a:ext cx="103195" cy="335355"/>
            </a:xfrm>
            <a:custGeom>
              <a:avLst/>
              <a:gdLst>
                <a:gd name="T0" fmla="*/ 28 w 370"/>
                <a:gd name="T1" fmla="*/ 0 h 1115"/>
                <a:gd name="T2" fmla="*/ 370 w 370"/>
                <a:gd name="T3" fmla="*/ 1115 h 1115"/>
                <a:gd name="T4" fmla="*/ 364 w 370"/>
                <a:gd name="T5" fmla="*/ 1110 h 1115"/>
                <a:gd name="T6" fmla="*/ 349 w 370"/>
                <a:gd name="T7" fmla="*/ 1092 h 1115"/>
                <a:gd name="T8" fmla="*/ 324 w 370"/>
                <a:gd name="T9" fmla="*/ 1062 h 1115"/>
                <a:gd name="T10" fmla="*/ 294 w 370"/>
                <a:gd name="T11" fmla="*/ 1023 h 1115"/>
                <a:gd name="T12" fmla="*/ 278 w 370"/>
                <a:gd name="T13" fmla="*/ 999 h 1115"/>
                <a:gd name="T14" fmla="*/ 259 w 370"/>
                <a:gd name="T15" fmla="*/ 974 h 1115"/>
                <a:gd name="T16" fmla="*/ 240 w 370"/>
                <a:gd name="T17" fmla="*/ 946 h 1115"/>
                <a:gd name="T18" fmla="*/ 222 w 370"/>
                <a:gd name="T19" fmla="*/ 915 h 1115"/>
                <a:gd name="T20" fmla="*/ 202 w 370"/>
                <a:gd name="T21" fmla="*/ 883 h 1115"/>
                <a:gd name="T22" fmla="*/ 182 w 370"/>
                <a:gd name="T23" fmla="*/ 849 h 1115"/>
                <a:gd name="T24" fmla="*/ 162 w 370"/>
                <a:gd name="T25" fmla="*/ 814 h 1115"/>
                <a:gd name="T26" fmla="*/ 142 w 370"/>
                <a:gd name="T27" fmla="*/ 775 h 1115"/>
                <a:gd name="T28" fmla="*/ 122 w 370"/>
                <a:gd name="T29" fmla="*/ 736 h 1115"/>
                <a:gd name="T30" fmla="*/ 103 w 370"/>
                <a:gd name="T31" fmla="*/ 694 h 1115"/>
                <a:gd name="T32" fmla="*/ 86 w 370"/>
                <a:gd name="T33" fmla="*/ 652 h 1115"/>
                <a:gd name="T34" fmla="*/ 69 w 370"/>
                <a:gd name="T35" fmla="*/ 608 h 1115"/>
                <a:gd name="T36" fmla="*/ 54 w 370"/>
                <a:gd name="T37" fmla="*/ 563 h 1115"/>
                <a:gd name="T38" fmla="*/ 39 w 370"/>
                <a:gd name="T39" fmla="*/ 516 h 1115"/>
                <a:gd name="T40" fmla="*/ 27 w 370"/>
                <a:gd name="T41" fmla="*/ 468 h 1115"/>
                <a:gd name="T42" fmla="*/ 17 w 370"/>
                <a:gd name="T43" fmla="*/ 420 h 1115"/>
                <a:gd name="T44" fmla="*/ 10 w 370"/>
                <a:gd name="T45" fmla="*/ 369 h 1115"/>
                <a:gd name="T46" fmla="*/ 3 w 370"/>
                <a:gd name="T47" fmla="*/ 318 h 1115"/>
                <a:gd name="T48" fmla="*/ 0 w 370"/>
                <a:gd name="T49" fmla="*/ 267 h 1115"/>
                <a:gd name="T50" fmla="*/ 0 w 370"/>
                <a:gd name="T51" fmla="*/ 214 h 1115"/>
                <a:gd name="T52" fmla="*/ 2 w 370"/>
                <a:gd name="T53" fmla="*/ 161 h 1115"/>
                <a:gd name="T54" fmla="*/ 7 w 370"/>
                <a:gd name="T55" fmla="*/ 108 h 1115"/>
                <a:gd name="T56" fmla="*/ 16 w 370"/>
                <a:gd name="T57" fmla="*/ 54 h 1115"/>
                <a:gd name="T58" fmla="*/ 28 w 370"/>
                <a:gd name="T59" fmla="*/ 0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0" h="1115">
                  <a:moveTo>
                    <a:pt x="28" y="0"/>
                  </a:moveTo>
                  <a:lnTo>
                    <a:pt x="370" y="1115"/>
                  </a:lnTo>
                  <a:lnTo>
                    <a:pt x="364" y="1110"/>
                  </a:lnTo>
                  <a:lnTo>
                    <a:pt x="349" y="1092"/>
                  </a:lnTo>
                  <a:lnTo>
                    <a:pt x="324" y="1062"/>
                  </a:lnTo>
                  <a:lnTo>
                    <a:pt x="294" y="1023"/>
                  </a:lnTo>
                  <a:lnTo>
                    <a:pt x="278" y="999"/>
                  </a:lnTo>
                  <a:lnTo>
                    <a:pt x="259" y="974"/>
                  </a:lnTo>
                  <a:lnTo>
                    <a:pt x="240" y="946"/>
                  </a:lnTo>
                  <a:lnTo>
                    <a:pt x="222" y="915"/>
                  </a:lnTo>
                  <a:lnTo>
                    <a:pt x="202" y="883"/>
                  </a:lnTo>
                  <a:lnTo>
                    <a:pt x="182" y="849"/>
                  </a:lnTo>
                  <a:lnTo>
                    <a:pt x="162" y="814"/>
                  </a:lnTo>
                  <a:lnTo>
                    <a:pt x="142" y="775"/>
                  </a:lnTo>
                  <a:lnTo>
                    <a:pt x="122" y="736"/>
                  </a:lnTo>
                  <a:lnTo>
                    <a:pt x="103" y="694"/>
                  </a:lnTo>
                  <a:lnTo>
                    <a:pt x="86" y="652"/>
                  </a:lnTo>
                  <a:lnTo>
                    <a:pt x="69" y="608"/>
                  </a:lnTo>
                  <a:lnTo>
                    <a:pt x="54" y="563"/>
                  </a:lnTo>
                  <a:lnTo>
                    <a:pt x="39" y="516"/>
                  </a:lnTo>
                  <a:lnTo>
                    <a:pt x="27" y="468"/>
                  </a:lnTo>
                  <a:lnTo>
                    <a:pt x="17" y="420"/>
                  </a:lnTo>
                  <a:lnTo>
                    <a:pt x="10" y="369"/>
                  </a:lnTo>
                  <a:lnTo>
                    <a:pt x="3" y="318"/>
                  </a:lnTo>
                  <a:lnTo>
                    <a:pt x="0" y="267"/>
                  </a:lnTo>
                  <a:lnTo>
                    <a:pt x="0" y="214"/>
                  </a:lnTo>
                  <a:lnTo>
                    <a:pt x="2" y="161"/>
                  </a:lnTo>
                  <a:lnTo>
                    <a:pt x="7" y="108"/>
                  </a:lnTo>
                  <a:lnTo>
                    <a:pt x="16" y="54"/>
                  </a:ln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2" name="Freeform 55">
              <a:extLst>
                <a:ext uri="{FF2B5EF4-FFF2-40B4-BE49-F238E27FC236}">
                  <a16:creationId xmlns:a16="http://schemas.microsoft.com/office/drawing/2014/main" id="{098206C0-5661-EF69-117E-5D152DE114F1}"/>
                </a:ext>
              </a:extLst>
            </p:cNvPr>
            <p:cNvSpPr>
              <a:spLocks/>
            </p:cNvSpPr>
            <p:nvPr/>
          </p:nvSpPr>
          <p:spPr bwMode="auto">
            <a:xfrm>
              <a:off x="9511553" y="2268255"/>
              <a:ext cx="223124" cy="254148"/>
            </a:xfrm>
            <a:custGeom>
              <a:avLst/>
              <a:gdLst>
                <a:gd name="T0" fmla="*/ 0 w 803"/>
                <a:gd name="T1" fmla="*/ 847 h 847"/>
                <a:gd name="T2" fmla="*/ 803 w 803"/>
                <a:gd name="T3" fmla="*/ 0 h 847"/>
                <a:gd name="T4" fmla="*/ 800 w 803"/>
                <a:gd name="T5" fmla="*/ 8 h 847"/>
                <a:gd name="T6" fmla="*/ 792 w 803"/>
                <a:gd name="T7" fmla="*/ 30 h 847"/>
                <a:gd name="T8" fmla="*/ 779 w 803"/>
                <a:gd name="T9" fmla="*/ 65 h 847"/>
                <a:gd name="T10" fmla="*/ 759 w 803"/>
                <a:gd name="T11" fmla="*/ 111 h 847"/>
                <a:gd name="T12" fmla="*/ 747 w 803"/>
                <a:gd name="T13" fmla="*/ 137 h 847"/>
                <a:gd name="T14" fmla="*/ 733 w 803"/>
                <a:gd name="T15" fmla="*/ 166 h 847"/>
                <a:gd name="T16" fmla="*/ 718 w 803"/>
                <a:gd name="T17" fmla="*/ 196 h 847"/>
                <a:gd name="T18" fmla="*/ 701 w 803"/>
                <a:gd name="T19" fmla="*/ 228 h 847"/>
                <a:gd name="T20" fmla="*/ 684 w 803"/>
                <a:gd name="T21" fmla="*/ 261 h 847"/>
                <a:gd name="T22" fmla="*/ 664 w 803"/>
                <a:gd name="T23" fmla="*/ 295 h 847"/>
                <a:gd name="T24" fmla="*/ 642 w 803"/>
                <a:gd name="T25" fmla="*/ 329 h 847"/>
                <a:gd name="T26" fmla="*/ 619 w 803"/>
                <a:gd name="T27" fmla="*/ 366 h 847"/>
                <a:gd name="T28" fmla="*/ 594 w 803"/>
                <a:gd name="T29" fmla="*/ 402 h 847"/>
                <a:gd name="T30" fmla="*/ 568 w 803"/>
                <a:gd name="T31" fmla="*/ 439 h 847"/>
                <a:gd name="T32" fmla="*/ 539 w 803"/>
                <a:gd name="T33" fmla="*/ 475 h 847"/>
                <a:gd name="T34" fmla="*/ 509 w 803"/>
                <a:gd name="T35" fmla="*/ 511 h 847"/>
                <a:gd name="T36" fmla="*/ 477 w 803"/>
                <a:gd name="T37" fmla="*/ 547 h 847"/>
                <a:gd name="T38" fmla="*/ 443 w 803"/>
                <a:gd name="T39" fmla="*/ 582 h 847"/>
                <a:gd name="T40" fmla="*/ 408 w 803"/>
                <a:gd name="T41" fmla="*/ 616 h 847"/>
                <a:gd name="T42" fmla="*/ 370 w 803"/>
                <a:gd name="T43" fmla="*/ 649 h 847"/>
                <a:gd name="T44" fmla="*/ 331 w 803"/>
                <a:gd name="T45" fmla="*/ 681 h 847"/>
                <a:gd name="T46" fmla="*/ 290 w 803"/>
                <a:gd name="T47" fmla="*/ 711 h 847"/>
                <a:gd name="T48" fmla="*/ 246 w 803"/>
                <a:gd name="T49" fmla="*/ 740 h 847"/>
                <a:gd name="T50" fmla="*/ 201 w 803"/>
                <a:gd name="T51" fmla="*/ 766 h 847"/>
                <a:gd name="T52" fmla="*/ 154 w 803"/>
                <a:gd name="T53" fmla="*/ 791 h 847"/>
                <a:gd name="T54" fmla="*/ 105 w 803"/>
                <a:gd name="T55" fmla="*/ 812 h 847"/>
                <a:gd name="T56" fmla="*/ 53 w 803"/>
                <a:gd name="T57" fmla="*/ 830 h 847"/>
                <a:gd name="T58" fmla="*/ 0 w 803"/>
                <a:gd name="T59"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3" h="847">
                  <a:moveTo>
                    <a:pt x="0" y="847"/>
                  </a:moveTo>
                  <a:lnTo>
                    <a:pt x="803" y="0"/>
                  </a:lnTo>
                  <a:lnTo>
                    <a:pt x="800" y="8"/>
                  </a:lnTo>
                  <a:lnTo>
                    <a:pt x="792" y="30"/>
                  </a:lnTo>
                  <a:lnTo>
                    <a:pt x="779" y="65"/>
                  </a:lnTo>
                  <a:lnTo>
                    <a:pt x="759" y="111"/>
                  </a:lnTo>
                  <a:lnTo>
                    <a:pt x="747" y="137"/>
                  </a:lnTo>
                  <a:lnTo>
                    <a:pt x="733" y="166"/>
                  </a:lnTo>
                  <a:lnTo>
                    <a:pt x="718" y="196"/>
                  </a:lnTo>
                  <a:lnTo>
                    <a:pt x="701" y="228"/>
                  </a:lnTo>
                  <a:lnTo>
                    <a:pt x="684" y="261"/>
                  </a:lnTo>
                  <a:lnTo>
                    <a:pt x="664" y="295"/>
                  </a:lnTo>
                  <a:lnTo>
                    <a:pt x="642" y="329"/>
                  </a:lnTo>
                  <a:lnTo>
                    <a:pt x="619" y="366"/>
                  </a:lnTo>
                  <a:lnTo>
                    <a:pt x="594" y="402"/>
                  </a:lnTo>
                  <a:lnTo>
                    <a:pt x="568" y="439"/>
                  </a:lnTo>
                  <a:lnTo>
                    <a:pt x="539" y="475"/>
                  </a:lnTo>
                  <a:lnTo>
                    <a:pt x="509" y="511"/>
                  </a:lnTo>
                  <a:lnTo>
                    <a:pt x="477" y="547"/>
                  </a:lnTo>
                  <a:lnTo>
                    <a:pt x="443" y="582"/>
                  </a:lnTo>
                  <a:lnTo>
                    <a:pt x="408" y="616"/>
                  </a:lnTo>
                  <a:lnTo>
                    <a:pt x="370" y="649"/>
                  </a:lnTo>
                  <a:lnTo>
                    <a:pt x="331" y="681"/>
                  </a:lnTo>
                  <a:lnTo>
                    <a:pt x="290" y="711"/>
                  </a:lnTo>
                  <a:lnTo>
                    <a:pt x="246" y="740"/>
                  </a:lnTo>
                  <a:lnTo>
                    <a:pt x="201" y="766"/>
                  </a:lnTo>
                  <a:lnTo>
                    <a:pt x="154" y="791"/>
                  </a:lnTo>
                  <a:lnTo>
                    <a:pt x="105" y="812"/>
                  </a:lnTo>
                  <a:lnTo>
                    <a:pt x="53" y="830"/>
                  </a:lnTo>
                  <a:lnTo>
                    <a:pt x="0" y="847"/>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3" name="Freeform 56">
              <a:extLst>
                <a:ext uri="{FF2B5EF4-FFF2-40B4-BE49-F238E27FC236}">
                  <a16:creationId xmlns:a16="http://schemas.microsoft.com/office/drawing/2014/main" id="{BD995BCB-3E50-6F4D-034F-65521630E0D5}"/>
                </a:ext>
              </a:extLst>
            </p:cNvPr>
            <p:cNvSpPr>
              <a:spLocks/>
            </p:cNvSpPr>
            <p:nvPr/>
          </p:nvSpPr>
          <p:spPr bwMode="auto">
            <a:xfrm>
              <a:off x="9511553" y="2268255"/>
              <a:ext cx="223124" cy="254148"/>
            </a:xfrm>
            <a:custGeom>
              <a:avLst/>
              <a:gdLst>
                <a:gd name="T0" fmla="*/ 0 w 803"/>
                <a:gd name="T1" fmla="*/ 847 h 847"/>
                <a:gd name="T2" fmla="*/ 803 w 803"/>
                <a:gd name="T3" fmla="*/ 0 h 847"/>
                <a:gd name="T4" fmla="*/ 795 w 803"/>
                <a:gd name="T5" fmla="*/ 3 h 847"/>
                <a:gd name="T6" fmla="*/ 773 w 803"/>
                <a:gd name="T7" fmla="*/ 12 h 847"/>
                <a:gd name="T8" fmla="*/ 739 w 803"/>
                <a:gd name="T9" fmla="*/ 28 h 847"/>
                <a:gd name="T10" fmla="*/ 695 w 803"/>
                <a:gd name="T11" fmla="*/ 50 h 847"/>
                <a:gd name="T12" fmla="*/ 669 w 803"/>
                <a:gd name="T13" fmla="*/ 63 h 847"/>
                <a:gd name="T14" fmla="*/ 642 w 803"/>
                <a:gd name="T15" fmla="*/ 78 h 847"/>
                <a:gd name="T16" fmla="*/ 612 w 803"/>
                <a:gd name="T17" fmla="*/ 94 h 847"/>
                <a:gd name="T18" fmla="*/ 581 w 803"/>
                <a:gd name="T19" fmla="*/ 113 h 847"/>
                <a:gd name="T20" fmla="*/ 549 w 803"/>
                <a:gd name="T21" fmla="*/ 133 h 847"/>
                <a:gd name="T22" fmla="*/ 516 w 803"/>
                <a:gd name="T23" fmla="*/ 155 h 847"/>
                <a:gd name="T24" fmla="*/ 482 w 803"/>
                <a:gd name="T25" fmla="*/ 178 h 847"/>
                <a:gd name="T26" fmla="*/ 447 w 803"/>
                <a:gd name="T27" fmla="*/ 203 h 847"/>
                <a:gd name="T28" fmla="*/ 412 w 803"/>
                <a:gd name="T29" fmla="*/ 230 h 847"/>
                <a:gd name="T30" fmla="*/ 378 w 803"/>
                <a:gd name="T31" fmla="*/ 259 h 847"/>
                <a:gd name="T32" fmla="*/ 343 w 803"/>
                <a:gd name="T33" fmla="*/ 288 h 847"/>
                <a:gd name="T34" fmla="*/ 308 w 803"/>
                <a:gd name="T35" fmla="*/ 320 h 847"/>
                <a:gd name="T36" fmla="*/ 274 w 803"/>
                <a:gd name="T37" fmla="*/ 355 h 847"/>
                <a:gd name="T38" fmla="*/ 241 w 803"/>
                <a:gd name="T39" fmla="*/ 390 h 847"/>
                <a:gd name="T40" fmla="*/ 209 w 803"/>
                <a:gd name="T41" fmla="*/ 428 h 847"/>
                <a:gd name="T42" fmla="*/ 177 w 803"/>
                <a:gd name="T43" fmla="*/ 466 h 847"/>
                <a:gd name="T44" fmla="*/ 148 w 803"/>
                <a:gd name="T45" fmla="*/ 508 h 847"/>
                <a:gd name="T46" fmla="*/ 119 w 803"/>
                <a:gd name="T47" fmla="*/ 550 h 847"/>
                <a:gd name="T48" fmla="*/ 94 w 803"/>
                <a:gd name="T49" fmla="*/ 595 h 847"/>
                <a:gd name="T50" fmla="*/ 70 w 803"/>
                <a:gd name="T51" fmla="*/ 642 h 847"/>
                <a:gd name="T52" fmla="*/ 49 w 803"/>
                <a:gd name="T53" fmla="*/ 690 h 847"/>
                <a:gd name="T54" fmla="*/ 29 w 803"/>
                <a:gd name="T55" fmla="*/ 741 h 847"/>
                <a:gd name="T56" fmla="*/ 13 w 803"/>
                <a:gd name="T57" fmla="*/ 793 h 847"/>
                <a:gd name="T58" fmla="*/ 0 w 803"/>
                <a:gd name="T59"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3" h="847">
                  <a:moveTo>
                    <a:pt x="0" y="847"/>
                  </a:moveTo>
                  <a:lnTo>
                    <a:pt x="803" y="0"/>
                  </a:lnTo>
                  <a:lnTo>
                    <a:pt x="795" y="3"/>
                  </a:lnTo>
                  <a:lnTo>
                    <a:pt x="773" y="12"/>
                  </a:lnTo>
                  <a:lnTo>
                    <a:pt x="739" y="28"/>
                  </a:lnTo>
                  <a:lnTo>
                    <a:pt x="695" y="50"/>
                  </a:lnTo>
                  <a:lnTo>
                    <a:pt x="669" y="63"/>
                  </a:lnTo>
                  <a:lnTo>
                    <a:pt x="642" y="78"/>
                  </a:lnTo>
                  <a:lnTo>
                    <a:pt x="612" y="94"/>
                  </a:lnTo>
                  <a:lnTo>
                    <a:pt x="581" y="113"/>
                  </a:lnTo>
                  <a:lnTo>
                    <a:pt x="549" y="133"/>
                  </a:lnTo>
                  <a:lnTo>
                    <a:pt x="516" y="155"/>
                  </a:lnTo>
                  <a:lnTo>
                    <a:pt x="482" y="178"/>
                  </a:lnTo>
                  <a:lnTo>
                    <a:pt x="447" y="203"/>
                  </a:lnTo>
                  <a:lnTo>
                    <a:pt x="412" y="230"/>
                  </a:lnTo>
                  <a:lnTo>
                    <a:pt x="378" y="259"/>
                  </a:lnTo>
                  <a:lnTo>
                    <a:pt x="343" y="288"/>
                  </a:lnTo>
                  <a:lnTo>
                    <a:pt x="308" y="320"/>
                  </a:lnTo>
                  <a:lnTo>
                    <a:pt x="274" y="355"/>
                  </a:lnTo>
                  <a:lnTo>
                    <a:pt x="241" y="390"/>
                  </a:lnTo>
                  <a:lnTo>
                    <a:pt x="209" y="428"/>
                  </a:lnTo>
                  <a:lnTo>
                    <a:pt x="177" y="466"/>
                  </a:lnTo>
                  <a:lnTo>
                    <a:pt x="148" y="508"/>
                  </a:lnTo>
                  <a:lnTo>
                    <a:pt x="119" y="550"/>
                  </a:lnTo>
                  <a:lnTo>
                    <a:pt x="94" y="595"/>
                  </a:lnTo>
                  <a:lnTo>
                    <a:pt x="70" y="642"/>
                  </a:lnTo>
                  <a:lnTo>
                    <a:pt x="49" y="690"/>
                  </a:lnTo>
                  <a:lnTo>
                    <a:pt x="29" y="741"/>
                  </a:lnTo>
                  <a:lnTo>
                    <a:pt x="13" y="793"/>
                  </a:lnTo>
                  <a:lnTo>
                    <a:pt x="0" y="8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8" name="Freeform 57">
              <a:extLst>
                <a:ext uri="{FF2B5EF4-FFF2-40B4-BE49-F238E27FC236}">
                  <a16:creationId xmlns:a16="http://schemas.microsoft.com/office/drawing/2014/main" id="{8D4251CB-1346-14BC-636F-8494B74A76F8}"/>
                </a:ext>
              </a:extLst>
            </p:cNvPr>
            <p:cNvSpPr>
              <a:spLocks/>
            </p:cNvSpPr>
            <p:nvPr/>
          </p:nvSpPr>
          <p:spPr bwMode="auto">
            <a:xfrm>
              <a:off x="9729098" y="2262240"/>
              <a:ext cx="316557" cy="90230"/>
            </a:xfrm>
            <a:custGeom>
              <a:avLst/>
              <a:gdLst>
                <a:gd name="T0" fmla="*/ 1134 w 1134"/>
                <a:gd name="T1" fmla="*/ 301 h 301"/>
                <a:gd name="T2" fmla="*/ 0 w 1134"/>
                <a:gd name="T3" fmla="*/ 27 h 301"/>
                <a:gd name="T4" fmla="*/ 8 w 1134"/>
                <a:gd name="T5" fmla="*/ 26 h 301"/>
                <a:gd name="T6" fmla="*/ 31 w 1134"/>
                <a:gd name="T7" fmla="*/ 21 h 301"/>
                <a:gd name="T8" fmla="*/ 68 w 1134"/>
                <a:gd name="T9" fmla="*/ 16 h 301"/>
                <a:gd name="T10" fmla="*/ 118 w 1134"/>
                <a:gd name="T11" fmla="*/ 9 h 301"/>
                <a:gd name="T12" fmla="*/ 147 w 1134"/>
                <a:gd name="T13" fmla="*/ 7 h 301"/>
                <a:gd name="T14" fmla="*/ 178 w 1134"/>
                <a:gd name="T15" fmla="*/ 5 h 301"/>
                <a:gd name="T16" fmla="*/ 212 w 1134"/>
                <a:gd name="T17" fmla="*/ 3 h 301"/>
                <a:gd name="T18" fmla="*/ 247 w 1134"/>
                <a:gd name="T19" fmla="*/ 2 h 301"/>
                <a:gd name="T20" fmla="*/ 285 w 1134"/>
                <a:gd name="T21" fmla="*/ 0 h 301"/>
                <a:gd name="T22" fmla="*/ 325 w 1134"/>
                <a:gd name="T23" fmla="*/ 0 h 301"/>
                <a:gd name="T24" fmla="*/ 365 w 1134"/>
                <a:gd name="T25" fmla="*/ 2 h 301"/>
                <a:gd name="T26" fmla="*/ 408 w 1134"/>
                <a:gd name="T27" fmla="*/ 4 h 301"/>
                <a:gd name="T28" fmla="*/ 453 w 1134"/>
                <a:gd name="T29" fmla="*/ 7 h 301"/>
                <a:gd name="T30" fmla="*/ 497 w 1134"/>
                <a:gd name="T31" fmla="*/ 13 h 301"/>
                <a:gd name="T32" fmla="*/ 543 w 1134"/>
                <a:gd name="T33" fmla="*/ 18 h 301"/>
                <a:gd name="T34" fmla="*/ 590 w 1134"/>
                <a:gd name="T35" fmla="*/ 27 h 301"/>
                <a:gd name="T36" fmla="*/ 636 w 1134"/>
                <a:gd name="T37" fmla="*/ 36 h 301"/>
                <a:gd name="T38" fmla="*/ 683 w 1134"/>
                <a:gd name="T39" fmla="*/ 48 h 301"/>
                <a:gd name="T40" fmla="*/ 731 w 1134"/>
                <a:gd name="T41" fmla="*/ 62 h 301"/>
                <a:gd name="T42" fmla="*/ 778 w 1134"/>
                <a:gd name="T43" fmla="*/ 78 h 301"/>
                <a:gd name="T44" fmla="*/ 826 w 1134"/>
                <a:gd name="T45" fmla="*/ 96 h 301"/>
                <a:gd name="T46" fmla="*/ 872 w 1134"/>
                <a:gd name="T47" fmla="*/ 116 h 301"/>
                <a:gd name="T48" fmla="*/ 919 w 1134"/>
                <a:gd name="T49" fmla="*/ 141 h 301"/>
                <a:gd name="T50" fmla="*/ 964 w 1134"/>
                <a:gd name="T51" fmla="*/ 166 h 301"/>
                <a:gd name="T52" fmla="*/ 1008 w 1134"/>
                <a:gd name="T53" fmla="*/ 195 h 301"/>
                <a:gd name="T54" fmla="*/ 1052 w 1134"/>
                <a:gd name="T55" fmla="*/ 227 h 301"/>
                <a:gd name="T56" fmla="*/ 1094 w 1134"/>
                <a:gd name="T57" fmla="*/ 262 h 301"/>
                <a:gd name="T58" fmla="*/ 1134 w 1134"/>
                <a:gd name="T59"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4" h="301">
                  <a:moveTo>
                    <a:pt x="1134" y="301"/>
                  </a:moveTo>
                  <a:lnTo>
                    <a:pt x="0" y="27"/>
                  </a:lnTo>
                  <a:lnTo>
                    <a:pt x="8" y="26"/>
                  </a:lnTo>
                  <a:lnTo>
                    <a:pt x="31" y="21"/>
                  </a:lnTo>
                  <a:lnTo>
                    <a:pt x="68" y="16"/>
                  </a:lnTo>
                  <a:lnTo>
                    <a:pt x="118" y="9"/>
                  </a:lnTo>
                  <a:lnTo>
                    <a:pt x="147" y="7"/>
                  </a:lnTo>
                  <a:lnTo>
                    <a:pt x="178" y="5"/>
                  </a:lnTo>
                  <a:lnTo>
                    <a:pt x="212" y="3"/>
                  </a:lnTo>
                  <a:lnTo>
                    <a:pt x="247" y="2"/>
                  </a:lnTo>
                  <a:lnTo>
                    <a:pt x="285" y="0"/>
                  </a:lnTo>
                  <a:lnTo>
                    <a:pt x="325" y="0"/>
                  </a:lnTo>
                  <a:lnTo>
                    <a:pt x="365" y="2"/>
                  </a:lnTo>
                  <a:lnTo>
                    <a:pt x="408" y="4"/>
                  </a:lnTo>
                  <a:lnTo>
                    <a:pt x="453" y="7"/>
                  </a:lnTo>
                  <a:lnTo>
                    <a:pt x="497" y="13"/>
                  </a:lnTo>
                  <a:lnTo>
                    <a:pt x="543" y="18"/>
                  </a:lnTo>
                  <a:lnTo>
                    <a:pt x="590" y="27"/>
                  </a:lnTo>
                  <a:lnTo>
                    <a:pt x="636" y="36"/>
                  </a:lnTo>
                  <a:lnTo>
                    <a:pt x="683" y="48"/>
                  </a:lnTo>
                  <a:lnTo>
                    <a:pt x="731" y="62"/>
                  </a:lnTo>
                  <a:lnTo>
                    <a:pt x="778" y="78"/>
                  </a:lnTo>
                  <a:lnTo>
                    <a:pt x="826" y="96"/>
                  </a:lnTo>
                  <a:lnTo>
                    <a:pt x="872" y="116"/>
                  </a:lnTo>
                  <a:lnTo>
                    <a:pt x="919" y="141"/>
                  </a:lnTo>
                  <a:lnTo>
                    <a:pt x="964" y="166"/>
                  </a:lnTo>
                  <a:lnTo>
                    <a:pt x="1008" y="195"/>
                  </a:lnTo>
                  <a:lnTo>
                    <a:pt x="1052" y="227"/>
                  </a:lnTo>
                  <a:lnTo>
                    <a:pt x="1094" y="262"/>
                  </a:lnTo>
                  <a:lnTo>
                    <a:pt x="1134" y="301"/>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99" name="Freeform 58">
              <a:extLst>
                <a:ext uri="{FF2B5EF4-FFF2-40B4-BE49-F238E27FC236}">
                  <a16:creationId xmlns:a16="http://schemas.microsoft.com/office/drawing/2014/main" id="{364746C5-C223-082E-0E33-117746E8B451}"/>
                </a:ext>
              </a:extLst>
            </p:cNvPr>
            <p:cNvSpPr>
              <a:spLocks/>
            </p:cNvSpPr>
            <p:nvPr/>
          </p:nvSpPr>
          <p:spPr bwMode="auto">
            <a:xfrm>
              <a:off x="9729098" y="2269759"/>
              <a:ext cx="316557" cy="96246"/>
            </a:xfrm>
            <a:custGeom>
              <a:avLst/>
              <a:gdLst>
                <a:gd name="T0" fmla="*/ 1134 w 1134"/>
                <a:gd name="T1" fmla="*/ 274 h 318"/>
                <a:gd name="T2" fmla="*/ 0 w 1134"/>
                <a:gd name="T3" fmla="*/ 0 h 318"/>
                <a:gd name="T4" fmla="*/ 7 w 1134"/>
                <a:gd name="T5" fmla="*/ 5 h 318"/>
                <a:gd name="T6" fmla="*/ 25 w 1134"/>
                <a:gd name="T7" fmla="*/ 20 h 318"/>
                <a:gd name="T8" fmla="*/ 56 w 1134"/>
                <a:gd name="T9" fmla="*/ 41 h 318"/>
                <a:gd name="T10" fmla="*/ 97 w 1134"/>
                <a:gd name="T11" fmla="*/ 68 h 318"/>
                <a:gd name="T12" fmla="*/ 121 w 1134"/>
                <a:gd name="T13" fmla="*/ 85 h 318"/>
                <a:gd name="T14" fmla="*/ 148 w 1134"/>
                <a:gd name="T15" fmla="*/ 102 h 318"/>
                <a:gd name="T16" fmla="*/ 177 w 1134"/>
                <a:gd name="T17" fmla="*/ 118 h 318"/>
                <a:gd name="T18" fmla="*/ 209 w 1134"/>
                <a:gd name="T19" fmla="*/ 136 h 318"/>
                <a:gd name="T20" fmla="*/ 242 w 1134"/>
                <a:gd name="T21" fmla="*/ 153 h 318"/>
                <a:gd name="T22" fmla="*/ 277 w 1134"/>
                <a:gd name="T23" fmla="*/ 171 h 318"/>
                <a:gd name="T24" fmla="*/ 315 w 1134"/>
                <a:gd name="T25" fmla="*/ 189 h 318"/>
                <a:gd name="T26" fmla="*/ 353 w 1134"/>
                <a:gd name="T27" fmla="*/ 206 h 318"/>
                <a:gd name="T28" fmla="*/ 394 w 1134"/>
                <a:gd name="T29" fmla="*/ 224 h 318"/>
                <a:gd name="T30" fmla="*/ 436 w 1134"/>
                <a:gd name="T31" fmla="*/ 239 h 318"/>
                <a:gd name="T32" fmla="*/ 479 w 1134"/>
                <a:gd name="T33" fmla="*/ 255 h 318"/>
                <a:gd name="T34" fmla="*/ 524 w 1134"/>
                <a:gd name="T35" fmla="*/ 269 h 318"/>
                <a:gd name="T36" fmla="*/ 571 w 1134"/>
                <a:gd name="T37" fmla="*/ 281 h 318"/>
                <a:gd name="T38" fmla="*/ 618 w 1134"/>
                <a:gd name="T39" fmla="*/ 292 h 318"/>
                <a:gd name="T40" fmla="*/ 667 w 1134"/>
                <a:gd name="T41" fmla="*/ 302 h 318"/>
                <a:gd name="T42" fmla="*/ 717 w 1134"/>
                <a:gd name="T43" fmla="*/ 309 h 318"/>
                <a:gd name="T44" fmla="*/ 766 w 1134"/>
                <a:gd name="T45" fmla="*/ 315 h 318"/>
                <a:gd name="T46" fmla="*/ 818 w 1134"/>
                <a:gd name="T47" fmla="*/ 318 h 318"/>
                <a:gd name="T48" fmla="*/ 869 w 1134"/>
                <a:gd name="T49" fmla="*/ 318 h 318"/>
                <a:gd name="T50" fmla="*/ 922 w 1134"/>
                <a:gd name="T51" fmla="*/ 316 h 318"/>
                <a:gd name="T52" fmla="*/ 975 w 1134"/>
                <a:gd name="T53" fmla="*/ 310 h 318"/>
                <a:gd name="T54" fmla="*/ 1028 w 1134"/>
                <a:gd name="T55" fmla="*/ 301 h 318"/>
                <a:gd name="T56" fmla="*/ 1081 w 1134"/>
                <a:gd name="T57" fmla="*/ 289 h 318"/>
                <a:gd name="T58" fmla="*/ 1134 w 1134"/>
                <a:gd name="T59" fmla="*/ 27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4" h="318">
                  <a:moveTo>
                    <a:pt x="1134" y="274"/>
                  </a:moveTo>
                  <a:lnTo>
                    <a:pt x="0" y="0"/>
                  </a:lnTo>
                  <a:lnTo>
                    <a:pt x="7" y="5"/>
                  </a:lnTo>
                  <a:lnTo>
                    <a:pt x="25" y="20"/>
                  </a:lnTo>
                  <a:lnTo>
                    <a:pt x="56" y="41"/>
                  </a:lnTo>
                  <a:lnTo>
                    <a:pt x="97" y="68"/>
                  </a:lnTo>
                  <a:lnTo>
                    <a:pt x="121" y="85"/>
                  </a:lnTo>
                  <a:lnTo>
                    <a:pt x="148" y="102"/>
                  </a:lnTo>
                  <a:lnTo>
                    <a:pt x="177" y="118"/>
                  </a:lnTo>
                  <a:lnTo>
                    <a:pt x="209" y="136"/>
                  </a:lnTo>
                  <a:lnTo>
                    <a:pt x="242" y="153"/>
                  </a:lnTo>
                  <a:lnTo>
                    <a:pt x="277" y="171"/>
                  </a:lnTo>
                  <a:lnTo>
                    <a:pt x="315" y="189"/>
                  </a:lnTo>
                  <a:lnTo>
                    <a:pt x="353" y="206"/>
                  </a:lnTo>
                  <a:lnTo>
                    <a:pt x="394" y="224"/>
                  </a:lnTo>
                  <a:lnTo>
                    <a:pt x="436" y="239"/>
                  </a:lnTo>
                  <a:lnTo>
                    <a:pt x="479" y="255"/>
                  </a:lnTo>
                  <a:lnTo>
                    <a:pt x="524" y="269"/>
                  </a:lnTo>
                  <a:lnTo>
                    <a:pt x="571" y="281"/>
                  </a:lnTo>
                  <a:lnTo>
                    <a:pt x="618" y="292"/>
                  </a:lnTo>
                  <a:lnTo>
                    <a:pt x="667" y="302"/>
                  </a:lnTo>
                  <a:lnTo>
                    <a:pt x="717" y="309"/>
                  </a:lnTo>
                  <a:lnTo>
                    <a:pt x="766" y="315"/>
                  </a:lnTo>
                  <a:lnTo>
                    <a:pt x="818" y="318"/>
                  </a:lnTo>
                  <a:lnTo>
                    <a:pt x="869" y="318"/>
                  </a:lnTo>
                  <a:lnTo>
                    <a:pt x="922" y="316"/>
                  </a:lnTo>
                  <a:lnTo>
                    <a:pt x="975" y="310"/>
                  </a:lnTo>
                  <a:lnTo>
                    <a:pt x="1028" y="301"/>
                  </a:lnTo>
                  <a:lnTo>
                    <a:pt x="1081" y="289"/>
                  </a:lnTo>
                  <a:lnTo>
                    <a:pt x="113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02" name="Freeform 59">
              <a:extLst>
                <a:ext uri="{FF2B5EF4-FFF2-40B4-BE49-F238E27FC236}">
                  <a16:creationId xmlns:a16="http://schemas.microsoft.com/office/drawing/2014/main" id="{1F2FE9C6-7B6C-D840-3E33-C8A6218ED192}"/>
                </a:ext>
              </a:extLst>
            </p:cNvPr>
            <p:cNvSpPr>
              <a:spLocks/>
            </p:cNvSpPr>
            <p:nvPr/>
          </p:nvSpPr>
          <p:spPr bwMode="auto">
            <a:xfrm>
              <a:off x="9699813" y="2290812"/>
              <a:ext cx="61359" cy="1016593"/>
            </a:xfrm>
            <a:custGeom>
              <a:avLst/>
              <a:gdLst>
                <a:gd name="T0" fmla="*/ 0 w 222"/>
                <a:gd name="T1" fmla="*/ 3379 h 3379"/>
                <a:gd name="T2" fmla="*/ 222 w 222"/>
                <a:gd name="T3" fmla="*/ 3379 h 3379"/>
                <a:gd name="T4" fmla="*/ 148 w 222"/>
                <a:gd name="T5" fmla="*/ 0 h 3379"/>
                <a:gd name="T6" fmla="*/ 73 w 222"/>
                <a:gd name="T7" fmla="*/ 0 h 3379"/>
                <a:gd name="T8" fmla="*/ 0 w 222"/>
                <a:gd name="T9" fmla="*/ 3379 h 3379"/>
              </a:gdLst>
              <a:ahLst/>
              <a:cxnLst>
                <a:cxn ang="0">
                  <a:pos x="T0" y="T1"/>
                </a:cxn>
                <a:cxn ang="0">
                  <a:pos x="T2" y="T3"/>
                </a:cxn>
                <a:cxn ang="0">
                  <a:pos x="T4" y="T5"/>
                </a:cxn>
                <a:cxn ang="0">
                  <a:pos x="T6" y="T7"/>
                </a:cxn>
                <a:cxn ang="0">
                  <a:pos x="T8" y="T9"/>
                </a:cxn>
              </a:cxnLst>
              <a:rect l="0" t="0" r="r" b="b"/>
              <a:pathLst>
                <a:path w="222" h="3379">
                  <a:moveTo>
                    <a:pt x="0" y="3379"/>
                  </a:moveTo>
                  <a:lnTo>
                    <a:pt x="222" y="3379"/>
                  </a:lnTo>
                  <a:lnTo>
                    <a:pt x="148" y="0"/>
                  </a:lnTo>
                  <a:lnTo>
                    <a:pt x="73" y="0"/>
                  </a:lnTo>
                  <a:lnTo>
                    <a:pt x="0" y="33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03" name="Freeform 60">
              <a:extLst>
                <a:ext uri="{FF2B5EF4-FFF2-40B4-BE49-F238E27FC236}">
                  <a16:creationId xmlns:a16="http://schemas.microsoft.com/office/drawing/2014/main" id="{C8385D18-ACC6-5F44-C6EC-9BBFC165F844}"/>
                </a:ext>
              </a:extLst>
            </p:cNvPr>
            <p:cNvSpPr>
              <a:spLocks/>
            </p:cNvSpPr>
            <p:nvPr/>
          </p:nvSpPr>
          <p:spPr bwMode="auto">
            <a:xfrm>
              <a:off x="9699813" y="2290812"/>
              <a:ext cx="27890" cy="1016593"/>
            </a:xfrm>
            <a:custGeom>
              <a:avLst/>
              <a:gdLst>
                <a:gd name="T0" fmla="*/ 0 w 102"/>
                <a:gd name="T1" fmla="*/ 3379 h 3379"/>
                <a:gd name="T2" fmla="*/ 83 w 102"/>
                <a:gd name="T3" fmla="*/ 3379 h 3379"/>
                <a:gd name="T4" fmla="*/ 102 w 102"/>
                <a:gd name="T5" fmla="*/ 0 h 3379"/>
                <a:gd name="T6" fmla="*/ 73 w 102"/>
                <a:gd name="T7" fmla="*/ 0 h 3379"/>
                <a:gd name="T8" fmla="*/ 0 w 102"/>
                <a:gd name="T9" fmla="*/ 3379 h 3379"/>
              </a:gdLst>
              <a:ahLst/>
              <a:cxnLst>
                <a:cxn ang="0">
                  <a:pos x="T0" y="T1"/>
                </a:cxn>
                <a:cxn ang="0">
                  <a:pos x="T2" y="T3"/>
                </a:cxn>
                <a:cxn ang="0">
                  <a:pos x="T4" y="T5"/>
                </a:cxn>
                <a:cxn ang="0">
                  <a:pos x="T6" y="T7"/>
                </a:cxn>
                <a:cxn ang="0">
                  <a:pos x="T8" y="T9"/>
                </a:cxn>
              </a:cxnLst>
              <a:rect l="0" t="0" r="r" b="b"/>
              <a:pathLst>
                <a:path w="102" h="3379">
                  <a:moveTo>
                    <a:pt x="0" y="3379"/>
                  </a:moveTo>
                  <a:lnTo>
                    <a:pt x="83" y="3379"/>
                  </a:lnTo>
                  <a:lnTo>
                    <a:pt x="102" y="0"/>
                  </a:lnTo>
                  <a:lnTo>
                    <a:pt x="73" y="0"/>
                  </a:lnTo>
                  <a:lnTo>
                    <a:pt x="0" y="337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04" name="Freeform 61">
              <a:extLst>
                <a:ext uri="{FF2B5EF4-FFF2-40B4-BE49-F238E27FC236}">
                  <a16:creationId xmlns:a16="http://schemas.microsoft.com/office/drawing/2014/main" id="{34F74D18-5B22-6982-52FE-82E20A120DF7}"/>
                </a:ext>
              </a:extLst>
            </p:cNvPr>
            <p:cNvSpPr>
              <a:spLocks/>
            </p:cNvSpPr>
            <p:nvPr/>
          </p:nvSpPr>
          <p:spPr bwMode="auto">
            <a:xfrm>
              <a:off x="9695630" y="2239682"/>
              <a:ext cx="69726" cy="75192"/>
            </a:xfrm>
            <a:custGeom>
              <a:avLst/>
              <a:gdLst>
                <a:gd name="T0" fmla="*/ 1 w 247"/>
                <a:gd name="T1" fmla="*/ 137 h 247"/>
                <a:gd name="T2" fmla="*/ 5 w 247"/>
                <a:gd name="T3" fmla="*/ 160 h 247"/>
                <a:gd name="T4" fmla="*/ 15 w 247"/>
                <a:gd name="T5" fmla="*/ 183 h 247"/>
                <a:gd name="T6" fmla="*/ 29 w 247"/>
                <a:gd name="T7" fmla="*/ 202 h 247"/>
                <a:gd name="T8" fmla="*/ 45 w 247"/>
                <a:gd name="T9" fmla="*/ 219 h 247"/>
                <a:gd name="T10" fmla="*/ 65 w 247"/>
                <a:gd name="T11" fmla="*/ 233 h 247"/>
                <a:gd name="T12" fmla="*/ 87 w 247"/>
                <a:gd name="T13" fmla="*/ 241 h 247"/>
                <a:gd name="T14" fmla="*/ 111 w 247"/>
                <a:gd name="T15" fmla="*/ 247 h 247"/>
                <a:gd name="T16" fmla="*/ 137 w 247"/>
                <a:gd name="T17" fmla="*/ 247 h 247"/>
                <a:gd name="T18" fmla="*/ 161 w 247"/>
                <a:gd name="T19" fmla="*/ 241 h 247"/>
                <a:gd name="T20" fmla="*/ 183 w 247"/>
                <a:gd name="T21" fmla="*/ 233 h 247"/>
                <a:gd name="T22" fmla="*/ 203 w 247"/>
                <a:gd name="T23" fmla="*/ 219 h 247"/>
                <a:gd name="T24" fmla="*/ 220 w 247"/>
                <a:gd name="T25" fmla="*/ 202 h 247"/>
                <a:gd name="T26" fmla="*/ 233 w 247"/>
                <a:gd name="T27" fmla="*/ 183 h 247"/>
                <a:gd name="T28" fmla="*/ 242 w 247"/>
                <a:gd name="T29" fmla="*/ 160 h 247"/>
                <a:gd name="T30" fmla="*/ 247 w 247"/>
                <a:gd name="T31" fmla="*/ 137 h 247"/>
                <a:gd name="T32" fmla="*/ 247 w 247"/>
                <a:gd name="T33" fmla="*/ 111 h 247"/>
                <a:gd name="T34" fmla="*/ 242 w 247"/>
                <a:gd name="T35" fmla="*/ 87 h 247"/>
                <a:gd name="T36" fmla="*/ 233 w 247"/>
                <a:gd name="T37" fmla="*/ 65 h 247"/>
                <a:gd name="T38" fmla="*/ 220 w 247"/>
                <a:gd name="T39" fmla="*/ 45 h 247"/>
                <a:gd name="T40" fmla="*/ 203 w 247"/>
                <a:gd name="T41" fmla="*/ 28 h 247"/>
                <a:gd name="T42" fmla="*/ 183 w 247"/>
                <a:gd name="T43" fmla="*/ 15 h 247"/>
                <a:gd name="T44" fmla="*/ 161 w 247"/>
                <a:gd name="T45" fmla="*/ 5 h 247"/>
                <a:gd name="T46" fmla="*/ 137 w 247"/>
                <a:gd name="T47" fmla="*/ 1 h 247"/>
                <a:gd name="T48" fmla="*/ 111 w 247"/>
                <a:gd name="T49" fmla="*/ 1 h 247"/>
                <a:gd name="T50" fmla="*/ 87 w 247"/>
                <a:gd name="T51" fmla="*/ 5 h 247"/>
                <a:gd name="T52" fmla="*/ 65 w 247"/>
                <a:gd name="T53" fmla="*/ 15 h 247"/>
                <a:gd name="T54" fmla="*/ 45 w 247"/>
                <a:gd name="T55" fmla="*/ 28 h 247"/>
                <a:gd name="T56" fmla="*/ 29 w 247"/>
                <a:gd name="T57" fmla="*/ 45 h 247"/>
                <a:gd name="T58" fmla="*/ 15 w 247"/>
                <a:gd name="T59" fmla="*/ 65 h 247"/>
                <a:gd name="T60" fmla="*/ 5 w 247"/>
                <a:gd name="T61" fmla="*/ 87 h 247"/>
                <a:gd name="T62" fmla="*/ 1 w 247"/>
                <a:gd name="T63" fmla="*/ 11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7" h="247">
                  <a:moveTo>
                    <a:pt x="0" y="123"/>
                  </a:moveTo>
                  <a:lnTo>
                    <a:pt x="1" y="137"/>
                  </a:lnTo>
                  <a:lnTo>
                    <a:pt x="2" y="149"/>
                  </a:lnTo>
                  <a:lnTo>
                    <a:pt x="5" y="160"/>
                  </a:lnTo>
                  <a:lnTo>
                    <a:pt x="10" y="172"/>
                  </a:lnTo>
                  <a:lnTo>
                    <a:pt x="15" y="183"/>
                  </a:lnTo>
                  <a:lnTo>
                    <a:pt x="21" y="193"/>
                  </a:lnTo>
                  <a:lnTo>
                    <a:pt x="29" y="202"/>
                  </a:lnTo>
                  <a:lnTo>
                    <a:pt x="36" y="211"/>
                  </a:lnTo>
                  <a:lnTo>
                    <a:pt x="45" y="219"/>
                  </a:lnTo>
                  <a:lnTo>
                    <a:pt x="55" y="226"/>
                  </a:lnTo>
                  <a:lnTo>
                    <a:pt x="65" y="233"/>
                  </a:lnTo>
                  <a:lnTo>
                    <a:pt x="76" y="237"/>
                  </a:lnTo>
                  <a:lnTo>
                    <a:pt x="87" y="241"/>
                  </a:lnTo>
                  <a:lnTo>
                    <a:pt x="99" y="245"/>
                  </a:lnTo>
                  <a:lnTo>
                    <a:pt x="111" y="247"/>
                  </a:lnTo>
                  <a:lnTo>
                    <a:pt x="124" y="247"/>
                  </a:lnTo>
                  <a:lnTo>
                    <a:pt x="137" y="247"/>
                  </a:lnTo>
                  <a:lnTo>
                    <a:pt x="149" y="245"/>
                  </a:lnTo>
                  <a:lnTo>
                    <a:pt x="161" y="241"/>
                  </a:lnTo>
                  <a:lnTo>
                    <a:pt x="172" y="237"/>
                  </a:lnTo>
                  <a:lnTo>
                    <a:pt x="183" y="233"/>
                  </a:lnTo>
                  <a:lnTo>
                    <a:pt x="193" y="226"/>
                  </a:lnTo>
                  <a:lnTo>
                    <a:pt x="203" y="219"/>
                  </a:lnTo>
                  <a:lnTo>
                    <a:pt x="212" y="211"/>
                  </a:lnTo>
                  <a:lnTo>
                    <a:pt x="220" y="202"/>
                  </a:lnTo>
                  <a:lnTo>
                    <a:pt x="226" y="193"/>
                  </a:lnTo>
                  <a:lnTo>
                    <a:pt x="233" y="183"/>
                  </a:lnTo>
                  <a:lnTo>
                    <a:pt x="238" y="172"/>
                  </a:lnTo>
                  <a:lnTo>
                    <a:pt x="242" y="160"/>
                  </a:lnTo>
                  <a:lnTo>
                    <a:pt x="245" y="149"/>
                  </a:lnTo>
                  <a:lnTo>
                    <a:pt x="247" y="137"/>
                  </a:lnTo>
                  <a:lnTo>
                    <a:pt x="247" y="123"/>
                  </a:lnTo>
                  <a:lnTo>
                    <a:pt x="247" y="111"/>
                  </a:lnTo>
                  <a:lnTo>
                    <a:pt x="245" y="99"/>
                  </a:lnTo>
                  <a:lnTo>
                    <a:pt x="242" y="87"/>
                  </a:lnTo>
                  <a:lnTo>
                    <a:pt x="238" y="76"/>
                  </a:lnTo>
                  <a:lnTo>
                    <a:pt x="233" y="65"/>
                  </a:lnTo>
                  <a:lnTo>
                    <a:pt x="226" y="55"/>
                  </a:lnTo>
                  <a:lnTo>
                    <a:pt x="220" y="45"/>
                  </a:lnTo>
                  <a:lnTo>
                    <a:pt x="212" y="36"/>
                  </a:lnTo>
                  <a:lnTo>
                    <a:pt x="203" y="28"/>
                  </a:lnTo>
                  <a:lnTo>
                    <a:pt x="193" y="21"/>
                  </a:lnTo>
                  <a:lnTo>
                    <a:pt x="183" y="15"/>
                  </a:lnTo>
                  <a:lnTo>
                    <a:pt x="172" y="10"/>
                  </a:lnTo>
                  <a:lnTo>
                    <a:pt x="161" y="5"/>
                  </a:lnTo>
                  <a:lnTo>
                    <a:pt x="149" y="2"/>
                  </a:lnTo>
                  <a:lnTo>
                    <a:pt x="137" y="1"/>
                  </a:lnTo>
                  <a:lnTo>
                    <a:pt x="124" y="0"/>
                  </a:lnTo>
                  <a:lnTo>
                    <a:pt x="111" y="1"/>
                  </a:lnTo>
                  <a:lnTo>
                    <a:pt x="99" y="2"/>
                  </a:lnTo>
                  <a:lnTo>
                    <a:pt x="87" y="5"/>
                  </a:lnTo>
                  <a:lnTo>
                    <a:pt x="76" y="10"/>
                  </a:lnTo>
                  <a:lnTo>
                    <a:pt x="65" y="15"/>
                  </a:lnTo>
                  <a:lnTo>
                    <a:pt x="55" y="21"/>
                  </a:lnTo>
                  <a:lnTo>
                    <a:pt x="45" y="28"/>
                  </a:lnTo>
                  <a:lnTo>
                    <a:pt x="36" y="36"/>
                  </a:lnTo>
                  <a:lnTo>
                    <a:pt x="29" y="45"/>
                  </a:lnTo>
                  <a:lnTo>
                    <a:pt x="21" y="55"/>
                  </a:lnTo>
                  <a:lnTo>
                    <a:pt x="15" y="65"/>
                  </a:lnTo>
                  <a:lnTo>
                    <a:pt x="10" y="76"/>
                  </a:lnTo>
                  <a:lnTo>
                    <a:pt x="5" y="87"/>
                  </a:lnTo>
                  <a:lnTo>
                    <a:pt x="2" y="99"/>
                  </a:lnTo>
                  <a:lnTo>
                    <a:pt x="1" y="111"/>
                  </a:lnTo>
                  <a:lnTo>
                    <a:pt x="0"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05" name="Freeform 62">
              <a:extLst>
                <a:ext uri="{FF2B5EF4-FFF2-40B4-BE49-F238E27FC236}">
                  <a16:creationId xmlns:a16="http://schemas.microsoft.com/office/drawing/2014/main" id="{C99209A5-2DB6-BC2D-FF42-C2D1650F8E5A}"/>
                </a:ext>
              </a:extLst>
            </p:cNvPr>
            <p:cNvSpPr>
              <a:spLocks/>
            </p:cNvSpPr>
            <p:nvPr/>
          </p:nvSpPr>
          <p:spPr bwMode="auto">
            <a:xfrm>
              <a:off x="9703997" y="2248705"/>
              <a:ext cx="52992" cy="57146"/>
            </a:xfrm>
            <a:custGeom>
              <a:avLst/>
              <a:gdLst>
                <a:gd name="T0" fmla="*/ 1 w 187"/>
                <a:gd name="T1" fmla="*/ 104 h 188"/>
                <a:gd name="T2" fmla="*/ 4 w 187"/>
                <a:gd name="T3" fmla="*/ 122 h 188"/>
                <a:gd name="T4" fmla="*/ 12 w 187"/>
                <a:gd name="T5" fmla="*/ 140 h 188"/>
                <a:gd name="T6" fmla="*/ 22 w 187"/>
                <a:gd name="T7" fmla="*/ 154 h 188"/>
                <a:gd name="T8" fmla="*/ 34 w 187"/>
                <a:gd name="T9" fmla="*/ 167 h 188"/>
                <a:gd name="T10" fmla="*/ 49 w 187"/>
                <a:gd name="T11" fmla="*/ 177 h 188"/>
                <a:gd name="T12" fmla="*/ 66 w 187"/>
                <a:gd name="T13" fmla="*/ 184 h 188"/>
                <a:gd name="T14" fmla="*/ 85 w 187"/>
                <a:gd name="T15" fmla="*/ 188 h 188"/>
                <a:gd name="T16" fmla="*/ 103 w 187"/>
                <a:gd name="T17" fmla="*/ 188 h 188"/>
                <a:gd name="T18" fmla="*/ 122 w 187"/>
                <a:gd name="T19" fmla="*/ 184 h 188"/>
                <a:gd name="T20" fmla="*/ 139 w 187"/>
                <a:gd name="T21" fmla="*/ 177 h 188"/>
                <a:gd name="T22" fmla="*/ 153 w 187"/>
                <a:gd name="T23" fmla="*/ 167 h 188"/>
                <a:gd name="T24" fmla="*/ 166 w 187"/>
                <a:gd name="T25" fmla="*/ 154 h 188"/>
                <a:gd name="T26" fmla="*/ 176 w 187"/>
                <a:gd name="T27" fmla="*/ 140 h 188"/>
                <a:gd name="T28" fmla="*/ 183 w 187"/>
                <a:gd name="T29" fmla="*/ 122 h 188"/>
                <a:gd name="T30" fmla="*/ 187 w 187"/>
                <a:gd name="T31" fmla="*/ 104 h 188"/>
                <a:gd name="T32" fmla="*/ 187 w 187"/>
                <a:gd name="T33" fmla="*/ 84 h 188"/>
                <a:gd name="T34" fmla="*/ 183 w 187"/>
                <a:gd name="T35" fmla="*/ 67 h 188"/>
                <a:gd name="T36" fmla="*/ 176 w 187"/>
                <a:gd name="T37" fmla="*/ 50 h 188"/>
                <a:gd name="T38" fmla="*/ 166 w 187"/>
                <a:gd name="T39" fmla="*/ 35 h 188"/>
                <a:gd name="T40" fmla="*/ 153 w 187"/>
                <a:gd name="T41" fmla="*/ 23 h 188"/>
                <a:gd name="T42" fmla="*/ 139 w 187"/>
                <a:gd name="T43" fmla="*/ 13 h 188"/>
                <a:gd name="T44" fmla="*/ 122 w 187"/>
                <a:gd name="T45" fmla="*/ 5 h 188"/>
                <a:gd name="T46" fmla="*/ 103 w 187"/>
                <a:gd name="T47" fmla="*/ 2 h 188"/>
                <a:gd name="T48" fmla="*/ 85 w 187"/>
                <a:gd name="T49" fmla="*/ 2 h 188"/>
                <a:gd name="T50" fmla="*/ 66 w 187"/>
                <a:gd name="T51" fmla="*/ 5 h 188"/>
                <a:gd name="T52" fmla="*/ 49 w 187"/>
                <a:gd name="T53" fmla="*/ 13 h 188"/>
                <a:gd name="T54" fmla="*/ 34 w 187"/>
                <a:gd name="T55" fmla="*/ 23 h 188"/>
                <a:gd name="T56" fmla="*/ 22 w 187"/>
                <a:gd name="T57" fmla="*/ 35 h 188"/>
                <a:gd name="T58" fmla="*/ 12 w 187"/>
                <a:gd name="T59" fmla="*/ 50 h 188"/>
                <a:gd name="T60" fmla="*/ 4 w 187"/>
                <a:gd name="T61" fmla="*/ 67 h 188"/>
                <a:gd name="T62" fmla="*/ 1 w 187"/>
                <a:gd name="T63" fmla="*/ 8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7" h="188">
                  <a:moveTo>
                    <a:pt x="0" y="94"/>
                  </a:moveTo>
                  <a:lnTo>
                    <a:pt x="1" y="104"/>
                  </a:lnTo>
                  <a:lnTo>
                    <a:pt x="2" y="113"/>
                  </a:lnTo>
                  <a:lnTo>
                    <a:pt x="4" y="122"/>
                  </a:lnTo>
                  <a:lnTo>
                    <a:pt x="7" y="131"/>
                  </a:lnTo>
                  <a:lnTo>
                    <a:pt x="12" y="140"/>
                  </a:lnTo>
                  <a:lnTo>
                    <a:pt x="16" y="147"/>
                  </a:lnTo>
                  <a:lnTo>
                    <a:pt x="22" y="154"/>
                  </a:lnTo>
                  <a:lnTo>
                    <a:pt x="27" y="161"/>
                  </a:lnTo>
                  <a:lnTo>
                    <a:pt x="34" y="167"/>
                  </a:lnTo>
                  <a:lnTo>
                    <a:pt x="42" y="172"/>
                  </a:lnTo>
                  <a:lnTo>
                    <a:pt x="49" y="177"/>
                  </a:lnTo>
                  <a:lnTo>
                    <a:pt x="57" y="180"/>
                  </a:lnTo>
                  <a:lnTo>
                    <a:pt x="66" y="184"/>
                  </a:lnTo>
                  <a:lnTo>
                    <a:pt x="75" y="186"/>
                  </a:lnTo>
                  <a:lnTo>
                    <a:pt x="85" y="188"/>
                  </a:lnTo>
                  <a:lnTo>
                    <a:pt x="94" y="188"/>
                  </a:lnTo>
                  <a:lnTo>
                    <a:pt x="103" y="188"/>
                  </a:lnTo>
                  <a:lnTo>
                    <a:pt x="112" y="186"/>
                  </a:lnTo>
                  <a:lnTo>
                    <a:pt x="122" y="184"/>
                  </a:lnTo>
                  <a:lnTo>
                    <a:pt x="130" y="180"/>
                  </a:lnTo>
                  <a:lnTo>
                    <a:pt x="139" y="177"/>
                  </a:lnTo>
                  <a:lnTo>
                    <a:pt x="147" y="172"/>
                  </a:lnTo>
                  <a:lnTo>
                    <a:pt x="153" y="167"/>
                  </a:lnTo>
                  <a:lnTo>
                    <a:pt x="160" y="161"/>
                  </a:lnTo>
                  <a:lnTo>
                    <a:pt x="166" y="154"/>
                  </a:lnTo>
                  <a:lnTo>
                    <a:pt x="172" y="147"/>
                  </a:lnTo>
                  <a:lnTo>
                    <a:pt x="176" y="140"/>
                  </a:lnTo>
                  <a:lnTo>
                    <a:pt x="181" y="131"/>
                  </a:lnTo>
                  <a:lnTo>
                    <a:pt x="183" y="122"/>
                  </a:lnTo>
                  <a:lnTo>
                    <a:pt x="185" y="113"/>
                  </a:lnTo>
                  <a:lnTo>
                    <a:pt x="187" y="104"/>
                  </a:lnTo>
                  <a:lnTo>
                    <a:pt x="187" y="94"/>
                  </a:lnTo>
                  <a:lnTo>
                    <a:pt x="187" y="84"/>
                  </a:lnTo>
                  <a:lnTo>
                    <a:pt x="185" y="76"/>
                  </a:lnTo>
                  <a:lnTo>
                    <a:pt x="183" y="67"/>
                  </a:lnTo>
                  <a:lnTo>
                    <a:pt x="181" y="58"/>
                  </a:lnTo>
                  <a:lnTo>
                    <a:pt x="176" y="50"/>
                  </a:lnTo>
                  <a:lnTo>
                    <a:pt x="172" y="42"/>
                  </a:lnTo>
                  <a:lnTo>
                    <a:pt x="166" y="35"/>
                  </a:lnTo>
                  <a:lnTo>
                    <a:pt x="160" y="28"/>
                  </a:lnTo>
                  <a:lnTo>
                    <a:pt x="153" y="23"/>
                  </a:lnTo>
                  <a:lnTo>
                    <a:pt x="147" y="17"/>
                  </a:lnTo>
                  <a:lnTo>
                    <a:pt x="139" y="13"/>
                  </a:lnTo>
                  <a:lnTo>
                    <a:pt x="130" y="8"/>
                  </a:lnTo>
                  <a:lnTo>
                    <a:pt x="122" y="5"/>
                  </a:lnTo>
                  <a:lnTo>
                    <a:pt x="112" y="3"/>
                  </a:lnTo>
                  <a:lnTo>
                    <a:pt x="103" y="2"/>
                  </a:lnTo>
                  <a:lnTo>
                    <a:pt x="94" y="0"/>
                  </a:lnTo>
                  <a:lnTo>
                    <a:pt x="85" y="2"/>
                  </a:lnTo>
                  <a:lnTo>
                    <a:pt x="75" y="3"/>
                  </a:lnTo>
                  <a:lnTo>
                    <a:pt x="66" y="5"/>
                  </a:lnTo>
                  <a:lnTo>
                    <a:pt x="57" y="8"/>
                  </a:lnTo>
                  <a:lnTo>
                    <a:pt x="49" y="13"/>
                  </a:lnTo>
                  <a:lnTo>
                    <a:pt x="42" y="17"/>
                  </a:lnTo>
                  <a:lnTo>
                    <a:pt x="34" y="23"/>
                  </a:lnTo>
                  <a:lnTo>
                    <a:pt x="27" y="28"/>
                  </a:lnTo>
                  <a:lnTo>
                    <a:pt x="22" y="35"/>
                  </a:lnTo>
                  <a:lnTo>
                    <a:pt x="16" y="42"/>
                  </a:lnTo>
                  <a:lnTo>
                    <a:pt x="12" y="50"/>
                  </a:lnTo>
                  <a:lnTo>
                    <a:pt x="7" y="58"/>
                  </a:lnTo>
                  <a:lnTo>
                    <a:pt x="4" y="67"/>
                  </a:lnTo>
                  <a:lnTo>
                    <a:pt x="2" y="76"/>
                  </a:lnTo>
                  <a:lnTo>
                    <a:pt x="1" y="84"/>
                  </a:lnTo>
                  <a:lnTo>
                    <a:pt x="0" y="94"/>
                  </a:lnTo>
                  <a:close/>
                </a:path>
              </a:pathLst>
            </a:custGeom>
            <a:solidFill>
              <a:srgbClr val="9AD8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06" name="Freeform 63">
              <a:extLst>
                <a:ext uri="{FF2B5EF4-FFF2-40B4-BE49-F238E27FC236}">
                  <a16:creationId xmlns:a16="http://schemas.microsoft.com/office/drawing/2014/main" id="{FA581510-A6D1-6045-0FD0-A250A2B798F7}"/>
                </a:ext>
              </a:extLst>
            </p:cNvPr>
            <p:cNvSpPr>
              <a:spLocks/>
            </p:cNvSpPr>
            <p:nvPr/>
          </p:nvSpPr>
          <p:spPr bwMode="auto">
            <a:xfrm>
              <a:off x="9703997" y="2251713"/>
              <a:ext cx="43231" cy="54138"/>
            </a:xfrm>
            <a:custGeom>
              <a:avLst/>
              <a:gdLst>
                <a:gd name="T0" fmla="*/ 60 w 154"/>
                <a:gd name="T1" fmla="*/ 0 h 181"/>
                <a:gd name="T2" fmla="*/ 54 w 154"/>
                <a:gd name="T3" fmla="*/ 7 h 181"/>
                <a:gd name="T4" fmla="*/ 47 w 154"/>
                <a:gd name="T5" fmla="*/ 14 h 181"/>
                <a:gd name="T6" fmla="*/ 42 w 154"/>
                <a:gd name="T7" fmla="*/ 23 h 181"/>
                <a:gd name="T8" fmla="*/ 36 w 154"/>
                <a:gd name="T9" fmla="*/ 31 h 181"/>
                <a:gd name="T10" fmla="*/ 33 w 154"/>
                <a:gd name="T11" fmla="*/ 41 h 181"/>
                <a:gd name="T12" fmla="*/ 29 w 154"/>
                <a:gd name="T13" fmla="*/ 50 h 181"/>
                <a:gd name="T14" fmla="*/ 28 w 154"/>
                <a:gd name="T15" fmla="*/ 61 h 181"/>
                <a:gd name="T16" fmla="*/ 27 w 154"/>
                <a:gd name="T17" fmla="*/ 71 h 181"/>
                <a:gd name="T18" fmla="*/ 27 w 154"/>
                <a:gd name="T19" fmla="*/ 81 h 181"/>
                <a:gd name="T20" fmla="*/ 29 w 154"/>
                <a:gd name="T21" fmla="*/ 90 h 181"/>
                <a:gd name="T22" fmla="*/ 32 w 154"/>
                <a:gd name="T23" fmla="*/ 98 h 181"/>
                <a:gd name="T24" fmla="*/ 35 w 154"/>
                <a:gd name="T25" fmla="*/ 107 h 181"/>
                <a:gd name="T26" fmla="*/ 38 w 154"/>
                <a:gd name="T27" fmla="*/ 116 h 181"/>
                <a:gd name="T28" fmla="*/ 43 w 154"/>
                <a:gd name="T29" fmla="*/ 124 h 181"/>
                <a:gd name="T30" fmla="*/ 48 w 154"/>
                <a:gd name="T31" fmla="*/ 130 h 181"/>
                <a:gd name="T32" fmla="*/ 55 w 154"/>
                <a:gd name="T33" fmla="*/ 137 h 181"/>
                <a:gd name="T34" fmla="*/ 61 w 154"/>
                <a:gd name="T35" fmla="*/ 144 h 181"/>
                <a:gd name="T36" fmla="*/ 68 w 154"/>
                <a:gd name="T37" fmla="*/ 148 h 181"/>
                <a:gd name="T38" fmla="*/ 76 w 154"/>
                <a:gd name="T39" fmla="*/ 154 h 181"/>
                <a:gd name="T40" fmla="*/ 85 w 154"/>
                <a:gd name="T41" fmla="*/ 157 h 181"/>
                <a:gd name="T42" fmla="*/ 94 w 154"/>
                <a:gd name="T43" fmla="*/ 160 h 181"/>
                <a:gd name="T44" fmla="*/ 102 w 154"/>
                <a:gd name="T45" fmla="*/ 162 h 181"/>
                <a:gd name="T46" fmla="*/ 111 w 154"/>
                <a:gd name="T47" fmla="*/ 165 h 181"/>
                <a:gd name="T48" fmla="*/ 121 w 154"/>
                <a:gd name="T49" fmla="*/ 165 h 181"/>
                <a:gd name="T50" fmla="*/ 130 w 154"/>
                <a:gd name="T51" fmla="*/ 164 h 181"/>
                <a:gd name="T52" fmla="*/ 138 w 154"/>
                <a:gd name="T53" fmla="*/ 162 h 181"/>
                <a:gd name="T54" fmla="*/ 147 w 154"/>
                <a:gd name="T55" fmla="*/ 160 h 181"/>
                <a:gd name="T56" fmla="*/ 154 w 154"/>
                <a:gd name="T57" fmla="*/ 158 h 181"/>
                <a:gd name="T58" fmla="*/ 148 w 154"/>
                <a:gd name="T59" fmla="*/ 162 h 181"/>
                <a:gd name="T60" fmla="*/ 141 w 154"/>
                <a:gd name="T61" fmla="*/ 167 h 181"/>
                <a:gd name="T62" fmla="*/ 134 w 154"/>
                <a:gd name="T63" fmla="*/ 171 h 181"/>
                <a:gd name="T64" fmla="*/ 127 w 154"/>
                <a:gd name="T65" fmla="*/ 175 h 181"/>
                <a:gd name="T66" fmla="*/ 119 w 154"/>
                <a:gd name="T67" fmla="*/ 178 h 181"/>
                <a:gd name="T68" fmla="*/ 111 w 154"/>
                <a:gd name="T69" fmla="*/ 179 h 181"/>
                <a:gd name="T70" fmla="*/ 102 w 154"/>
                <a:gd name="T71" fmla="*/ 181 h 181"/>
                <a:gd name="T72" fmla="*/ 94 w 154"/>
                <a:gd name="T73" fmla="*/ 181 h 181"/>
                <a:gd name="T74" fmla="*/ 85 w 154"/>
                <a:gd name="T75" fmla="*/ 181 h 181"/>
                <a:gd name="T76" fmla="*/ 75 w 154"/>
                <a:gd name="T77" fmla="*/ 179 h 181"/>
                <a:gd name="T78" fmla="*/ 66 w 154"/>
                <a:gd name="T79" fmla="*/ 177 h 181"/>
                <a:gd name="T80" fmla="*/ 57 w 154"/>
                <a:gd name="T81" fmla="*/ 173 h 181"/>
                <a:gd name="T82" fmla="*/ 49 w 154"/>
                <a:gd name="T83" fmla="*/ 170 h 181"/>
                <a:gd name="T84" fmla="*/ 42 w 154"/>
                <a:gd name="T85" fmla="*/ 165 h 181"/>
                <a:gd name="T86" fmla="*/ 34 w 154"/>
                <a:gd name="T87" fmla="*/ 160 h 181"/>
                <a:gd name="T88" fmla="*/ 27 w 154"/>
                <a:gd name="T89" fmla="*/ 154 h 181"/>
                <a:gd name="T90" fmla="*/ 22 w 154"/>
                <a:gd name="T91" fmla="*/ 147 h 181"/>
                <a:gd name="T92" fmla="*/ 16 w 154"/>
                <a:gd name="T93" fmla="*/ 140 h 181"/>
                <a:gd name="T94" fmla="*/ 12 w 154"/>
                <a:gd name="T95" fmla="*/ 133 h 181"/>
                <a:gd name="T96" fmla="*/ 7 w 154"/>
                <a:gd name="T97" fmla="*/ 124 h 181"/>
                <a:gd name="T98" fmla="*/ 4 w 154"/>
                <a:gd name="T99" fmla="*/ 115 h 181"/>
                <a:gd name="T100" fmla="*/ 2 w 154"/>
                <a:gd name="T101" fmla="*/ 106 h 181"/>
                <a:gd name="T102" fmla="*/ 1 w 154"/>
                <a:gd name="T103" fmla="*/ 97 h 181"/>
                <a:gd name="T104" fmla="*/ 0 w 154"/>
                <a:gd name="T105" fmla="*/ 87 h 181"/>
                <a:gd name="T106" fmla="*/ 1 w 154"/>
                <a:gd name="T107" fmla="*/ 80 h 181"/>
                <a:gd name="T108" fmla="*/ 2 w 154"/>
                <a:gd name="T109" fmla="*/ 73 h 181"/>
                <a:gd name="T110" fmla="*/ 3 w 154"/>
                <a:gd name="T111" fmla="*/ 65 h 181"/>
                <a:gd name="T112" fmla="*/ 5 w 154"/>
                <a:gd name="T113" fmla="*/ 59 h 181"/>
                <a:gd name="T114" fmla="*/ 10 w 154"/>
                <a:gd name="T115" fmla="*/ 45 h 181"/>
                <a:gd name="T116" fmla="*/ 17 w 154"/>
                <a:gd name="T117" fmla="*/ 34 h 181"/>
                <a:gd name="T118" fmla="*/ 26 w 154"/>
                <a:gd name="T119" fmla="*/ 23 h 181"/>
                <a:gd name="T120" fmla="*/ 36 w 154"/>
                <a:gd name="T121" fmla="*/ 14 h 181"/>
                <a:gd name="T122" fmla="*/ 48 w 154"/>
                <a:gd name="T123" fmla="*/ 7 h 181"/>
                <a:gd name="T124" fmla="*/ 60 w 154"/>
                <a:gd name="T1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181">
                  <a:moveTo>
                    <a:pt x="60" y="0"/>
                  </a:moveTo>
                  <a:lnTo>
                    <a:pt x="54" y="7"/>
                  </a:lnTo>
                  <a:lnTo>
                    <a:pt x="47" y="14"/>
                  </a:lnTo>
                  <a:lnTo>
                    <a:pt x="42" y="23"/>
                  </a:lnTo>
                  <a:lnTo>
                    <a:pt x="36" y="31"/>
                  </a:lnTo>
                  <a:lnTo>
                    <a:pt x="33" y="41"/>
                  </a:lnTo>
                  <a:lnTo>
                    <a:pt x="29" y="50"/>
                  </a:lnTo>
                  <a:lnTo>
                    <a:pt x="28" y="61"/>
                  </a:lnTo>
                  <a:lnTo>
                    <a:pt x="27" y="71"/>
                  </a:lnTo>
                  <a:lnTo>
                    <a:pt x="27" y="81"/>
                  </a:lnTo>
                  <a:lnTo>
                    <a:pt x="29" y="90"/>
                  </a:lnTo>
                  <a:lnTo>
                    <a:pt x="32" y="98"/>
                  </a:lnTo>
                  <a:lnTo>
                    <a:pt x="35" y="107"/>
                  </a:lnTo>
                  <a:lnTo>
                    <a:pt x="38" y="116"/>
                  </a:lnTo>
                  <a:lnTo>
                    <a:pt x="43" y="124"/>
                  </a:lnTo>
                  <a:lnTo>
                    <a:pt x="48" y="130"/>
                  </a:lnTo>
                  <a:lnTo>
                    <a:pt x="55" y="137"/>
                  </a:lnTo>
                  <a:lnTo>
                    <a:pt x="61" y="144"/>
                  </a:lnTo>
                  <a:lnTo>
                    <a:pt x="68" y="148"/>
                  </a:lnTo>
                  <a:lnTo>
                    <a:pt x="76" y="154"/>
                  </a:lnTo>
                  <a:lnTo>
                    <a:pt x="85" y="157"/>
                  </a:lnTo>
                  <a:lnTo>
                    <a:pt x="94" y="160"/>
                  </a:lnTo>
                  <a:lnTo>
                    <a:pt x="102" y="162"/>
                  </a:lnTo>
                  <a:lnTo>
                    <a:pt x="111" y="165"/>
                  </a:lnTo>
                  <a:lnTo>
                    <a:pt x="121" y="165"/>
                  </a:lnTo>
                  <a:lnTo>
                    <a:pt x="130" y="164"/>
                  </a:lnTo>
                  <a:lnTo>
                    <a:pt x="138" y="162"/>
                  </a:lnTo>
                  <a:lnTo>
                    <a:pt x="147" y="160"/>
                  </a:lnTo>
                  <a:lnTo>
                    <a:pt x="154" y="158"/>
                  </a:lnTo>
                  <a:lnTo>
                    <a:pt x="148" y="162"/>
                  </a:lnTo>
                  <a:lnTo>
                    <a:pt x="141" y="167"/>
                  </a:lnTo>
                  <a:lnTo>
                    <a:pt x="134" y="171"/>
                  </a:lnTo>
                  <a:lnTo>
                    <a:pt x="127" y="175"/>
                  </a:lnTo>
                  <a:lnTo>
                    <a:pt x="119" y="178"/>
                  </a:lnTo>
                  <a:lnTo>
                    <a:pt x="111" y="179"/>
                  </a:lnTo>
                  <a:lnTo>
                    <a:pt x="102" y="181"/>
                  </a:lnTo>
                  <a:lnTo>
                    <a:pt x="94" y="181"/>
                  </a:lnTo>
                  <a:lnTo>
                    <a:pt x="85" y="181"/>
                  </a:lnTo>
                  <a:lnTo>
                    <a:pt x="75" y="179"/>
                  </a:lnTo>
                  <a:lnTo>
                    <a:pt x="66" y="177"/>
                  </a:lnTo>
                  <a:lnTo>
                    <a:pt x="57" y="173"/>
                  </a:lnTo>
                  <a:lnTo>
                    <a:pt x="49" y="170"/>
                  </a:lnTo>
                  <a:lnTo>
                    <a:pt x="42" y="165"/>
                  </a:lnTo>
                  <a:lnTo>
                    <a:pt x="34" y="160"/>
                  </a:lnTo>
                  <a:lnTo>
                    <a:pt x="27" y="154"/>
                  </a:lnTo>
                  <a:lnTo>
                    <a:pt x="22" y="147"/>
                  </a:lnTo>
                  <a:lnTo>
                    <a:pt x="16" y="140"/>
                  </a:lnTo>
                  <a:lnTo>
                    <a:pt x="12" y="133"/>
                  </a:lnTo>
                  <a:lnTo>
                    <a:pt x="7" y="124"/>
                  </a:lnTo>
                  <a:lnTo>
                    <a:pt x="4" y="115"/>
                  </a:lnTo>
                  <a:lnTo>
                    <a:pt x="2" y="106"/>
                  </a:lnTo>
                  <a:lnTo>
                    <a:pt x="1" y="97"/>
                  </a:lnTo>
                  <a:lnTo>
                    <a:pt x="0" y="87"/>
                  </a:lnTo>
                  <a:lnTo>
                    <a:pt x="1" y="80"/>
                  </a:lnTo>
                  <a:lnTo>
                    <a:pt x="2" y="73"/>
                  </a:lnTo>
                  <a:lnTo>
                    <a:pt x="3" y="65"/>
                  </a:lnTo>
                  <a:lnTo>
                    <a:pt x="5" y="59"/>
                  </a:lnTo>
                  <a:lnTo>
                    <a:pt x="10" y="45"/>
                  </a:lnTo>
                  <a:lnTo>
                    <a:pt x="17" y="34"/>
                  </a:lnTo>
                  <a:lnTo>
                    <a:pt x="26" y="23"/>
                  </a:lnTo>
                  <a:lnTo>
                    <a:pt x="36" y="14"/>
                  </a:lnTo>
                  <a:lnTo>
                    <a:pt x="48" y="7"/>
                  </a:lnTo>
                  <a:lnTo>
                    <a:pt x="60" y="0"/>
                  </a:lnTo>
                  <a:close/>
                </a:path>
              </a:pathLst>
            </a:custGeom>
            <a:solidFill>
              <a:srgbClr val="72C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08" name="Freeform 64">
              <a:extLst>
                <a:ext uri="{FF2B5EF4-FFF2-40B4-BE49-F238E27FC236}">
                  <a16:creationId xmlns:a16="http://schemas.microsoft.com/office/drawing/2014/main" id="{06C2DCB7-7F72-436B-0048-1FC22FFCAC5A}"/>
                </a:ext>
              </a:extLst>
            </p:cNvPr>
            <p:cNvSpPr>
              <a:spLocks/>
            </p:cNvSpPr>
            <p:nvPr/>
          </p:nvSpPr>
          <p:spPr bwMode="auto">
            <a:xfrm>
              <a:off x="9648216" y="3275825"/>
              <a:ext cx="163160" cy="49626"/>
            </a:xfrm>
            <a:custGeom>
              <a:avLst/>
              <a:gdLst>
                <a:gd name="T0" fmla="*/ 0 w 583"/>
                <a:gd name="T1" fmla="*/ 164 h 164"/>
                <a:gd name="T2" fmla="*/ 0 w 583"/>
                <a:gd name="T3" fmla="*/ 155 h 164"/>
                <a:gd name="T4" fmla="*/ 2 w 583"/>
                <a:gd name="T5" fmla="*/ 147 h 164"/>
                <a:gd name="T6" fmla="*/ 3 w 583"/>
                <a:gd name="T7" fmla="*/ 138 h 164"/>
                <a:gd name="T8" fmla="*/ 6 w 583"/>
                <a:gd name="T9" fmla="*/ 130 h 164"/>
                <a:gd name="T10" fmla="*/ 9 w 583"/>
                <a:gd name="T11" fmla="*/ 123 h 164"/>
                <a:gd name="T12" fmla="*/ 13 w 583"/>
                <a:gd name="T13" fmla="*/ 115 h 164"/>
                <a:gd name="T14" fmla="*/ 17 w 583"/>
                <a:gd name="T15" fmla="*/ 107 h 164"/>
                <a:gd name="T16" fmla="*/ 23 w 583"/>
                <a:gd name="T17" fmla="*/ 99 h 164"/>
                <a:gd name="T18" fmla="*/ 28 w 583"/>
                <a:gd name="T19" fmla="*/ 93 h 164"/>
                <a:gd name="T20" fmla="*/ 35 w 583"/>
                <a:gd name="T21" fmla="*/ 86 h 164"/>
                <a:gd name="T22" fmla="*/ 42 w 583"/>
                <a:gd name="T23" fmla="*/ 79 h 164"/>
                <a:gd name="T24" fmla="*/ 49 w 583"/>
                <a:gd name="T25" fmla="*/ 72 h 164"/>
                <a:gd name="T26" fmla="*/ 66 w 583"/>
                <a:gd name="T27" fmla="*/ 60 h 164"/>
                <a:gd name="T28" fmla="*/ 85 w 583"/>
                <a:gd name="T29" fmla="*/ 49 h 164"/>
                <a:gd name="T30" fmla="*/ 106 w 583"/>
                <a:gd name="T31" fmla="*/ 38 h 164"/>
                <a:gd name="T32" fmla="*/ 128 w 583"/>
                <a:gd name="T33" fmla="*/ 28 h 164"/>
                <a:gd name="T34" fmla="*/ 152 w 583"/>
                <a:gd name="T35" fmla="*/ 20 h 164"/>
                <a:gd name="T36" fmla="*/ 178 w 583"/>
                <a:gd name="T37" fmla="*/ 13 h 164"/>
                <a:gd name="T38" fmla="*/ 204 w 583"/>
                <a:gd name="T39" fmla="*/ 8 h 164"/>
                <a:gd name="T40" fmla="*/ 233 w 583"/>
                <a:gd name="T41" fmla="*/ 3 h 164"/>
                <a:gd name="T42" fmla="*/ 261 w 583"/>
                <a:gd name="T43" fmla="*/ 1 h 164"/>
                <a:gd name="T44" fmla="*/ 291 w 583"/>
                <a:gd name="T45" fmla="*/ 0 h 164"/>
                <a:gd name="T46" fmla="*/ 321 w 583"/>
                <a:gd name="T47" fmla="*/ 1 h 164"/>
                <a:gd name="T48" fmla="*/ 350 w 583"/>
                <a:gd name="T49" fmla="*/ 3 h 164"/>
                <a:gd name="T50" fmla="*/ 377 w 583"/>
                <a:gd name="T51" fmla="*/ 8 h 164"/>
                <a:gd name="T52" fmla="*/ 404 w 583"/>
                <a:gd name="T53" fmla="*/ 13 h 164"/>
                <a:gd name="T54" fmla="*/ 430 w 583"/>
                <a:gd name="T55" fmla="*/ 20 h 164"/>
                <a:gd name="T56" fmla="*/ 454 w 583"/>
                <a:gd name="T57" fmla="*/ 28 h 164"/>
                <a:gd name="T58" fmla="*/ 477 w 583"/>
                <a:gd name="T59" fmla="*/ 38 h 164"/>
                <a:gd name="T60" fmla="*/ 497 w 583"/>
                <a:gd name="T61" fmla="*/ 49 h 164"/>
                <a:gd name="T62" fmla="*/ 515 w 583"/>
                <a:gd name="T63" fmla="*/ 60 h 164"/>
                <a:gd name="T64" fmla="*/ 533 w 583"/>
                <a:gd name="T65" fmla="*/ 72 h 164"/>
                <a:gd name="T66" fmla="*/ 540 w 583"/>
                <a:gd name="T67" fmla="*/ 79 h 164"/>
                <a:gd name="T68" fmla="*/ 548 w 583"/>
                <a:gd name="T69" fmla="*/ 86 h 164"/>
                <a:gd name="T70" fmla="*/ 554 w 583"/>
                <a:gd name="T71" fmla="*/ 93 h 164"/>
                <a:gd name="T72" fmla="*/ 560 w 583"/>
                <a:gd name="T73" fmla="*/ 99 h 164"/>
                <a:gd name="T74" fmla="*/ 565 w 583"/>
                <a:gd name="T75" fmla="*/ 107 h 164"/>
                <a:gd name="T76" fmla="*/ 570 w 583"/>
                <a:gd name="T77" fmla="*/ 115 h 164"/>
                <a:gd name="T78" fmla="*/ 573 w 583"/>
                <a:gd name="T79" fmla="*/ 123 h 164"/>
                <a:gd name="T80" fmla="*/ 576 w 583"/>
                <a:gd name="T81" fmla="*/ 130 h 164"/>
                <a:gd name="T82" fmla="*/ 580 w 583"/>
                <a:gd name="T83" fmla="*/ 138 h 164"/>
                <a:gd name="T84" fmla="*/ 581 w 583"/>
                <a:gd name="T85" fmla="*/ 147 h 164"/>
                <a:gd name="T86" fmla="*/ 582 w 583"/>
                <a:gd name="T87" fmla="*/ 155 h 164"/>
                <a:gd name="T88" fmla="*/ 583 w 583"/>
                <a:gd name="T89" fmla="*/ 164 h 164"/>
                <a:gd name="T90" fmla="*/ 0 w 583"/>
                <a:gd name="T9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3" h="164">
                  <a:moveTo>
                    <a:pt x="0" y="164"/>
                  </a:moveTo>
                  <a:lnTo>
                    <a:pt x="0" y="155"/>
                  </a:lnTo>
                  <a:lnTo>
                    <a:pt x="2" y="147"/>
                  </a:lnTo>
                  <a:lnTo>
                    <a:pt x="3" y="138"/>
                  </a:lnTo>
                  <a:lnTo>
                    <a:pt x="6" y="130"/>
                  </a:lnTo>
                  <a:lnTo>
                    <a:pt x="9" y="123"/>
                  </a:lnTo>
                  <a:lnTo>
                    <a:pt x="13" y="115"/>
                  </a:lnTo>
                  <a:lnTo>
                    <a:pt x="17" y="107"/>
                  </a:lnTo>
                  <a:lnTo>
                    <a:pt x="23" y="99"/>
                  </a:lnTo>
                  <a:lnTo>
                    <a:pt x="28" y="93"/>
                  </a:lnTo>
                  <a:lnTo>
                    <a:pt x="35" y="86"/>
                  </a:lnTo>
                  <a:lnTo>
                    <a:pt x="42" y="79"/>
                  </a:lnTo>
                  <a:lnTo>
                    <a:pt x="49" y="72"/>
                  </a:lnTo>
                  <a:lnTo>
                    <a:pt x="66" y="60"/>
                  </a:lnTo>
                  <a:lnTo>
                    <a:pt x="85" y="49"/>
                  </a:lnTo>
                  <a:lnTo>
                    <a:pt x="106" y="38"/>
                  </a:lnTo>
                  <a:lnTo>
                    <a:pt x="128" y="28"/>
                  </a:lnTo>
                  <a:lnTo>
                    <a:pt x="152" y="20"/>
                  </a:lnTo>
                  <a:lnTo>
                    <a:pt x="178" y="13"/>
                  </a:lnTo>
                  <a:lnTo>
                    <a:pt x="204" y="8"/>
                  </a:lnTo>
                  <a:lnTo>
                    <a:pt x="233" y="3"/>
                  </a:lnTo>
                  <a:lnTo>
                    <a:pt x="261" y="1"/>
                  </a:lnTo>
                  <a:lnTo>
                    <a:pt x="291" y="0"/>
                  </a:lnTo>
                  <a:lnTo>
                    <a:pt x="321" y="1"/>
                  </a:lnTo>
                  <a:lnTo>
                    <a:pt x="350" y="3"/>
                  </a:lnTo>
                  <a:lnTo>
                    <a:pt x="377" y="8"/>
                  </a:lnTo>
                  <a:lnTo>
                    <a:pt x="404" y="13"/>
                  </a:lnTo>
                  <a:lnTo>
                    <a:pt x="430" y="20"/>
                  </a:lnTo>
                  <a:lnTo>
                    <a:pt x="454" y="28"/>
                  </a:lnTo>
                  <a:lnTo>
                    <a:pt x="477" y="38"/>
                  </a:lnTo>
                  <a:lnTo>
                    <a:pt x="497" y="49"/>
                  </a:lnTo>
                  <a:lnTo>
                    <a:pt x="515" y="60"/>
                  </a:lnTo>
                  <a:lnTo>
                    <a:pt x="533" y="72"/>
                  </a:lnTo>
                  <a:lnTo>
                    <a:pt x="540" y="79"/>
                  </a:lnTo>
                  <a:lnTo>
                    <a:pt x="548" y="86"/>
                  </a:lnTo>
                  <a:lnTo>
                    <a:pt x="554" y="93"/>
                  </a:lnTo>
                  <a:lnTo>
                    <a:pt x="560" y="99"/>
                  </a:lnTo>
                  <a:lnTo>
                    <a:pt x="565" y="107"/>
                  </a:lnTo>
                  <a:lnTo>
                    <a:pt x="570" y="115"/>
                  </a:lnTo>
                  <a:lnTo>
                    <a:pt x="573" y="123"/>
                  </a:lnTo>
                  <a:lnTo>
                    <a:pt x="576" y="130"/>
                  </a:lnTo>
                  <a:lnTo>
                    <a:pt x="580" y="138"/>
                  </a:lnTo>
                  <a:lnTo>
                    <a:pt x="581" y="147"/>
                  </a:lnTo>
                  <a:lnTo>
                    <a:pt x="582" y="155"/>
                  </a:lnTo>
                  <a:lnTo>
                    <a:pt x="583" y="164"/>
                  </a:lnTo>
                  <a:lnTo>
                    <a:pt x="0" y="164"/>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09" name="Freeform 65">
              <a:extLst>
                <a:ext uri="{FF2B5EF4-FFF2-40B4-BE49-F238E27FC236}">
                  <a16:creationId xmlns:a16="http://schemas.microsoft.com/office/drawing/2014/main" id="{A344BAF5-A928-8941-EE44-F7023C10422A}"/>
                </a:ext>
              </a:extLst>
            </p:cNvPr>
            <p:cNvSpPr>
              <a:spLocks/>
            </p:cNvSpPr>
            <p:nvPr/>
          </p:nvSpPr>
          <p:spPr bwMode="auto">
            <a:xfrm>
              <a:off x="9648216" y="3275825"/>
              <a:ext cx="93434" cy="49626"/>
            </a:xfrm>
            <a:custGeom>
              <a:avLst/>
              <a:gdLst>
                <a:gd name="T0" fmla="*/ 291 w 335"/>
                <a:gd name="T1" fmla="*/ 0 h 164"/>
                <a:gd name="T2" fmla="*/ 302 w 335"/>
                <a:gd name="T3" fmla="*/ 0 h 164"/>
                <a:gd name="T4" fmla="*/ 313 w 335"/>
                <a:gd name="T5" fmla="*/ 1 h 164"/>
                <a:gd name="T6" fmla="*/ 324 w 335"/>
                <a:gd name="T7" fmla="*/ 1 h 164"/>
                <a:gd name="T8" fmla="*/ 335 w 335"/>
                <a:gd name="T9" fmla="*/ 2 h 164"/>
                <a:gd name="T10" fmla="*/ 310 w 335"/>
                <a:gd name="T11" fmla="*/ 6 h 164"/>
                <a:gd name="T12" fmla="*/ 285 w 335"/>
                <a:gd name="T13" fmla="*/ 10 h 164"/>
                <a:gd name="T14" fmla="*/ 261 w 335"/>
                <a:gd name="T15" fmla="*/ 14 h 164"/>
                <a:gd name="T16" fmla="*/ 238 w 335"/>
                <a:gd name="T17" fmla="*/ 21 h 164"/>
                <a:gd name="T18" fmla="*/ 216 w 335"/>
                <a:gd name="T19" fmla="*/ 29 h 164"/>
                <a:gd name="T20" fmla="*/ 196 w 335"/>
                <a:gd name="T21" fmla="*/ 38 h 164"/>
                <a:gd name="T22" fmla="*/ 178 w 335"/>
                <a:gd name="T23" fmla="*/ 47 h 164"/>
                <a:gd name="T24" fmla="*/ 160 w 335"/>
                <a:gd name="T25" fmla="*/ 56 h 164"/>
                <a:gd name="T26" fmla="*/ 144 w 335"/>
                <a:gd name="T27" fmla="*/ 69 h 164"/>
                <a:gd name="T28" fmla="*/ 130 w 335"/>
                <a:gd name="T29" fmla="*/ 80 h 164"/>
                <a:gd name="T30" fmla="*/ 118 w 335"/>
                <a:gd name="T31" fmla="*/ 93 h 164"/>
                <a:gd name="T32" fmla="*/ 108 w 335"/>
                <a:gd name="T33" fmla="*/ 106 h 164"/>
                <a:gd name="T34" fmla="*/ 100 w 335"/>
                <a:gd name="T35" fmla="*/ 119 h 164"/>
                <a:gd name="T36" fmla="*/ 94 w 335"/>
                <a:gd name="T37" fmla="*/ 134 h 164"/>
                <a:gd name="T38" fmla="*/ 91 w 335"/>
                <a:gd name="T39" fmla="*/ 141 h 164"/>
                <a:gd name="T40" fmla="*/ 90 w 335"/>
                <a:gd name="T41" fmla="*/ 148 h 164"/>
                <a:gd name="T42" fmla="*/ 89 w 335"/>
                <a:gd name="T43" fmla="*/ 156 h 164"/>
                <a:gd name="T44" fmla="*/ 89 w 335"/>
                <a:gd name="T45" fmla="*/ 164 h 164"/>
                <a:gd name="T46" fmla="*/ 0 w 335"/>
                <a:gd name="T47" fmla="*/ 164 h 164"/>
                <a:gd name="T48" fmla="*/ 0 w 335"/>
                <a:gd name="T49" fmla="*/ 155 h 164"/>
                <a:gd name="T50" fmla="*/ 2 w 335"/>
                <a:gd name="T51" fmla="*/ 147 h 164"/>
                <a:gd name="T52" fmla="*/ 3 w 335"/>
                <a:gd name="T53" fmla="*/ 138 h 164"/>
                <a:gd name="T54" fmla="*/ 6 w 335"/>
                <a:gd name="T55" fmla="*/ 130 h 164"/>
                <a:gd name="T56" fmla="*/ 9 w 335"/>
                <a:gd name="T57" fmla="*/ 123 h 164"/>
                <a:gd name="T58" fmla="*/ 13 w 335"/>
                <a:gd name="T59" fmla="*/ 115 h 164"/>
                <a:gd name="T60" fmla="*/ 17 w 335"/>
                <a:gd name="T61" fmla="*/ 107 h 164"/>
                <a:gd name="T62" fmla="*/ 23 w 335"/>
                <a:gd name="T63" fmla="*/ 99 h 164"/>
                <a:gd name="T64" fmla="*/ 28 w 335"/>
                <a:gd name="T65" fmla="*/ 93 h 164"/>
                <a:gd name="T66" fmla="*/ 35 w 335"/>
                <a:gd name="T67" fmla="*/ 86 h 164"/>
                <a:gd name="T68" fmla="*/ 42 w 335"/>
                <a:gd name="T69" fmla="*/ 79 h 164"/>
                <a:gd name="T70" fmla="*/ 49 w 335"/>
                <a:gd name="T71" fmla="*/ 72 h 164"/>
                <a:gd name="T72" fmla="*/ 66 w 335"/>
                <a:gd name="T73" fmla="*/ 60 h 164"/>
                <a:gd name="T74" fmla="*/ 85 w 335"/>
                <a:gd name="T75" fmla="*/ 49 h 164"/>
                <a:gd name="T76" fmla="*/ 106 w 335"/>
                <a:gd name="T77" fmla="*/ 38 h 164"/>
                <a:gd name="T78" fmla="*/ 128 w 335"/>
                <a:gd name="T79" fmla="*/ 28 h 164"/>
                <a:gd name="T80" fmla="*/ 152 w 335"/>
                <a:gd name="T81" fmla="*/ 20 h 164"/>
                <a:gd name="T82" fmla="*/ 178 w 335"/>
                <a:gd name="T83" fmla="*/ 13 h 164"/>
                <a:gd name="T84" fmla="*/ 204 w 335"/>
                <a:gd name="T85" fmla="*/ 8 h 164"/>
                <a:gd name="T86" fmla="*/ 233 w 335"/>
                <a:gd name="T87" fmla="*/ 3 h 164"/>
                <a:gd name="T88" fmla="*/ 261 w 335"/>
                <a:gd name="T89" fmla="*/ 1 h 164"/>
                <a:gd name="T90" fmla="*/ 291 w 335"/>
                <a:gd name="T9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5" h="164">
                  <a:moveTo>
                    <a:pt x="291" y="0"/>
                  </a:moveTo>
                  <a:lnTo>
                    <a:pt x="302" y="0"/>
                  </a:lnTo>
                  <a:lnTo>
                    <a:pt x="313" y="1"/>
                  </a:lnTo>
                  <a:lnTo>
                    <a:pt x="324" y="1"/>
                  </a:lnTo>
                  <a:lnTo>
                    <a:pt x="335" y="2"/>
                  </a:lnTo>
                  <a:lnTo>
                    <a:pt x="310" y="6"/>
                  </a:lnTo>
                  <a:lnTo>
                    <a:pt x="285" y="10"/>
                  </a:lnTo>
                  <a:lnTo>
                    <a:pt x="261" y="14"/>
                  </a:lnTo>
                  <a:lnTo>
                    <a:pt x="238" y="21"/>
                  </a:lnTo>
                  <a:lnTo>
                    <a:pt x="216" y="29"/>
                  </a:lnTo>
                  <a:lnTo>
                    <a:pt x="196" y="38"/>
                  </a:lnTo>
                  <a:lnTo>
                    <a:pt x="178" y="47"/>
                  </a:lnTo>
                  <a:lnTo>
                    <a:pt x="160" y="56"/>
                  </a:lnTo>
                  <a:lnTo>
                    <a:pt x="144" y="69"/>
                  </a:lnTo>
                  <a:lnTo>
                    <a:pt x="130" y="80"/>
                  </a:lnTo>
                  <a:lnTo>
                    <a:pt x="118" y="93"/>
                  </a:lnTo>
                  <a:lnTo>
                    <a:pt x="108" y="106"/>
                  </a:lnTo>
                  <a:lnTo>
                    <a:pt x="100" y="119"/>
                  </a:lnTo>
                  <a:lnTo>
                    <a:pt x="94" y="134"/>
                  </a:lnTo>
                  <a:lnTo>
                    <a:pt x="91" y="141"/>
                  </a:lnTo>
                  <a:lnTo>
                    <a:pt x="90" y="148"/>
                  </a:lnTo>
                  <a:lnTo>
                    <a:pt x="89" y="156"/>
                  </a:lnTo>
                  <a:lnTo>
                    <a:pt x="89" y="164"/>
                  </a:lnTo>
                  <a:lnTo>
                    <a:pt x="0" y="164"/>
                  </a:lnTo>
                  <a:lnTo>
                    <a:pt x="0" y="155"/>
                  </a:lnTo>
                  <a:lnTo>
                    <a:pt x="2" y="147"/>
                  </a:lnTo>
                  <a:lnTo>
                    <a:pt x="3" y="138"/>
                  </a:lnTo>
                  <a:lnTo>
                    <a:pt x="6" y="130"/>
                  </a:lnTo>
                  <a:lnTo>
                    <a:pt x="9" y="123"/>
                  </a:lnTo>
                  <a:lnTo>
                    <a:pt x="13" y="115"/>
                  </a:lnTo>
                  <a:lnTo>
                    <a:pt x="17" y="107"/>
                  </a:lnTo>
                  <a:lnTo>
                    <a:pt x="23" y="99"/>
                  </a:lnTo>
                  <a:lnTo>
                    <a:pt x="28" y="93"/>
                  </a:lnTo>
                  <a:lnTo>
                    <a:pt x="35" y="86"/>
                  </a:lnTo>
                  <a:lnTo>
                    <a:pt x="42" y="79"/>
                  </a:lnTo>
                  <a:lnTo>
                    <a:pt x="49" y="72"/>
                  </a:lnTo>
                  <a:lnTo>
                    <a:pt x="66" y="60"/>
                  </a:lnTo>
                  <a:lnTo>
                    <a:pt x="85" y="49"/>
                  </a:lnTo>
                  <a:lnTo>
                    <a:pt x="106" y="38"/>
                  </a:lnTo>
                  <a:lnTo>
                    <a:pt x="128" y="28"/>
                  </a:lnTo>
                  <a:lnTo>
                    <a:pt x="152" y="20"/>
                  </a:lnTo>
                  <a:lnTo>
                    <a:pt x="178" y="13"/>
                  </a:lnTo>
                  <a:lnTo>
                    <a:pt x="204" y="8"/>
                  </a:lnTo>
                  <a:lnTo>
                    <a:pt x="233" y="3"/>
                  </a:lnTo>
                  <a:lnTo>
                    <a:pt x="261" y="1"/>
                  </a:lnTo>
                  <a:lnTo>
                    <a:pt x="291"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0" name="Freeform 66">
              <a:extLst>
                <a:ext uri="{FF2B5EF4-FFF2-40B4-BE49-F238E27FC236}">
                  <a16:creationId xmlns:a16="http://schemas.microsoft.com/office/drawing/2014/main" id="{1B4093A1-6981-E479-EDAC-8B523490D572}"/>
                </a:ext>
              </a:extLst>
            </p:cNvPr>
            <p:cNvSpPr>
              <a:spLocks/>
            </p:cNvSpPr>
            <p:nvPr/>
          </p:nvSpPr>
          <p:spPr bwMode="auto">
            <a:xfrm>
              <a:off x="11636805" y="1129851"/>
              <a:ext cx="175710" cy="600030"/>
            </a:xfrm>
            <a:custGeom>
              <a:avLst/>
              <a:gdLst>
                <a:gd name="T0" fmla="*/ 632 w 632"/>
                <a:gd name="T1" fmla="*/ 0 h 1995"/>
                <a:gd name="T2" fmla="*/ 21 w 632"/>
                <a:gd name="T3" fmla="*/ 1995 h 1995"/>
                <a:gd name="T4" fmla="*/ 19 w 632"/>
                <a:gd name="T5" fmla="*/ 1981 h 1995"/>
                <a:gd name="T6" fmla="*/ 15 w 632"/>
                <a:gd name="T7" fmla="*/ 1939 h 1995"/>
                <a:gd name="T8" fmla="*/ 11 w 632"/>
                <a:gd name="T9" fmla="*/ 1908 h 1995"/>
                <a:gd name="T10" fmla="*/ 8 w 632"/>
                <a:gd name="T11" fmla="*/ 1871 h 1995"/>
                <a:gd name="T12" fmla="*/ 6 w 632"/>
                <a:gd name="T13" fmla="*/ 1831 h 1995"/>
                <a:gd name="T14" fmla="*/ 4 w 632"/>
                <a:gd name="T15" fmla="*/ 1783 h 1995"/>
                <a:gd name="T16" fmla="*/ 1 w 632"/>
                <a:gd name="T17" fmla="*/ 1731 h 1995"/>
                <a:gd name="T18" fmla="*/ 0 w 632"/>
                <a:gd name="T19" fmla="*/ 1675 h 1995"/>
                <a:gd name="T20" fmla="*/ 0 w 632"/>
                <a:gd name="T21" fmla="*/ 1615 h 1995"/>
                <a:gd name="T22" fmla="*/ 1 w 632"/>
                <a:gd name="T23" fmla="*/ 1551 h 1995"/>
                <a:gd name="T24" fmla="*/ 5 w 632"/>
                <a:gd name="T25" fmla="*/ 1483 h 1995"/>
                <a:gd name="T26" fmla="*/ 9 w 632"/>
                <a:gd name="T27" fmla="*/ 1412 h 1995"/>
                <a:gd name="T28" fmla="*/ 16 w 632"/>
                <a:gd name="T29" fmla="*/ 1339 h 1995"/>
                <a:gd name="T30" fmla="*/ 23 w 632"/>
                <a:gd name="T31" fmla="*/ 1263 h 1995"/>
                <a:gd name="T32" fmla="*/ 35 w 632"/>
                <a:gd name="T33" fmla="*/ 1186 h 1995"/>
                <a:gd name="T34" fmla="*/ 49 w 632"/>
                <a:gd name="T35" fmla="*/ 1106 h 1995"/>
                <a:gd name="T36" fmla="*/ 64 w 632"/>
                <a:gd name="T37" fmla="*/ 1025 h 1995"/>
                <a:gd name="T38" fmla="*/ 84 w 632"/>
                <a:gd name="T39" fmla="*/ 943 h 1995"/>
                <a:gd name="T40" fmla="*/ 106 w 632"/>
                <a:gd name="T41" fmla="*/ 860 h 1995"/>
                <a:gd name="T42" fmla="*/ 133 w 632"/>
                <a:gd name="T43" fmla="*/ 777 h 1995"/>
                <a:gd name="T44" fmla="*/ 163 w 632"/>
                <a:gd name="T45" fmla="*/ 694 h 1995"/>
                <a:gd name="T46" fmla="*/ 196 w 632"/>
                <a:gd name="T47" fmla="*/ 611 h 1995"/>
                <a:gd name="T48" fmla="*/ 233 w 632"/>
                <a:gd name="T49" fmla="*/ 529 h 1995"/>
                <a:gd name="T50" fmla="*/ 275 w 632"/>
                <a:gd name="T51" fmla="*/ 447 h 1995"/>
                <a:gd name="T52" fmla="*/ 323 w 632"/>
                <a:gd name="T53" fmla="*/ 368 h 1995"/>
                <a:gd name="T54" fmla="*/ 374 w 632"/>
                <a:gd name="T55" fmla="*/ 289 h 1995"/>
                <a:gd name="T56" fmla="*/ 430 w 632"/>
                <a:gd name="T57" fmla="*/ 213 h 1995"/>
                <a:gd name="T58" fmla="*/ 492 w 632"/>
                <a:gd name="T59" fmla="*/ 139 h 1995"/>
                <a:gd name="T60" fmla="*/ 559 w 632"/>
                <a:gd name="T61" fmla="*/ 68 h 1995"/>
                <a:gd name="T62" fmla="*/ 632 w 632"/>
                <a:gd name="T63" fmla="*/ 0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2" h="1995">
                  <a:moveTo>
                    <a:pt x="632" y="0"/>
                  </a:moveTo>
                  <a:lnTo>
                    <a:pt x="21" y="1995"/>
                  </a:lnTo>
                  <a:lnTo>
                    <a:pt x="19" y="1981"/>
                  </a:lnTo>
                  <a:lnTo>
                    <a:pt x="15" y="1939"/>
                  </a:lnTo>
                  <a:lnTo>
                    <a:pt x="11" y="1908"/>
                  </a:lnTo>
                  <a:lnTo>
                    <a:pt x="8" y="1871"/>
                  </a:lnTo>
                  <a:lnTo>
                    <a:pt x="6" y="1831"/>
                  </a:lnTo>
                  <a:lnTo>
                    <a:pt x="4" y="1783"/>
                  </a:lnTo>
                  <a:lnTo>
                    <a:pt x="1" y="1731"/>
                  </a:lnTo>
                  <a:lnTo>
                    <a:pt x="0" y="1675"/>
                  </a:lnTo>
                  <a:lnTo>
                    <a:pt x="0" y="1615"/>
                  </a:lnTo>
                  <a:lnTo>
                    <a:pt x="1" y="1551"/>
                  </a:lnTo>
                  <a:lnTo>
                    <a:pt x="5" y="1483"/>
                  </a:lnTo>
                  <a:lnTo>
                    <a:pt x="9" y="1412"/>
                  </a:lnTo>
                  <a:lnTo>
                    <a:pt x="16" y="1339"/>
                  </a:lnTo>
                  <a:lnTo>
                    <a:pt x="23" y="1263"/>
                  </a:lnTo>
                  <a:lnTo>
                    <a:pt x="35" y="1186"/>
                  </a:lnTo>
                  <a:lnTo>
                    <a:pt x="49" y="1106"/>
                  </a:lnTo>
                  <a:lnTo>
                    <a:pt x="64" y="1025"/>
                  </a:lnTo>
                  <a:lnTo>
                    <a:pt x="84" y="943"/>
                  </a:lnTo>
                  <a:lnTo>
                    <a:pt x="106" y="860"/>
                  </a:lnTo>
                  <a:lnTo>
                    <a:pt x="133" y="777"/>
                  </a:lnTo>
                  <a:lnTo>
                    <a:pt x="163" y="694"/>
                  </a:lnTo>
                  <a:lnTo>
                    <a:pt x="196" y="611"/>
                  </a:lnTo>
                  <a:lnTo>
                    <a:pt x="233" y="529"/>
                  </a:lnTo>
                  <a:lnTo>
                    <a:pt x="275" y="447"/>
                  </a:lnTo>
                  <a:lnTo>
                    <a:pt x="323" y="368"/>
                  </a:lnTo>
                  <a:lnTo>
                    <a:pt x="374" y="289"/>
                  </a:lnTo>
                  <a:lnTo>
                    <a:pt x="430" y="213"/>
                  </a:lnTo>
                  <a:lnTo>
                    <a:pt x="492" y="139"/>
                  </a:lnTo>
                  <a:lnTo>
                    <a:pt x="559" y="68"/>
                  </a:lnTo>
                  <a:lnTo>
                    <a:pt x="632"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1" name="Freeform 67">
              <a:extLst>
                <a:ext uri="{FF2B5EF4-FFF2-40B4-BE49-F238E27FC236}">
                  <a16:creationId xmlns:a16="http://schemas.microsoft.com/office/drawing/2014/main" id="{74E3F51B-E5E4-AD43-FA31-C43DE2CF0077}"/>
                </a:ext>
              </a:extLst>
            </p:cNvPr>
            <p:cNvSpPr>
              <a:spLocks/>
            </p:cNvSpPr>
            <p:nvPr/>
          </p:nvSpPr>
          <p:spPr bwMode="auto">
            <a:xfrm>
              <a:off x="11642383" y="1129851"/>
              <a:ext cx="184077" cy="600030"/>
            </a:xfrm>
            <a:custGeom>
              <a:avLst/>
              <a:gdLst>
                <a:gd name="T0" fmla="*/ 611 w 663"/>
                <a:gd name="T1" fmla="*/ 0 h 1995"/>
                <a:gd name="T2" fmla="*/ 0 w 663"/>
                <a:gd name="T3" fmla="*/ 1995 h 1995"/>
                <a:gd name="T4" fmla="*/ 10 w 663"/>
                <a:gd name="T5" fmla="*/ 1984 h 1995"/>
                <a:gd name="T6" fmla="*/ 38 w 663"/>
                <a:gd name="T7" fmla="*/ 1952 h 1995"/>
                <a:gd name="T8" fmla="*/ 57 w 663"/>
                <a:gd name="T9" fmla="*/ 1929 h 1995"/>
                <a:gd name="T10" fmla="*/ 80 w 663"/>
                <a:gd name="T11" fmla="*/ 1900 h 1995"/>
                <a:gd name="T12" fmla="*/ 105 w 663"/>
                <a:gd name="T13" fmla="*/ 1867 h 1995"/>
                <a:gd name="T14" fmla="*/ 134 w 663"/>
                <a:gd name="T15" fmla="*/ 1830 h 1995"/>
                <a:gd name="T16" fmla="*/ 165 w 663"/>
                <a:gd name="T17" fmla="*/ 1788 h 1995"/>
                <a:gd name="T18" fmla="*/ 197 w 663"/>
                <a:gd name="T19" fmla="*/ 1741 h 1995"/>
                <a:gd name="T20" fmla="*/ 230 w 663"/>
                <a:gd name="T21" fmla="*/ 1692 h 1995"/>
                <a:gd name="T22" fmla="*/ 265 w 663"/>
                <a:gd name="T23" fmla="*/ 1637 h 1995"/>
                <a:gd name="T24" fmla="*/ 301 w 663"/>
                <a:gd name="T25" fmla="*/ 1580 h 1995"/>
                <a:gd name="T26" fmla="*/ 336 w 663"/>
                <a:gd name="T27" fmla="*/ 1519 h 1995"/>
                <a:gd name="T28" fmla="*/ 372 w 663"/>
                <a:gd name="T29" fmla="*/ 1455 h 1995"/>
                <a:gd name="T30" fmla="*/ 408 w 663"/>
                <a:gd name="T31" fmla="*/ 1387 h 1995"/>
                <a:gd name="T32" fmla="*/ 442 w 663"/>
                <a:gd name="T33" fmla="*/ 1316 h 1995"/>
                <a:gd name="T34" fmla="*/ 475 w 663"/>
                <a:gd name="T35" fmla="*/ 1243 h 1995"/>
                <a:gd name="T36" fmla="*/ 507 w 663"/>
                <a:gd name="T37" fmla="*/ 1166 h 1995"/>
                <a:gd name="T38" fmla="*/ 537 w 663"/>
                <a:gd name="T39" fmla="*/ 1088 h 1995"/>
                <a:gd name="T40" fmla="*/ 565 w 663"/>
                <a:gd name="T41" fmla="*/ 1006 h 1995"/>
                <a:gd name="T42" fmla="*/ 590 w 663"/>
                <a:gd name="T43" fmla="*/ 923 h 1995"/>
                <a:gd name="T44" fmla="*/ 611 w 663"/>
                <a:gd name="T45" fmla="*/ 837 h 1995"/>
                <a:gd name="T46" fmla="*/ 630 w 663"/>
                <a:gd name="T47" fmla="*/ 750 h 1995"/>
                <a:gd name="T48" fmla="*/ 644 w 663"/>
                <a:gd name="T49" fmla="*/ 660 h 1995"/>
                <a:gd name="T50" fmla="*/ 655 w 663"/>
                <a:gd name="T51" fmla="*/ 570 h 1995"/>
                <a:gd name="T52" fmla="*/ 662 w 663"/>
                <a:gd name="T53" fmla="*/ 477 h 1995"/>
                <a:gd name="T54" fmla="*/ 663 w 663"/>
                <a:gd name="T55" fmla="*/ 384 h 1995"/>
                <a:gd name="T56" fmla="*/ 658 w 663"/>
                <a:gd name="T57" fmla="*/ 289 h 1995"/>
                <a:gd name="T58" fmla="*/ 649 w 663"/>
                <a:gd name="T59" fmla="*/ 193 h 1995"/>
                <a:gd name="T60" fmla="*/ 633 w 663"/>
                <a:gd name="T61" fmla="*/ 97 h 1995"/>
                <a:gd name="T62" fmla="*/ 611 w 663"/>
                <a:gd name="T63" fmla="*/ 0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3" h="1995">
                  <a:moveTo>
                    <a:pt x="611" y="0"/>
                  </a:moveTo>
                  <a:lnTo>
                    <a:pt x="0" y="1995"/>
                  </a:lnTo>
                  <a:lnTo>
                    <a:pt x="10" y="1984"/>
                  </a:lnTo>
                  <a:lnTo>
                    <a:pt x="38" y="1952"/>
                  </a:lnTo>
                  <a:lnTo>
                    <a:pt x="57" y="1929"/>
                  </a:lnTo>
                  <a:lnTo>
                    <a:pt x="80" y="1900"/>
                  </a:lnTo>
                  <a:lnTo>
                    <a:pt x="105" y="1867"/>
                  </a:lnTo>
                  <a:lnTo>
                    <a:pt x="134" y="1830"/>
                  </a:lnTo>
                  <a:lnTo>
                    <a:pt x="165" y="1788"/>
                  </a:lnTo>
                  <a:lnTo>
                    <a:pt x="197" y="1741"/>
                  </a:lnTo>
                  <a:lnTo>
                    <a:pt x="230" y="1692"/>
                  </a:lnTo>
                  <a:lnTo>
                    <a:pt x="265" y="1637"/>
                  </a:lnTo>
                  <a:lnTo>
                    <a:pt x="301" y="1580"/>
                  </a:lnTo>
                  <a:lnTo>
                    <a:pt x="336" y="1519"/>
                  </a:lnTo>
                  <a:lnTo>
                    <a:pt x="372" y="1455"/>
                  </a:lnTo>
                  <a:lnTo>
                    <a:pt x="408" y="1387"/>
                  </a:lnTo>
                  <a:lnTo>
                    <a:pt x="442" y="1316"/>
                  </a:lnTo>
                  <a:lnTo>
                    <a:pt x="475" y="1243"/>
                  </a:lnTo>
                  <a:lnTo>
                    <a:pt x="507" y="1166"/>
                  </a:lnTo>
                  <a:lnTo>
                    <a:pt x="537" y="1088"/>
                  </a:lnTo>
                  <a:lnTo>
                    <a:pt x="565" y="1006"/>
                  </a:lnTo>
                  <a:lnTo>
                    <a:pt x="590" y="923"/>
                  </a:lnTo>
                  <a:lnTo>
                    <a:pt x="611" y="837"/>
                  </a:lnTo>
                  <a:lnTo>
                    <a:pt x="630" y="750"/>
                  </a:lnTo>
                  <a:lnTo>
                    <a:pt x="644" y="660"/>
                  </a:lnTo>
                  <a:lnTo>
                    <a:pt x="655" y="570"/>
                  </a:lnTo>
                  <a:lnTo>
                    <a:pt x="662" y="477"/>
                  </a:lnTo>
                  <a:lnTo>
                    <a:pt x="663" y="384"/>
                  </a:lnTo>
                  <a:lnTo>
                    <a:pt x="658" y="289"/>
                  </a:lnTo>
                  <a:lnTo>
                    <a:pt x="649" y="193"/>
                  </a:lnTo>
                  <a:lnTo>
                    <a:pt x="633" y="97"/>
                  </a:lnTo>
                  <a:lnTo>
                    <a:pt x="6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2" name="Freeform 68">
              <a:extLst>
                <a:ext uri="{FF2B5EF4-FFF2-40B4-BE49-F238E27FC236}">
                  <a16:creationId xmlns:a16="http://schemas.microsoft.com/office/drawing/2014/main" id="{2DDB62EB-D4ED-835D-5802-B3C661D1881D}"/>
                </a:ext>
              </a:extLst>
            </p:cNvPr>
            <p:cNvSpPr>
              <a:spLocks/>
            </p:cNvSpPr>
            <p:nvPr/>
          </p:nvSpPr>
          <p:spPr bwMode="auto">
            <a:xfrm>
              <a:off x="11639594" y="1708828"/>
              <a:ext cx="400228" cy="455662"/>
            </a:xfrm>
            <a:custGeom>
              <a:avLst/>
              <a:gdLst>
                <a:gd name="T0" fmla="*/ 1436 w 1436"/>
                <a:gd name="T1" fmla="*/ 1515 h 1515"/>
                <a:gd name="T2" fmla="*/ 0 w 1436"/>
                <a:gd name="T3" fmla="*/ 0 h 1515"/>
                <a:gd name="T4" fmla="*/ 5 w 1436"/>
                <a:gd name="T5" fmla="*/ 15 h 1515"/>
                <a:gd name="T6" fmla="*/ 19 w 1436"/>
                <a:gd name="T7" fmla="*/ 54 h 1515"/>
                <a:gd name="T8" fmla="*/ 30 w 1436"/>
                <a:gd name="T9" fmla="*/ 83 h 1515"/>
                <a:gd name="T10" fmla="*/ 44 w 1436"/>
                <a:gd name="T11" fmla="*/ 117 h 1515"/>
                <a:gd name="T12" fmla="*/ 60 w 1436"/>
                <a:gd name="T13" fmla="*/ 156 h 1515"/>
                <a:gd name="T14" fmla="*/ 79 w 1436"/>
                <a:gd name="T15" fmla="*/ 199 h 1515"/>
                <a:gd name="T16" fmla="*/ 100 w 1436"/>
                <a:gd name="T17" fmla="*/ 245 h 1515"/>
                <a:gd name="T18" fmla="*/ 124 w 1436"/>
                <a:gd name="T19" fmla="*/ 296 h 1515"/>
                <a:gd name="T20" fmla="*/ 152 w 1436"/>
                <a:gd name="T21" fmla="*/ 350 h 1515"/>
                <a:gd name="T22" fmla="*/ 181 w 1436"/>
                <a:gd name="T23" fmla="*/ 408 h 1515"/>
                <a:gd name="T24" fmla="*/ 213 w 1436"/>
                <a:gd name="T25" fmla="*/ 466 h 1515"/>
                <a:gd name="T26" fmla="*/ 249 w 1436"/>
                <a:gd name="T27" fmla="*/ 528 h 1515"/>
                <a:gd name="T28" fmla="*/ 287 w 1436"/>
                <a:gd name="T29" fmla="*/ 591 h 1515"/>
                <a:gd name="T30" fmla="*/ 329 w 1436"/>
                <a:gd name="T31" fmla="*/ 655 h 1515"/>
                <a:gd name="T32" fmla="*/ 374 w 1436"/>
                <a:gd name="T33" fmla="*/ 719 h 1515"/>
                <a:gd name="T34" fmla="*/ 421 w 1436"/>
                <a:gd name="T35" fmla="*/ 785 h 1515"/>
                <a:gd name="T36" fmla="*/ 472 w 1436"/>
                <a:gd name="T37" fmla="*/ 850 h 1515"/>
                <a:gd name="T38" fmla="*/ 526 w 1436"/>
                <a:gd name="T39" fmla="*/ 914 h 1515"/>
                <a:gd name="T40" fmla="*/ 582 w 1436"/>
                <a:gd name="T41" fmla="*/ 979 h 1515"/>
                <a:gd name="T42" fmla="*/ 643 w 1436"/>
                <a:gd name="T43" fmla="*/ 1041 h 1515"/>
                <a:gd name="T44" fmla="*/ 707 w 1436"/>
                <a:gd name="T45" fmla="*/ 1103 h 1515"/>
                <a:gd name="T46" fmla="*/ 773 w 1436"/>
                <a:gd name="T47" fmla="*/ 1163 h 1515"/>
                <a:gd name="T48" fmla="*/ 844 w 1436"/>
                <a:gd name="T49" fmla="*/ 1219 h 1515"/>
                <a:gd name="T50" fmla="*/ 918 w 1436"/>
                <a:gd name="T51" fmla="*/ 1273 h 1515"/>
                <a:gd name="T52" fmla="*/ 995 w 1436"/>
                <a:gd name="T53" fmla="*/ 1324 h 1515"/>
                <a:gd name="T54" fmla="*/ 1076 w 1436"/>
                <a:gd name="T55" fmla="*/ 1371 h 1515"/>
                <a:gd name="T56" fmla="*/ 1161 w 1436"/>
                <a:gd name="T57" fmla="*/ 1414 h 1515"/>
                <a:gd name="T58" fmla="*/ 1249 w 1436"/>
                <a:gd name="T59" fmla="*/ 1453 h 1515"/>
                <a:gd name="T60" fmla="*/ 1341 w 1436"/>
                <a:gd name="T61" fmla="*/ 1487 h 1515"/>
                <a:gd name="T62" fmla="*/ 1436 w 1436"/>
                <a:gd name="T63" fmla="*/ 1515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36" h="1515">
                  <a:moveTo>
                    <a:pt x="1436" y="1515"/>
                  </a:moveTo>
                  <a:lnTo>
                    <a:pt x="0" y="0"/>
                  </a:lnTo>
                  <a:lnTo>
                    <a:pt x="5" y="15"/>
                  </a:lnTo>
                  <a:lnTo>
                    <a:pt x="19" y="54"/>
                  </a:lnTo>
                  <a:lnTo>
                    <a:pt x="30" y="83"/>
                  </a:lnTo>
                  <a:lnTo>
                    <a:pt x="44" y="117"/>
                  </a:lnTo>
                  <a:lnTo>
                    <a:pt x="60" y="156"/>
                  </a:lnTo>
                  <a:lnTo>
                    <a:pt x="79" y="199"/>
                  </a:lnTo>
                  <a:lnTo>
                    <a:pt x="100" y="245"/>
                  </a:lnTo>
                  <a:lnTo>
                    <a:pt x="124" y="296"/>
                  </a:lnTo>
                  <a:lnTo>
                    <a:pt x="152" y="350"/>
                  </a:lnTo>
                  <a:lnTo>
                    <a:pt x="181" y="408"/>
                  </a:lnTo>
                  <a:lnTo>
                    <a:pt x="213" y="466"/>
                  </a:lnTo>
                  <a:lnTo>
                    <a:pt x="249" y="528"/>
                  </a:lnTo>
                  <a:lnTo>
                    <a:pt x="287" y="591"/>
                  </a:lnTo>
                  <a:lnTo>
                    <a:pt x="329" y="655"/>
                  </a:lnTo>
                  <a:lnTo>
                    <a:pt x="374" y="719"/>
                  </a:lnTo>
                  <a:lnTo>
                    <a:pt x="421" y="785"/>
                  </a:lnTo>
                  <a:lnTo>
                    <a:pt x="472" y="850"/>
                  </a:lnTo>
                  <a:lnTo>
                    <a:pt x="526" y="914"/>
                  </a:lnTo>
                  <a:lnTo>
                    <a:pt x="582" y="979"/>
                  </a:lnTo>
                  <a:lnTo>
                    <a:pt x="643" y="1041"/>
                  </a:lnTo>
                  <a:lnTo>
                    <a:pt x="707" y="1103"/>
                  </a:lnTo>
                  <a:lnTo>
                    <a:pt x="773" y="1163"/>
                  </a:lnTo>
                  <a:lnTo>
                    <a:pt x="844" y="1219"/>
                  </a:lnTo>
                  <a:lnTo>
                    <a:pt x="918" y="1273"/>
                  </a:lnTo>
                  <a:lnTo>
                    <a:pt x="995" y="1324"/>
                  </a:lnTo>
                  <a:lnTo>
                    <a:pt x="1076" y="1371"/>
                  </a:lnTo>
                  <a:lnTo>
                    <a:pt x="1161" y="1414"/>
                  </a:lnTo>
                  <a:lnTo>
                    <a:pt x="1249" y="1453"/>
                  </a:lnTo>
                  <a:lnTo>
                    <a:pt x="1341" y="1487"/>
                  </a:lnTo>
                  <a:lnTo>
                    <a:pt x="1436" y="1515"/>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3" name="Freeform 69">
              <a:extLst>
                <a:ext uri="{FF2B5EF4-FFF2-40B4-BE49-F238E27FC236}">
                  <a16:creationId xmlns:a16="http://schemas.microsoft.com/office/drawing/2014/main" id="{12CCCA2C-5CD7-DDFF-102E-89A901F1E4AA}"/>
                </a:ext>
              </a:extLst>
            </p:cNvPr>
            <p:cNvSpPr>
              <a:spLocks/>
            </p:cNvSpPr>
            <p:nvPr/>
          </p:nvSpPr>
          <p:spPr bwMode="auto">
            <a:xfrm>
              <a:off x="11639594" y="1708828"/>
              <a:ext cx="400228" cy="455662"/>
            </a:xfrm>
            <a:custGeom>
              <a:avLst/>
              <a:gdLst>
                <a:gd name="T0" fmla="*/ 1436 w 1436"/>
                <a:gd name="T1" fmla="*/ 1515 h 1515"/>
                <a:gd name="T2" fmla="*/ 0 w 1436"/>
                <a:gd name="T3" fmla="*/ 0 h 1515"/>
                <a:gd name="T4" fmla="*/ 15 w 1436"/>
                <a:gd name="T5" fmla="*/ 6 h 1515"/>
                <a:gd name="T6" fmla="*/ 53 w 1436"/>
                <a:gd name="T7" fmla="*/ 22 h 1515"/>
                <a:gd name="T8" fmla="*/ 81 w 1436"/>
                <a:gd name="T9" fmla="*/ 34 h 1515"/>
                <a:gd name="T10" fmla="*/ 114 w 1436"/>
                <a:gd name="T11" fmla="*/ 50 h 1515"/>
                <a:gd name="T12" fmla="*/ 152 w 1436"/>
                <a:gd name="T13" fmla="*/ 69 h 1515"/>
                <a:gd name="T14" fmla="*/ 194 w 1436"/>
                <a:gd name="T15" fmla="*/ 90 h 1515"/>
                <a:gd name="T16" fmla="*/ 240 w 1436"/>
                <a:gd name="T17" fmla="*/ 113 h 1515"/>
                <a:gd name="T18" fmla="*/ 290 w 1436"/>
                <a:gd name="T19" fmla="*/ 140 h 1515"/>
                <a:gd name="T20" fmla="*/ 342 w 1436"/>
                <a:gd name="T21" fmla="*/ 170 h 1515"/>
                <a:gd name="T22" fmla="*/ 397 w 1436"/>
                <a:gd name="T23" fmla="*/ 202 h 1515"/>
                <a:gd name="T24" fmla="*/ 454 w 1436"/>
                <a:gd name="T25" fmla="*/ 239 h 1515"/>
                <a:gd name="T26" fmla="*/ 514 w 1436"/>
                <a:gd name="T27" fmla="*/ 277 h 1515"/>
                <a:gd name="T28" fmla="*/ 575 w 1436"/>
                <a:gd name="T29" fmla="*/ 319 h 1515"/>
                <a:gd name="T30" fmla="*/ 635 w 1436"/>
                <a:gd name="T31" fmla="*/ 363 h 1515"/>
                <a:gd name="T32" fmla="*/ 698 w 1436"/>
                <a:gd name="T33" fmla="*/ 412 h 1515"/>
                <a:gd name="T34" fmla="*/ 761 w 1436"/>
                <a:gd name="T35" fmla="*/ 463 h 1515"/>
                <a:gd name="T36" fmla="*/ 823 w 1436"/>
                <a:gd name="T37" fmla="*/ 517 h 1515"/>
                <a:gd name="T38" fmla="*/ 885 w 1436"/>
                <a:gd name="T39" fmla="*/ 574 h 1515"/>
                <a:gd name="T40" fmla="*/ 946 w 1436"/>
                <a:gd name="T41" fmla="*/ 635 h 1515"/>
                <a:gd name="T42" fmla="*/ 1005 w 1436"/>
                <a:gd name="T43" fmla="*/ 698 h 1515"/>
                <a:gd name="T44" fmla="*/ 1064 w 1436"/>
                <a:gd name="T45" fmla="*/ 765 h 1515"/>
                <a:gd name="T46" fmla="*/ 1119 w 1436"/>
                <a:gd name="T47" fmla="*/ 835 h 1515"/>
                <a:gd name="T48" fmla="*/ 1172 w 1436"/>
                <a:gd name="T49" fmla="*/ 909 h 1515"/>
                <a:gd name="T50" fmla="*/ 1222 w 1436"/>
                <a:gd name="T51" fmla="*/ 985 h 1515"/>
                <a:gd name="T52" fmla="*/ 1268 w 1436"/>
                <a:gd name="T53" fmla="*/ 1066 h 1515"/>
                <a:gd name="T54" fmla="*/ 1311 w 1436"/>
                <a:gd name="T55" fmla="*/ 1148 h 1515"/>
                <a:gd name="T56" fmla="*/ 1350 w 1436"/>
                <a:gd name="T57" fmla="*/ 1236 h 1515"/>
                <a:gd name="T58" fmla="*/ 1384 w 1436"/>
                <a:gd name="T59" fmla="*/ 1325 h 1515"/>
                <a:gd name="T60" fmla="*/ 1413 w 1436"/>
                <a:gd name="T61" fmla="*/ 1419 h 1515"/>
                <a:gd name="T62" fmla="*/ 1436 w 1436"/>
                <a:gd name="T63" fmla="*/ 1515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36" h="1515">
                  <a:moveTo>
                    <a:pt x="1436" y="1515"/>
                  </a:moveTo>
                  <a:lnTo>
                    <a:pt x="0" y="0"/>
                  </a:lnTo>
                  <a:lnTo>
                    <a:pt x="15" y="6"/>
                  </a:lnTo>
                  <a:lnTo>
                    <a:pt x="53" y="22"/>
                  </a:lnTo>
                  <a:lnTo>
                    <a:pt x="81" y="34"/>
                  </a:lnTo>
                  <a:lnTo>
                    <a:pt x="114" y="50"/>
                  </a:lnTo>
                  <a:lnTo>
                    <a:pt x="152" y="69"/>
                  </a:lnTo>
                  <a:lnTo>
                    <a:pt x="194" y="90"/>
                  </a:lnTo>
                  <a:lnTo>
                    <a:pt x="240" y="113"/>
                  </a:lnTo>
                  <a:lnTo>
                    <a:pt x="290" y="140"/>
                  </a:lnTo>
                  <a:lnTo>
                    <a:pt x="342" y="170"/>
                  </a:lnTo>
                  <a:lnTo>
                    <a:pt x="397" y="202"/>
                  </a:lnTo>
                  <a:lnTo>
                    <a:pt x="454" y="239"/>
                  </a:lnTo>
                  <a:lnTo>
                    <a:pt x="514" y="277"/>
                  </a:lnTo>
                  <a:lnTo>
                    <a:pt x="575" y="319"/>
                  </a:lnTo>
                  <a:lnTo>
                    <a:pt x="635" y="363"/>
                  </a:lnTo>
                  <a:lnTo>
                    <a:pt x="698" y="412"/>
                  </a:lnTo>
                  <a:lnTo>
                    <a:pt x="761" y="463"/>
                  </a:lnTo>
                  <a:lnTo>
                    <a:pt x="823" y="517"/>
                  </a:lnTo>
                  <a:lnTo>
                    <a:pt x="885" y="574"/>
                  </a:lnTo>
                  <a:lnTo>
                    <a:pt x="946" y="635"/>
                  </a:lnTo>
                  <a:lnTo>
                    <a:pt x="1005" y="698"/>
                  </a:lnTo>
                  <a:lnTo>
                    <a:pt x="1064" y="765"/>
                  </a:lnTo>
                  <a:lnTo>
                    <a:pt x="1119" y="835"/>
                  </a:lnTo>
                  <a:lnTo>
                    <a:pt x="1172" y="909"/>
                  </a:lnTo>
                  <a:lnTo>
                    <a:pt x="1222" y="985"/>
                  </a:lnTo>
                  <a:lnTo>
                    <a:pt x="1268" y="1066"/>
                  </a:lnTo>
                  <a:lnTo>
                    <a:pt x="1311" y="1148"/>
                  </a:lnTo>
                  <a:lnTo>
                    <a:pt x="1350" y="1236"/>
                  </a:lnTo>
                  <a:lnTo>
                    <a:pt x="1384" y="1325"/>
                  </a:lnTo>
                  <a:lnTo>
                    <a:pt x="1413" y="1419"/>
                  </a:lnTo>
                  <a:lnTo>
                    <a:pt x="1436" y="1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4" name="Freeform 70">
              <a:extLst>
                <a:ext uri="{FF2B5EF4-FFF2-40B4-BE49-F238E27FC236}">
                  <a16:creationId xmlns:a16="http://schemas.microsoft.com/office/drawing/2014/main" id="{A2DA8F4E-1B09-D5E0-273F-B343B492448D}"/>
                </a:ext>
              </a:extLst>
            </p:cNvPr>
            <p:cNvSpPr>
              <a:spLocks/>
            </p:cNvSpPr>
            <p:nvPr/>
          </p:nvSpPr>
          <p:spPr bwMode="auto">
            <a:xfrm>
              <a:off x="11084574" y="1698301"/>
              <a:ext cx="566176" cy="160910"/>
            </a:xfrm>
            <a:custGeom>
              <a:avLst/>
              <a:gdLst>
                <a:gd name="T0" fmla="*/ 0 w 2029"/>
                <a:gd name="T1" fmla="*/ 535 h 535"/>
                <a:gd name="T2" fmla="*/ 2029 w 2029"/>
                <a:gd name="T3" fmla="*/ 47 h 535"/>
                <a:gd name="T4" fmla="*/ 2015 w 2029"/>
                <a:gd name="T5" fmla="*/ 44 h 535"/>
                <a:gd name="T6" fmla="*/ 1973 w 2029"/>
                <a:gd name="T7" fmla="*/ 36 h 535"/>
                <a:gd name="T8" fmla="*/ 1943 w 2029"/>
                <a:gd name="T9" fmla="*/ 32 h 535"/>
                <a:gd name="T10" fmla="*/ 1907 w 2029"/>
                <a:gd name="T11" fmla="*/ 27 h 535"/>
                <a:gd name="T12" fmla="*/ 1866 w 2029"/>
                <a:gd name="T13" fmla="*/ 21 h 535"/>
                <a:gd name="T14" fmla="*/ 1819 w 2029"/>
                <a:gd name="T15" fmla="*/ 17 h 535"/>
                <a:gd name="T16" fmla="*/ 1767 w 2029"/>
                <a:gd name="T17" fmla="*/ 11 h 535"/>
                <a:gd name="T18" fmla="*/ 1711 w 2029"/>
                <a:gd name="T19" fmla="*/ 7 h 535"/>
                <a:gd name="T20" fmla="*/ 1651 w 2029"/>
                <a:gd name="T21" fmla="*/ 3 h 535"/>
                <a:gd name="T22" fmla="*/ 1587 w 2029"/>
                <a:gd name="T23" fmla="*/ 1 h 535"/>
                <a:gd name="T24" fmla="*/ 1519 w 2029"/>
                <a:gd name="T25" fmla="*/ 0 h 535"/>
                <a:gd name="T26" fmla="*/ 1448 w 2029"/>
                <a:gd name="T27" fmla="*/ 0 h 535"/>
                <a:gd name="T28" fmla="*/ 1375 w 2029"/>
                <a:gd name="T29" fmla="*/ 2 h 535"/>
                <a:gd name="T30" fmla="*/ 1299 w 2029"/>
                <a:gd name="T31" fmla="*/ 6 h 535"/>
                <a:gd name="T32" fmla="*/ 1221 w 2029"/>
                <a:gd name="T33" fmla="*/ 12 h 535"/>
                <a:gd name="T34" fmla="*/ 1140 w 2029"/>
                <a:gd name="T35" fmla="*/ 21 h 535"/>
                <a:gd name="T36" fmla="*/ 1058 w 2029"/>
                <a:gd name="T37" fmla="*/ 32 h 535"/>
                <a:gd name="T38" fmla="*/ 974 w 2029"/>
                <a:gd name="T39" fmla="*/ 46 h 535"/>
                <a:gd name="T40" fmla="*/ 891 w 2029"/>
                <a:gd name="T41" fmla="*/ 64 h 535"/>
                <a:gd name="T42" fmla="*/ 807 w 2029"/>
                <a:gd name="T43" fmla="*/ 85 h 535"/>
                <a:gd name="T44" fmla="*/ 722 w 2029"/>
                <a:gd name="T45" fmla="*/ 109 h 535"/>
                <a:gd name="T46" fmla="*/ 637 w 2029"/>
                <a:gd name="T47" fmla="*/ 138 h 535"/>
                <a:gd name="T48" fmla="*/ 553 w 2029"/>
                <a:gd name="T49" fmla="*/ 171 h 535"/>
                <a:gd name="T50" fmla="*/ 469 w 2029"/>
                <a:gd name="T51" fmla="*/ 208 h 535"/>
                <a:gd name="T52" fmla="*/ 386 w 2029"/>
                <a:gd name="T53" fmla="*/ 250 h 535"/>
                <a:gd name="T54" fmla="*/ 305 w 2029"/>
                <a:gd name="T55" fmla="*/ 296 h 535"/>
                <a:gd name="T56" fmla="*/ 226 w 2029"/>
                <a:gd name="T57" fmla="*/ 348 h 535"/>
                <a:gd name="T58" fmla="*/ 148 w 2029"/>
                <a:gd name="T59" fmla="*/ 405 h 535"/>
                <a:gd name="T60" fmla="*/ 73 w 2029"/>
                <a:gd name="T61" fmla="*/ 467 h 535"/>
                <a:gd name="T62" fmla="*/ 0 w 2029"/>
                <a:gd name="T63"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9" h="535">
                  <a:moveTo>
                    <a:pt x="0" y="535"/>
                  </a:moveTo>
                  <a:lnTo>
                    <a:pt x="2029" y="47"/>
                  </a:lnTo>
                  <a:lnTo>
                    <a:pt x="2015" y="44"/>
                  </a:lnTo>
                  <a:lnTo>
                    <a:pt x="1973" y="36"/>
                  </a:lnTo>
                  <a:lnTo>
                    <a:pt x="1943" y="32"/>
                  </a:lnTo>
                  <a:lnTo>
                    <a:pt x="1907" y="27"/>
                  </a:lnTo>
                  <a:lnTo>
                    <a:pt x="1866" y="21"/>
                  </a:lnTo>
                  <a:lnTo>
                    <a:pt x="1819" y="17"/>
                  </a:lnTo>
                  <a:lnTo>
                    <a:pt x="1767" y="11"/>
                  </a:lnTo>
                  <a:lnTo>
                    <a:pt x="1711" y="7"/>
                  </a:lnTo>
                  <a:lnTo>
                    <a:pt x="1651" y="3"/>
                  </a:lnTo>
                  <a:lnTo>
                    <a:pt x="1587" y="1"/>
                  </a:lnTo>
                  <a:lnTo>
                    <a:pt x="1519" y="0"/>
                  </a:lnTo>
                  <a:lnTo>
                    <a:pt x="1448" y="0"/>
                  </a:lnTo>
                  <a:lnTo>
                    <a:pt x="1375" y="2"/>
                  </a:lnTo>
                  <a:lnTo>
                    <a:pt x="1299" y="6"/>
                  </a:lnTo>
                  <a:lnTo>
                    <a:pt x="1221" y="12"/>
                  </a:lnTo>
                  <a:lnTo>
                    <a:pt x="1140" y="21"/>
                  </a:lnTo>
                  <a:lnTo>
                    <a:pt x="1058" y="32"/>
                  </a:lnTo>
                  <a:lnTo>
                    <a:pt x="974" y="46"/>
                  </a:lnTo>
                  <a:lnTo>
                    <a:pt x="891" y="64"/>
                  </a:lnTo>
                  <a:lnTo>
                    <a:pt x="807" y="85"/>
                  </a:lnTo>
                  <a:lnTo>
                    <a:pt x="722" y="109"/>
                  </a:lnTo>
                  <a:lnTo>
                    <a:pt x="637" y="138"/>
                  </a:lnTo>
                  <a:lnTo>
                    <a:pt x="553" y="171"/>
                  </a:lnTo>
                  <a:lnTo>
                    <a:pt x="469" y="208"/>
                  </a:lnTo>
                  <a:lnTo>
                    <a:pt x="386" y="250"/>
                  </a:lnTo>
                  <a:lnTo>
                    <a:pt x="305" y="296"/>
                  </a:lnTo>
                  <a:lnTo>
                    <a:pt x="226" y="348"/>
                  </a:lnTo>
                  <a:lnTo>
                    <a:pt x="148" y="405"/>
                  </a:lnTo>
                  <a:lnTo>
                    <a:pt x="73" y="467"/>
                  </a:lnTo>
                  <a:lnTo>
                    <a:pt x="0" y="535"/>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5" name="Freeform 71">
              <a:extLst>
                <a:ext uri="{FF2B5EF4-FFF2-40B4-BE49-F238E27FC236}">
                  <a16:creationId xmlns:a16="http://schemas.microsoft.com/office/drawing/2014/main" id="{4EA09001-ACC2-3C3C-FC3D-53CAAC91C7E5}"/>
                </a:ext>
              </a:extLst>
            </p:cNvPr>
            <p:cNvSpPr>
              <a:spLocks/>
            </p:cNvSpPr>
            <p:nvPr/>
          </p:nvSpPr>
          <p:spPr bwMode="auto">
            <a:xfrm>
              <a:off x="11084574" y="1711836"/>
              <a:ext cx="566176" cy="171438"/>
            </a:xfrm>
            <a:custGeom>
              <a:avLst/>
              <a:gdLst>
                <a:gd name="T0" fmla="*/ 0 w 2029"/>
                <a:gd name="T1" fmla="*/ 488 h 568"/>
                <a:gd name="T2" fmla="*/ 2029 w 2029"/>
                <a:gd name="T3" fmla="*/ 0 h 568"/>
                <a:gd name="T4" fmla="*/ 2018 w 2029"/>
                <a:gd name="T5" fmla="*/ 9 h 568"/>
                <a:gd name="T6" fmla="*/ 1984 w 2029"/>
                <a:gd name="T7" fmla="*/ 35 h 568"/>
                <a:gd name="T8" fmla="*/ 1960 w 2029"/>
                <a:gd name="T9" fmla="*/ 52 h 568"/>
                <a:gd name="T10" fmla="*/ 1930 w 2029"/>
                <a:gd name="T11" fmla="*/ 73 h 568"/>
                <a:gd name="T12" fmla="*/ 1896 w 2029"/>
                <a:gd name="T13" fmla="*/ 98 h 568"/>
                <a:gd name="T14" fmla="*/ 1856 w 2029"/>
                <a:gd name="T15" fmla="*/ 123 h 568"/>
                <a:gd name="T16" fmla="*/ 1813 w 2029"/>
                <a:gd name="T17" fmla="*/ 152 h 568"/>
                <a:gd name="T18" fmla="*/ 1764 w 2029"/>
                <a:gd name="T19" fmla="*/ 180 h 568"/>
                <a:gd name="T20" fmla="*/ 1712 w 2029"/>
                <a:gd name="T21" fmla="*/ 211 h 568"/>
                <a:gd name="T22" fmla="*/ 1657 w 2029"/>
                <a:gd name="T23" fmla="*/ 242 h 568"/>
                <a:gd name="T24" fmla="*/ 1597 w 2029"/>
                <a:gd name="T25" fmla="*/ 274 h 568"/>
                <a:gd name="T26" fmla="*/ 1534 w 2029"/>
                <a:gd name="T27" fmla="*/ 306 h 568"/>
                <a:gd name="T28" fmla="*/ 1467 w 2029"/>
                <a:gd name="T29" fmla="*/ 338 h 568"/>
                <a:gd name="T30" fmla="*/ 1397 w 2029"/>
                <a:gd name="T31" fmla="*/ 369 h 568"/>
                <a:gd name="T32" fmla="*/ 1325 w 2029"/>
                <a:gd name="T33" fmla="*/ 400 h 568"/>
                <a:gd name="T34" fmla="*/ 1249 w 2029"/>
                <a:gd name="T35" fmla="*/ 429 h 568"/>
                <a:gd name="T36" fmla="*/ 1171 w 2029"/>
                <a:gd name="T37" fmla="*/ 456 h 568"/>
                <a:gd name="T38" fmla="*/ 1092 w 2029"/>
                <a:gd name="T39" fmla="*/ 481 h 568"/>
                <a:gd name="T40" fmla="*/ 1009 w 2029"/>
                <a:gd name="T41" fmla="*/ 504 h 568"/>
                <a:gd name="T42" fmla="*/ 924 w 2029"/>
                <a:gd name="T43" fmla="*/ 524 h 568"/>
                <a:gd name="T44" fmla="*/ 836 w 2029"/>
                <a:gd name="T45" fmla="*/ 540 h 568"/>
                <a:gd name="T46" fmla="*/ 748 w 2029"/>
                <a:gd name="T47" fmla="*/ 554 h 568"/>
                <a:gd name="T48" fmla="*/ 659 w 2029"/>
                <a:gd name="T49" fmla="*/ 562 h 568"/>
                <a:gd name="T50" fmla="*/ 567 w 2029"/>
                <a:gd name="T51" fmla="*/ 568 h 568"/>
                <a:gd name="T52" fmla="*/ 474 w 2029"/>
                <a:gd name="T53" fmla="*/ 568 h 568"/>
                <a:gd name="T54" fmla="*/ 380 w 2029"/>
                <a:gd name="T55" fmla="*/ 564 h 568"/>
                <a:gd name="T56" fmla="*/ 286 w 2029"/>
                <a:gd name="T57" fmla="*/ 554 h 568"/>
                <a:gd name="T58" fmla="*/ 191 w 2029"/>
                <a:gd name="T59" fmla="*/ 538 h 568"/>
                <a:gd name="T60" fmla="*/ 97 w 2029"/>
                <a:gd name="T61" fmla="*/ 517 h 568"/>
                <a:gd name="T62" fmla="*/ 0 w 2029"/>
                <a:gd name="T63" fmla="*/ 48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9" h="568">
                  <a:moveTo>
                    <a:pt x="0" y="488"/>
                  </a:moveTo>
                  <a:lnTo>
                    <a:pt x="2029" y="0"/>
                  </a:lnTo>
                  <a:lnTo>
                    <a:pt x="2018" y="9"/>
                  </a:lnTo>
                  <a:lnTo>
                    <a:pt x="1984" y="35"/>
                  </a:lnTo>
                  <a:lnTo>
                    <a:pt x="1960" y="52"/>
                  </a:lnTo>
                  <a:lnTo>
                    <a:pt x="1930" y="73"/>
                  </a:lnTo>
                  <a:lnTo>
                    <a:pt x="1896" y="98"/>
                  </a:lnTo>
                  <a:lnTo>
                    <a:pt x="1856" y="123"/>
                  </a:lnTo>
                  <a:lnTo>
                    <a:pt x="1813" y="152"/>
                  </a:lnTo>
                  <a:lnTo>
                    <a:pt x="1764" y="180"/>
                  </a:lnTo>
                  <a:lnTo>
                    <a:pt x="1712" y="211"/>
                  </a:lnTo>
                  <a:lnTo>
                    <a:pt x="1657" y="242"/>
                  </a:lnTo>
                  <a:lnTo>
                    <a:pt x="1597" y="274"/>
                  </a:lnTo>
                  <a:lnTo>
                    <a:pt x="1534" y="306"/>
                  </a:lnTo>
                  <a:lnTo>
                    <a:pt x="1467" y="338"/>
                  </a:lnTo>
                  <a:lnTo>
                    <a:pt x="1397" y="369"/>
                  </a:lnTo>
                  <a:lnTo>
                    <a:pt x="1325" y="400"/>
                  </a:lnTo>
                  <a:lnTo>
                    <a:pt x="1249" y="429"/>
                  </a:lnTo>
                  <a:lnTo>
                    <a:pt x="1171" y="456"/>
                  </a:lnTo>
                  <a:lnTo>
                    <a:pt x="1092" y="481"/>
                  </a:lnTo>
                  <a:lnTo>
                    <a:pt x="1009" y="504"/>
                  </a:lnTo>
                  <a:lnTo>
                    <a:pt x="924" y="524"/>
                  </a:lnTo>
                  <a:lnTo>
                    <a:pt x="836" y="540"/>
                  </a:lnTo>
                  <a:lnTo>
                    <a:pt x="748" y="554"/>
                  </a:lnTo>
                  <a:lnTo>
                    <a:pt x="659" y="562"/>
                  </a:lnTo>
                  <a:lnTo>
                    <a:pt x="567" y="568"/>
                  </a:lnTo>
                  <a:lnTo>
                    <a:pt x="474" y="568"/>
                  </a:lnTo>
                  <a:lnTo>
                    <a:pt x="380" y="564"/>
                  </a:lnTo>
                  <a:lnTo>
                    <a:pt x="286" y="554"/>
                  </a:lnTo>
                  <a:lnTo>
                    <a:pt x="191" y="538"/>
                  </a:lnTo>
                  <a:lnTo>
                    <a:pt x="97" y="517"/>
                  </a:lnTo>
                  <a:lnTo>
                    <a:pt x="0" y="4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6" name="Freeform 72">
              <a:extLst>
                <a:ext uri="{FF2B5EF4-FFF2-40B4-BE49-F238E27FC236}">
                  <a16:creationId xmlns:a16="http://schemas.microsoft.com/office/drawing/2014/main" id="{4A901EED-CEEB-CB79-A0D0-69926BE8E6B1}"/>
                </a:ext>
              </a:extLst>
            </p:cNvPr>
            <p:cNvSpPr>
              <a:spLocks/>
            </p:cNvSpPr>
            <p:nvPr/>
          </p:nvSpPr>
          <p:spPr bwMode="auto">
            <a:xfrm>
              <a:off x="11592180" y="1749431"/>
              <a:ext cx="110168" cy="1437667"/>
            </a:xfrm>
            <a:custGeom>
              <a:avLst/>
              <a:gdLst>
                <a:gd name="T0" fmla="*/ 397 w 397"/>
                <a:gd name="T1" fmla="*/ 4776 h 4776"/>
                <a:gd name="T2" fmla="*/ 0 w 397"/>
                <a:gd name="T3" fmla="*/ 4776 h 4776"/>
                <a:gd name="T4" fmla="*/ 131 w 397"/>
                <a:gd name="T5" fmla="*/ 0 h 4776"/>
                <a:gd name="T6" fmla="*/ 265 w 397"/>
                <a:gd name="T7" fmla="*/ 0 h 4776"/>
                <a:gd name="T8" fmla="*/ 397 w 397"/>
                <a:gd name="T9" fmla="*/ 4776 h 4776"/>
              </a:gdLst>
              <a:ahLst/>
              <a:cxnLst>
                <a:cxn ang="0">
                  <a:pos x="T0" y="T1"/>
                </a:cxn>
                <a:cxn ang="0">
                  <a:pos x="T2" y="T3"/>
                </a:cxn>
                <a:cxn ang="0">
                  <a:pos x="T4" y="T5"/>
                </a:cxn>
                <a:cxn ang="0">
                  <a:pos x="T6" y="T7"/>
                </a:cxn>
                <a:cxn ang="0">
                  <a:pos x="T8" y="T9"/>
                </a:cxn>
              </a:cxnLst>
              <a:rect l="0" t="0" r="r" b="b"/>
              <a:pathLst>
                <a:path w="397" h="4776">
                  <a:moveTo>
                    <a:pt x="397" y="4776"/>
                  </a:moveTo>
                  <a:lnTo>
                    <a:pt x="0" y="4776"/>
                  </a:lnTo>
                  <a:lnTo>
                    <a:pt x="131" y="0"/>
                  </a:lnTo>
                  <a:lnTo>
                    <a:pt x="265" y="0"/>
                  </a:lnTo>
                  <a:lnTo>
                    <a:pt x="397" y="47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7" name="Freeform 73">
              <a:extLst>
                <a:ext uri="{FF2B5EF4-FFF2-40B4-BE49-F238E27FC236}">
                  <a16:creationId xmlns:a16="http://schemas.microsoft.com/office/drawing/2014/main" id="{36234C50-2B58-E1E2-0A0A-3ED57567FC37}"/>
                </a:ext>
              </a:extLst>
            </p:cNvPr>
            <p:cNvSpPr>
              <a:spLocks/>
            </p:cNvSpPr>
            <p:nvPr/>
          </p:nvSpPr>
          <p:spPr bwMode="auto">
            <a:xfrm>
              <a:off x="11652144" y="1749431"/>
              <a:ext cx="50203" cy="1437667"/>
            </a:xfrm>
            <a:custGeom>
              <a:avLst/>
              <a:gdLst>
                <a:gd name="T0" fmla="*/ 181 w 181"/>
                <a:gd name="T1" fmla="*/ 4776 h 4776"/>
                <a:gd name="T2" fmla="*/ 33 w 181"/>
                <a:gd name="T3" fmla="*/ 4776 h 4776"/>
                <a:gd name="T4" fmla="*/ 0 w 181"/>
                <a:gd name="T5" fmla="*/ 0 h 4776"/>
                <a:gd name="T6" fmla="*/ 49 w 181"/>
                <a:gd name="T7" fmla="*/ 0 h 4776"/>
                <a:gd name="T8" fmla="*/ 181 w 181"/>
                <a:gd name="T9" fmla="*/ 4776 h 4776"/>
              </a:gdLst>
              <a:ahLst/>
              <a:cxnLst>
                <a:cxn ang="0">
                  <a:pos x="T0" y="T1"/>
                </a:cxn>
                <a:cxn ang="0">
                  <a:pos x="T2" y="T3"/>
                </a:cxn>
                <a:cxn ang="0">
                  <a:pos x="T4" y="T5"/>
                </a:cxn>
                <a:cxn ang="0">
                  <a:pos x="T6" y="T7"/>
                </a:cxn>
                <a:cxn ang="0">
                  <a:pos x="T8" y="T9"/>
                </a:cxn>
              </a:cxnLst>
              <a:rect l="0" t="0" r="r" b="b"/>
              <a:pathLst>
                <a:path w="181" h="4776">
                  <a:moveTo>
                    <a:pt x="181" y="4776"/>
                  </a:moveTo>
                  <a:lnTo>
                    <a:pt x="33" y="4776"/>
                  </a:lnTo>
                  <a:lnTo>
                    <a:pt x="0" y="0"/>
                  </a:lnTo>
                  <a:lnTo>
                    <a:pt x="49" y="0"/>
                  </a:lnTo>
                  <a:lnTo>
                    <a:pt x="181" y="477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8" name="Freeform 74">
              <a:extLst>
                <a:ext uri="{FF2B5EF4-FFF2-40B4-BE49-F238E27FC236}">
                  <a16:creationId xmlns:a16="http://schemas.microsoft.com/office/drawing/2014/main" id="{D5941CE2-6098-8F7C-1791-A2201DCB5AF0}"/>
                </a:ext>
              </a:extLst>
            </p:cNvPr>
            <p:cNvSpPr>
              <a:spLocks/>
            </p:cNvSpPr>
            <p:nvPr/>
          </p:nvSpPr>
          <p:spPr bwMode="auto">
            <a:xfrm>
              <a:off x="11585207" y="1659201"/>
              <a:ext cx="124113" cy="133841"/>
            </a:xfrm>
            <a:custGeom>
              <a:avLst/>
              <a:gdLst>
                <a:gd name="T0" fmla="*/ 442 w 442"/>
                <a:gd name="T1" fmla="*/ 232 h 442"/>
                <a:gd name="T2" fmla="*/ 440 w 442"/>
                <a:gd name="T3" fmla="*/ 255 h 442"/>
                <a:gd name="T4" fmla="*/ 432 w 442"/>
                <a:gd name="T5" fmla="*/ 287 h 442"/>
                <a:gd name="T6" fmla="*/ 415 w 442"/>
                <a:gd name="T7" fmla="*/ 326 h 442"/>
                <a:gd name="T8" fmla="*/ 392 w 442"/>
                <a:gd name="T9" fmla="*/ 361 h 442"/>
                <a:gd name="T10" fmla="*/ 362 w 442"/>
                <a:gd name="T11" fmla="*/ 392 h 442"/>
                <a:gd name="T12" fmla="*/ 327 w 442"/>
                <a:gd name="T13" fmla="*/ 415 h 442"/>
                <a:gd name="T14" fmla="*/ 287 w 442"/>
                <a:gd name="T15" fmla="*/ 432 h 442"/>
                <a:gd name="T16" fmla="*/ 255 w 442"/>
                <a:gd name="T17" fmla="*/ 439 h 442"/>
                <a:gd name="T18" fmla="*/ 232 w 442"/>
                <a:gd name="T19" fmla="*/ 442 h 442"/>
                <a:gd name="T20" fmla="*/ 210 w 442"/>
                <a:gd name="T21" fmla="*/ 442 h 442"/>
                <a:gd name="T22" fmla="*/ 188 w 442"/>
                <a:gd name="T23" fmla="*/ 439 h 442"/>
                <a:gd name="T24" fmla="*/ 155 w 442"/>
                <a:gd name="T25" fmla="*/ 432 h 442"/>
                <a:gd name="T26" fmla="*/ 115 w 442"/>
                <a:gd name="T27" fmla="*/ 415 h 442"/>
                <a:gd name="T28" fmla="*/ 80 w 442"/>
                <a:gd name="T29" fmla="*/ 392 h 442"/>
                <a:gd name="T30" fmla="*/ 50 w 442"/>
                <a:gd name="T31" fmla="*/ 361 h 442"/>
                <a:gd name="T32" fmla="*/ 27 w 442"/>
                <a:gd name="T33" fmla="*/ 326 h 442"/>
                <a:gd name="T34" fmla="*/ 10 w 442"/>
                <a:gd name="T35" fmla="*/ 287 h 442"/>
                <a:gd name="T36" fmla="*/ 2 w 442"/>
                <a:gd name="T37" fmla="*/ 255 h 442"/>
                <a:gd name="T38" fmla="*/ 0 w 442"/>
                <a:gd name="T39" fmla="*/ 232 h 442"/>
                <a:gd name="T40" fmla="*/ 0 w 442"/>
                <a:gd name="T41" fmla="*/ 210 h 442"/>
                <a:gd name="T42" fmla="*/ 2 w 442"/>
                <a:gd name="T43" fmla="*/ 188 h 442"/>
                <a:gd name="T44" fmla="*/ 10 w 442"/>
                <a:gd name="T45" fmla="*/ 155 h 442"/>
                <a:gd name="T46" fmla="*/ 27 w 442"/>
                <a:gd name="T47" fmla="*/ 116 h 442"/>
                <a:gd name="T48" fmla="*/ 50 w 442"/>
                <a:gd name="T49" fmla="*/ 81 h 442"/>
                <a:gd name="T50" fmla="*/ 80 w 442"/>
                <a:gd name="T51" fmla="*/ 50 h 442"/>
                <a:gd name="T52" fmla="*/ 115 w 442"/>
                <a:gd name="T53" fmla="*/ 26 h 442"/>
                <a:gd name="T54" fmla="*/ 155 w 442"/>
                <a:gd name="T55" fmla="*/ 10 h 442"/>
                <a:gd name="T56" fmla="*/ 188 w 442"/>
                <a:gd name="T57" fmla="*/ 2 h 442"/>
                <a:gd name="T58" fmla="*/ 210 w 442"/>
                <a:gd name="T59" fmla="*/ 0 h 442"/>
                <a:gd name="T60" fmla="*/ 232 w 442"/>
                <a:gd name="T61" fmla="*/ 0 h 442"/>
                <a:gd name="T62" fmla="*/ 255 w 442"/>
                <a:gd name="T63" fmla="*/ 2 h 442"/>
                <a:gd name="T64" fmla="*/ 287 w 442"/>
                <a:gd name="T65" fmla="*/ 10 h 442"/>
                <a:gd name="T66" fmla="*/ 327 w 442"/>
                <a:gd name="T67" fmla="*/ 26 h 442"/>
                <a:gd name="T68" fmla="*/ 362 w 442"/>
                <a:gd name="T69" fmla="*/ 50 h 442"/>
                <a:gd name="T70" fmla="*/ 392 w 442"/>
                <a:gd name="T71" fmla="*/ 81 h 442"/>
                <a:gd name="T72" fmla="*/ 415 w 442"/>
                <a:gd name="T73" fmla="*/ 116 h 442"/>
                <a:gd name="T74" fmla="*/ 432 w 442"/>
                <a:gd name="T75" fmla="*/ 155 h 442"/>
                <a:gd name="T76" fmla="*/ 440 w 442"/>
                <a:gd name="T77" fmla="*/ 188 h 442"/>
                <a:gd name="T78" fmla="*/ 442 w 442"/>
                <a:gd name="T79" fmla="*/ 2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2" h="442">
                  <a:moveTo>
                    <a:pt x="442" y="221"/>
                  </a:moveTo>
                  <a:lnTo>
                    <a:pt x="442" y="232"/>
                  </a:lnTo>
                  <a:lnTo>
                    <a:pt x="441" y="243"/>
                  </a:lnTo>
                  <a:lnTo>
                    <a:pt x="440" y="255"/>
                  </a:lnTo>
                  <a:lnTo>
                    <a:pt x="437" y="265"/>
                  </a:lnTo>
                  <a:lnTo>
                    <a:pt x="432" y="287"/>
                  </a:lnTo>
                  <a:lnTo>
                    <a:pt x="425" y="307"/>
                  </a:lnTo>
                  <a:lnTo>
                    <a:pt x="415" y="326"/>
                  </a:lnTo>
                  <a:lnTo>
                    <a:pt x="404" y="344"/>
                  </a:lnTo>
                  <a:lnTo>
                    <a:pt x="392" y="361"/>
                  </a:lnTo>
                  <a:lnTo>
                    <a:pt x="378" y="378"/>
                  </a:lnTo>
                  <a:lnTo>
                    <a:pt x="362" y="392"/>
                  </a:lnTo>
                  <a:lnTo>
                    <a:pt x="345" y="404"/>
                  </a:lnTo>
                  <a:lnTo>
                    <a:pt x="327" y="415"/>
                  </a:lnTo>
                  <a:lnTo>
                    <a:pt x="307" y="425"/>
                  </a:lnTo>
                  <a:lnTo>
                    <a:pt x="287" y="432"/>
                  </a:lnTo>
                  <a:lnTo>
                    <a:pt x="266" y="437"/>
                  </a:lnTo>
                  <a:lnTo>
                    <a:pt x="255" y="439"/>
                  </a:lnTo>
                  <a:lnTo>
                    <a:pt x="244" y="440"/>
                  </a:lnTo>
                  <a:lnTo>
                    <a:pt x="232" y="442"/>
                  </a:lnTo>
                  <a:lnTo>
                    <a:pt x="221" y="442"/>
                  </a:lnTo>
                  <a:lnTo>
                    <a:pt x="210" y="442"/>
                  </a:lnTo>
                  <a:lnTo>
                    <a:pt x="199" y="440"/>
                  </a:lnTo>
                  <a:lnTo>
                    <a:pt x="188" y="439"/>
                  </a:lnTo>
                  <a:lnTo>
                    <a:pt x="177" y="437"/>
                  </a:lnTo>
                  <a:lnTo>
                    <a:pt x="155" y="432"/>
                  </a:lnTo>
                  <a:lnTo>
                    <a:pt x="135" y="425"/>
                  </a:lnTo>
                  <a:lnTo>
                    <a:pt x="115" y="415"/>
                  </a:lnTo>
                  <a:lnTo>
                    <a:pt x="97" y="404"/>
                  </a:lnTo>
                  <a:lnTo>
                    <a:pt x="80" y="392"/>
                  </a:lnTo>
                  <a:lnTo>
                    <a:pt x="64" y="378"/>
                  </a:lnTo>
                  <a:lnTo>
                    <a:pt x="50" y="361"/>
                  </a:lnTo>
                  <a:lnTo>
                    <a:pt x="38" y="344"/>
                  </a:lnTo>
                  <a:lnTo>
                    <a:pt x="27" y="326"/>
                  </a:lnTo>
                  <a:lnTo>
                    <a:pt x="17" y="307"/>
                  </a:lnTo>
                  <a:lnTo>
                    <a:pt x="10" y="287"/>
                  </a:lnTo>
                  <a:lnTo>
                    <a:pt x="5" y="265"/>
                  </a:lnTo>
                  <a:lnTo>
                    <a:pt x="2" y="255"/>
                  </a:lnTo>
                  <a:lnTo>
                    <a:pt x="1" y="243"/>
                  </a:lnTo>
                  <a:lnTo>
                    <a:pt x="0" y="232"/>
                  </a:lnTo>
                  <a:lnTo>
                    <a:pt x="0" y="221"/>
                  </a:lnTo>
                  <a:lnTo>
                    <a:pt x="0" y="210"/>
                  </a:lnTo>
                  <a:lnTo>
                    <a:pt x="1" y="199"/>
                  </a:lnTo>
                  <a:lnTo>
                    <a:pt x="2" y="188"/>
                  </a:lnTo>
                  <a:lnTo>
                    <a:pt x="5" y="177"/>
                  </a:lnTo>
                  <a:lnTo>
                    <a:pt x="10" y="155"/>
                  </a:lnTo>
                  <a:lnTo>
                    <a:pt x="17" y="135"/>
                  </a:lnTo>
                  <a:lnTo>
                    <a:pt x="27" y="116"/>
                  </a:lnTo>
                  <a:lnTo>
                    <a:pt x="38" y="97"/>
                  </a:lnTo>
                  <a:lnTo>
                    <a:pt x="50" y="81"/>
                  </a:lnTo>
                  <a:lnTo>
                    <a:pt x="64" y="64"/>
                  </a:lnTo>
                  <a:lnTo>
                    <a:pt x="80" y="50"/>
                  </a:lnTo>
                  <a:lnTo>
                    <a:pt x="97" y="38"/>
                  </a:lnTo>
                  <a:lnTo>
                    <a:pt x="115" y="26"/>
                  </a:lnTo>
                  <a:lnTo>
                    <a:pt x="135" y="17"/>
                  </a:lnTo>
                  <a:lnTo>
                    <a:pt x="155" y="10"/>
                  </a:lnTo>
                  <a:lnTo>
                    <a:pt x="177" y="4"/>
                  </a:lnTo>
                  <a:lnTo>
                    <a:pt x="188" y="2"/>
                  </a:lnTo>
                  <a:lnTo>
                    <a:pt x="199" y="1"/>
                  </a:lnTo>
                  <a:lnTo>
                    <a:pt x="210" y="0"/>
                  </a:lnTo>
                  <a:lnTo>
                    <a:pt x="221" y="0"/>
                  </a:lnTo>
                  <a:lnTo>
                    <a:pt x="232" y="0"/>
                  </a:lnTo>
                  <a:lnTo>
                    <a:pt x="244" y="1"/>
                  </a:lnTo>
                  <a:lnTo>
                    <a:pt x="255" y="2"/>
                  </a:lnTo>
                  <a:lnTo>
                    <a:pt x="266" y="4"/>
                  </a:lnTo>
                  <a:lnTo>
                    <a:pt x="287" y="10"/>
                  </a:lnTo>
                  <a:lnTo>
                    <a:pt x="307" y="17"/>
                  </a:lnTo>
                  <a:lnTo>
                    <a:pt x="327" y="26"/>
                  </a:lnTo>
                  <a:lnTo>
                    <a:pt x="345" y="38"/>
                  </a:lnTo>
                  <a:lnTo>
                    <a:pt x="362" y="50"/>
                  </a:lnTo>
                  <a:lnTo>
                    <a:pt x="378" y="64"/>
                  </a:lnTo>
                  <a:lnTo>
                    <a:pt x="392" y="81"/>
                  </a:lnTo>
                  <a:lnTo>
                    <a:pt x="404" y="97"/>
                  </a:lnTo>
                  <a:lnTo>
                    <a:pt x="415" y="116"/>
                  </a:lnTo>
                  <a:lnTo>
                    <a:pt x="425" y="135"/>
                  </a:lnTo>
                  <a:lnTo>
                    <a:pt x="432" y="155"/>
                  </a:lnTo>
                  <a:lnTo>
                    <a:pt x="437" y="177"/>
                  </a:lnTo>
                  <a:lnTo>
                    <a:pt x="440" y="188"/>
                  </a:lnTo>
                  <a:lnTo>
                    <a:pt x="441" y="199"/>
                  </a:lnTo>
                  <a:lnTo>
                    <a:pt x="442" y="210"/>
                  </a:lnTo>
                  <a:lnTo>
                    <a:pt x="442" y="2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19" name="Freeform 75">
              <a:extLst>
                <a:ext uri="{FF2B5EF4-FFF2-40B4-BE49-F238E27FC236}">
                  <a16:creationId xmlns:a16="http://schemas.microsoft.com/office/drawing/2014/main" id="{4E48639A-DB10-4151-6D03-B517217CEDFE}"/>
                </a:ext>
              </a:extLst>
            </p:cNvPr>
            <p:cNvSpPr>
              <a:spLocks/>
            </p:cNvSpPr>
            <p:nvPr/>
          </p:nvSpPr>
          <p:spPr bwMode="auto">
            <a:xfrm>
              <a:off x="11600547" y="1675744"/>
              <a:ext cx="93434" cy="100756"/>
            </a:xfrm>
            <a:custGeom>
              <a:avLst/>
              <a:gdLst>
                <a:gd name="T0" fmla="*/ 335 w 336"/>
                <a:gd name="T1" fmla="*/ 185 h 336"/>
                <a:gd name="T2" fmla="*/ 328 w 336"/>
                <a:gd name="T3" fmla="*/ 217 h 336"/>
                <a:gd name="T4" fmla="*/ 315 w 336"/>
                <a:gd name="T5" fmla="*/ 247 h 336"/>
                <a:gd name="T6" fmla="*/ 297 w 336"/>
                <a:gd name="T7" fmla="*/ 274 h 336"/>
                <a:gd name="T8" fmla="*/ 275 w 336"/>
                <a:gd name="T9" fmla="*/ 297 h 336"/>
                <a:gd name="T10" fmla="*/ 248 w 336"/>
                <a:gd name="T11" fmla="*/ 315 h 336"/>
                <a:gd name="T12" fmla="*/ 218 w 336"/>
                <a:gd name="T13" fmla="*/ 328 h 336"/>
                <a:gd name="T14" fmla="*/ 186 w 336"/>
                <a:gd name="T15" fmla="*/ 334 h 336"/>
                <a:gd name="T16" fmla="*/ 151 w 336"/>
                <a:gd name="T17" fmla="*/ 334 h 336"/>
                <a:gd name="T18" fmla="*/ 118 w 336"/>
                <a:gd name="T19" fmla="*/ 328 h 336"/>
                <a:gd name="T20" fmla="*/ 89 w 336"/>
                <a:gd name="T21" fmla="*/ 315 h 336"/>
                <a:gd name="T22" fmla="*/ 61 w 336"/>
                <a:gd name="T23" fmla="*/ 297 h 336"/>
                <a:gd name="T24" fmla="*/ 39 w 336"/>
                <a:gd name="T25" fmla="*/ 274 h 336"/>
                <a:gd name="T26" fmla="*/ 21 w 336"/>
                <a:gd name="T27" fmla="*/ 247 h 336"/>
                <a:gd name="T28" fmla="*/ 8 w 336"/>
                <a:gd name="T29" fmla="*/ 217 h 336"/>
                <a:gd name="T30" fmla="*/ 1 w 336"/>
                <a:gd name="T31" fmla="*/ 185 h 336"/>
                <a:gd name="T32" fmla="*/ 1 w 336"/>
                <a:gd name="T33" fmla="*/ 151 h 336"/>
                <a:gd name="T34" fmla="*/ 8 w 336"/>
                <a:gd name="T35" fmla="*/ 118 h 336"/>
                <a:gd name="T36" fmla="*/ 21 w 336"/>
                <a:gd name="T37" fmla="*/ 88 h 336"/>
                <a:gd name="T38" fmla="*/ 39 w 336"/>
                <a:gd name="T39" fmla="*/ 61 h 336"/>
                <a:gd name="T40" fmla="*/ 61 w 336"/>
                <a:gd name="T41" fmla="*/ 39 h 336"/>
                <a:gd name="T42" fmla="*/ 89 w 336"/>
                <a:gd name="T43" fmla="*/ 21 h 336"/>
                <a:gd name="T44" fmla="*/ 118 w 336"/>
                <a:gd name="T45" fmla="*/ 8 h 336"/>
                <a:gd name="T46" fmla="*/ 151 w 336"/>
                <a:gd name="T47" fmla="*/ 1 h 336"/>
                <a:gd name="T48" fmla="*/ 186 w 336"/>
                <a:gd name="T49" fmla="*/ 1 h 336"/>
                <a:gd name="T50" fmla="*/ 218 w 336"/>
                <a:gd name="T51" fmla="*/ 8 h 336"/>
                <a:gd name="T52" fmla="*/ 248 w 336"/>
                <a:gd name="T53" fmla="*/ 21 h 336"/>
                <a:gd name="T54" fmla="*/ 275 w 336"/>
                <a:gd name="T55" fmla="*/ 39 h 336"/>
                <a:gd name="T56" fmla="*/ 297 w 336"/>
                <a:gd name="T57" fmla="*/ 61 h 336"/>
                <a:gd name="T58" fmla="*/ 315 w 336"/>
                <a:gd name="T59" fmla="*/ 88 h 336"/>
                <a:gd name="T60" fmla="*/ 328 w 336"/>
                <a:gd name="T61" fmla="*/ 118 h 336"/>
                <a:gd name="T62" fmla="*/ 335 w 336"/>
                <a:gd name="T63" fmla="*/ 15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336">
                  <a:moveTo>
                    <a:pt x="336" y="168"/>
                  </a:moveTo>
                  <a:lnTo>
                    <a:pt x="335" y="185"/>
                  </a:lnTo>
                  <a:lnTo>
                    <a:pt x="333" y="202"/>
                  </a:lnTo>
                  <a:lnTo>
                    <a:pt x="328" y="217"/>
                  </a:lnTo>
                  <a:lnTo>
                    <a:pt x="323" y="233"/>
                  </a:lnTo>
                  <a:lnTo>
                    <a:pt x="315" y="247"/>
                  </a:lnTo>
                  <a:lnTo>
                    <a:pt x="307" y="262"/>
                  </a:lnTo>
                  <a:lnTo>
                    <a:pt x="297" y="274"/>
                  </a:lnTo>
                  <a:lnTo>
                    <a:pt x="286" y="286"/>
                  </a:lnTo>
                  <a:lnTo>
                    <a:pt x="275" y="297"/>
                  </a:lnTo>
                  <a:lnTo>
                    <a:pt x="262" y="307"/>
                  </a:lnTo>
                  <a:lnTo>
                    <a:pt x="248" y="315"/>
                  </a:lnTo>
                  <a:lnTo>
                    <a:pt x="233" y="322"/>
                  </a:lnTo>
                  <a:lnTo>
                    <a:pt x="218" y="328"/>
                  </a:lnTo>
                  <a:lnTo>
                    <a:pt x="202" y="332"/>
                  </a:lnTo>
                  <a:lnTo>
                    <a:pt x="186" y="334"/>
                  </a:lnTo>
                  <a:lnTo>
                    <a:pt x="168" y="336"/>
                  </a:lnTo>
                  <a:lnTo>
                    <a:pt x="151" y="334"/>
                  </a:lnTo>
                  <a:lnTo>
                    <a:pt x="134" y="332"/>
                  </a:lnTo>
                  <a:lnTo>
                    <a:pt x="118" y="328"/>
                  </a:lnTo>
                  <a:lnTo>
                    <a:pt x="103" y="322"/>
                  </a:lnTo>
                  <a:lnTo>
                    <a:pt x="89" y="315"/>
                  </a:lnTo>
                  <a:lnTo>
                    <a:pt x="74" y="307"/>
                  </a:lnTo>
                  <a:lnTo>
                    <a:pt x="61" y="297"/>
                  </a:lnTo>
                  <a:lnTo>
                    <a:pt x="50" y="286"/>
                  </a:lnTo>
                  <a:lnTo>
                    <a:pt x="39" y="274"/>
                  </a:lnTo>
                  <a:lnTo>
                    <a:pt x="29" y="262"/>
                  </a:lnTo>
                  <a:lnTo>
                    <a:pt x="21" y="247"/>
                  </a:lnTo>
                  <a:lnTo>
                    <a:pt x="13" y="233"/>
                  </a:lnTo>
                  <a:lnTo>
                    <a:pt x="8" y="217"/>
                  </a:lnTo>
                  <a:lnTo>
                    <a:pt x="3" y="202"/>
                  </a:lnTo>
                  <a:lnTo>
                    <a:pt x="1" y="185"/>
                  </a:lnTo>
                  <a:lnTo>
                    <a:pt x="0" y="168"/>
                  </a:lnTo>
                  <a:lnTo>
                    <a:pt x="1" y="151"/>
                  </a:lnTo>
                  <a:lnTo>
                    <a:pt x="3" y="134"/>
                  </a:lnTo>
                  <a:lnTo>
                    <a:pt x="8" y="118"/>
                  </a:lnTo>
                  <a:lnTo>
                    <a:pt x="13" y="103"/>
                  </a:lnTo>
                  <a:lnTo>
                    <a:pt x="21" y="88"/>
                  </a:lnTo>
                  <a:lnTo>
                    <a:pt x="29" y="74"/>
                  </a:lnTo>
                  <a:lnTo>
                    <a:pt x="39" y="61"/>
                  </a:lnTo>
                  <a:lnTo>
                    <a:pt x="50" y="50"/>
                  </a:lnTo>
                  <a:lnTo>
                    <a:pt x="61" y="39"/>
                  </a:lnTo>
                  <a:lnTo>
                    <a:pt x="74" y="29"/>
                  </a:lnTo>
                  <a:lnTo>
                    <a:pt x="89" y="21"/>
                  </a:lnTo>
                  <a:lnTo>
                    <a:pt x="103" y="13"/>
                  </a:lnTo>
                  <a:lnTo>
                    <a:pt x="118" y="8"/>
                  </a:lnTo>
                  <a:lnTo>
                    <a:pt x="134" y="3"/>
                  </a:lnTo>
                  <a:lnTo>
                    <a:pt x="151" y="1"/>
                  </a:lnTo>
                  <a:lnTo>
                    <a:pt x="168" y="0"/>
                  </a:lnTo>
                  <a:lnTo>
                    <a:pt x="186" y="1"/>
                  </a:lnTo>
                  <a:lnTo>
                    <a:pt x="202" y="3"/>
                  </a:lnTo>
                  <a:lnTo>
                    <a:pt x="218" y="8"/>
                  </a:lnTo>
                  <a:lnTo>
                    <a:pt x="233" y="13"/>
                  </a:lnTo>
                  <a:lnTo>
                    <a:pt x="248" y="21"/>
                  </a:lnTo>
                  <a:lnTo>
                    <a:pt x="262" y="29"/>
                  </a:lnTo>
                  <a:lnTo>
                    <a:pt x="275" y="39"/>
                  </a:lnTo>
                  <a:lnTo>
                    <a:pt x="286" y="50"/>
                  </a:lnTo>
                  <a:lnTo>
                    <a:pt x="297" y="61"/>
                  </a:lnTo>
                  <a:lnTo>
                    <a:pt x="307" y="74"/>
                  </a:lnTo>
                  <a:lnTo>
                    <a:pt x="315" y="88"/>
                  </a:lnTo>
                  <a:lnTo>
                    <a:pt x="323" y="103"/>
                  </a:lnTo>
                  <a:lnTo>
                    <a:pt x="328" y="118"/>
                  </a:lnTo>
                  <a:lnTo>
                    <a:pt x="333" y="134"/>
                  </a:lnTo>
                  <a:lnTo>
                    <a:pt x="335" y="151"/>
                  </a:lnTo>
                  <a:lnTo>
                    <a:pt x="336" y="168"/>
                  </a:lnTo>
                  <a:close/>
                </a:path>
              </a:pathLst>
            </a:custGeom>
            <a:solidFill>
              <a:srgbClr val="9AD8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0" name="Freeform 76">
              <a:extLst>
                <a:ext uri="{FF2B5EF4-FFF2-40B4-BE49-F238E27FC236}">
                  <a16:creationId xmlns:a16="http://schemas.microsoft.com/office/drawing/2014/main" id="{921C3688-6BFC-B21A-D95B-A96E6264E3CF}"/>
                </a:ext>
              </a:extLst>
            </p:cNvPr>
            <p:cNvSpPr>
              <a:spLocks/>
            </p:cNvSpPr>
            <p:nvPr/>
          </p:nvSpPr>
          <p:spPr bwMode="auto">
            <a:xfrm>
              <a:off x="11617282" y="1678752"/>
              <a:ext cx="76699" cy="97749"/>
            </a:xfrm>
            <a:custGeom>
              <a:avLst/>
              <a:gdLst>
                <a:gd name="T0" fmla="*/ 180 w 276"/>
                <a:gd name="T1" fmla="*/ 12 h 324"/>
                <a:gd name="T2" fmla="*/ 202 w 276"/>
                <a:gd name="T3" fmla="*/ 40 h 324"/>
                <a:gd name="T4" fmla="*/ 217 w 276"/>
                <a:gd name="T5" fmla="*/ 72 h 324"/>
                <a:gd name="T6" fmla="*/ 226 w 276"/>
                <a:gd name="T7" fmla="*/ 107 h 324"/>
                <a:gd name="T8" fmla="*/ 226 w 276"/>
                <a:gd name="T9" fmla="*/ 144 h 324"/>
                <a:gd name="T10" fmla="*/ 220 w 276"/>
                <a:gd name="T11" fmla="*/ 176 h 324"/>
                <a:gd name="T12" fmla="*/ 207 w 276"/>
                <a:gd name="T13" fmla="*/ 205 h 324"/>
                <a:gd name="T14" fmla="*/ 189 w 276"/>
                <a:gd name="T15" fmla="*/ 233 h 324"/>
                <a:gd name="T16" fmla="*/ 167 w 276"/>
                <a:gd name="T17" fmla="*/ 255 h 324"/>
                <a:gd name="T18" fmla="*/ 139 w 276"/>
                <a:gd name="T19" fmla="*/ 273 h 324"/>
                <a:gd name="T20" fmla="*/ 109 w 276"/>
                <a:gd name="T21" fmla="*/ 286 h 324"/>
                <a:gd name="T22" fmla="*/ 77 w 276"/>
                <a:gd name="T23" fmla="*/ 293 h 324"/>
                <a:gd name="T24" fmla="*/ 44 w 276"/>
                <a:gd name="T25" fmla="*/ 293 h 324"/>
                <a:gd name="T26" fmla="*/ 14 w 276"/>
                <a:gd name="T27" fmla="*/ 286 h 324"/>
                <a:gd name="T28" fmla="*/ 12 w 276"/>
                <a:gd name="T29" fmla="*/ 290 h 324"/>
                <a:gd name="T30" fmla="*/ 36 w 276"/>
                <a:gd name="T31" fmla="*/ 306 h 324"/>
                <a:gd name="T32" fmla="*/ 64 w 276"/>
                <a:gd name="T33" fmla="*/ 317 h 324"/>
                <a:gd name="T34" fmla="*/ 93 w 276"/>
                <a:gd name="T35" fmla="*/ 322 h 324"/>
                <a:gd name="T36" fmla="*/ 126 w 276"/>
                <a:gd name="T37" fmla="*/ 322 h 324"/>
                <a:gd name="T38" fmla="*/ 158 w 276"/>
                <a:gd name="T39" fmla="*/ 316 h 324"/>
                <a:gd name="T40" fmla="*/ 188 w 276"/>
                <a:gd name="T41" fmla="*/ 303 h 324"/>
                <a:gd name="T42" fmla="*/ 215 w 276"/>
                <a:gd name="T43" fmla="*/ 285 h 324"/>
                <a:gd name="T44" fmla="*/ 237 w 276"/>
                <a:gd name="T45" fmla="*/ 262 h 324"/>
                <a:gd name="T46" fmla="*/ 255 w 276"/>
                <a:gd name="T47" fmla="*/ 235 h 324"/>
                <a:gd name="T48" fmla="*/ 268 w 276"/>
                <a:gd name="T49" fmla="*/ 205 h 324"/>
                <a:gd name="T50" fmla="*/ 275 w 276"/>
                <a:gd name="T51" fmla="*/ 173 h 324"/>
                <a:gd name="T52" fmla="*/ 275 w 276"/>
                <a:gd name="T53" fmla="*/ 143 h 324"/>
                <a:gd name="T54" fmla="*/ 271 w 276"/>
                <a:gd name="T55" fmla="*/ 117 h 324"/>
                <a:gd name="T56" fmla="*/ 264 w 276"/>
                <a:gd name="T57" fmla="*/ 93 h 324"/>
                <a:gd name="T58" fmla="*/ 252 w 276"/>
                <a:gd name="T59" fmla="*/ 71 h 324"/>
                <a:gd name="T60" fmla="*/ 237 w 276"/>
                <a:gd name="T61" fmla="*/ 50 h 324"/>
                <a:gd name="T62" fmla="*/ 221 w 276"/>
                <a:gd name="T63" fmla="*/ 32 h 324"/>
                <a:gd name="T64" fmla="*/ 201 w 276"/>
                <a:gd name="T65" fmla="*/ 18 h 324"/>
                <a:gd name="T66" fmla="*/ 179 w 276"/>
                <a:gd name="T67" fmla="*/ 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324">
                  <a:moveTo>
                    <a:pt x="167" y="0"/>
                  </a:moveTo>
                  <a:lnTo>
                    <a:pt x="180" y="12"/>
                  </a:lnTo>
                  <a:lnTo>
                    <a:pt x="192" y="25"/>
                  </a:lnTo>
                  <a:lnTo>
                    <a:pt x="202" y="40"/>
                  </a:lnTo>
                  <a:lnTo>
                    <a:pt x="211" y="55"/>
                  </a:lnTo>
                  <a:lnTo>
                    <a:pt x="217" y="72"/>
                  </a:lnTo>
                  <a:lnTo>
                    <a:pt x="223" y="90"/>
                  </a:lnTo>
                  <a:lnTo>
                    <a:pt x="226" y="107"/>
                  </a:lnTo>
                  <a:lnTo>
                    <a:pt x="227" y="126"/>
                  </a:lnTo>
                  <a:lnTo>
                    <a:pt x="226" y="144"/>
                  </a:lnTo>
                  <a:lnTo>
                    <a:pt x="224" y="160"/>
                  </a:lnTo>
                  <a:lnTo>
                    <a:pt x="220" y="176"/>
                  </a:lnTo>
                  <a:lnTo>
                    <a:pt x="214" y="191"/>
                  </a:lnTo>
                  <a:lnTo>
                    <a:pt x="207" y="205"/>
                  </a:lnTo>
                  <a:lnTo>
                    <a:pt x="199" y="220"/>
                  </a:lnTo>
                  <a:lnTo>
                    <a:pt x="189" y="233"/>
                  </a:lnTo>
                  <a:lnTo>
                    <a:pt x="178" y="244"/>
                  </a:lnTo>
                  <a:lnTo>
                    <a:pt x="167" y="255"/>
                  </a:lnTo>
                  <a:lnTo>
                    <a:pt x="153" y="265"/>
                  </a:lnTo>
                  <a:lnTo>
                    <a:pt x="139" y="273"/>
                  </a:lnTo>
                  <a:lnTo>
                    <a:pt x="125" y="281"/>
                  </a:lnTo>
                  <a:lnTo>
                    <a:pt x="109" y="286"/>
                  </a:lnTo>
                  <a:lnTo>
                    <a:pt x="94" y="290"/>
                  </a:lnTo>
                  <a:lnTo>
                    <a:pt x="77" y="293"/>
                  </a:lnTo>
                  <a:lnTo>
                    <a:pt x="59" y="294"/>
                  </a:lnTo>
                  <a:lnTo>
                    <a:pt x="44" y="293"/>
                  </a:lnTo>
                  <a:lnTo>
                    <a:pt x="29" y="290"/>
                  </a:lnTo>
                  <a:lnTo>
                    <a:pt x="14" y="286"/>
                  </a:lnTo>
                  <a:lnTo>
                    <a:pt x="0" y="282"/>
                  </a:lnTo>
                  <a:lnTo>
                    <a:pt x="12" y="290"/>
                  </a:lnTo>
                  <a:lnTo>
                    <a:pt x="24" y="298"/>
                  </a:lnTo>
                  <a:lnTo>
                    <a:pt x="36" y="306"/>
                  </a:lnTo>
                  <a:lnTo>
                    <a:pt x="49" y="311"/>
                  </a:lnTo>
                  <a:lnTo>
                    <a:pt x="64" y="317"/>
                  </a:lnTo>
                  <a:lnTo>
                    <a:pt x="78" y="320"/>
                  </a:lnTo>
                  <a:lnTo>
                    <a:pt x="93" y="322"/>
                  </a:lnTo>
                  <a:lnTo>
                    <a:pt x="108" y="324"/>
                  </a:lnTo>
                  <a:lnTo>
                    <a:pt x="126" y="322"/>
                  </a:lnTo>
                  <a:lnTo>
                    <a:pt x="142" y="320"/>
                  </a:lnTo>
                  <a:lnTo>
                    <a:pt x="158" y="316"/>
                  </a:lnTo>
                  <a:lnTo>
                    <a:pt x="173" y="310"/>
                  </a:lnTo>
                  <a:lnTo>
                    <a:pt x="188" y="303"/>
                  </a:lnTo>
                  <a:lnTo>
                    <a:pt x="202" y="295"/>
                  </a:lnTo>
                  <a:lnTo>
                    <a:pt x="215" y="285"/>
                  </a:lnTo>
                  <a:lnTo>
                    <a:pt x="226" y="274"/>
                  </a:lnTo>
                  <a:lnTo>
                    <a:pt x="237" y="262"/>
                  </a:lnTo>
                  <a:lnTo>
                    <a:pt x="247" y="250"/>
                  </a:lnTo>
                  <a:lnTo>
                    <a:pt x="255" y="235"/>
                  </a:lnTo>
                  <a:lnTo>
                    <a:pt x="263" y="221"/>
                  </a:lnTo>
                  <a:lnTo>
                    <a:pt x="268" y="205"/>
                  </a:lnTo>
                  <a:lnTo>
                    <a:pt x="273" y="190"/>
                  </a:lnTo>
                  <a:lnTo>
                    <a:pt x="275" y="173"/>
                  </a:lnTo>
                  <a:lnTo>
                    <a:pt x="276" y="156"/>
                  </a:lnTo>
                  <a:lnTo>
                    <a:pt x="275" y="143"/>
                  </a:lnTo>
                  <a:lnTo>
                    <a:pt x="274" y="129"/>
                  </a:lnTo>
                  <a:lnTo>
                    <a:pt x="271" y="117"/>
                  </a:lnTo>
                  <a:lnTo>
                    <a:pt x="267" y="105"/>
                  </a:lnTo>
                  <a:lnTo>
                    <a:pt x="264" y="93"/>
                  </a:lnTo>
                  <a:lnTo>
                    <a:pt x="258" y="82"/>
                  </a:lnTo>
                  <a:lnTo>
                    <a:pt x="252" y="71"/>
                  </a:lnTo>
                  <a:lnTo>
                    <a:pt x="245" y="60"/>
                  </a:lnTo>
                  <a:lnTo>
                    <a:pt x="237" y="50"/>
                  </a:lnTo>
                  <a:lnTo>
                    <a:pt x="230" y="41"/>
                  </a:lnTo>
                  <a:lnTo>
                    <a:pt x="221" y="32"/>
                  </a:lnTo>
                  <a:lnTo>
                    <a:pt x="211" y="24"/>
                  </a:lnTo>
                  <a:lnTo>
                    <a:pt x="201" y="18"/>
                  </a:lnTo>
                  <a:lnTo>
                    <a:pt x="190" y="11"/>
                  </a:lnTo>
                  <a:lnTo>
                    <a:pt x="179" y="5"/>
                  </a:lnTo>
                  <a:lnTo>
                    <a:pt x="167" y="0"/>
                  </a:lnTo>
                  <a:close/>
                </a:path>
              </a:pathLst>
            </a:custGeom>
            <a:solidFill>
              <a:srgbClr val="72C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1" name="Freeform 77">
              <a:extLst>
                <a:ext uri="{FF2B5EF4-FFF2-40B4-BE49-F238E27FC236}">
                  <a16:creationId xmlns:a16="http://schemas.microsoft.com/office/drawing/2014/main" id="{532C906C-87CF-AD54-2A5B-C559B22D3865}"/>
                </a:ext>
              </a:extLst>
            </p:cNvPr>
            <p:cNvSpPr>
              <a:spLocks/>
            </p:cNvSpPr>
            <p:nvPr/>
          </p:nvSpPr>
          <p:spPr bwMode="auto">
            <a:xfrm>
              <a:off x="11502931" y="3132960"/>
              <a:ext cx="291456" cy="87223"/>
            </a:xfrm>
            <a:custGeom>
              <a:avLst/>
              <a:gdLst>
                <a:gd name="T0" fmla="*/ 1041 w 1042"/>
                <a:gd name="T1" fmla="*/ 277 h 291"/>
                <a:gd name="T2" fmla="*/ 1035 w 1042"/>
                <a:gd name="T3" fmla="*/ 247 h 291"/>
                <a:gd name="T4" fmla="*/ 1025 w 1042"/>
                <a:gd name="T5" fmla="*/ 220 h 291"/>
                <a:gd name="T6" fmla="*/ 1010 w 1042"/>
                <a:gd name="T7" fmla="*/ 192 h 291"/>
                <a:gd name="T8" fmla="*/ 990 w 1042"/>
                <a:gd name="T9" fmla="*/ 166 h 291"/>
                <a:gd name="T10" fmla="*/ 967 w 1042"/>
                <a:gd name="T11" fmla="*/ 141 h 291"/>
                <a:gd name="T12" fmla="*/ 938 w 1042"/>
                <a:gd name="T13" fmla="*/ 118 h 291"/>
                <a:gd name="T14" fmla="*/ 906 w 1042"/>
                <a:gd name="T15" fmla="*/ 96 h 291"/>
                <a:gd name="T16" fmla="*/ 871 w 1042"/>
                <a:gd name="T17" fmla="*/ 76 h 291"/>
                <a:gd name="T18" fmla="*/ 833 w 1042"/>
                <a:gd name="T19" fmla="*/ 59 h 291"/>
                <a:gd name="T20" fmla="*/ 791 w 1042"/>
                <a:gd name="T21" fmla="*/ 43 h 291"/>
                <a:gd name="T22" fmla="*/ 747 w 1042"/>
                <a:gd name="T23" fmla="*/ 29 h 291"/>
                <a:gd name="T24" fmla="*/ 700 w 1042"/>
                <a:gd name="T25" fmla="*/ 18 h 291"/>
                <a:gd name="T26" fmla="*/ 651 w 1042"/>
                <a:gd name="T27" fmla="*/ 10 h 291"/>
                <a:gd name="T28" fmla="*/ 600 w 1042"/>
                <a:gd name="T29" fmla="*/ 4 h 291"/>
                <a:gd name="T30" fmla="*/ 548 w 1042"/>
                <a:gd name="T31" fmla="*/ 1 h 291"/>
                <a:gd name="T32" fmla="*/ 494 w 1042"/>
                <a:gd name="T33" fmla="*/ 1 h 291"/>
                <a:gd name="T34" fmla="*/ 442 w 1042"/>
                <a:gd name="T35" fmla="*/ 4 h 291"/>
                <a:gd name="T36" fmla="*/ 391 w 1042"/>
                <a:gd name="T37" fmla="*/ 10 h 291"/>
                <a:gd name="T38" fmla="*/ 342 w 1042"/>
                <a:gd name="T39" fmla="*/ 18 h 291"/>
                <a:gd name="T40" fmla="*/ 295 w 1042"/>
                <a:gd name="T41" fmla="*/ 29 h 291"/>
                <a:gd name="T42" fmla="*/ 251 w 1042"/>
                <a:gd name="T43" fmla="*/ 43 h 291"/>
                <a:gd name="T44" fmla="*/ 209 w 1042"/>
                <a:gd name="T45" fmla="*/ 59 h 291"/>
                <a:gd name="T46" fmla="*/ 170 w 1042"/>
                <a:gd name="T47" fmla="*/ 76 h 291"/>
                <a:gd name="T48" fmla="*/ 135 w 1042"/>
                <a:gd name="T49" fmla="*/ 96 h 291"/>
                <a:gd name="T50" fmla="*/ 103 w 1042"/>
                <a:gd name="T51" fmla="*/ 118 h 291"/>
                <a:gd name="T52" fmla="*/ 75 w 1042"/>
                <a:gd name="T53" fmla="*/ 141 h 291"/>
                <a:gd name="T54" fmla="*/ 51 w 1042"/>
                <a:gd name="T55" fmla="*/ 166 h 291"/>
                <a:gd name="T56" fmla="*/ 31 w 1042"/>
                <a:gd name="T57" fmla="*/ 192 h 291"/>
                <a:gd name="T58" fmla="*/ 17 w 1042"/>
                <a:gd name="T59" fmla="*/ 220 h 291"/>
                <a:gd name="T60" fmla="*/ 6 w 1042"/>
                <a:gd name="T61" fmla="*/ 247 h 291"/>
                <a:gd name="T62" fmla="*/ 0 w 1042"/>
                <a:gd name="T63" fmla="*/ 277 h 291"/>
                <a:gd name="T64" fmla="*/ 1042 w 1042"/>
                <a:gd name="T65"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2" h="291">
                  <a:moveTo>
                    <a:pt x="1042" y="291"/>
                  </a:moveTo>
                  <a:lnTo>
                    <a:pt x="1041" y="277"/>
                  </a:lnTo>
                  <a:lnTo>
                    <a:pt x="1038" y="262"/>
                  </a:lnTo>
                  <a:lnTo>
                    <a:pt x="1035" y="247"/>
                  </a:lnTo>
                  <a:lnTo>
                    <a:pt x="1031" y="233"/>
                  </a:lnTo>
                  <a:lnTo>
                    <a:pt x="1025" y="220"/>
                  </a:lnTo>
                  <a:lnTo>
                    <a:pt x="1019" y="205"/>
                  </a:lnTo>
                  <a:lnTo>
                    <a:pt x="1010" y="192"/>
                  </a:lnTo>
                  <a:lnTo>
                    <a:pt x="1001" y="179"/>
                  </a:lnTo>
                  <a:lnTo>
                    <a:pt x="990" y="166"/>
                  </a:lnTo>
                  <a:lnTo>
                    <a:pt x="979" y="153"/>
                  </a:lnTo>
                  <a:lnTo>
                    <a:pt x="967" y="141"/>
                  </a:lnTo>
                  <a:lnTo>
                    <a:pt x="952" y="129"/>
                  </a:lnTo>
                  <a:lnTo>
                    <a:pt x="938" y="118"/>
                  </a:lnTo>
                  <a:lnTo>
                    <a:pt x="922" y="107"/>
                  </a:lnTo>
                  <a:lnTo>
                    <a:pt x="906" y="96"/>
                  </a:lnTo>
                  <a:lnTo>
                    <a:pt x="889" y="86"/>
                  </a:lnTo>
                  <a:lnTo>
                    <a:pt x="871" y="76"/>
                  </a:lnTo>
                  <a:lnTo>
                    <a:pt x="852" y="67"/>
                  </a:lnTo>
                  <a:lnTo>
                    <a:pt x="833" y="59"/>
                  </a:lnTo>
                  <a:lnTo>
                    <a:pt x="812" y="51"/>
                  </a:lnTo>
                  <a:lnTo>
                    <a:pt x="791" y="43"/>
                  </a:lnTo>
                  <a:lnTo>
                    <a:pt x="769" y="35"/>
                  </a:lnTo>
                  <a:lnTo>
                    <a:pt x="747" y="29"/>
                  </a:lnTo>
                  <a:lnTo>
                    <a:pt x="724" y="23"/>
                  </a:lnTo>
                  <a:lnTo>
                    <a:pt x="700" y="18"/>
                  </a:lnTo>
                  <a:lnTo>
                    <a:pt x="676" y="13"/>
                  </a:lnTo>
                  <a:lnTo>
                    <a:pt x="651" y="10"/>
                  </a:lnTo>
                  <a:lnTo>
                    <a:pt x="625" y="7"/>
                  </a:lnTo>
                  <a:lnTo>
                    <a:pt x="600" y="4"/>
                  </a:lnTo>
                  <a:lnTo>
                    <a:pt x="575" y="2"/>
                  </a:lnTo>
                  <a:lnTo>
                    <a:pt x="548" y="1"/>
                  </a:lnTo>
                  <a:lnTo>
                    <a:pt x="520" y="0"/>
                  </a:lnTo>
                  <a:lnTo>
                    <a:pt x="494" y="1"/>
                  </a:lnTo>
                  <a:lnTo>
                    <a:pt x="467" y="2"/>
                  </a:lnTo>
                  <a:lnTo>
                    <a:pt x="442" y="4"/>
                  </a:lnTo>
                  <a:lnTo>
                    <a:pt x="416" y="7"/>
                  </a:lnTo>
                  <a:lnTo>
                    <a:pt x="391" y="10"/>
                  </a:lnTo>
                  <a:lnTo>
                    <a:pt x="366" y="13"/>
                  </a:lnTo>
                  <a:lnTo>
                    <a:pt x="342" y="18"/>
                  </a:lnTo>
                  <a:lnTo>
                    <a:pt x="318" y="23"/>
                  </a:lnTo>
                  <a:lnTo>
                    <a:pt x="295" y="29"/>
                  </a:lnTo>
                  <a:lnTo>
                    <a:pt x="273" y="35"/>
                  </a:lnTo>
                  <a:lnTo>
                    <a:pt x="251" y="43"/>
                  </a:lnTo>
                  <a:lnTo>
                    <a:pt x="230" y="51"/>
                  </a:lnTo>
                  <a:lnTo>
                    <a:pt x="209" y="59"/>
                  </a:lnTo>
                  <a:lnTo>
                    <a:pt x="189" y="67"/>
                  </a:lnTo>
                  <a:lnTo>
                    <a:pt x="170" y="76"/>
                  </a:lnTo>
                  <a:lnTo>
                    <a:pt x="153" y="86"/>
                  </a:lnTo>
                  <a:lnTo>
                    <a:pt x="135" y="96"/>
                  </a:lnTo>
                  <a:lnTo>
                    <a:pt x="118" y="107"/>
                  </a:lnTo>
                  <a:lnTo>
                    <a:pt x="103" y="118"/>
                  </a:lnTo>
                  <a:lnTo>
                    <a:pt x="89" y="129"/>
                  </a:lnTo>
                  <a:lnTo>
                    <a:pt x="75" y="141"/>
                  </a:lnTo>
                  <a:lnTo>
                    <a:pt x="63" y="153"/>
                  </a:lnTo>
                  <a:lnTo>
                    <a:pt x="51" y="166"/>
                  </a:lnTo>
                  <a:lnTo>
                    <a:pt x="41" y="179"/>
                  </a:lnTo>
                  <a:lnTo>
                    <a:pt x="31" y="192"/>
                  </a:lnTo>
                  <a:lnTo>
                    <a:pt x="23" y="205"/>
                  </a:lnTo>
                  <a:lnTo>
                    <a:pt x="17" y="220"/>
                  </a:lnTo>
                  <a:lnTo>
                    <a:pt x="10" y="233"/>
                  </a:lnTo>
                  <a:lnTo>
                    <a:pt x="6" y="247"/>
                  </a:lnTo>
                  <a:lnTo>
                    <a:pt x="2" y="262"/>
                  </a:lnTo>
                  <a:lnTo>
                    <a:pt x="0" y="277"/>
                  </a:lnTo>
                  <a:lnTo>
                    <a:pt x="0" y="291"/>
                  </a:lnTo>
                  <a:lnTo>
                    <a:pt x="1042" y="291"/>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2" name="Freeform 78">
              <a:extLst>
                <a:ext uri="{FF2B5EF4-FFF2-40B4-BE49-F238E27FC236}">
                  <a16:creationId xmlns:a16="http://schemas.microsoft.com/office/drawing/2014/main" id="{5099D6D8-2835-512A-9406-B279BA71502C}"/>
                </a:ext>
              </a:extLst>
            </p:cNvPr>
            <p:cNvSpPr>
              <a:spLocks/>
            </p:cNvSpPr>
            <p:nvPr/>
          </p:nvSpPr>
          <p:spPr bwMode="auto">
            <a:xfrm>
              <a:off x="11627042" y="3132960"/>
              <a:ext cx="167342" cy="87223"/>
            </a:xfrm>
            <a:custGeom>
              <a:avLst/>
              <a:gdLst>
                <a:gd name="T0" fmla="*/ 60 w 601"/>
                <a:gd name="T1" fmla="*/ 1 h 291"/>
                <a:gd name="T2" fmla="*/ 20 w 601"/>
                <a:gd name="T3" fmla="*/ 2 h 291"/>
                <a:gd name="T4" fmla="*/ 23 w 601"/>
                <a:gd name="T5" fmla="*/ 7 h 291"/>
                <a:gd name="T6" fmla="*/ 68 w 601"/>
                <a:gd name="T7" fmla="*/ 13 h 291"/>
                <a:gd name="T8" fmla="*/ 113 w 601"/>
                <a:gd name="T9" fmla="*/ 21 h 291"/>
                <a:gd name="T10" fmla="*/ 155 w 601"/>
                <a:gd name="T11" fmla="*/ 32 h 291"/>
                <a:gd name="T12" fmla="*/ 194 w 601"/>
                <a:gd name="T13" fmla="*/ 44 h 291"/>
                <a:gd name="T14" fmla="*/ 232 w 601"/>
                <a:gd name="T15" fmla="*/ 59 h 291"/>
                <a:gd name="T16" fmla="*/ 266 w 601"/>
                <a:gd name="T17" fmla="*/ 75 h 291"/>
                <a:gd name="T18" fmla="*/ 299 w 601"/>
                <a:gd name="T19" fmla="*/ 92 h 291"/>
                <a:gd name="T20" fmla="*/ 329 w 601"/>
                <a:gd name="T21" fmla="*/ 112 h 291"/>
                <a:gd name="T22" fmla="*/ 356 w 601"/>
                <a:gd name="T23" fmla="*/ 131 h 291"/>
                <a:gd name="T24" fmla="*/ 379 w 601"/>
                <a:gd name="T25" fmla="*/ 153 h 291"/>
                <a:gd name="T26" fmla="*/ 399 w 601"/>
                <a:gd name="T27" fmla="*/ 177 h 291"/>
                <a:gd name="T28" fmla="*/ 415 w 601"/>
                <a:gd name="T29" fmla="*/ 201 h 291"/>
                <a:gd name="T30" fmla="*/ 427 w 601"/>
                <a:gd name="T31" fmla="*/ 226 h 291"/>
                <a:gd name="T32" fmla="*/ 436 w 601"/>
                <a:gd name="T33" fmla="*/ 252 h 291"/>
                <a:gd name="T34" fmla="*/ 441 w 601"/>
                <a:gd name="T35" fmla="*/ 278 h 291"/>
                <a:gd name="T36" fmla="*/ 601 w 601"/>
                <a:gd name="T37" fmla="*/ 291 h 291"/>
                <a:gd name="T38" fmla="*/ 597 w 601"/>
                <a:gd name="T39" fmla="*/ 262 h 291"/>
                <a:gd name="T40" fmla="*/ 590 w 601"/>
                <a:gd name="T41" fmla="*/ 233 h 291"/>
                <a:gd name="T42" fmla="*/ 578 w 601"/>
                <a:gd name="T43" fmla="*/ 205 h 291"/>
                <a:gd name="T44" fmla="*/ 560 w 601"/>
                <a:gd name="T45" fmla="*/ 179 h 291"/>
                <a:gd name="T46" fmla="*/ 538 w 601"/>
                <a:gd name="T47" fmla="*/ 153 h 291"/>
                <a:gd name="T48" fmla="*/ 511 w 601"/>
                <a:gd name="T49" fmla="*/ 129 h 291"/>
                <a:gd name="T50" fmla="*/ 481 w 601"/>
                <a:gd name="T51" fmla="*/ 107 h 291"/>
                <a:gd name="T52" fmla="*/ 448 w 601"/>
                <a:gd name="T53" fmla="*/ 86 h 291"/>
                <a:gd name="T54" fmla="*/ 411 w 601"/>
                <a:gd name="T55" fmla="*/ 67 h 291"/>
                <a:gd name="T56" fmla="*/ 371 w 601"/>
                <a:gd name="T57" fmla="*/ 51 h 291"/>
                <a:gd name="T58" fmla="*/ 328 w 601"/>
                <a:gd name="T59" fmla="*/ 35 h 291"/>
                <a:gd name="T60" fmla="*/ 283 w 601"/>
                <a:gd name="T61" fmla="*/ 23 h 291"/>
                <a:gd name="T62" fmla="*/ 235 w 601"/>
                <a:gd name="T63" fmla="*/ 13 h 291"/>
                <a:gd name="T64" fmla="*/ 184 w 601"/>
                <a:gd name="T65" fmla="*/ 7 h 291"/>
                <a:gd name="T66" fmla="*/ 134 w 601"/>
                <a:gd name="T67" fmla="*/ 2 h 291"/>
                <a:gd name="T68" fmla="*/ 79 w 601"/>
                <a:gd name="T6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1" h="291">
                  <a:moveTo>
                    <a:pt x="79" y="0"/>
                  </a:moveTo>
                  <a:lnTo>
                    <a:pt x="60" y="1"/>
                  </a:lnTo>
                  <a:lnTo>
                    <a:pt x="40" y="1"/>
                  </a:lnTo>
                  <a:lnTo>
                    <a:pt x="20" y="2"/>
                  </a:lnTo>
                  <a:lnTo>
                    <a:pt x="0" y="4"/>
                  </a:lnTo>
                  <a:lnTo>
                    <a:pt x="23" y="7"/>
                  </a:lnTo>
                  <a:lnTo>
                    <a:pt x="46" y="10"/>
                  </a:lnTo>
                  <a:lnTo>
                    <a:pt x="68" y="13"/>
                  </a:lnTo>
                  <a:lnTo>
                    <a:pt x="90" y="17"/>
                  </a:lnTo>
                  <a:lnTo>
                    <a:pt x="113" y="21"/>
                  </a:lnTo>
                  <a:lnTo>
                    <a:pt x="134" y="27"/>
                  </a:lnTo>
                  <a:lnTo>
                    <a:pt x="155" y="32"/>
                  </a:lnTo>
                  <a:lnTo>
                    <a:pt x="174" y="38"/>
                  </a:lnTo>
                  <a:lnTo>
                    <a:pt x="194" y="44"/>
                  </a:lnTo>
                  <a:lnTo>
                    <a:pt x="213" y="51"/>
                  </a:lnTo>
                  <a:lnTo>
                    <a:pt x="232" y="59"/>
                  </a:lnTo>
                  <a:lnTo>
                    <a:pt x="250" y="66"/>
                  </a:lnTo>
                  <a:lnTo>
                    <a:pt x="266" y="75"/>
                  </a:lnTo>
                  <a:lnTo>
                    <a:pt x="283" y="83"/>
                  </a:lnTo>
                  <a:lnTo>
                    <a:pt x="299" y="92"/>
                  </a:lnTo>
                  <a:lnTo>
                    <a:pt x="315" y="102"/>
                  </a:lnTo>
                  <a:lnTo>
                    <a:pt x="329" y="112"/>
                  </a:lnTo>
                  <a:lnTo>
                    <a:pt x="342" y="121"/>
                  </a:lnTo>
                  <a:lnTo>
                    <a:pt x="356" y="131"/>
                  </a:lnTo>
                  <a:lnTo>
                    <a:pt x="368" y="142"/>
                  </a:lnTo>
                  <a:lnTo>
                    <a:pt x="379" y="153"/>
                  </a:lnTo>
                  <a:lnTo>
                    <a:pt x="389" y="165"/>
                  </a:lnTo>
                  <a:lnTo>
                    <a:pt x="399" y="177"/>
                  </a:lnTo>
                  <a:lnTo>
                    <a:pt x="407" y="189"/>
                  </a:lnTo>
                  <a:lnTo>
                    <a:pt x="415" y="201"/>
                  </a:lnTo>
                  <a:lnTo>
                    <a:pt x="422" y="213"/>
                  </a:lnTo>
                  <a:lnTo>
                    <a:pt x="427" y="226"/>
                  </a:lnTo>
                  <a:lnTo>
                    <a:pt x="433" y="238"/>
                  </a:lnTo>
                  <a:lnTo>
                    <a:pt x="436" y="252"/>
                  </a:lnTo>
                  <a:lnTo>
                    <a:pt x="438" y="265"/>
                  </a:lnTo>
                  <a:lnTo>
                    <a:pt x="441" y="278"/>
                  </a:lnTo>
                  <a:lnTo>
                    <a:pt x="441" y="291"/>
                  </a:lnTo>
                  <a:lnTo>
                    <a:pt x="601" y="291"/>
                  </a:lnTo>
                  <a:lnTo>
                    <a:pt x="600" y="277"/>
                  </a:lnTo>
                  <a:lnTo>
                    <a:pt x="597" y="262"/>
                  </a:lnTo>
                  <a:lnTo>
                    <a:pt x="594" y="247"/>
                  </a:lnTo>
                  <a:lnTo>
                    <a:pt x="590" y="233"/>
                  </a:lnTo>
                  <a:lnTo>
                    <a:pt x="584" y="220"/>
                  </a:lnTo>
                  <a:lnTo>
                    <a:pt x="578" y="205"/>
                  </a:lnTo>
                  <a:lnTo>
                    <a:pt x="569" y="192"/>
                  </a:lnTo>
                  <a:lnTo>
                    <a:pt x="560" y="179"/>
                  </a:lnTo>
                  <a:lnTo>
                    <a:pt x="549" y="166"/>
                  </a:lnTo>
                  <a:lnTo>
                    <a:pt x="538" y="153"/>
                  </a:lnTo>
                  <a:lnTo>
                    <a:pt x="526" y="141"/>
                  </a:lnTo>
                  <a:lnTo>
                    <a:pt x="511" y="129"/>
                  </a:lnTo>
                  <a:lnTo>
                    <a:pt x="497" y="118"/>
                  </a:lnTo>
                  <a:lnTo>
                    <a:pt x="481" y="107"/>
                  </a:lnTo>
                  <a:lnTo>
                    <a:pt x="465" y="96"/>
                  </a:lnTo>
                  <a:lnTo>
                    <a:pt x="448" y="86"/>
                  </a:lnTo>
                  <a:lnTo>
                    <a:pt x="430" y="76"/>
                  </a:lnTo>
                  <a:lnTo>
                    <a:pt x="411" y="67"/>
                  </a:lnTo>
                  <a:lnTo>
                    <a:pt x="392" y="59"/>
                  </a:lnTo>
                  <a:lnTo>
                    <a:pt x="371" y="51"/>
                  </a:lnTo>
                  <a:lnTo>
                    <a:pt x="350" y="43"/>
                  </a:lnTo>
                  <a:lnTo>
                    <a:pt x="328" y="35"/>
                  </a:lnTo>
                  <a:lnTo>
                    <a:pt x="306" y="29"/>
                  </a:lnTo>
                  <a:lnTo>
                    <a:pt x="283" y="23"/>
                  </a:lnTo>
                  <a:lnTo>
                    <a:pt x="259" y="18"/>
                  </a:lnTo>
                  <a:lnTo>
                    <a:pt x="235" y="13"/>
                  </a:lnTo>
                  <a:lnTo>
                    <a:pt x="210" y="10"/>
                  </a:lnTo>
                  <a:lnTo>
                    <a:pt x="184" y="7"/>
                  </a:lnTo>
                  <a:lnTo>
                    <a:pt x="159" y="4"/>
                  </a:lnTo>
                  <a:lnTo>
                    <a:pt x="134" y="2"/>
                  </a:lnTo>
                  <a:lnTo>
                    <a:pt x="107" y="1"/>
                  </a:lnTo>
                  <a:lnTo>
                    <a:pt x="79"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3" name="Freeform 79">
              <a:extLst>
                <a:ext uri="{FF2B5EF4-FFF2-40B4-BE49-F238E27FC236}">
                  <a16:creationId xmlns:a16="http://schemas.microsoft.com/office/drawing/2014/main" id="{DAA4291B-8BBB-F187-E05A-717CD9EC62AC}"/>
                </a:ext>
              </a:extLst>
            </p:cNvPr>
            <p:cNvSpPr>
              <a:spLocks/>
            </p:cNvSpPr>
            <p:nvPr/>
          </p:nvSpPr>
          <p:spPr bwMode="auto">
            <a:xfrm>
              <a:off x="11295146" y="2009595"/>
              <a:ext cx="132480" cy="449646"/>
            </a:xfrm>
            <a:custGeom>
              <a:avLst/>
              <a:gdLst>
                <a:gd name="T0" fmla="*/ 473 w 473"/>
                <a:gd name="T1" fmla="*/ 0 h 1498"/>
                <a:gd name="T2" fmla="*/ 16 w 473"/>
                <a:gd name="T3" fmla="*/ 1498 h 1498"/>
                <a:gd name="T4" fmla="*/ 14 w 473"/>
                <a:gd name="T5" fmla="*/ 1487 h 1498"/>
                <a:gd name="T6" fmla="*/ 11 w 473"/>
                <a:gd name="T7" fmla="*/ 1455 h 1498"/>
                <a:gd name="T8" fmla="*/ 6 w 473"/>
                <a:gd name="T9" fmla="*/ 1406 h 1498"/>
                <a:gd name="T10" fmla="*/ 2 w 473"/>
                <a:gd name="T11" fmla="*/ 1339 h 1498"/>
                <a:gd name="T12" fmla="*/ 1 w 473"/>
                <a:gd name="T13" fmla="*/ 1300 h 1498"/>
                <a:gd name="T14" fmla="*/ 0 w 473"/>
                <a:gd name="T15" fmla="*/ 1258 h 1498"/>
                <a:gd name="T16" fmla="*/ 0 w 473"/>
                <a:gd name="T17" fmla="*/ 1212 h 1498"/>
                <a:gd name="T18" fmla="*/ 1 w 473"/>
                <a:gd name="T19" fmla="*/ 1165 h 1498"/>
                <a:gd name="T20" fmla="*/ 3 w 473"/>
                <a:gd name="T21" fmla="*/ 1114 h 1498"/>
                <a:gd name="T22" fmla="*/ 6 w 473"/>
                <a:gd name="T23" fmla="*/ 1061 h 1498"/>
                <a:gd name="T24" fmla="*/ 12 w 473"/>
                <a:gd name="T25" fmla="*/ 1006 h 1498"/>
                <a:gd name="T26" fmla="*/ 17 w 473"/>
                <a:gd name="T27" fmla="*/ 949 h 1498"/>
                <a:gd name="T28" fmla="*/ 26 w 473"/>
                <a:gd name="T29" fmla="*/ 890 h 1498"/>
                <a:gd name="T30" fmla="*/ 36 w 473"/>
                <a:gd name="T31" fmla="*/ 831 h 1498"/>
                <a:gd name="T32" fmla="*/ 48 w 473"/>
                <a:gd name="T33" fmla="*/ 770 h 1498"/>
                <a:gd name="T34" fmla="*/ 63 w 473"/>
                <a:gd name="T35" fmla="*/ 708 h 1498"/>
                <a:gd name="T36" fmla="*/ 80 w 473"/>
                <a:gd name="T37" fmla="*/ 646 h 1498"/>
                <a:gd name="T38" fmla="*/ 99 w 473"/>
                <a:gd name="T39" fmla="*/ 583 h 1498"/>
                <a:gd name="T40" fmla="*/ 122 w 473"/>
                <a:gd name="T41" fmla="*/ 521 h 1498"/>
                <a:gd name="T42" fmla="*/ 147 w 473"/>
                <a:gd name="T43" fmla="*/ 460 h 1498"/>
                <a:gd name="T44" fmla="*/ 175 w 473"/>
                <a:gd name="T45" fmla="*/ 398 h 1498"/>
                <a:gd name="T46" fmla="*/ 207 w 473"/>
                <a:gd name="T47" fmla="*/ 336 h 1498"/>
                <a:gd name="T48" fmla="*/ 241 w 473"/>
                <a:gd name="T49" fmla="*/ 276 h 1498"/>
                <a:gd name="T50" fmla="*/ 280 w 473"/>
                <a:gd name="T51" fmla="*/ 218 h 1498"/>
                <a:gd name="T52" fmla="*/ 322 w 473"/>
                <a:gd name="T53" fmla="*/ 160 h 1498"/>
                <a:gd name="T54" fmla="*/ 368 w 473"/>
                <a:gd name="T55" fmla="*/ 105 h 1498"/>
                <a:gd name="T56" fmla="*/ 419 w 473"/>
                <a:gd name="T57" fmla="*/ 52 h 1498"/>
                <a:gd name="T58" fmla="*/ 473 w 473"/>
                <a:gd name="T59" fmla="*/ 0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3" h="1498">
                  <a:moveTo>
                    <a:pt x="473" y="0"/>
                  </a:moveTo>
                  <a:lnTo>
                    <a:pt x="16" y="1498"/>
                  </a:lnTo>
                  <a:lnTo>
                    <a:pt x="14" y="1487"/>
                  </a:lnTo>
                  <a:lnTo>
                    <a:pt x="11" y="1455"/>
                  </a:lnTo>
                  <a:lnTo>
                    <a:pt x="6" y="1406"/>
                  </a:lnTo>
                  <a:lnTo>
                    <a:pt x="2" y="1339"/>
                  </a:lnTo>
                  <a:lnTo>
                    <a:pt x="1" y="1300"/>
                  </a:lnTo>
                  <a:lnTo>
                    <a:pt x="0" y="1258"/>
                  </a:lnTo>
                  <a:lnTo>
                    <a:pt x="0" y="1212"/>
                  </a:lnTo>
                  <a:lnTo>
                    <a:pt x="1" y="1165"/>
                  </a:lnTo>
                  <a:lnTo>
                    <a:pt x="3" y="1114"/>
                  </a:lnTo>
                  <a:lnTo>
                    <a:pt x="6" y="1061"/>
                  </a:lnTo>
                  <a:lnTo>
                    <a:pt x="12" y="1006"/>
                  </a:lnTo>
                  <a:lnTo>
                    <a:pt x="17" y="949"/>
                  </a:lnTo>
                  <a:lnTo>
                    <a:pt x="26" y="890"/>
                  </a:lnTo>
                  <a:lnTo>
                    <a:pt x="36" y="831"/>
                  </a:lnTo>
                  <a:lnTo>
                    <a:pt x="48" y="770"/>
                  </a:lnTo>
                  <a:lnTo>
                    <a:pt x="63" y="708"/>
                  </a:lnTo>
                  <a:lnTo>
                    <a:pt x="80" y="646"/>
                  </a:lnTo>
                  <a:lnTo>
                    <a:pt x="99" y="583"/>
                  </a:lnTo>
                  <a:lnTo>
                    <a:pt x="122" y="521"/>
                  </a:lnTo>
                  <a:lnTo>
                    <a:pt x="147" y="460"/>
                  </a:lnTo>
                  <a:lnTo>
                    <a:pt x="175" y="398"/>
                  </a:lnTo>
                  <a:lnTo>
                    <a:pt x="207" y="336"/>
                  </a:lnTo>
                  <a:lnTo>
                    <a:pt x="241" y="276"/>
                  </a:lnTo>
                  <a:lnTo>
                    <a:pt x="280" y="218"/>
                  </a:lnTo>
                  <a:lnTo>
                    <a:pt x="322" y="160"/>
                  </a:lnTo>
                  <a:lnTo>
                    <a:pt x="368" y="105"/>
                  </a:lnTo>
                  <a:lnTo>
                    <a:pt x="419" y="52"/>
                  </a:lnTo>
                  <a:lnTo>
                    <a:pt x="473"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4" name="Freeform 80">
              <a:extLst>
                <a:ext uri="{FF2B5EF4-FFF2-40B4-BE49-F238E27FC236}">
                  <a16:creationId xmlns:a16="http://schemas.microsoft.com/office/drawing/2014/main" id="{0CBC4DBB-F4F0-9FF8-06E0-08D84EE161F0}"/>
                </a:ext>
              </a:extLst>
            </p:cNvPr>
            <p:cNvSpPr>
              <a:spLocks/>
            </p:cNvSpPr>
            <p:nvPr/>
          </p:nvSpPr>
          <p:spPr bwMode="auto">
            <a:xfrm>
              <a:off x="11299330" y="2009595"/>
              <a:ext cx="139452" cy="449646"/>
            </a:xfrm>
            <a:custGeom>
              <a:avLst/>
              <a:gdLst>
                <a:gd name="T0" fmla="*/ 457 w 497"/>
                <a:gd name="T1" fmla="*/ 0 h 1498"/>
                <a:gd name="T2" fmla="*/ 0 w 497"/>
                <a:gd name="T3" fmla="*/ 1498 h 1498"/>
                <a:gd name="T4" fmla="*/ 7 w 497"/>
                <a:gd name="T5" fmla="*/ 1490 h 1498"/>
                <a:gd name="T6" fmla="*/ 28 w 497"/>
                <a:gd name="T7" fmla="*/ 1465 h 1498"/>
                <a:gd name="T8" fmla="*/ 60 w 497"/>
                <a:gd name="T9" fmla="*/ 1427 h 1498"/>
                <a:gd name="T10" fmla="*/ 100 w 497"/>
                <a:gd name="T11" fmla="*/ 1374 h 1498"/>
                <a:gd name="T12" fmla="*/ 123 w 497"/>
                <a:gd name="T13" fmla="*/ 1343 h 1498"/>
                <a:gd name="T14" fmla="*/ 147 w 497"/>
                <a:gd name="T15" fmla="*/ 1307 h 1498"/>
                <a:gd name="T16" fmla="*/ 172 w 497"/>
                <a:gd name="T17" fmla="*/ 1270 h 1498"/>
                <a:gd name="T18" fmla="*/ 199 w 497"/>
                <a:gd name="T19" fmla="*/ 1230 h 1498"/>
                <a:gd name="T20" fmla="*/ 225 w 497"/>
                <a:gd name="T21" fmla="*/ 1187 h 1498"/>
                <a:gd name="T22" fmla="*/ 252 w 497"/>
                <a:gd name="T23" fmla="*/ 1141 h 1498"/>
                <a:gd name="T24" fmla="*/ 278 w 497"/>
                <a:gd name="T25" fmla="*/ 1092 h 1498"/>
                <a:gd name="T26" fmla="*/ 305 w 497"/>
                <a:gd name="T27" fmla="*/ 1041 h 1498"/>
                <a:gd name="T28" fmla="*/ 331 w 497"/>
                <a:gd name="T29" fmla="*/ 988 h 1498"/>
                <a:gd name="T30" fmla="*/ 356 w 497"/>
                <a:gd name="T31" fmla="*/ 933 h 1498"/>
                <a:gd name="T32" fmla="*/ 380 w 497"/>
                <a:gd name="T33" fmla="*/ 876 h 1498"/>
                <a:gd name="T34" fmla="*/ 402 w 497"/>
                <a:gd name="T35" fmla="*/ 817 h 1498"/>
                <a:gd name="T36" fmla="*/ 423 w 497"/>
                <a:gd name="T37" fmla="*/ 757 h 1498"/>
                <a:gd name="T38" fmla="*/ 442 w 497"/>
                <a:gd name="T39" fmla="*/ 694 h 1498"/>
                <a:gd name="T40" fmla="*/ 459 w 497"/>
                <a:gd name="T41" fmla="*/ 630 h 1498"/>
                <a:gd name="T42" fmla="*/ 473 w 497"/>
                <a:gd name="T43" fmla="*/ 563 h 1498"/>
                <a:gd name="T44" fmla="*/ 484 w 497"/>
                <a:gd name="T45" fmla="*/ 496 h 1498"/>
                <a:gd name="T46" fmla="*/ 492 w 497"/>
                <a:gd name="T47" fmla="*/ 429 h 1498"/>
                <a:gd name="T48" fmla="*/ 496 w 497"/>
                <a:gd name="T49" fmla="*/ 359 h 1498"/>
                <a:gd name="T50" fmla="*/ 497 w 497"/>
                <a:gd name="T51" fmla="*/ 288 h 1498"/>
                <a:gd name="T52" fmla="*/ 494 w 497"/>
                <a:gd name="T53" fmla="*/ 218 h 1498"/>
                <a:gd name="T54" fmla="*/ 486 w 497"/>
                <a:gd name="T55" fmla="*/ 146 h 1498"/>
                <a:gd name="T56" fmla="*/ 474 w 497"/>
                <a:gd name="T57" fmla="*/ 73 h 1498"/>
                <a:gd name="T58" fmla="*/ 457 w 497"/>
                <a:gd name="T59" fmla="*/ 0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7" h="1498">
                  <a:moveTo>
                    <a:pt x="457" y="0"/>
                  </a:moveTo>
                  <a:lnTo>
                    <a:pt x="0" y="1498"/>
                  </a:lnTo>
                  <a:lnTo>
                    <a:pt x="7" y="1490"/>
                  </a:lnTo>
                  <a:lnTo>
                    <a:pt x="28" y="1465"/>
                  </a:lnTo>
                  <a:lnTo>
                    <a:pt x="60" y="1427"/>
                  </a:lnTo>
                  <a:lnTo>
                    <a:pt x="100" y="1374"/>
                  </a:lnTo>
                  <a:lnTo>
                    <a:pt x="123" y="1343"/>
                  </a:lnTo>
                  <a:lnTo>
                    <a:pt x="147" y="1307"/>
                  </a:lnTo>
                  <a:lnTo>
                    <a:pt x="172" y="1270"/>
                  </a:lnTo>
                  <a:lnTo>
                    <a:pt x="199" y="1230"/>
                  </a:lnTo>
                  <a:lnTo>
                    <a:pt x="225" y="1187"/>
                  </a:lnTo>
                  <a:lnTo>
                    <a:pt x="252" y="1141"/>
                  </a:lnTo>
                  <a:lnTo>
                    <a:pt x="278" y="1092"/>
                  </a:lnTo>
                  <a:lnTo>
                    <a:pt x="305" y="1041"/>
                  </a:lnTo>
                  <a:lnTo>
                    <a:pt x="331" y="988"/>
                  </a:lnTo>
                  <a:lnTo>
                    <a:pt x="356" y="933"/>
                  </a:lnTo>
                  <a:lnTo>
                    <a:pt x="380" y="876"/>
                  </a:lnTo>
                  <a:lnTo>
                    <a:pt x="402" y="817"/>
                  </a:lnTo>
                  <a:lnTo>
                    <a:pt x="423" y="757"/>
                  </a:lnTo>
                  <a:lnTo>
                    <a:pt x="442" y="694"/>
                  </a:lnTo>
                  <a:lnTo>
                    <a:pt x="459" y="630"/>
                  </a:lnTo>
                  <a:lnTo>
                    <a:pt x="473" y="563"/>
                  </a:lnTo>
                  <a:lnTo>
                    <a:pt x="484" y="496"/>
                  </a:lnTo>
                  <a:lnTo>
                    <a:pt x="492" y="429"/>
                  </a:lnTo>
                  <a:lnTo>
                    <a:pt x="496" y="359"/>
                  </a:lnTo>
                  <a:lnTo>
                    <a:pt x="497" y="288"/>
                  </a:lnTo>
                  <a:lnTo>
                    <a:pt x="494" y="218"/>
                  </a:lnTo>
                  <a:lnTo>
                    <a:pt x="486" y="146"/>
                  </a:lnTo>
                  <a:lnTo>
                    <a:pt x="474" y="73"/>
                  </a:lnTo>
                  <a:lnTo>
                    <a:pt x="4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5" name="Freeform 81">
              <a:extLst>
                <a:ext uri="{FF2B5EF4-FFF2-40B4-BE49-F238E27FC236}">
                  <a16:creationId xmlns:a16="http://schemas.microsoft.com/office/drawing/2014/main" id="{748EB76A-612F-7246-717B-EADBA39A3A24}"/>
                </a:ext>
              </a:extLst>
            </p:cNvPr>
            <p:cNvSpPr>
              <a:spLocks/>
            </p:cNvSpPr>
            <p:nvPr/>
          </p:nvSpPr>
          <p:spPr bwMode="auto">
            <a:xfrm>
              <a:off x="11297935" y="2442700"/>
              <a:ext cx="299823" cy="342874"/>
            </a:xfrm>
            <a:custGeom>
              <a:avLst/>
              <a:gdLst>
                <a:gd name="T0" fmla="*/ 1078 w 1078"/>
                <a:gd name="T1" fmla="*/ 1137 h 1137"/>
                <a:gd name="T2" fmla="*/ 0 w 1078"/>
                <a:gd name="T3" fmla="*/ 0 h 1137"/>
                <a:gd name="T4" fmla="*/ 4 w 1078"/>
                <a:gd name="T5" fmla="*/ 11 h 1137"/>
                <a:gd name="T6" fmla="*/ 15 w 1078"/>
                <a:gd name="T7" fmla="*/ 41 h 1137"/>
                <a:gd name="T8" fmla="*/ 32 w 1078"/>
                <a:gd name="T9" fmla="*/ 87 h 1137"/>
                <a:gd name="T10" fmla="*/ 59 w 1078"/>
                <a:gd name="T11" fmla="*/ 149 h 1137"/>
                <a:gd name="T12" fmla="*/ 76 w 1078"/>
                <a:gd name="T13" fmla="*/ 185 h 1137"/>
                <a:gd name="T14" fmla="*/ 93 w 1078"/>
                <a:gd name="T15" fmla="*/ 223 h 1137"/>
                <a:gd name="T16" fmla="*/ 113 w 1078"/>
                <a:gd name="T17" fmla="*/ 263 h 1137"/>
                <a:gd name="T18" fmla="*/ 136 w 1078"/>
                <a:gd name="T19" fmla="*/ 306 h 1137"/>
                <a:gd name="T20" fmla="*/ 161 w 1078"/>
                <a:gd name="T21" fmla="*/ 350 h 1137"/>
                <a:gd name="T22" fmla="*/ 187 w 1078"/>
                <a:gd name="T23" fmla="*/ 397 h 1137"/>
                <a:gd name="T24" fmla="*/ 216 w 1078"/>
                <a:gd name="T25" fmla="*/ 443 h 1137"/>
                <a:gd name="T26" fmla="*/ 247 w 1078"/>
                <a:gd name="T27" fmla="*/ 491 h 1137"/>
                <a:gd name="T28" fmla="*/ 280 w 1078"/>
                <a:gd name="T29" fmla="*/ 540 h 1137"/>
                <a:gd name="T30" fmla="*/ 316 w 1078"/>
                <a:gd name="T31" fmla="*/ 590 h 1137"/>
                <a:gd name="T32" fmla="*/ 354 w 1078"/>
                <a:gd name="T33" fmla="*/ 638 h 1137"/>
                <a:gd name="T34" fmla="*/ 395 w 1078"/>
                <a:gd name="T35" fmla="*/ 687 h 1137"/>
                <a:gd name="T36" fmla="*/ 438 w 1078"/>
                <a:gd name="T37" fmla="*/ 735 h 1137"/>
                <a:gd name="T38" fmla="*/ 483 w 1078"/>
                <a:gd name="T39" fmla="*/ 782 h 1137"/>
                <a:gd name="T40" fmla="*/ 531 w 1078"/>
                <a:gd name="T41" fmla="*/ 828 h 1137"/>
                <a:gd name="T42" fmla="*/ 581 w 1078"/>
                <a:gd name="T43" fmla="*/ 872 h 1137"/>
                <a:gd name="T44" fmla="*/ 633 w 1078"/>
                <a:gd name="T45" fmla="*/ 915 h 1137"/>
                <a:gd name="T46" fmla="*/ 690 w 1078"/>
                <a:gd name="T47" fmla="*/ 956 h 1137"/>
                <a:gd name="T48" fmla="*/ 747 w 1078"/>
                <a:gd name="T49" fmla="*/ 994 h 1137"/>
                <a:gd name="T50" fmla="*/ 808 w 1078"/>
                <a:gd name="T51" fmla="*/ 1029 h 1137"/>
                <a:gd name="T52" fmla="*/ 872 w 1078"/>
                <a:gd name="T53" fmla="*/ 1062 h 1137"/>
                <a:gd name="T54" fmla="*/ 937 w 1078"/>
                <a:gd name="T55" fmla="*/ 1091 h 1137"/>
                <a:gd name="T56" fmla="*/ 1007 w 1078"/>
                <a:gd name="T57" fmla="*/ 1116 h 1137"/>
                <a:gd name="T58" fmla="*/ 1078 w 1078"/>
                <a:gd name="T59" fmla="*/ 1137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8" h="1137">
                  <a:moveTo>
                    <a:pt x="1078" y="1137"/>
                  </a:moveTo>
                  <a:lnTo>
                    <a:pt x="0" y="0"/>
                  </a:lnTo>
                  <a:lnTo>
                    <a:pt x="4" y="11"/>
                  </a:lnTo>
                  <a:lnTo>
                    <a:pt x="15" y="41"/>
                  </a:lnTo>
                  <a:lnTo>
                    <a:pt x="32" y="87"/>
                  </a:lnTo>
                  <a:lnTo>
                    <a:pt x="59" y="149"/>
                  </a:lnTo>
                  <a:lnTo>
                    <a:pt x="76" y="185"/>
                  </a:lnTo>
                  <a:lnTo>
                    <a:pt x="93" y="223"/>
                  </a:lnTo>
                  <a:lnTo>
                    <a:pt x="113" y="263"/>
                  </a:lnTo>
                  <a:lnTo>
                    <a:pt x="136" y="306"/>
                  </a:lnTo>
                  <a:lnTo>
                    <a:pt x="161" y="350"/>
                  </a:lnTo>
                  <a:lnTo>
                    <a:pt x="187" y="397"/>
                  </a:lnTo>
                  <a:lnTo>
                    <a:pt x="216" y="443"/>
                  </a:lnTo>
                  <a:lnTo>
                    <a:pt x="247" y="491"/>
                  </a:lnTo>
                  <a:lnTo>
                    <a:pt x="280" y="540"/>
                  </a:lnTo>
                  <a:lnTo>
                    <a:pt x="316" y="590"/>
                  </a:lnTo>
                  <a:lnTo>
                    <a:pt x="354" y="638"/>
                  </a:lnTo>
                  <a:lnTo>
                    <a:pt x="395" y="687"/>
                  </a:lnTo>
                  <a:lnTo>
                    <a:pt x="438" y="735"/>
                  </a:lnTo>
                  <a:lnTo>
                    <a:pt x="483" y="782"/>
                  </a:lnTo>
                  <a:lnTo>
                    <a:pt x="531" y="828"/>
                  </a:lnTo>
                  <a:lnTo>
                    <a:pt x="581" y="872"/>
                  </a:lnTo>
                  <a:lnTo>
                    <a:pt x="633" y="915"/>
                  </a:lnTo>
                  <a:lnTo>
                    <a:pt x="690" y="956"/>
                  </a:lnTo>
                  <a:lnTo>
                    <a:pt x="747" y="994"/>
                  </a:lnTo>
                  <a:lnTo>
                    <a:pt x="808" y="1029"/>
                  </a:lnTo>
                  <a:lnTo>
                    <a:pt x="872" y="1062"/>
                  </a:lnTo>
                  <a:lnTo>
                    <a:pt x="937" y="1091"/>
                  </a:lnTo>
                  <a:lnTo>
                    <a:pt x="1007" y="1116"/>
                  </a:lnTo>
                  <a:lnTo>
                    <a:pt x="1078" y="1137"/>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6" name="Freeform 82">
              <a:extLst>
                <a:ext uri="{FF2B5EF4-FFF2-40B4-BE49-F238E27FC236}">
                  <a16:creationId xmlns:a16="http://schemas.microsoft.com/office/drawing/2014/main" id="{E40C94C5-25AD-49F5-6F55-A02A072CB5F5}"/>
                </a:ext>
              </a:extLst>
            </p:cNvPr>
            <p:cNvSpPr>
              <a:spLocks/>
            </p:cNvSpPr>
            <p:nvPr/>
          </p:nvSpPr>
          <p:spPr bwMode="auto">
            <a:xfrm>
              <a:off x="11297935" y="2442700"/>
              <a:ext cx="299823" cy="342874"/>
            </a:xfrm>
            <a:custGeom>
              <a:avLst/>
              <a:gdLst>
                <a:gd name="T0" fmla="*/ 1078 w 1078"/>
                <a:gd name="T1" fmla="*/ 1137 h 1137"/>
                <a:gd name="T2" fmla="*/ 0 w 1078"/>
                <a:gd name="T3" fmla="*/ 0 h 1137"/>
                <a:gd name="T4" fmla="*/ 10 w 1078"/>
                <a:gd name="T5" fmla="*/ 5 h 1137"/>
                <a:gd name="T6" fmla="*/ 40 w 1078"/>
                <a:gd name="T7" fmla="*/ 17 h 1137"/>
                <a:gd name="T8" fmla="*/ 85 w 1078"/>
                <a:gd name="T9" fmla="*/ 38 h 1137"/>
                <a:gd name="T10" fmla="*/ 145 w 1078"/>
                <a:gd name="T11" fmla="*/ 68 h 1137"/>
                <a:gd name="T12" fmla="*/ 180 w 1078"/>
                <a:gd name="T13" fmla="*/ 85 h 1137"/>
                <a:gd name="T14" fmla="*/ 217 w 1078"/>
                <a:gd name="T15" fmla="*/ 105 h 1137"/>
                <a:gd name="T16" fmla="*/ 257 w 1078"/>
                <a:gd name="T17" fmla="*/ 128 h 1137"/>
                <a:gd name="T18" fmla="*/ 298 w 1078"/>
                <a:gd name="T19" fmla="*/ 153 h 1137"/>
                <a:gd name="T20" fmla="*/ 341 w 1078"/>
                <a:gd name="T21" fmla="*/ 179 h 1137"/>
                <a:gd name="T22" fmla="*/ 386 w 1078"/>
                <a:gd name="T23" fmla="*/ 208 h 1137"/>
                <a:gd name="T24" fmla="*/ 431 w 1078"/>
                <a:gd name="T25" fmla="*/ 240 h 1137"/>
                <a:gd name="T26" fmla="*/ 478 w 1078"/>
                <a:gd name="T27" fmla="*/ 273 h 1137"/>
                <a:gd name="T28" fmla="*/ 524 w 1078"/>
                <a:gd name="T29" fmla="*/ 309 h 1137"/>
                <a:gd name="T30" fmla="*/ 571 w 1078"/>
                <a:gd name="T31" fmla="*/ 348 h 1137"/>
                <a:gd name="T32" fmla="*/ 618 w 1078"/>
                <a:gd name="T33" fmla="*/ 388 h 1137"/>
                <a:gd name="T34" fmla="*/ 664 w 1078"/>
                <a:gd name="T35" fmla="*/ 431 h 1137"/>
                <a:gd name="T36" fmla="*/ 711 w 1078"/>
                <a:gd name="T37" fmla="*/ 476 h 1137"/>
                <a:gd name="T38" fmla="*/ 755 w 1078"/>
                <a:gd name="T39" fmla="*/ 525 h 1137"/>
                <a:gd name="T40" fmla="*/ 798 w 1078"/>
                <a:gd name="T41" fmla="*/ 574 h 1137"/>
                <a:gd name="T42" fmla="*/ 840 w 1078"/>
                <a:gd name="T43" fmla="*/ 627 h 1137"/>
                <a:gd name="T44" fmla="*/ 880 w 1078"/>
                <a:gd name="T45" fmla="*/ 682 h 1137"/>
                <a:gd name="T46" fmla="*/ 917 w 1078"/>
                <a:gd name="T47" fmla="*/ 740 h 1137"/>
                <a:gd name="T48" fmla="*/ 952 w 1078"/>
                <a:gd name="T49" fmla="*/ 799 h 1137"/>
                <a:gd name="T50" fmla="*/ 984 w 1078"/>
                <a:gd name="T51" fmla="*/ 862 h 1137"/>
                <a:gd name="T52" fmla="*/ 1013 w 1078"/>
                <a:gd name="T53" fmla="*/ 928 h 1137"/>
                <a:gd name="T54" fmla="*/ 1039 w 1078"/>
                <a:gd name="T55" fmla="*/ 995 h 1137"/>
                <a:gd name="T56" fmla="*/ 1061 w 1078"/>
                <a:gd name="T57" fmla="*/ 1064 h 1137"/>
                <a:gd name="T58" fmla="*/ 1078 w 1078"/>
                <a:gd name="T59" fmla="*/ 1137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8" h="1137">
                  <a:moveTo>
                    <a:pt x="1078" y="1137"/>
                  </a:moveTo>
                  <a:lnTo>
                    <a:pt x="0" y="0"/>
                  </a:lnTo>
                  <a:lnTo>
                    <a:pt x="10" y="5"/>
                  </a:lnTo>
                  <a:lnTo>
                    <a:pt x="40" y="17"/>
                  </a:lnTo>
                  <a:lnTo>
                    <a:pt x="85" y="38"/>
                  </a:lnTo>
                  <a:lnTo>
                    <a:pt x="145" y="68"/>
                  </a:lnTo>
                  <a:lnTo>
                    <a:pt x="180" y="85"/>
                  </a:lnTo>
                  <a:lnTo>
                    <a:pt x="217" y="105"/>
                  </a:lnTo>
                  <a:lnTo>
                    <a:pt x="257" y="128"/>
                  </a:lnTo>
                  <a:lnTo>
                    <a:pt x="298" y="153"/>
                  </a:lnTo>
                  <a:lnTo>
                    <a:pt x="341" y="179"/>
                  </a:lnTo>
                  <a:lnTo>
                    <a:pt x="386" y="208"/>
                  </a:lnTo>
                  <a:lnTo>
                    <a:pt x="431" y="240"/>
                  </a:lnTo>
                  <a:lnTo>
                    <a:pt x="478" y="273"/>
                  </a:lnTo>
                  <a:lnTo>
                    <a:pt x="524" y="309"/>
                  </a:lnTo>
                  <a:lnTo>
                    <a:pt x="571" y="348"/>
                  </a:lnTo>
                  <a:lnTo>
                    <a:pt x="618" y="388"/>
                  </a:lnTo>
                  <a:lnTo>
                    <a:pt x="664" y="431"/>
                  </a:lnTo>
                  <a:lnTo>
                    <a:pt x="711" y="476"/>
                  </a:lnTo>
                  <a:lnTo>
                    <a:pt x="755" y="525"/>
                  </a:lnTo>
                  <a:lnTo>
                    <a:pt x="798" y="574"/>
                  </a:lnTo>
                  <a:lnTo>
                    <a:pt x="840" y="627"/>
                  </a:lnTo>
                  <a:lnTo>
                    <a:pt x="880" y="682"/>
                  </a:lnTo>
                  <a:lnTo>
                    <a:pt x="917" y="740"/>
                  </a:lnTo>
                  <a:lnTo>
                    <a:pt x="952" y="799"/>
                  </a:lnTo>
                  <a:lnTo>
                    <a:pt x="984" y="862"/>
                  </a:lnTo>
                  <a:lnTo>
                    <a:pt x="1013" y="928"/>
                  </a:lnTo>
                  <a:lnTo>
                    <a:pt x="1039" y="995"/>
                  </a:lnTo>
                  <a:lnTo>
                    <a:pt x="1061" y="1064"/>
                  </a:lnTo>
                  <a:lnTo>
                    <a:pt x="1078" y="1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7" name="Freeform 83">
              <a:extLst>
                <a:ext uri="{FF2B5EF4-FFF2-40B4-BE49-F238E27FC236}">
                  <a16:creationId xmlns:a16="http://schemas.microsoft.com/office/drawing/2014/main" id="{2CBCE9FA-75CD-CAAF-3E5C-143FF7CFE29D}"/>
                </a:ext>
              </a:extLst>
            </p:cNvPr>
            <p:cNvSpPr>
              <a:spLocks/>
            </p:cNvSpPr>
            <p:nvPr/>
          </p:nvSpPr>
          <p:spPr bwMode="auto">
            <a:xfrm>
              <a:off x="10880974" y="2435180"/>
              <a:ext cx="425329" cy="121810"/>
            </a:xfrm>
            <a:custGeom>
              <a:avLst/>
              <a:gdLst>
                <a:gd name="T0" fmla="*/ 0 w 1523"/>
                <a:gd name="T1" fmla="*/ 402 h 402"/>
                <a:gd name="T2" fmla="*/ 1523 w 1523"/>
                <a:gd name="T3" fmla="*/ 35 h 402"/>
                <a:gd name="T4" fmla="*/ 1512 w 1523"/>
                <a:gd name="T5" fmla="*/ 33 h 402"/>
                <a:gd name="T6" fmla="*/ 1481 w 1523"/>
                <a:gd name="T7" fmla="*/ 27 h 402"/>
                <a:gd name="T8" fmla="*/ 1432 w 1523"/>
                <a:gd name="T9" fmla="*/ 20 h 402"/>
                <a:gd name="T10" fmla="*/ 1365 w 1523"/>
                <a:gd name="T11" fmla="*/ 12 h 402"/>
                <a:gd name="T12" fmla="*/ 1327 w 1523"/>
                <a:gd name="T13" fmla="*/ 9 h 402"/>
                <a:gd name="T14" fmla="*/ 1285 w 1523"/>
                <a:gd name="T15" fmla="*/ 5 h 402"/>
                <a:gd name="T16" fmla="*/ 1240 w 1523"/>
                <a:gd name="T17" fmla="*/ 2 h 402"/>
                <a:gd name="T18" fmla="*/ 1191 w 1523"/>
                <a:gd name="T19" fmla="*/ 0 h 402"/>
                <a:gd name="T20" fmla="*/ 1140 w 1523"/>
                <a:gd name="T21" fmla="*/ 0 h 402"/>
                <a:gd name="T22" fmla="*/ 1087 w 1523"/>
                <a:gd name="T23" fmla="*/ 0 h 402"/>
                <a:gd name="T24" fmla="*/ 1032 w 1523"/>
                <a:gd name="T25" fmla="*/ 1 h 402"/>
                <a:gd name="T26" fmla="*/ 975 w 1523"/>
                <a:gd name="T27" fmla="*/ 4 h 402"/>
                <a:gd name="T28" fmla="*/ 916 w 1523"/>
                <a:gd name="T29" fmla="*/ 9 h 402"/>
                <a:gd name="T30" fmla="*/ 855 w 1523"/>
                <a:gd name="T31" fmla="*/ 15 h 402"/>
                <a:gd name="T32" fmla="*/ 794 w 1523"/>
                <a:gd name="T33" fmla="*/ 24 h 402"/>
                <a:gd name="T34" fmla="*/ 732 w 1523"/>
                <a:gd name="T35" fmla="*/ 34 h 402"/>
                <a:gd name="T36" fmla="*/ 669 w 1523"/>
                <a:gd name="T37" fmla="*/ 47 h 402"/>
                <a:gd name="T38" fmla="*/ 605 w 1523"/>
                <a:gd name="T39" fmla="*/ 64 h 402"/>
                <a:gd name="T40" fmla="*/ 542 w 1523"/>
                <a:gd name="T41" fmla="*/ 82 h 402"/>
                <a:gd name="T42" fmla="*/ 478 w 1523"/>
                <a:gd name="T43" fmla="*/ 104 h 402"/>
                <a:gd name="T44" fmla="*/ 415 w 1523"/>
                <a:gd name="T45" fmla="*/ 128 h 402"/>
                <a:gd name="T46" fmla="*/ 352 w 1523"/>
                <a:gd name="T47" fmla="*/ 155 h 402"/>
                <a:gd name="T48" fmla="*/ 290 w 1523"/>
                <a:gd name="T49" fmla="*/ 186 h 402"/>
                <a:gd name="T50" fmla="*/ 229 w 1523"/>
                <a:gd name="T51" fmla="*/ 222 h 402"/>
                <a:gd name="T52" fmla="*/ 169 w 1523"/>
                <a:gd name="T53" fmla="*/ 260 h 402"/>
                <a:gd name="T54" fmla="*/ 111 w 1523"/>
                <a:gd name="T55" fmla="*/ 303 h 402"/>
                <a:gd name="T56" fmla="*/ 55 w 1523"/>
                <a:gd name="T57" fmla="*/ 351 h 402"/>
                <a:gd name="T58" fmla="*/ 0 w 1523"/>
                <a:gd name="T59"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3" h="402">
                  <a:moveTo>
                    <a:pt x="0" y="402"/>
                  </a:moveTo>
                  <a:lnTo>
                    <a:pt x="1523" y="35"/>
                  </a:lnTo>
                  <a:lnTo>
                    <a:pt x="1512" y="33"/>
                  </a:lnTo>
                  <a:lnTo>
                    <a:pt x="1481" y="27"/>
                  </a:lnTo>
                  <a:lnTo>
                    <a:pt x="1432" y="20"/>
                  </a:lnTo>
                  <a:lnTo>
                    <a:pt x="1365" y="12"/>
                  </a:lnTo>
                  <a:lnTo>
                    <a:pt x="1327" y="9"/>
                  </a:lnTo>
                  <a:lnTo>
                    <a:pt x="1285" y="5"/>
                  </a:lnTo>
                  <a:lnTo>
                    <a:pt x="1240" y="2"/>
                  </a:lnTo>
                  <a:lnTo>
                    <a:pt x="1191" y="0"/>
                  </a:lnTo>
                  <a:lnTo>
                    <a:pt x="1140" y="0"/>
                  </a:lnTo>
                  <a:lnTo>
                    <a:pt x="1087" y="0"/>
                  </a:lnTo>
                  <a:lnTo>
                    <a:pt x="1032" y="1"/>
                  </a:lnTo>
                  <a:lnTo>
                    <a:pt x="975" y="4"/>
                  </a:lnTo>
                  <a:lnTo>
                    <a:pt x="916" y="9"/>
                  </a:lnTo>
                  <a:lnTo>
                    <a:pt x="855" y="15"/>
                  </a:lnTo>
                  <a:lnTo>
                    <a:pt x="794" y="24"/>
                  </a:lnTo>
                  <a:lnTo>
                    <a:pt x="732" y="34"/>
                  </a:lnTo>
                  <a:lnTo>
                    <a:pt x="669" y="47"/>
                  </a:lnTo>
                  <a:lnTo>
                    <a:pt x="605" y="64"/>
                  </a:lnTo>
                  <a:lnTo>
                    <a:pt x="542" y="82"/>
                  </a:lnTo>
                  <a:lnTo>
                    <a:pt x="478" y="104"/>
                  </a:lnTo>
                  <a:lnTo>
                    <a:pt x="415" y="128"/>
                  </a:lnTo>
                  <a:lnTo>
                    <a:pt x="352" y="155"/>
                  </a:lnTo>
                  <a:lnTo>
                    <a:pt x="290" y="186"/>
                  </a:lnTo>
                  <a:lnTo>
                    <a:pt x="229" y="222"/>
                  </a:lnTo>
                  <a:lnTo>
                    <a:pt x="169" y="260"/>
                  </a:lnTo>
                  <a:lnTo>
                    <a:pt x="111" y="303"/>
                  </a:lnTo>
                  <a:lnTo>
                    <a:pt x="55" y="351"/>
                  </a:lnTo>
                  <a:lnTo>
                    <a:pt x="0" y="402"/>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8" name="Freeform 84">
              <a:extLst>
                <a:ext uri="{FF2B5EF4-FFF2-40B4-BE49-F238E27FC236}">
                  <a16:creationId xmlns:a16="http://schemas.microsoft.com/office/drawing/2014/main" id="{E15AC96D-CDBD-2994-9042-A9C660F6AED4}"/>
                </a:ext>
              </a:extLst>
            </p:cNvPr>
            <p:cNvSpPr>
              <a:spLocks/>
            </p:cNvSpPr>
            <p:nvPr/>
          </p:nvSpPr>
          <p:spPr bwMode="auto">
            <a:xfrm>
              <a:off x="10880974" y="2445708"/>
              <a:ext cx="425329" cy="127826"/>
            </a:xfrm>
            <a:custGeom>
              <a:avLst/>
              <a:gdLst>
                <a:gd name="T0" fmla="*/ 0 w 1523"/>
                <a:gd name="T1" fmla="*/ 367 h 426"/>
                <a:gd name="T2" fmla="*/ 1523 w 1523"/>
                <a:gd name="T3" fmla="*/ 0 h 426"/>
                <a:gd name="T4" fmla="*/ 1515 w 1523"/>
                <a:gd name="T5" fmla="*/ 7 h 426"/>
                <a:gd name="T6" fmla="*/ 1489 w 1523"/>
                <a:gd name="T7" fmla="*/ 27 h 426"/>
                <a:gd name="T8" fmla="*/ 1448 w 1523"/>
                <a:gd name="T9" fmla="*/ 55 h 426"/>
                <a:gd name="T10" fmla="*/ 1393 w 1523"/>
                <a:gd name="T11" fmla="*/ 93 h 426"/>
                <a:gd name="T12" fmla="*/ 1360 w 1523"/>
                <a:gd name="T13" fmla="*/ 114 h 426"/>
                <a:gd name="T14" fmla="*/ 1325 w 1523"/>
                <a:gd name="T15" fmla="*/ 136 h 426"/>
                <a:gd name="T16" fmla="*/ 1285 w 1523"/>
                <a:gd name="T17" fmla="*/ 159 h 426"/>
                <a:gd name="T18" fmla="*/ 1243 w 1523"/>
                <a:gd name="T19" fmla="*/ 182 h 426"/>
                <a:gd name="T20" fmla="*/ 1199 w 1523"/>
                <a:gd name="T21" fmla="*/ 207 h 426"/>
                <a:gd name="T22" fmla="*/ 1151 w 1523"/>
                <a:gd name="T23" fmla="*/ 230 h 426"/>
                <a:gd name="T24" fmla="*/ 1102 w 1523"/>
                <a:gd name="T25" fmla="*/ 254 h 426"/>
                <a:gd name="T26" fmla="*/ 1048 w 1523"/>
                <a:gd name="T27" fmla="*/ 277 h 426"/>
                <a:gd name="T28" fmla="*/ 994 w 1523"/>
                <a:gd name="T29" fmla="*/ 300 h 426"/>
                <a:gd name="T30" fmla="*/ 938 w 1523"/>
                <a:gd name="T31" fmla="*/ 321 h 426"/>
                <a:gd name="T32" fmla="*/ 880 w 1523"/>
                <a:gd name="T33" fmla="*/ 342 h 426"/>
                <a:gd name="T34" fmla="*/ 819 w 1523"/>
                <a:gd name="T35" fmla="*/ 361 h 426"/>
                <a:gd name="T36" fmla="*/ 757 w 1523"/>
                <a:gd name="T37" fmla="*/ 378 h 426"/>
                <a:gd name="T38" fmla="*/ 693 w 1523"/>
                <a:gd name="T39" fmla="*/ 393 h 426"/>
                <a:gd name="T40" fmla="*/ 628 w 1523"/>
                <a:gd name="T41" fmla="*/ 405 h 426"/>
                <a:gd name="T42" fmla="*/ 561 w 1523"/>
                <a:gd name="T43" fmla="*/ 415 h 426"/>
                <a:gd name="T44" fmla="*/ 494 w 1523"/>
                <a:gd name="T45" fmla="*/ 422 h 426"/>
                <a:gd name="T46" fmla="*/ 426 w 1523"/>
                <a:gd name="T47" fmla="*/ 426 h 426"/>
                <a:gd name="T48" fmla="*/ 356 w 1523"/>
                <a:gd name="T49" fmla="*/ 426 h 426"/>
                <a:gd name="T50" fmla="*/ 285 w 1523"/>
                <a:gd name="T51" fmla="*/ 423 h 426"/>
                <a:gd name="T52" fmla="*/ 215 w 1523"/>
                <a:gd name="T53" fmla="*/ 415 h 426"/>
                <a:gd name="T54" fmla="*/ 144 w 1523"/>
                <a:gd name="T55" fmla="*/ 404 h 426"/>
                <a:gd name="T56" fmla="*/ 72 w 1523"/>
                <a:gd name="T57" fmla="*/ 388 h 426"/>
                <a:gd name="T58" fmla="*/ 0 w 1523"/>
                <a:gd name="T59" fmla="*/ 36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3" h="426">
                  <a:moveTo>
                    <a:pt x="0" y="367"/>
                  </a:moveTo>
                  <a:lnTo>
                    <a:pt x="1523" y="0"/>
                  </a:lnTo>
                  <a:lnTo>
                    <a:pt x="1515" y="7"/>
                  </a:lnTo>
                  <a:lnTo>
                    <a:pt x="1489" y="27"/>
                  </a:lnTo>
                  <a:lnTo>
                    <a:pt x="1448" y="55"/>
                  </a:lnTo>
                  <a:lnTo>
                    <a:pt x="1393" y="93"/>
                  </a:lnTo>
                  <a:lnTo>
                    <a:pt x="1360" y="114"/>
                  </a:lnTo>
                  <a:lnTo>
                    <a:pt x="1325" y="136"/>
                  </a:lnTo>
                  <a:lnTo>
                    <a:pt x="1285" y="159"/>
                  </a:lnTo>
                  <a:lnTo>
                    <a:pt x="1243" y="182"/>
                  </a:lnTo>
                  <a:lnTo>
                    <a:pt x="1199" y="207"/>
                  </a:lnTo>
                  <a:lnTo>
                    <a:pt x="1151" y="230"/>
                  </a:lnTo>
                  <a:lnTo>
                    <a:pt x="1102" y="254"/>
                  </a:lnTo>
                  <a:lnTo>
                    <a:pt x="1048" y="277"/>
                  </a:lnTo>
                  <a:lnTo>
                    <a:pt x="994" y="300"/>
                  </a:lnTo>
                  <a:lnTo>
                    <a:pt x="938" y="321"/>
                  </a:lnTo>
                  <a:lnTo>
                    <a:pt x="880" y="342"/>
                  </a:lnTo>
                  <a:lnTo>
                    <a:pt x="819" y="361"/>
                  </a:lnTo>
                  <a:lnTo>
                    <a:pt x="757" y="378"/>
                  </a:lnTo>
                  <a:lnTo>
                    <a:pt x="693" y="393"/>
                  </a:lnTo>
                  <a:lnTo>
                    <a:pt x="628" y="405"/>
                  </a:lnTo>
                  <a:lnTo>
                    <a:pt x="561" y="415"/>
                  </a:lnTo>
                  <a:lnTo>
                    <a:pt x="494" y="422"/>
                  </a:lnTo>
                  <a:lnTo>
                    <a:pt x="426" y="426"/>
                  </a:lnTo>
                  <a:lnTo>
                    <a:pt x="356" y="426"/>
                  </a:lnTo>
                  <a:lnTo>
                    <a:pt x="285" y="423"/>
                  </a:lnTo>
                  <a:lnTo>
                    <a:pt x="215" y="415"/>
                  </a:lnTo>
                  <a:lnTo>
                    <a:pt x="144" y="404"/>
                  </a:lnTo>
                  <a:lnTo>
                    <a:pt x="72" y="388"/>
                  </a:lnTo>
                  <a:lnTo>
                    <a:pt x="0" y="3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29" name="Freeform 85">
              <a:extLst>
                <a:ext uri="{FF2B5EF4-FFF2-40B4-BE49-F238E27FC236}">
                  <a16:creationId xmlns:a16="http://schemas.microsoft.com/office/drawing/2014/main" id="{62E6CB7F-D534-A595-6B07-15B146E4F9E2}"/>
                </a:ext>
              </a:extLst>
            </p:cNvPr>
            <p:cNvSpPr>
              <a:spLocks/>
            </p:cNvSpPr>
            <p:nvPr/>
          </p:nvSpPr>
          <p:spPr bwMode="auto">
            <a:xfrm>
              <a:off x="11261678" y="2474280"/>
              <a:ext cx="83672" cy="712818"/>
            </a:xfrm>
            <a:custGeom>
              <a:avLst/>
              <a:gdLst>
                <a:gd name="T0" fmla="*/ 298 w 298"/>
                <a:gd name="T1" fmla="*/ 2371 h 2371"/>
                <a:gd name="T2" fmla="*/ 0 w 298"/>
                <a:gd name="T3" fmla="*/ 2371 h 2371"/>
                <a:gd name="T4" fmla="*/ 99 w 298"/>
                <a:gd name="T5" fmla="*/ 0 h 2371"/>
                <a:gd name="T6" fmla="*/ 199 w 298"/>
                <a:gd name="T7" fmla="*/ 0 h 2371"/>
                <a:gd name="T8" fmla="*/ 298 w 298"/>
                <a:gd name="T9" fmla="*/ 2371 h 2371"/>
              </a:gdLst>
              <a:ahLst/>
              <a:cxnLst>
                <a:cxn ang="0">
                  <a:pos x="T0" y="T1"/>
                </a:cxn>
                <a:cxn ang="0">
                  <a:pos x="T2" y="T3"/>
                </a:cxn>
                <a:cxn ang="0">
                  <a:pos x="T4" y="T5"/>
                </a:cxn>
                <a:cxn ang="0">
                  <a:pos x="T6" y="T7"/>
                </a:cxn>
                <a:cxn ang="0">
                  <a:pos x="T8" y="T9"/>
                </a:cxn>
              </a:cxnLst>
              <a:rect l="0" t="0" r="r" b="b"/>
              <a:pathLst>
                <a:path w="298" h="2371">
                  <a:moveTo>
                    <a:pt x="298" y="2371"/>
                  </a:moveTo>
                  <a:lnTo>
                    <a:pt x="0" y="2371"/>
                  </a:lnTo>
                  <a:lnTo>
                    <a:pt x="99" y="0"/>
                  </a:lnTo>
                  <a:lnTo>
                    <a:pt x="199" y="0"/>
                  </a:lnTo>
                  <a:lnTo>
                    <a:pt x="298" y="23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0" name="Freeform 86">
              <a:extLst>
                <a:ext uri="{FF2B5EF4-FFF2-40B4-BE49-F238E27FC236}">
                  <a16:creationId xmlns:a16="http://schemas.microsoft.com/office/drawing/2014/main" id="{B9DF96FE-19DF-4F56-A8A0-0F2830D589F3}"/>
                </a:ext>
              </a:extLst>
            </p:cNvPr>
            <p:cNvSpPr>
              <a:spLocks/>
            </p:cNvSpPr>
            <p:nvPr/>
          </p:nvSpPr>
          <p:spPr bwMode="auto">
            <a:xfrm>
              <a:off x="11307697" y="2474280"/>
              <a:ext cx="37652" cy="712818"/>
            </a:xfrm>
            <a:custGeom>
              <a:avLst/>
              <a:gdLst>
                <a:gd name="T0" fmla="*/ 136 w 136"/>
                <a:gd name="T1" fmla="*/ 2371 h 2371"/>
                <a:gd name="T2" fmla="*/ 25 w 136"/>
                <a:gd name="T3" fmla="*/ 2371 h 2371"/>
                <a:gd name="T4" fmla="*/ 0 w 136"/>
                <a:gd name="T5" fmla="*/ 0 h 2371"/>
                <a:gd name="T6" fmla="*/ 37 w 136"/>
                <a:gd name="T7" fmla="*/ 0 h 2371"/>
                <a:gd name="T8" fmla="*/ 136 w 136"/>
                <a:gd name="T9" fmla="*/ 2371 h 2371"/>
              </a:gdLst>
              <a:ahLst/>
              <a:cxnLst>
                <a:cxn ang="0">
                  <a:pos x="T0" y="T1"/>
                </a:cxn>
                <a:cxn ang="0">
                  <a:pos x="T2" y="T3"/>
                </a:cxn>
                <a:cxn ang="0">
                  <a:pos x="T4" y="T5"/>
                </a:cxn>
                <a:cxn ang="0">
                  <a:pos x="T6" y="T7"/>
                </a:cxn>
                <a:cxn ang="0">
                  <a:pos x="T8" y="T9"/>
                </a:cxn>
              </a:cxnLst>
              <a:rect l="0" t="0" r="r" b="b"/>
              <a:pathLst>
                <a:path w="136" h="2371">
                  <a:moveTo>
                    <a:pt x="136" y="2371"/>
                  </a:moveTo>
                  <a:lnTo>
                    <a:pt x="25" y="2371"/>
                  </a:lnTo>
                  <a:lnTo>
                    <a:pt x="0" y="0"/>
                  </a:lnTo>
                  <a:lnTo>
                    <a:pt x="37" y="0"/>
                  </a:lnTo>
                  <a:lnTo>
                    <a:pt x="136" y="2371"/>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1" name="Freeform 87">
              <a:extLst>
                <a:ext uri="{FF2B5EF4-FFF2-40B4-BE49-F238E27FC236}">
                  <a16:creationId xmlns:a16="http://schemas.microsoft.com/office/drawing/2014/main" id="{BCA5439D-4CBC-60E6-2F1C-57C0924FB214}"/>
                </a:ext>
              </a:extLst>
            </p:cNvPr>
            <p:cNvSpPr>
              <a:spLocks/>
            </p:cNvSpPr>
            <p:nvPr/>
          </p:nvSpPr>
          <p:spPr bwMode="auto">
            <a:xfrm>
              <a:off x="11257494" y="2406608"/>
              <a:ext cx="92038" cy="99253"/>
            </a:xfrm>
            <a:custGeom>
              <a:avLst/>
              <a:gdLst>
                <a:gd name="T0" fmla="*/ 331 w 332"/>
                <a:gd name="T1" fmla="*/ 183 h 332"/>
                <a:gd name="T2" fmla="*/ 324 w 332"/>
                <a:gd name="T3" fmla="*/ 216 h 332"/>
                <a:gd name="T4" fmla="*/ 312 w 332"/>
                <a:gd name="T5" fmla="*/ 246 h 332"/>
                <a:gd name="T6" fmla="*/ 294 w 332"/>
                <a:gd name="T7" fmla="*/ 272 h 332"/>
                <a:gd name="T8" fmla="*/ 271 w 332"/>
                <a:gd name="T9" fmla="*/ 294 h 332"/>
                <a:gd name="T10" fmla="*/ 245 w 332"/>
                <a:gd name="T11" fmla="*/ 312 h 332"/>
                <a:gd name="T12" fmla="*/ 215 w 332"/>
                <a:gd name="T13" fmla="*/ 325 h 332"/>
                <a:gd name="T14" fmla="*/ 183 w 332"/>
                <a:gd name="T15" fmla="*/ 332 h 332"/>
                <a:gd name="T16" fmla="*/ 149 w 332"/>
                <a:gd name="T17" fmla="*/ 332 h 332"/>
                <a:gd name="T18" fmla="*/ 117 w 332"/>
                <a:gd name="T19" fmla="*/ 325 h 332"/>
                <a:gd name="T20" fmla="*/ 87 w 332"/>
                <a:gd name="T21" fmla="*/ 312 h 332"/>
                <a:gd name="T22" fmla="*/ 61 w 332"/>
                <a:gd name="T23" fmla="*/ 294 h 332"/>
                <a:gd name="T24" fmla="*/ 37 w 332"/>
                <a:gd name="T25" fmla="*/ 272 h 332"/>
                <a:gd name="T26" fmla="*/ 20 w 332"/>
                <a:gd name="T27" fmla="*/ 246 h 332"/>
                <a:gd name="T28" fmla="*/ 8 w 332"/>
                <a:gd name="T29" fmla="*/ 216 h 332"/>
                <a:gd name="T30" fmla="*/ 1 w 332"/>
                <a:gd name="T31" fmla="*/ 183 h 332"/>
                <a:gd name="T32" fmla="*/ 1 w 332"/>
                <a:gd name="T33" fmla="*/ 150 h 332"/>
                <a:gd name="T34" fmla="*/ 8 w 332"/>
                <a:gd name="T35" fmla="*/ 117 h 332"/>
                <a:gd name="T36" fmla="*/ 20 w 332"/>
                <a:gd name="T37" fmla="*/ 87 h 332"/>
                <a:gd name="T38" fmla="*/ 37 w 332"/>
                <a:gd name="T39" fmla="*/ 60 h 332"/>
                <a:gd name="T40" fmla="*/ 61 w 332"/>
                <a:gd name="T41" fmla="*/ 38 h 332"/>
                <a:gd name="T42" fmla="*/ 87 w 332"/>
                <a:gd name="T43" fmla="*/ 21 h 332"/>
                <a:gd name="T44" fmla="*/ 117 w 332"/>
                <a:gd name="T45" fmla="*/ 7 h 332"/>
                <a:gd name="T46" fmla="*/ 149 w 332"/>
                <a:gd name="T47" fmla="*/ 1 h 332"/>
                <a:gd name="T48" fmla="*/ 183 w 332"/>
                <a:gd name="T49" fmla="*/ 1 h 332"/>
                <a:gd name="T50" fmla="*/ 215 w 332"/>
                <a:gd name="T51" fmla="*/ 7 h 332"/>
                <a:gd name="T52" fmla="*/ 245 w 332"/>
                <a:gd name="T53" fmla="*/ 21 h 332"/>
                <a:gd name="T54" fmla="*/ 271 w 332"/>
                <a:gd name="T55" fmla="*/ 38 h 332"/>
                <a:gd name="T56" fmla="*/ 294 w 332"/>
                <a:gd name="T57" fmla="*/ 60 h 332"/>
                <a:gd name="T58" fmla="*/ 312 w 332"/>
                <a:gd name="T59" fmla="*/ 87 h 332"/>
                <a:gd name="T60" fmla="*/ 324 w 332"/>
                <a:gd name="T61" fmla="*/ 117 h 332"/>
                <a:gd name="T62" fmla="*/ 331 w 332"/>
                <a:gd name="T63" fmla="*/ 15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2" h="332">
                  <a:moveTo>
                    <a:pt x="332" y="166"/>
                  </a:moveTo>
                  <a:lnTo>
                    <a:pt x="331" y="183"/>
                  </a:lnTo>
                  <a:lnTo>
                    <a:pt x="329" y="199"/>
                  </a:lnTo>
                  <a:lnTo>
                    <a:pt x="324" y="216"/>
                  </a:lnTo>
                  <a:lnTo>
                    <a:pt x="319" y="230"/>
                  </a:lnTo>
                  <a:lnTo>
                    <a:pt x="312" y="246"/>
                  </a:lnTo>
                  <a:lnTo>
                    <a:pt x="303" y="259"/>
                  </a:lnTo>
                  <a:lnTo>
                    <a:pt x="294" y="272"/>
                  </a:lnTo>
                  <a:lnTo>
                    <a:pt x="284" y="283"/>
                  </a:lnTo>
                  <a:lnTo>
                    <a:pt x="271" y="294"/>
                  </a:lnTo>
                  <a:lnTo>
                    <a:pt x="258" y="304"/>
                  </a:lnTo>
                  <a:lnTo>
                    <a:pt x="245" y="312"/>
                  </a:lnTo>
                  <a:lnTo>
                    <a:pt x="231" y="319"/>
                  </a:lnTo>
                  <a:lnTo>
                    <a:pt x="215" y="325"/>
                  </a:lnTo>
                  <a:lnTo>
                    <a:pt x="200" y="329"/>
                  </a:lnTo>
                  <a:lnTo>
                    <a:pt x="183" y="332"/>
                  </a:lnTo>
                  <a:lnTo>
                    <a:pt x="165" y="332"/>
                  </a:lnTo>
                  <a:lnTo>
                    <a:pt x="149" y="332"/>
                  </a:lnTo>
                  <a:lnTo>
                    <a:pt x="132" y="329"/>
                  </a:lnTo>
                  <a:lnTo>
                    <a:pt x="117" y="325"/>
                  </a:lnTo>
                  <a:lnTo>
                    <a:pt x="101" y="319"/>
                  </a:lnTo>
                  <a:lnTo>
                    <a:pt x="87" y="312"/>
                  </a:lnTo>
                  <a:lnTo>
                    <a:pt x="73" y="304"/>
                  </a:lnTo>
                  <a:lnTo>
                    <a:pt x="61" y="294"/>
                  </a:lnTo>
                  <a:lnTo>
                    <a:pt x="48" y="283"/>
                  </a:lnTo>
                  <a:lnTo>
                    <a:pt x="37" y="272"/>
                  </a:lnTo>
                  <a:lnTo>
                    <a:pt x="28" y="259"/>
                  </a:lnTo>
                  <a:lnTo>
                    <a:pt x="20" y="246"/>
                  </a:lnTo>
                  <a:lnTo>
                    <a:pt x="13" y="230"/>
                  </a:lnTo>
                  <a:lnTo>
                    <a:pt x="8" y="216"/>
                  </a:lnTo>
                  <a:lnTo>
                    <a:pt x="3" y="199"/>
                  </a:lnTo>
                  <a:lnTo>
                    <a:pt x="1" y="183"/>
                  </a:lnTo>
                  <a:lnTo>
                    <a:pt x="0" y="166"/>
                  </a:lnTo>
                  <a:lnTo>
                    <a:pt x="1" y="150"/>
                  </a:lnTo>
                  <a:lnTo>
                    <a:pt x="3" y="133"/>
                  </a:lnTo>
                  <a:lnTo>
                    <a:pt x="8" y="117"/>
                  </a:lnTo>
                  <a:lnTo>
                    <a:pt x="13" y="101"/>
                  </a:lnTo>
                  <a:lnTo>
                    <a:pt x="20" y="87"/>
                  </a:lnTo>
                  <a:lnTo>
                    <a:pt x="28" y="74"/>
                  </a:lnTo>
                  <a:lnTo>
                    <a:pt x="37" y="60"/>
                  </a:lnTo>
                  <a:lnTo>
                    <a:pt x="48" y="49"/>
                  </a:lnTo>
                  <a:lnTo>
                    <a:pt x="61" y="38"/>
                  </a:lnTo>
                  <a:lnTo>
                    <a:pt x="73" y="28"/>
                  </a:lnTo>
                  <a:lnTo>
                    <a:pt x="87" y="21"/>
                  </a:lnTo>
                  <a:lnTo>
                    <a:pt x="101" y="13"/>
                  </a:lnTo>
                  <a:lnTo>
                    <a:pt x="117" y="7"/>
                  </a:lnTo>
                  <a:lnTo>
                    <a:pt x="132" y="4"/>
                  </a:lnTo>
                  <a:lnTo>
                    <a:pt x="149" y="1"/>
                  </a:lnTo>
                  <a:lnTo>
                    <a:pt x="165" y="0"/>
                  </a:lnTo>
                  <a:lnTo>
                    <a:pt x="183" y="1"/>
                  </a:lnTo>
                  <a:lnTo>
                    <a:pt x="200" y="4"/>
                  </a:lnTo>
                  <a:lnTo>
                    <a:pt x="215" y="7"/>
                  </a:lnTo>
                  <a:lnTo>
                    <a:pt x="231" y="13"/>
                  </a:lnTo>
                  <a:lnTo>
                    <a:pt x="245" y="21"/>
                  </a:lnTo>
                  <a:lnTo>
                    <a:pt x="258" y="28"/>
                  </a:lnTo>
                  <a:lnTo>
                    <a:pt x="271" y="38"/>
                  </a:lnTo>
                  <a:lnTo>
                    <a:pt x="284" y="49"/>
                  </a:lnTo>
                  <a:lnTo>
                    <a:pt x="294" y="60"/>
                  </a:lnTo>
                  <a:lnTo>
                    <a:pt x="303" y="74"/>
                  </a:lnTo>
                  <a:lnTo>
                    <a:pt x="312" y="87"/>
                  </a:lnTo>
                  <a:lnTo>
                    <a:pt x="319" y="101"/>
                  </a:lnTo>
                  <a:lnTo>
                    <a:pt x="324" y="117"/>
                  </a:lnTo>
                  <a:lnTo>
                    <a:pt x="329" y="133"/>
                  </a:lnTo>
                  <a:lnTo>
                    <a:pt x="331" y="150"/>
                  </a:lnTo>
                  <a:lnTo>
                    <a:pt x="332"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2" name="Freeform 88">
              <a:extLst>
                <a:ext uri="{FF2B5EF4-FFF2-40B4-BE49-F238E27FC236}">
                  <a16:creationId xmlns:a16="http://schemas.microsoft.com/office/drawing/2014/main" id="{7458EB6E-DDF1-6548-4AF5-EA054694B8B1}"/>
                </a:ext>
              </a:extLst>
            </p:cNvPr>
            <p:cNvSpPr>
              <a:spLocks/>
            </p:cNvSpPr>
            <p:nvPr/>
          </p:nvSpPr>
          <p:spPr bwMode="auto">
            <a:xfrm>
              <a:off x="11268651" y="2418639"/>
              <a:ext cx="69726" cy="75192"/>
            </a:xfrm>
            <a:custGeom>
              <a:avLst/>
              <a:gdLst>
                <a:gd name="T0" fmla="*/ 251 w 251"/>
                <a:gd name="T1" fmla="*/ 139 h 251"/>
                <a:gd name="T2" fmla="*/ 246 w 251"/>
                <a:gd name="T3" fmla="*/ 163 h 251"/>
                <a:gd name="T4" fmla="*/ 237 w 251"/>
                <a:gd name="T5" fmla="*/ 185 h 251"/>
                <a:gd name="T6" fmla="*/ 223 w 251"/>
                <a:gd name="T7" fmla="*/ 205 h 251"/>
                <a:gd name="T8" fmla="*/ 206 w 251"/>
                <a:gd name="T9" fmla="*/ 223 h 251"/>
                <a:gd name="T10" fmla="*/ 186 w 251"/>
                <a:gd name="T11" fmla="*/ 236 h 251"/>
                <a:gd name="T12" fmla="*/ 163 w 251"/>
                <a:gd name="T13" fmla="*/ 246 h 251"/>
                <a:gd name="T14" fmla="*/ 139 w 251"/>
                <a:gd name="T15" fmla="*/ 250 h 251"/>
                <a:gd name="T16" fmla="*/ 113 w 251"/>
                <a:gd name="T17" fmla="*/ 250 h 251"/>
                <a:gd name="T18" fmla="*/ 88 w 251"/>
                <a:gd name="T19" fmla="*/ 246 h 251"/>
                <a:gd name="T20" fmla="*/ 66 w 251"/>
                <a:gd name="T21" fmla="*/ 236 h 251"/>
                <a:gd name="T22" fmla="*/ 46 w 251"/>
                <a:gd name="T23" fmla="*/ 223 h 251"/>
                <a:gd name="T24" fmla="*/ 28 w 251"/>
                <a:gd name="T25" fmla="*/ 205 h 251"/>
                <a:gd name="T26" fmla="*/ 15 w 251"/>
                <a:gd name="T27" fmla="*/ 185 h 251"/>
                <a:gd name="T28" fmla="*/ 5 w 251"/>
                <a:gd name="T29" fmla="*/ 163 h 251"/>
                <a:gd name="T30" fmla="*/ 1 w 251"/>
                <a:gd name="T31" fmla="*/ 139 h 251"/>
                <a:gd name="T32" fmla="*/ 1 w 251"/>
                <a:gd name="T33" fmla="*/ 112 h 251"/>
                <a:gd name="T34" fmla="*/ 5 w 251"/>
                <a:gd name="T35" fmla="*/ 88 h 251"/>
                <a:gd name="T36" fmla="*/ 15 w 251"/>
                <a:gd name="T37" fmla="*/ 66 h 251"/>
                <a:gd name="T38" fmla="*/ 28 w 251"/>
                <a:gd name="T39" fmla="*/ 46 h 251"/>
                <a:gd name="T40" fmla="*/ 46 w 251"/>
                <a:gd name="T41" fmla="*/ 28 h 251"/>
                <a:gd name="T42" fmla="*/ 66 w 251"/>
                <a:gd name="T43" fmla="*/ 15 h 251"/>
                <a:gd name="T44" fmla="*/ 88 w 251"/>
                <a:gd name="T45" fmla="*/ 5 h 251"/>
                <a:gd name="T46" fmla="*/ 113 w 251"/>
                <a:gd name="T47" fmla="*/ 1 h 251"/>
                <a:gd name="T48" fmla="*/ 139 w 251"/>
                <a:gd name="T49" fmla="*/ 1 h 251"/>
                <a:gd name="T50" fmla="*/ 163 w 251"/>
                <a:gd name="T51" fmla="*/ 5 h 251"/>
                <a:gd name="T52" fmla="*/ 186 w 251"/>
                <a:gd name="T53" fmla="*/ 15 h 251"/>
                <a:gd name="T54" fmla="*/ 206 w 251"/>
                <a:gd name="T55" fmla="*/ 28 h 251"/>
                <a:gd name="T56" fmla="*/ 223 w 251"/>
                <a:gd name="T57" fmla="*/ 46 h 251"/>
                <a:gd name="T58" fmla="*/ 237 w 251"/>
                <a:gd name="T59" fmla="*/ 66 h 251"/>
                <a:gd name="T60" fmla="*/ 246 w 251"/>
                <a:gd name="T61" fmla="*/ 88 h 251"/>
                <a:gd name="T62" fmla="*/ 251 w 251"/>
                <a:gd name="T63" fmla="*/ 112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251">
                  <a:moveTo>
                    <a:pt x="251" y="125"/>
                  </a:moveTo>
                  <a:lnTo>
                    <a:pt x="251" y="139"/>
                  </a:lnTo>
                  <a:lnTo>
                    <a:pt x="249" y="151"/>
                  </a:lnTo>
                  <a:lnTo>
                    <a:pt x="246" y="163"/>
                  </a:lnTo>
                  <a:lnTo>
                    <a:pt x="241" y="174"/>
                  </a:lnTo>
                  <a:lnTo>
                    <a:pt x="237" y="185"/>
                  </a:lnTo>
                  <a:lnTo>
                    <a:pt x="230" y="196"/>
                  </a:lnTo>
                  <a:lnTo>
                    <a:pt x="223" y="205"/>
                  </a:lnTo>
                  <a:lnTo>
                    <a:pt x="215" y="214"/>
                  </a:lnTo>
                  <a:lnTo>
                    <a:pt x="206" y="223"/>
                  </a:lnTo>
                  <a:lnTo>
                    <a:pt x="196" y="229"/>
                  </a:lnTo>
                  <a:lnTo>
                    <a:pt x="186" y="236"/>
                  </a:lnTo>
                  <a:lnTo>
                    <a:pt x="175" y="241"/>
                  </a:lnTo>
                  <a:lnTo>
                    <a:pt x="163" y="246"/>
                  </a:lnTo>
                  <a:lnTo>
                    <a:pt x="151" y="248"/>
                  </a:lnTo>
                  <a:lnTo>
                    <a:pt x="139" y="250"/>
                  </a:lnTo>
                  <a:lnTo>
                    <a:pt x="125" y="251"/>
                  </a:lnTo>
                  <a:lnTo>
                    <a:pt x="113" y="250"/>
                  </a:lnTo>
                  <a:lnTo>
                    <a:pt x="100" y="248"/>
                  </a:lnTo>
                  <a:lnTo>
                    <a:pt x="88" y="246"/>
                  </a:lnTo>
                  <a:lnTo>
                    <a:pt x="77" y="241"/>
                  </a:lnTo>
                  <a:lnTo>
                    <a:pt x="66" y="236"/>
                  </a:lnTo>
                  <a:lnTo>
                    <a:pt x="56" y="229"/>
                  </a:lnTo>
                  <a:lnTo>
                    <a:pt x="46" y="223"/>
                  </a:lnTo>
                  <a:lnTo>
                    <a:pt x="37" y="214"/>
                  </a:lnTo>
                  <a:lnTo>
                    <a:pt x="28" y="205"/>
                  </a:lnTo>
                  <a:lnTo>
                    <a:pt x="22" y="196"/>
                  </a:lnTo>
                  <a:lnTo>
                    <a:pt x="15" y="185"/>
                  </a:lnTo>
                  <a:lnTo>
                    <a:pt x="9" y="174"/>
                  </a:lnTo>
                  <a:lnTo>
                    <a:pt x="5" y="163"/>
                  </a:lnTo>
                  <a:lnTo>
                    <a:pt x="3" y="151"/>
                  </a:lnTo>
                  <a:lnTo>
                    <a:pt x="1" y="139"/>
                  </a:lnTo>
                  <a:lnTo>
                    <a:pt x="0" y="125"/>
                  </a:lnTo>
                  <a:lnTo>
                    <a:pt x="1" y="112"/>
                  </a:lnTo>
                  <a:lnTo>
                    <a:pt x="3" y="100"/>
                  </a:lnTo>
                  <a:lnTo>
                    <a:pt x="5" y="88"/>
                  </a:lnTo>
                  <a:lnTo>
                    <a:pt x="9" y="77"/>
                  </a:lnTo>
                  <a:lnTo>
                    <a:pt x="15" y="66"/>
                  </a:lnTo>
                  <a:lnTo>
                    <a:pt x="22" y="55"/>
                  </a:lnTo>
                  <a:lnTo>
                    <a:pt x="28" y="46"/>
                  </a:lnTo>
                  <a:lnTo>
                    <a:pt x="37" y="36"/>
                  </a:lnTo>
                  <a:lnTo>
                    <a:pt x="46" y="28"/>
                  </a:lnTo>
                  <a:lnTo>
                    <a:pt x="56" y="22"/>
                  </a:lnTo>
                  <a:lnTo>
                    <a:pt x="66" y="15"/>
                  </a:lnTo>
                  <a:lnTo>
                    <a:pt x="77" y="9"/>
                  </a:lnTo>
                  <a:lnTo>
                    <a:pt x="88" y="5"/>
                  </a:lnTo>
                  <a:lnTo>
                    <a:pt x="100" y="2"/>
                  </a:lnTo>
                  <a:lnTo>
                    <a:pt x="113" y="1"/>
                  </a:lnTo>
                  <a:lnTo>
                    <a:pt x="125" y="0"/>
                  </a:lnTo>
                  <a:lnTo>
                    <a:pt x="139" y="1"/>
                  </a:lnTo>
                  <a:lnTo>
                    <a:pt x="151" y="2"/>
                  </a:lnTo>
                  <a:lnTo>
                    <a:pt x="163" y="5"/>
                  </a:lnTo>
                  <a:lnTo>
                    <a:pt x="175" y="9"/>
                  </a:lnTo>
                  <a:lnTo>
                    <a:pt x="186" y="15"/>
                  </a:lnTo>
                  <a:lnTo>
                    <a:pt x="196" y="22"/>
                  </a:lnTo>
                  <a:lnTo>
                    <a:pt x="206" y="28"/>
                  </a:lnTo>
                  <a:lnTo>
                    <a:pt x="215" y="36"/>
                  </a:lnTo>
                  <a:lnTo>
                    <a:pt x="223" y="46"/>
                  </a:lnTo>
                  <a:lnTo>
                    <a:pt x="230" y="55"/>
                  </a:lnTo>
                  <a:lnTo>
                    <a:pt x="237" y="66"/>
                  </a:lnTo>
                  <a:lnTo>
                    <a:pt x="241" y="77"/>
                  </a:lnTo>
                  <a:lnTo>
                    <a:pt x="246" y="88"/>
                  </a:lnTo>
                  <a:lnTo>
                    <a:pt x="249" y="100"/>
                  </a:lnTo>
                  <a:lnTo>
                    <a:pt x="251" y="112"/>
                  </a:lnTo>
                  <a:lnTo>
                    <a:pt x="251" y="125"/>
                  </a:lnTo>
                  <a:close/>
                </a:path>
              </a:pathLst>
            </a:custGeom>
            <a:solidFill>
              <a:srgbClr val="9AD8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3" name="Freeform 89">
              <a:extLst>
                <a:ext uri="{FF2B5EF4-FFF2-40B4-BE49-F238E27FC236}">
                  <a16:creationId xmlns:a16="http://schemas.microsoft.com/office/drawing/2014/main" id="{7F67BD81-1A5D-0405-CC88-E2E99F83AD65}"/>
                </a:ext>
              </a:extLst>
            </p:cNvPr>
            <p:cNvSpPr>
              <a:spLocks/>
            </p:cNvSpPr>
            <p:nvPr/>
          </p:nvSpPr>
          <p:spPr bwMode="auto">
            <a:xfrm>
              <a:off x="11281201" y="2421647"/>
              <a:ext cx="57176" cy="72184"/>
            </a:xfrm>
            <a:custGeom>
              <a:avLst/>
              <a:gdLst>
                <a:gd name="T0" fmla="*/ 135 w 206"/>
                <a:gd name="T1" fmla="*/ 9 h 243"/>
                <a:gd name="T2" fmla="*/ 151 w 206"/>
                <a:gd name="T3" fmla="*/ 30 h 243"/>
                <a:gd name="T4" fmla="*/ 163 w 206"/>
                <a:gd name="T5" fmla="*/ 54 h 243"/>
                <a:gd name="T6" fmla="*/ 170 w 206"/>
                <a:gd name="T7" fmla="*/ 81 h 243"/>
                <a:gd name="T8" fmla="*/ 170 w 206"/>
                <a:gd name="T9" fmla="*/ 107 h 243"/>
                <a:gd name="T10" fmla="*/ 164 w 206"/>
                <a:gd name="T11" fmla="*/ 133 h 243"/>
                <a:gd name="T12" fmla="*/ 156 w 206"/>
                <a:gd name="T13" fmla="*/ 155 h 243"/>
                <a:gd name="T14" fmla="*/ 141 w 206"/>
                <a:gd name="T15" fmla="*/ 175 h 243"/>
                <a:gd name="T16" fmla="*/ 125 w 206"/>
                <a:gd name="T17" fmla="*/ 192 h 243"/>
                <a:gd name="T18" fmla="*/ 105 w 206"/>
                <a:gd name="T19" fmla="*/ 206 h 243"/>
                <a:gd name="T20" fmla="*/ 82 w 206"/>
                <a:gd name="T21" fmla="*/ 215 h 243"/>
                <a:gd name="T22" fmla="*/ 57 w 206"/>
                <a:gd name="T23" fmla="*/ 220 h 243"/>
                <a:gd name="T24" fmla="*/ 33 w 206"/>
                <a:gd name="T25" fmla="*/ 220 h 243"/>
                <a:gd name="T26" fmla="*/ 11 w 206"/>
                <a:gd name="T27" fmla="*/ 216 h 243"/>
                <a:gd name="T28" fmla="*/ 9 w 206"/>
                <a:gd name="T29" fmla="*/ 219 h 243"/>
                <a:gd name="T30" fmla="*/ 27 w 206"/>
                <a:gd name="T31" fmla="*/ 230 h 243"/>
                <a:gd name="T32" fmla="*/ 47 w 206"/>
                <a:gd name="T33" fmla="*/ 238 h 243"/>
                <a:gd name="T34" fmla="*/ 69 w 206"/>
                <a:gd name="T35" fmla="*/ 242 h 243"/>
                <a:gd name="T36" fmla="*/ 94 w 206"/>
                <a:gd name="T37" fmla="*/ 242 h 243"/>
                <a:gd name="T38" fmla="*/ 118 w 206"/>
                <a:gd name="T39" fmla="*/ 238 h 243"/>
                <a:gd name="T40" fmla="*/ 141 w 206"/>
                <a:gd name="T41" fmla="*/ 228 h 243"/>
                <a:gd name="T42" fmla="*/ 161 w 206"/>
                <a:gd name="T43" fmla="*/ 215 h 243"/>
                <a:gd name="T44" fmla="*/ 178 w 206"/>
                <a:gd name="T45" fmla="*/ 197 h 243"/>
                <a:gd name="T46" fmla="*/ 192 w 206"/>
                <a:gd name="T47" fmla="*/ 177 h 243"/>
                <a:gd name="T48" fmla="*/ 201 w 206"/>
                <a:gd name="T49" fmla="*/ 155 h 243"/>
                <a:gd name="T50" fmla="*/ 206 w 206"/>
                <a:gd name="T51" fmla="*/ 131 h 243"/>
                <a:gd name="T52" fmla="*/ 206 w 206"/>
                <a:gd name="T53" fmla="*/ 107 h 243"/>
                <a:gd name="T54" fmla="*/ 203 w 206"/>
                <a:gd name="T55" fmla="*/ 88 h 243"/>
                <a:gd name="T56" fmla="*/ 198 w 206"/>
                <a:gd name="T57" fmla="*/ 70 h 243"/>
                <a:gd name="T58" fmla="*/ 189 w 206"/>
                <a:gd name="T59" fmla="*/ 53 h 243"/>
                <a:gd name="T60" fmla="*/ 178 w 206"/>
                <a:gd name="T61" fmla="*/ 38 h 243"/>
                <a:gd name="T62" fmla="*/ 165 w 206"/>
                <a:gd name="T63" fmla="*/ 25 h 243"/>
                <a:gd name="T64" fmla="*/ 150 w 206"/>
                <a:gd name="T65" fmla="*/ 14 h 243"/>
                <a:gd name="T66" fmla="*/ 133 w 206"/>
                <a:gd name="T67" fmla="*/ 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6" h="243">
                  <a:moveTo>
                    <a:pt x="125" y="0"/>
                  </a:moveTo>
                  <a:lnTo>
                    <a:pt x="135" y="9"/>
                  </a:lnTo>
                  <a:lnTo>
                    <a:pt x="143" y="19"/>
                  </a:lnTo>
                  <a:lnTo>
                    <a:pt x="151" y="30"/>
                  </a:lnTo>
                  <a:lnTo>
                    <a:pt x="158" y="42"/>
                  </a:lnTo>
                  <a:lnTo>
                    <a:pt x="163" y="54"/>
                  </a:lnTo>
                  <a:lnTo>
                    <a:pt x="167" y="68"/>
                  </a:lnTo>
                  <a:lnTo>
                    <a:pt x="170" y="81"/>
                  </a:lnTo>
                  <a:lnTo>
                    <a:pt x="170" y="95"/>
                  </a:lnTo>
                  <a:lnTo>
                    <a:pt x="170" y="107"/>
                  </a:lnTo>
                  <a:lnTo>
                    <a:pt x="168" y="121"/>
                  </a:lnTo>
                  <a:lnTo>
                    <a:pt x="164" y="133"/>
                  </a:lnTo>
                  <a:lnTo>
                    <a:pt x="160" y="144"/>
                  </a:lnTo>
                  <a:lnTo>
                    <a:pt x="156" y="155"/>
                  </a:lnTo>
                  <a:lnTo>
                    <a:pt x="149" y="165"/>
                  </a:lnTo>
                  <a:lnTo>
                    <a:pt x="141" y="175"/>
                  </a:lnTo>
                  <a:lnTo>
                    <a:pt x="133" y="184"/>
                  </a:lnTo>
                  <a:lnTo>
                    <a:pt x="125" y="192"/>
                  </a:lnTo>
                  <a:lnTo>
                    <a:pt x="115" y="199"/>
                  </a:lnTo>
                  <a:lnTo>
                    <a:pt x="105" y="206"/>
                  </a:lnTo>
                  <a:lnTo>
                    <a:pt x="94" y="211"/>
                  </a:lnTo>
                  <a:lnTo>
                    <a:pt x="82" y="215"/>
                  </a:lnTo>
                  <a:lnTo>
                    <a:pt x="69" y="218"/>
                  </a:lnTo>
                  <a:lnTo>
                    <a:pt x="57" y="220"/>
                  </a:lnTo>
                  <a:lnTo>
                    <a:pt x="44" y="221"/>
                  </a:lnTo>
                  <a:lnTo>
                    <a:pt x="33" y="220"/>
                  </a:lnTo>
                  <a:lnTo>
                    <a:pt x="22" y="218"/>
                  </a:lnTo>
                  <a:lnTo>
                    <a:pt x="11" y="216"/>
                  </a:lnTo>
                  <a:lnTo>
                    <a:pt x="0" y="211"/>
                  </a:lnTo>
                  <a:lnTo>
                    <a:pt x="9" y="219"/>
                  </a:lnTo>
                  <a:lnTo>
                    <a:pt x="17" y="224"/>
                  </a:lnTo>
                  <a:lnTo>
                    <a:pt x="27" y="230"/>
                  </a:lnTo>
                  <a:lnTo>
                    <a:pt x="37" y="234"/>
                  </a:lnTo>
                  <a:lnTo>
                    <a:pt x="47" y="238"/>
                  </a:lnTo>
                  <a:lnTo>
                    <a:pt x="58" y="241"/>
                  </a:lnTo>
                  <a:lnTo>
                    <a:pt x="69" y="242"/>
                  </a:lnTo>
                  <a:lnTo>
                    <a:pt x="80" y="243"/>
                  </a:lnTo>
                  <a:lnTo>
                    <a:pt x="94" y="242"/>
                  </a:lnTo>
                  <a:lnTo>
                    <a:pt x="106" y="240"/>
                  </a:lnTo>
                  <a:lnTo>
                    <a:pt x="118" y="238"/>
                  </a:lnTo>
                  <a:lnTo>
                    <a:pt x="130" y="233"/>
                  </a:lnTo>
                  <a:lnTo>
                    <a:pt x="141" y="228"/>
                  </a:lnTo>
                  <a:lnTo>
                    <a:pt x="151" y="221"/>
                  </a:lnTo>
                  <a:lnTo>
                    <a:pt x="161" y="215"/>
                  </a:lnTo>
                  <a:lnTo>
                    <a:pt x="170" y="206"/>
                  </a:lnTo>
                  <a:lnTo>
                    <a:pt x="178" y="197"/>
                  </a:lnTo>
                  <a:lnTo>
                    <a:pt x="185" y="188"/>
                  </a:lnTo>
                  <a:lnTo>
                    <a:pt x="192" y="177"/>
                  </a:lnTo>
                  <a:lnTo>
                    <a:pt x="196" y="166"/>
                  </a:lnTo>
                  <a:lnTo>
                    <a:pt x="201" y="155"/>
                  </a:lnTo>
                  <a:lnTo>
                    <a:pt x="204" y="143"/>
                  </a:lnTo>
                  <a:lnTo>
                    <a:pt x="206" y="131"/>
                  </a:lnTo>
                  <a:lnTo>
                    <a:pt x="206" y="117"/>
                  </a:lnTo>
                  <a:lnTo>
                    <a:pt x="206" y="107"/>
                  </a:lnTo>
                  <a:lnTo>
                    <a:pt x="205" y="97"/>
                  </a:lnTo>
                  <a:lnTo>
                    <a:pt x="203" y="88"/>
                  </a:lnTo>
                  <a:lnTo>
                    <a:pt x="201" y="79"/>
                  </a:lnTo>
                  <a:lnTo>
                    <a:pt x="198" y="70"/>
                  </a:lnTo>
                  <a:lnTo>
                    <a:pt x="193" y="61"/>
                  </a:lnTo>
                  <a:lnTo>
                    <a:pt x="189" y="53"/>
                  </a:lnTo>
                  <a:lnTo>
                    <a:pt x="183" y="46"/>
                  </a:lnTo>
                  <a:lnTo>
                    <a:pt x="178" y="38"/>
                  </a:lnTo>
                  <a:lnTo>
                    <a:pt x="172" y="31"/>
                  </a:lnTo>
                  <a:lnTo>
                    <a:pt x="165" y="25"/>
                  </a:lnTo>
                  <a:lnTo>
                    <a:pt x="158" y="19"/>
                  </a:lnTo>
                  <a:lnTo>
                    <a:pt x="150" y="14"/>
                  </a:lnTo>
                  <a:lnTo>
                    <a:pt x="142" y="8"/>
                  </a:lnTo>
                  <a:lnTo>
                    <a:pt x="133" y="4"/>
                  </a:lnTo>
                  <a:lnTo>
                    <a:pt x="125" y="0"/>
                  </a:lnTo>
                  <a:close/>
                </a:path>
              </a:pathLst>
            </a:custGeom>
            <a:solidFill>
              <a:srgbClr val="72C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4" name="Freeform 90">
              <a:extLst>
                <a:ext uri="{FF2B5EF4-FFF2-40B4-BE49-F238E27FC236}">
                  <a16:creationId xmlns:a16="http://schemas.microsoft.com/office/drawing/2014/main" id="{C10FA844-D89A-793D-A6F2-A15D6515F721}"/>
                </a:ext>
              </a:extLst>
            </p:cNvPr>
            <p:cNvSpPr>
              <a:spLocks/>
            </p:cNvSpPr>
            <p:nvPr/>
          </p:nvSpPr>
          <p:spPr bwMode="auto">
            <a:xfrm>
              <a:off x="11196136" y="3146495"/>
              <a:ext cx="217545" cy="66169"/>
            </a:xfrm>
            <a:custGeom>
              <a:avLst/>
              <a:gdLst>
                <a:gd name="T0" fmla="*/ 782 w 782"/>
                <a:gd name="T1" fmla="*/ 218 h 218"/>
                <a:gd name="T2" fmla="*/ 781 w 782"/>
                <a:gd name="T3" fmla="*/ 207 h 218"/>
                <a:gd name="T4" fmla="*/ 780 w 782"/>
                <a:gd name="T5" fmla="*/ 196 h 218"/>
                <a:gd name="T6" fmla="*/ 777 w 782"/>
                <a:gd name="T7" fmla="*/ 185 h 218"/>
                <a:gd name="T8" fmla="*/ 773 w 782"/>
                <a:gd name="T9" fmla="*/ 174 h 218"/>
                <a:gd name="T10" fmla="*/ 769 w 782"/>
                <a:gd name="T11" fmla="*/ 164 h 218"/>
                <a:gd name="T12" fmla="*/ 764 w 782"/>
                <a:gd name="T13" fmla="*/ 153 h 218"/>
                <a:gd name="T14" fmla="*/ 758 w 782"/>
                <a:gd name="T15" fmla="*/ 143 h 218"/>
                <a:gd name="T16" fmla="*/ 751 w 782"/>
                <a:gd name="T17" fmla="*/ 133 h 218"/>
                <a:gd name="T18" fmla="*/ 743 w 782"/>
                <a:gd name="T19" fmla="*/ 123 h 218"/>
                <a:gd name="T20" fmla="*/ 734 w 782"/>
                <a:gd name="T21" fmla="*/ 114 h 218"/>
                <a:gd name="T22" fmla="*/ 724 w 782"/>
                <a:gd name="T23" fmla="*/ 104 h 218"/>
                <a:gd name="T24" fmla="*/ 714 w 782"/>
                <a:gd name="T25" fmla="*/ 96 h 218"/>
                <a:gd name="T26" fmla="*/ 703 w 782"/>
                <a:gd name="T27" fmla="*/ 87 h 218"/>
                <a:gd name="T28" fmla="*/ 692 w 782"/>
                <a:gd name="T29" fmla="*/ 79 h 218"/>
                <a:gd name="T30" fmla="*/ 680 w 782"/>
                <a:gd name="T31" fmla="*/ 71 h 218"/>
                <a:gd name="T32" fmla="*/ 667 w 782"/>
                <a:gd name="T33" fmla="*/ 64 h 218"/>
                <a:gd name="T34" fmla="*/ 654 w 782"/>
                <a:gd name="T35" fmla="*/ 56 h 218"/>
                <a:gd name="T36" fmla="*/ 639 w 782"/>
                <a:gd name="T37" fmla="*/ 49 h 218"/>
                <a:gd name="T38" fmla="*/ 624 w 782"/>
                <a:gd name="T39" fmla="*/ 43 h 218"/>
                <a:gd name="T40" fmla="*/ 610 w 782"/>
                <a:gd name="T41" fmla="*/ 37 h 218"/>
                <a:gd name="T42" fmla="*/ 593 w 782"/>
                <a:gd name="T43" fmla="*/ 32 h 218"/>
                <a:gd name="T44" fmla="*/ 576 w 782"/>
                <a:gd name="T45" fmla="*/ 26 h 218"/>
                <a:gd name="T46" fmla="*/ 560 w 782"/>
                <a:gd name="T47" fmla="*/ 21 h 218"/>
                <a:gd name="T48" fmla="*/ 542 w 782"/>
                <a:gd name="T49" fmla="*/ 16 h 218"/>
                <a:gd name="T50" fmla="*/ 507 w 782"/>
                <a:gd name="T51" fmla="*/ 10 h 218"/>
                <a:gd name="T52" fmla="*/ 469 w 782"/>
                <a:gd name="T53" fmla="*/ 4 h 218"/>
                <a:gd name="T54" fmla="*/ 449 w 782"/>
                <a:gd name="T55" fmla="*/ 2 h 218"/>
                <a:gd name="T56" fmla="*/ 431 w 782"/>
                <a:gd name="T57" fmla="*/ 1 h 218"/>
                <a:gd name="T58" fmla="*/ 411 w 782"/>
                <a:gd name="T59" fmla="*/ 0 h 218"/>
                <a:gd name="T60" fmla="*/ 391 w 782"/>
                <a:gd name="T61" fmla="*/ 0 h 218"/>
                <a:gd name="T62" fmla="*/ 370 w 782"/>
                <a:gd name="T63" fmla="*/ 0 h 218"/>
                <a:gd name="T64" fmla="*/ 350 w 782"/>
                <a:gd name="T65" fmla="*/ 1 h 218"/>
                <a:gd name="T66" fmla="*/ 331 w 782"/>
                <a:gd name="T67" fmla="*/ 2 h 218"/>
                <a:gd name="T68" fmla="*/ 311 w 782"/>
                <a:gd name="T69" fmla="*/ 4 h 218"/>
                <a:gd name="T70" fmla="*/ 274 w 782"/>
                <a:gd name="T71" fmla="*/ 10 h 218"/>
                <a:gd name="T72" fmla="*/ 238 w 782"/>
                <a:gd name="T73" fmla="*/ 16 h 218"/>
                <a:gd name="T74" fmla="*/ 221 w 782"/>
                <a:gd name="T75" fmla="*/ 21 h 218"/>
                <a:gd name="T76" fmla="*/ 204 w 782"/>
                <a:gd name="T77" fmla="*/ 26 h 218"/>
                <a:gd name="T78" fmla="*/ 188 w 782"/>
                <a:gd name="T79" fmla="*/ 32 h 218"/>
                <a:gd name="T80" fmla="*/ 172 w 782"/>
                <a:gd name="T81" fmla="*/ 37 h 218"/>
                <a:gd name="T82" fmla="*/ 157 w 782"/>
                <a:gd name="T83" fmla="*/ 43 h 218"/>
                <a:gd name="T84" fmla="*/ 141 w 782"/>
                <a:gd name="T85" fmla="*/ 49 h 218"/>
                <a:gd name="T86" fmla="*/ 128 w 782"/>
                <a:gd name="T87" fmla="*/ 56 h 218"/>
                <a:gd name="T88" fmla="*/ 114 w 782"/>
                <a:gd name="T89" fmla="*/ 64 h 218"/>
                <a:gd name="T90" fmla="*/ 102 w 782"/>
                <a:gd name="T91" fmla="*/ 71 h 218"/>
                <a:gd name="T92" fmla="*/ 88 w 782"/>
                <a:gd name="T93" fmla="*/ 79 h 218"/>
                <a:gd name="T94" fmla="*/ 77 w 782"/>
                <a:gd name="T95" fmla="*/ 87 h 218"/>
                <a:gd name="T96" fmla="*/ 66 w 782"/>
                <a:gd name="T97" fmla="*/ 96 h 218"/>
                <a:gd name="T98" fmla="*/ 56 w 782"/>
                <a:gd name="T99" fmla="*/ 104 h 218"/>
                <a:gd name="T100" fmla="*/ 46 w 782"/>
                <a:gd name="T101" fmla="*/ 114 h 218"/>
                <a:gd name="T102" fmla="*/ 39 w 782"/>
                <a:gd name="T103" fmla="*/ 123 h 218"/>
                <a:gd name="T104" fmla="*/ 30 w 782"/>
                <a:gd name="T105" fmla="*/ 133 h 218"/>
                <a:gd name="T106" fmla="*/ 23 w 782"/>
                <a:gd name="T107" fmla="*/ 143 h 218"/>
                <a:gd name="T108" fmla="*/ 18 w 782"/>
                <a:gd name="T109" fmla="*/ 153 h 218"/>
                <a:gd name="T110" fmla="*/ 12 w 782"/>
                <a:gd name="T111" fmla="*/ 164 h 218"/>
                <a:gd name="T112" fmla="*/ 8 w 782"/>
                <a:gd name="T113" fmla="*/ 174 h 218"/>
                <a:gd name="T114" fmla="*/ 4 w 782"/>
                <a:gd name="T115" fmla="*/ 185 h 218"/>
                <a:gd name="T116" fmla="*/ 1 w 782"/>
                <a:gd name="T117" fmla="*/ 196 h 218"/>
                <a:gd name="T118" fmla="*/ 0 w 782"/>
                <a:gd name="T119" fmla="*/ 207 h 218"/>
                <a:gd name="T120" fmla="*/ 0 w 782"/>
                <a:gd name="T121" fmla="*/ 218 h 218"/>
                <a:gd name="T122" fmla="*/ 782 w 782"/>
                <a:gd name="T123"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2" h="218">
                  <a:moveTo>
                    <a:pt x="782" y="218"/>
                  </a:moveTo>
                  <a:lnTo>
                    <a:pt x="781" y="207"/>
                  </a:lnTo>
                  <a:lnTo>
                    <a:pt x="780" y="196"/>
                  </a:lnTo>
                  <a:lnTo>
                    <a:pt x="777" y="185"/>
                  </a:lnTo>
                  <a:lnTo>
                    <a:pt x="773" y="174"/>
                  </a:lnTo>
                  <a:lnTo>
                    <a:pt x="769" y="164"/>
                  </a:lnTo>
                  <a:lnTo>
                    <a:pt x="764" y="153"/>
                  </a:lnTo>
                  <a:lnTo>
                    <a:pt x="758" y="143"/>
                  </a:lnTo>
                  <a:lnTo>
                    <a:pt x="751" y="133"/>
                  </a:lnTo>
                  <a:lnTo>
                    <a:pt x="743" y="123"/>
                  </a:lnTo>
                  <a:lnTo>
                    <a:pt x="734" y="114"/>
                  </a:lnTo>
                  <a:lnTo>
                    <a:pt x="724" y="104"/>
                  </a:lnTo>
                  <a:lnTo>
                    <a:pt x="714" y="96"/>
                  </a:lnTo>
                  <a:lnTo>
                    <a:pt x="703" y="87"/>
                  </a:lnTo>
                  <a:lnTo>
                    <a:pt x="692" y="79"/>
                  </a:lnTo>
                  <a:lnTo>
                    <a:pt x="680" y="71"/>
                  </a:lnTo>
                  <a:lnTo>
                    <a:pt x="667" y="64"/>
                  </a:lnTo>
                  <a:lnTo>
                    <a:pt x="654" y="56"/>
                  </a:lnTo>
                  <a:lnTo>
                    <a:pt x="639" y="49"/>
                  </a:lnTo>
                  <a:lnTo>
                    <a:pt x="624" y="43"/>
                  </a:lnTo>
                  <a:lnTo>
                    <a:pt x="610" y="37"/>
                  </a:lnTo>
                  <a:lnTo>
                    <a:pt x="593" y="32"/>
                  </a:lnTo>
                  <a:lnTo>
                    <a:pt x="576" y="26"/>
                  </a:lnTo>
                  <a:lnTo>
                    <a:pt x="560" y="21"/>
                  </a:lnTo>
                  <a:lnTo>
                    <a:pt x="542" y="16"/>
                  </a:lnTo>
                  <a:lnTo>
                    <a:pt x="507" y="10"/>
                  </a:lnTo>
                  <a:lnTo>
                    <a:pt x="469" y="4"/>
                  </a:lnTo>
                  <a:lnTo>
                    <a:pt x="449" y="2"/>
                  </a:lnTo>
                  <a:lnTo>
                    <a:pt x="431" y="1"/>
                  </a:lnTo>
                  <a:lnTo>
                    <a:pt x="411" y="0"/>
                  </a:lnTo>
                  <a:lnTo>
                    <a:pt x="391" y="0"/>
                  </a:lnTo>
                  <a:lnTo>
                    <a:pt x="370" y="0"/>
                  </a:lnTo>
                  <a:lnTo>
                    <a:pt x="350" y="1"/>
                  </a:lnTo>
                  <a:lnTo>
                    <a:pt x="331" y="2"/>
                  </a:lnTo>
                  <a:lnTo>
                    <a:pt x="311" y="4"/>
                  </a:lnTo>
                  <a:lnTo>
                    <a:pt x="274" y="10"/>
                  </a:lnTo>
                  <a:lnTo>
                    <a:pt x="238" y="16"/>
                  </a:lnTo>
                  <a:lnTo>
                    <a:pt x="221" y="21"/>
                  </a:lnTo>
                  <a:lnTo>
                    <a:pt x="204" y="26"/>
                  </a:lnTo>
                  <a:lnTo>
                    <a:pt x="188" y="32"/>
                  </a:lnTo>
                  <a:lnTo>
                    <a:pt x="172" y="37"/>
                  </a:lnTo>
                  <a:lnTo>
                    <a:pt x="157" y="43"/>
                  </a:lnTo>
                  <a:lnTo>
                    <a:pt x="141" y="49"/>
                  </a:lnTo>
                  <a:lnTo>
                    <a:pt x="128" y="56"/>
                  </a:lnTo>
                  <a:lnTo>
                    <a:pt x="114" y="64"/>
                  </a:lnTo>
                  <a:lnTo>
                    <a:pt x="102" y="71"/>
                  </a:lnTo>
                  <a:lnTo>
                    <a:pt x="88" y="79"/>
                  </a:lnTo>
                  <a:lnTo>
                    <a:pt x="77" y="87"/>
                  </a:lnTo>
                  <a:lnTo>
                    <a:pt x="66" y="96"/>
                  </a:lnTo>
                  <a:lnTo>
                    <a:pt x="56" y="104"/>
                  </a:lnTo>
                  <a:lnTo>
                    <a:pt x="46" y="114"/>
                  </a:lnTo>
                  <a:lnTo>
                    <a:pt x="39" y="123"/>
                  </a:lnTo>
                  <a:lnTo>
                    <a:pt x="30" y="133"/>
                  </a:lnTo>
                  <a:lnTo>
                    <a:pt x="23" y="143"/>
                  </a:lnTo>
                  <a:lnTo>
                    <a:pt x="18" y="153"/>
                  </a:lnTo>
                  <a:lnTo>
                    <a:pt x="12" y="164"/>
                  </a:lnTo>
                  <a:lnTo>
                    <a:pt x="8" y="174"/>
                  </a:lnTo>
                  <a:lnTo>
                    <a:pt x="4" y="185"/>
                  </a:lnTo>
                  <a:lnTo>
                    <a:pt x="1" y="196"/>
                  </a:lnTo>
                  <a:lnTo>
                    <a:pt x="0" y="207"/>
                  </a:lnTo>
                  <a:lnTo>
                    <a:pt x="0" y="218"/>
                  </a:lnTo>
                  <a:lnTo>
                    <a:pt x="782" y="218"/>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5" name="Freeform 91">
              <a:extLst>
                <a:ext uri="{FF2B5EF4-FFF2-40B4-BE49-F238E27FC236}">
                  <a16:creationId xmlns:a16="http://schemas.microsoft.com/office/drawing/2014/main" id="{4D9065B6-BB6F-9F5A-1777-97F21227E832}"/>
                </a:ext>
              </a:extLst>
            </p:cNvPr>
            <p:cNvSpPr>
              <a:spLocks/>
            </p:cNvSpPr>
            <p:nvPr/>
          </p:nvSpPr>
          <p:spPr bwMode="auto">
            <a:xfrm>
              <a:off x="11288174" y="3146495"/>
              <a:ext cx="125507" cy="66169"/>
            </a:xfrm>
            <a:custGeom>
              <a:avLst/>
              <a:gdLst>
                <a:gd name="T0" fmla="*/ 61 w 452"/>
                <a:gd name="T1" fmla="*/ 0 h 218"/>
                <a:gd name="T2" fmla="*/ 45 w 452"/>
                <a:gd name="T3" fmla="*/ 0 h 218"/>
                <a:gd name="T4" fmla="*/ 30 w 452"/>
                <a:gd name="T5" fmla="*/ 1 h 218"/>
                <a:gd name="T6" fmla="*/ 16 w 452"/>
                <a:gd name="T7" fmla="*/ 1 h 218"/>
                <a:gd name="T8" fmla="*/ 0 w 452"/>
                <a:gd name="T9" fmla="*/ 2 h 218"/>
                <a:gd name="T10" fmla="*/ 35 w 452"/>
                <a:gd name="T11" fmla="*/ 6 h 218"/>
                <a:gd name="T12" fmla="*/ 69 w 452"/>
                <a:gd name="T13" fmla="*/ 12 h 218"/>
                <a:gd name="T14" fmla="*/ 101 w 452"/>
                <a:gd name="T15" fmla="*/ 18 h 218"/>
                <a:gd name="T16" fmla="*/ 132 w 452"/>
                <a:gd name="T17" fmla="*/ 27 h 218"/>
                <a:gd name="T18" fmla="*/ 160 w 452"/>
                <a:gd name="T19" fmla="*/ 37 h 218"/>
                <a:gd name="T20" fmla="*/ 188 w 452"/>
                <a:gd name="T21" fmla="*/ 49 h 218"/>
                <a:gd name="T22" fmla="*/ 213 w 452"/>
                <a:gd name="T23" fmla="*/ 61 h 218"/>
                <a:gd name="T24" fmla="*/ 236 w 452"/>
                <a:gd name="T25" fmla="*/ 76 h 218"/>
                <a:gd name="T26" fmla="*/ 247 w 452"/>
                <a:gd name="T27" fmla="*/ 82 h 218"/>
                <a:gd name="T28" fmla="*/ 257 w 452"/>
                <a:gd name="T29" fmla="*/ 90 h 218"/>
                <a:gd name="T30" fmla="*/ 267 w 452"/>
                <a:gd name="T31" fmla="*/ 98 h 218"/>
                <a:gd name="T32" fmla="*/ 276 w 452"/>
                <a:gd name="T33" fmla="*/ 106 h 218"/>
                <a:gd name="T34" fmla="*/ 285 w 452"/>
                <a:gd name="T35" fmla="*/ 114 h 218"/>
                <a:gd name="T36" fmla="*/ 293 w 452"/>
                <a:gd name="T37" fmla="*/ 123 h 218"/>
                <a:gd name="T38" fmla="*/ 299 w 452"/>
                <a:gd name="T39" fmla="*/ 132 h 218"/>
                <a:gd name="T40" fmla="*/ 306 w 452"/>
                <a:gd name="T41" fmla="*/ 141 h 218"/>
                <a:gd name="T42" fmla="*/ 312 w 452"/>
                <a:gd name="T43" fmla="*/ 150 h 218"/>
                <a:gd name="T44" fmla="*/ 317 w 452"/>
                <a:gd name="T45" fmla="*/ 159 h 218"/>
                <a:gd name="T46" fmla="*/ 321 w 452"/>
                <a:gd name="T47" fmla="*/ 168 h 218"/>
                <a:gd name="T48" fmla="*/ 325 w 452"/>
                <a:gd name="T49" fmla="*/ 178 h 218"/>
                <a:gd name="T50" fmla="*/ 328 w 452"/>
                <a:gd name="T51" fmla="*/ 188 h 218"/>
                <a:gd name="T52" fmla="*/ 330 w 452"/>
                <a:gd name="T53" fmla="*/ 198 h 218"/>
                <a:gd name="T54" fmla="*/ 331 w 452"/>
                <a:gd name="T55" fmla="*/ 208 h 218"/>
                <a:gd name="T56" fmla="*/ 331 w 452"/>
                <a:gd name="T57" fmla="*/ 218 h 218"/>
                <a:gd name="T58" fmla="*/ 452 w 452"/>
                <a:gd name="T59" fmla="*/ 218 h 218"/>
                <a:gd name="T60" fmla="*/ 451 w 452"/>
                <a:gd name="T61" fmla="*/ 207 h 218"/>
                <a:gd name="T62" fmla="*/ 450 w 452"/>
                <a:gd name="T63" fmla="*/ 196 h 218"/>
                <a:gd name="T64" fmla="*/ 447 w 452"/>
                <a:gd name="T65" fmla="*/ 185 h 218"/>
                <a:gd name="T66" fmla="*/ 443 w 452"/>
                <a:gd name="T67" fmla="*/ 174 h 218"/>
                <a:gd name="T68" fmla="*/ 439 w 452"/>
                <a:gd name="T69" fmla="*/ 164 h 218"/>
                <a:gd name="T70" fmla="*/ 434 w 452"/>
                <a:gd name="T71" fmla="*/ 153 h 218"/>
                <a:gd name="T72" fmla="*/ 428 w 452"/>
                <a:gd name="T73" fmla="*/ 143 h 218"/>
                <a:gd name="T74" fmla="*/ 421 w 452"/>
                <a:gd name="T75" fmla="*/ 133 h 218"/>
                <a:gd name="T76" fmla="*/ 413 w 452"/>
                <a:gd name="T77" fmla="*/ 123 h 218"/>
                <a:gd name="T78" fmla="*/ 404 w 452"/>
                <a:gd name="T79" fmla="*/ 114 h 218"/>
                <a:gd name="T80" fmla="*/ 394 w 452"/>
                <a:gd name="T81" fmla="*/ 104 h 218"/>
                <a:gd name="T82" fmla="*/ 384 w 452"/>
                <a:gd name="T83" fmla="*/ 96 h 218"/>
                <a:gd name="T84" fmla="*/ 373 w 452"/>
                <a:gd name="T85" fmla="*/ 87 h 218"/>
                <a:gd name="T86" fmla="*/ 362 w 452"/>
                <a:gd name="T87" fmla="*/ 79 h 218"/>
                <a:gd name="T88" fmla="*/ 350 w 452"/>
                <a:gd name="T89" fmla="*/ 71 h 218"/>
                <a:gd name="T90" fmla="*/ 337 w 452"/>
                <a:gd name="T91" fmla="*/ 64 h 218"/>
                <a:gd name="T92" fmla="*/ 324 w 452"/>
                <a:gd name="T93" fmla="*/ 56 h 218"/>
                <a:gd name="T94" fmla="*/ 309 w 452"/>
                <a:gd name="T95" fmla="*/ 49 h 218"/>
                <a:gd name="T96" fmla="*/ 294 w 452"/>
                <a:gd name="T97" fmla="*/ 43 h 218"/>
                <a:gd name="T98" fmla="*/ 280 w 452"/>
                <a:gd name="T99" fmla="*/ 37 h 218"/>
                <a:gd name="T100" fmla="*/ 263 w 452"/>
                <a:gd name="T101" fmla="*/ 32 h 218"/>
                <a:gd name="T102" fmla="*/ 246 w 452"/>
                <a:gd name="T103" fmla="*/ 26 h 218"/>
                <a:gd name="T104" fmla="*/ 230 w 452"/>
                <a:gd name="T105" fmla="*/ 21 h 218"/>
                <a:gd name="T106" fmla="*/ 212 w 452"/>
                <a:gd name="T107" fmla="*/ 16 h 218"/>
                <a:gd name="T108" fmla="*/ 177 w 452"/>
                <a:gd name="T109" fmla="*/ 10 h 218"/>
                <a:gd name="T110" fmla="*/ 139 w 452"/>
                <a:gd name="T111" fmla="*/ 4 h 218"/>
                <a:gd name="T112" fmla="*/ 119 w 452"/>
                <a:gd name="T113" fmla="*/ 2 h 218"/>
                <a:gd name="T114" fmla="*/ 101 w 452"/>
                <a:gd name="T115" fmla="*/ 1 h 218"/>
                <a:gd name="T116" fmla="*/ 81 w 452"/>
                <a:gd name="T117" fmla="*/ 0 h 218"/>
                <a:gd name="T118" fmla="*/ 61 w 452"/>
                <a:gd name="T11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2" h="218">
                  <a:moveTo>
                    <a:pt x="61" y="0"/>
                  </a:moveTo>
                  <a:lnTo>
                    <a:pt x="45" y="0"/>
                  </a:lnTo>
                  <a:lnTo>
                    <a:pt x="30" y="1"/>
                  </a:lnTo>
                  <a:lnTo>
                    <a:pt x="16" y="1"/>
                  </a:lnTo>
                  <a:lnTo>
                    <a:pt x="0" y="2"/>
                  </a:lnTo>
                  <a:lnTo>
                    <a:pt x="35" y="6"/>
                  </a:lnTo>
                  <a:lnTo>
                    <a:pt x="69" y="12"/>
                  </a:lnTo>
                  <a:lnTo>
                    <a:pt x="101" y="18"/>
                  </a:lnTo>
                  <a:lnTo>
                    <a:pt x="132" y="27"/>
                  </a:lnTo>
                  <a:lnTo>
                    <a:pt x="160" y="37"/>
                  </a:lnTo>
                  <a:lnTo>
                    <a:pt x="188" y="49"/>
                  </a:lnTo>
                  <a:lnTo>
                    <a:pt x="213" y="61"/>
                  </a:lnTo>
                  <a:lnTo>
                    <a:pt x="236" y="76"/>
                  </a:lnTo>
                  <a:lnTo>
                    <a:pt x="247" y="82"/>
                  </a:lnTo>
                  <a:lnTo>
                    <a:pt x="257" y="90"/>
                  </a:lnTo>
                  <a:lnTo>
                    <a:pt x="267" y="98"/>
                  </a:lnTo>
                  <a:lnTo>
                    <a:pt x="276" y="106"/>
                  </a:lnTo>
                  <a:lnTo>
                    <a:pt x="285" y="114"/>
                  </a:lnTo>
                  <a:lnTo>
                    <a:pt x="293" y="123"/>
                  </a:lnTo>
                  <a:lnTo>
                    <a:pt x="299" y="132"/>
                  </a:lnTo>
                  <a:lnTo>
                    <a:pt x="306" y="141"/>
                  </a:lnTo>
                  <a:lnTo>
                    <a:pt x="312" y="150"/>
                  </a:lnTo>
                  <a:lnTo>
                    <a:pt x="317" y="159"/>
                  </a:lnTo>
                  <a:lnTo>
                    <a:pt x="321" y="168"/>
                  </a:lnTo>
                  <a:lnTo>
                    <a:pt x="325" y="178"/>
                  </a:lnTo>
                  <a:lnTo>
                    <a:pt x="328" y="188"/>
                  </a:lnTo>
                  <a:lnTo>
                    <a:pt x="330" y="198"/>
                  </a:lnTo>
                  <a:lnTo>
                    <a:pt x="331" y="208"/>
                  </a:lnTo>
                  <a:lnTo>
                    <a:pt x="331" y="218"/>
                  </a:lnTo>
                  <a:lnTo>
                    <a:pt x="452" y="218"/>
                  </a:lnTo>
                  <a:lnTo>
                    <a:pt x="451" y="207"/>
                  </a:lnTo>
                  <a:lnTo>
                    <a:pt x="450" y="196"/>
                  </a:lnTo>
                  <a:lnTo>
                    <a:pt x="447" y="185"/>
                  </a:lnTo>
                  <a:lnTo>
                    <a:pt x="443" y="174"/>
                  </a:lnTo>
                  <a:lnTo>
                    <a:pt x="439" y="164"/>
                  </a:lnTo>
                  <a:lnTo>
                    <a:pt x="434" y="153"/>
                  </a:lnTo>
                  <a:lnTo>
                    <a:pt x="428" y="143"/>
                  </a:lnTo>
                  <a:lnTo>
                    <a:pt x="421" y="133"/>
                  </a:lnTo>
                  <a:lnTo>
                    <a:pt x="413" y="123"/>
                  </a:lnTo>
                  <a:lnTo>
                    <a:pt x="404" y="114"/>
                  </a:lnTo>
                  <a:lnTo>
                    <a:pt x="394" y="104"/>
                  </a:lnTo>
                  <a:lnTo>
                    <a:pt x="384" y="96"/>
                  </a:lnTo>
                  <a:lnTo>
                    <a:pt x="373" y="87"/>
                  </a:lnTo>
                  <a:lnTo>
                    <a:pt x="362" y="79"/>
                  </a:lnTo>
                  <a:lnTo>
                    <a:pt x="350" y="71"/>
                  </a:lnTo>
                  <a:lnTo>
                    <a:pt x="337" y="64"/>
                  </a:lnTo>
                  <a:lnTo>
                    <a:pt x="324" y="56"/>
                  </a:lnTo>
                  <a:lnTo>
                    <a:pt x="309" y="49"/>
                  </a:lnTo>
                  <a:lnTo>
                    <a:pt x="294" y="43"/>
                  </a:lnTo>
                  <a:lnTo>
                    <a:pt x="280" y="37"/>
                  </a:lnTo>
                  <a:lnTo>
                    <a:pt x="263" y="32"/>
                  </a:lnTo>
                  <a:lnTo>
                    <a:pt x="246" y="26"/>
                  </a:lnTo>
                  <a:lnTo>
                    <a:pt x="230" y="21"/>
                  </a:lnTo>
                  <a:lnTo>
                    <a:pt x="212" y="16"/>
                  </a:lnTo>
                  <a:lnTo>
                    <a:pt x="177" y="10"/>
                  </a:lnTo>
                  <a:lnTo>
                    <a:pt x="139" y="4"/>
                  </a:lnTo>
                  <a:lnTo>
                    <a:pt x="119" y="2"/>
                  </a:lnTo>
                  <a:lnTo>
                    <a:pt x="101" y="1"/>
                  </a:lnTo>
                  <a:lnTo>
                    <a:pt x="81" y="0"/>
                  </a:lnTo>
                  <a:lnTo>
                    <a:pt x="61"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6" name="Freeform 92">
              <a:extLst>
                <a:ext uri="{FF2B5EF4-FFF2-40B4-BE49-F238E27FC236}">
                  <a16:creationId xmlns:a16="http://schemas.microsoft.com/office/drawing/2014/main" id="{DF0B74C0-8D01-E6B9-37D2-78399EA7A579}"/>
                </a:ext>
              </a:extLst>
            </p:cNvPr>
            <p:cNvSpPr>
              <a:spLocks/>
            </p:cNvSpPr>
            <p:nvPr/>
          </p:nvSpPr>
          <p:spPr bwMode="auto">
            <a:xfrm>
              <a:off x="7846493" y="3132960"/>
              <a:ext cx="3641098" cy="236102"/>
            </a:xfrm>
            <a:custGeom>
              <a:avLst/>
              <a:gdLst>
                <a:gd name="T0" fmla="*/ 9 w 13056"/>
                <a:gd name="T1" fmla="*/ 749 h 789"/>
                <a:gd name="T2" fmla="*/ 75 w 13056"/>
                <a:gd name="T3" fmla="*/ 669 h 789"/>
                <a:gd name="T4" fmla="*/ 205 w 13056"/>
                <a:gd name="T5" fmla="*/ 592 h 789"/>
                <a:gd name="T6" fmla="*/ 397 w 13056"/>
                <a:gd name="T7" fmla="*/ 518 h 789"/>
                <a:gd name="T8" fmla="*/ 644 w 13056"/>
                <a:gd name="T9" fmla="*/ 447 h 789"/>
                <a:gd name="T10" fmla="*/ 945 w 13056"/>
                <a:gd name="T11" fmla="*/ 380 h 789"/>
                <a:gd name="T12" fmla="*/ 1298 w 13056"/>
                <a:gd name="T13" fmla="*/ 317 h 789"/>
                <a:gd name="T14" fmla="*/ 1696 w 13056"/>
                <a:gd name="T15" fmla="*/ 258 h 789"/>
                <a:gd name="T16" fmla="*/ 2139 w 13056"/>
                <a:gd name="T17" fmla="*/ 205 h 789"/>
                <a:gd name="T18" fmla="*/ 2623 w 13056"/>
                <a:gd name="T19" fmla="*/ 157 h 789"/>
                <a:gd name="T20" fmla="*/ 3143 w 13056"/>
                <a:gd name="T21" fmla="*/ 115 h 789"/>
                <a:gd name="T22" fmla="*/ 3699 w 13056"/>
                <a:gd name="T23" fmla="*/ 78 h 789"/>
                <a:gd name="T24" fmla="*/ 4284 w 13056"/>
                <a:gd name="T25" fmla="*/ 49 h 789"/>
                <a:gd name="T26" fmla="*/ 4897 w 13056"/>
                <a:gd name="T27" fmla="*/ 25 h 789"/>
                <a:gd name="T28" fmla="*/ 5534 w 13056"/>
                <a:gd name="T29" fmla="*/ 10 h 789"/>
                <a:gd name="T30" fmla="*/ 6192 w 13056"/>
                <a:gd name="T31" fmla="*/ 1 h 789"/>
                <a:gd name="T32" fmla="*/ 6865 w 13056"/>
                <a:gd name="T33" fmla="*/ 1 h 789"/>
                <a:gd name="T34" fmla="*/ 7523 w 13056"/>
                <a:gd name="T35" fmla="*/ 10 h 789"/>
                <a:gd name="T36" fmla="*/ 8160 w 13056"/>
                <a:gd name="T37" fmla="*/ 25 h 789"/>
                <a:gd name="T38" fmla="*/ 8773 w 13056"/>
                <a:gd name="T39" fmla="*/ 49 h 789"/>
                <a:gd name="T40" fmla="*/ 9359 w 13056"/>
                <a:gd name="T41" fmla="*/ 78 h 789"/>
                <a:gd name="T42" fmla="*/ 9913 w 13056"/>
                <a:gd name="T43" fmla="*/ 115 h 789"/>
                <a:gd name="T44" fmla="*/ 10434 w 13056"/>
                <a:gd name="T45" fmla="*/ 157 h 789"/>
                <a:gd name="T46" fmla="*/ 10918 w 13056"/>
                <a:gd name="T47" fmla="*/ 205 h 789"/>
                <a:gd name="T48" fmla="*/ 11361 w 13056"/>
                <a:gd name="T49" fmla="*/ 258 h 789"/>
                <a:gd name="T50" fmla="*/ 11759 w 13056"/>
                <a:gd name="T51" fmla="*/ 317 h 789"/>
                <a:gd name="T52" fmla="*/ 12112 w 13056"/>
                <a:gd name="T53" fmla="*/ 380 h 789"/>
                <a:gd name="T54" fmla="*/ 12412 w 13056"/>
                <a:gd name="T55" fmla="*/ 447 h 789"/>
                <a:gd name="T56" fmla="*/ 12661 w 13056"/>
                <a:gd name="T57" fmla="*/ 518 h 789"/>
                <a:gd name="T58" fmla="*/ 12851 w 13056"/>
                <a:gd name="T59" fmla="*/ 592 h 789"/>
                <a:gd name="T60" fmla="*/ 12981 w 13056"/>
                <a:gd name="T61" fmla="*/ 669 h 789"/>
                <a:gd name="T62" fmla="*/ 13048 w 13056"/>
                <a:gd name="T63" fmla="*/ 749 h 789"/>
                <a:gd name="T64" fmla="*/ 0 w 13056"/>
                <a:gd name="T65"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56" h="789">
                  <a:moveTo>
                    <a:pt x="0" y="789"/>
                  </a:moveTo>
                  <a:lnTo>
                    <a:pt x="9" y="749"/>
                  </a:lnTo>
                  <a:lnTo>
                    <a:pt x="34" y="709"/>
                  </a:lnTo>
                  <a:lnTo>
                    <a:pt x="75" y="669"/>
                  </a:lnTo>
                  <a:lnTo>
                    <a:pt x="133" y="630"/>
                  </a:lnTo>
                  <a:lnTo>
                    <a:pt x="205" y="592"/>
                  </a:lnTo>
                  <a:lnTo>
                    <a:pt x="294" y="554"/>
                  </a:lnTo>
                  <a:lnTo>
                    <a:pt x="397" y="518"/>
                  </a:lnTo>
                  <a:lnTo>
                    <a:pt x="514" y="482"/>
                  </a:lnTo>
                  <a:lnTo>
                    <a:pt x="644" y="447"/>
                  </a:lnTo>
                  <a:lnTo>
                    <a:pt x="789" y="413"/>
                  </a:lnTo>
                  <a:lnTo>
                    <a:pt x="945" y="380"/>
                  </a:lnTo>
                  <a:lnTo>
                    <a:pt x="1115" y="348"/>
                  </a:lnTo>
                  <a:lnTo>
                    <a:pt x="1298" y="317"/>
                  </a:lnTo>
                  <a:lnTo>
                    <a:pt x="1491" y="287"/>
                  </a:lnTo>
                  <a:lnTo>
                    <a:pt x="1696" y="258"/>
                  </a:lnTo>
                  <a:lnTo>
                    <a:pt x="1913" y="232"/>
                  </a:lnTo>
                  <a:lnTo>
                    <a:pt x="2139" y="205"/>
                  </a:lnTo>
                  <a:lnTo>
                    <a:pt x="2376" y="180"/>
                  </a:lnTo>
                  <a:lnTo>
                    <a:pt x="2623" y="157"/>
                  </a:lnTo>
                  <a:lnTo>
                    <a:pt x="2878" y="135"/>
                  </a:lnTo>
                  <a:lnTo>
                    <a:pt x="3143" y="115"/>
                  </a:lnTo>
                  <a:lnTo>
                    <a:pt x="3417" y="96"/>
                  </a:lnTo>
                  <a:lnTo>
                    <a:pt x="3699" y="78"/>
                  </a:lnTo>
                  <a:lnTo>
                    <a:pt x="3988" y="63"/>
                  </a:lnTo>
                  <a:lnTo>
                    <a:pt x="4284" y="49"/>
                  </a:lnTo>
                  <a:lnTo>
                    <a:pt x="4588" y="36"/>
                  </a:lnTo>
                  <a:lnTo>
                    <a:pt x="4897" y="25"/>
                  </a:lnTo>
                  <a:lnTo>
                    <a:pt x="5213" y="17"/>
                  </a:lnTo>
                  <a:lnTo>
                    <a:pt x="5534" y="10"/>
                  </a:lnTo>
                  <a:lnTo>
                    <a:pt x="5861" y="4"/>
                  </a:lnTo>
                  <a:lnTo>
                    <a:pt x="6192" y="1"/>
                  </a:lnTo>
                  <a:lnTo>
                    <a:pt x="6528" y="0"/>
                  </a:lnTo>
                  <a:lnTo>
                    <a:pt x="6865" y="1"/>
                  </a:lnTo>
                  <a:lnTo>
                    <a:pt x="7196" y="4"/>
                  </a:lnTo>
                  <a:lnTo>
                    <a:pt x="7523" y="10"/>
                  </a:lnTo>
                  <a:lnTo>
                    <a:pt x="7844" y="17"/>
                  </a:lnTo>
                  <a:lnTo>
                    <a:pt x="8160" y="25"/>
                  </a:lnTo>
                  <a:lnTo>
                    <a:pt x="8469" y="36"/>
                  </a:lnTo>
                  <a:lnTo>
                    <a:pt x="8773" y="49"/>
                  </a:lnTo>
                  <a:lnTo>
                    <a:pt x="9069" y="63"/>
                  </a:lnTo>
                  <a:lnTo>
                    <a:pt x="9359" y="78"/>
                  </a:lnTo>
                  <a:lnTo>
                    <a:pt x="9640" y="96"/>
                  </a:lnTo>
                  <a:lnTo>
                    <a:pt x="9913" y="115"/>
                  </a:lnTo>
                  <a:lnTo>
                    <a:pt x="10178" y="135"/>
                  </a:lnTo>
                  <a:lnTo>
                    <a:pt x="10434" y="157"/>
                  </a:lnTo>
                  <a:lnTo>
                    <a:pt x="10680" y="180"/>
                  </a:lnTo>
                  <a:lnTo>
                    <a:pt x="10918" y="205"/>
                  </a:lnTo>
                  <a:lnTo>
                    <a:pt x="11144" y="232"/>
                  </a:lnTo>
                  <a:lnTo>
                    <a:pt x="11361" y="258"/>
                  </a:lnTo>
                  <a:lnTo>
                    <a:pt x="11566" y="287"/>
                  </a:lnTo>
                  <a:lnTo>
                    <a:pt x="11759" y="317"/>
                  </a:lnTo>
                  <a:lnTo>
                    <a:pt x="11942" y="348"/>
                  </a:lnTo>
                  <a:lnTo>
                    <a:pt x="12112" y="380"/>
                  </a:lnTo>
                  <a:lnTo>
                    <a:pt x="12269" y="413"/>
                  </a:lnTo>
                  <a:lnTo>
                    <a:pt x="12412" y="447"/>
                  </a:lnTo>
                  <a:lnTo>
                    <a:pt x="12544" y="482"/>
                  </a:lnTo>
                  <a:lnTo>
                    <a:pt x="12661" y="518"/>
                  </a:lnTo>
                  <a:lnTo>
                    <a:pt x="12763" y="554"/>
                  </a:lnTo>
                  <a:lnTo>
                    <a:pt x="12851" y="592"/>
                  </a:lnTo>
                  <a:lnTo>
                    <a:pt x="12923" y="630"/>
                  </a:lnTo>
                  <a:lnTo>
                    <a:pt x="12981" y="669"/>
                  </a:lnTo>
                  <a:lnTo>
                    <a:pt x="13023" y="709"/>
                  </a:lnTo>
                  <a:lnTo>
                    <a:pt x="13048" y="749"/>
                  </a:lnTo>
                  <a:lnTo>
                    <a:pt x="13056" y="789"/>
                  </a:lnTo>
                  <a:lnTo>
                    <a:pt x="0" y="789"/>
                  </a:lnTo>
                  <a:close/>
                </a:path>
              </a:pathLst>
            </a:custGeom>
            <a:solidFill>
              <a:srgbClr val="79C1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7" name="Rectangle 93">
              <a:extLst>
                <a:ext uri="{FF2B5EF4-FFF2-40B4-BE49-F238E27FC236}">
                  <a16:creationId xmlns:a16="http://schemas.microsoft.com/office/drawing/2014/main" id="{B271C936-4E1A-29AC-75E1-395F3DDBC8B0}"/>
                </a:ext>
              </a:extLst>
            </p:cNvPr>
            <p:cNvSpPr>
              <a:spLocks noChangeArrowheads="1"/>
            </p:cNvSpPr>
            <p:nvPr/>
          </p:nvSpPr>
          <p:spPr bwMode="auto">
            <a:xfrm>
              <a:off x="7444871" y="3444255"/>
              <a:ext cx="634508" cy="18046"/>
            </a:xfrm>
            <a:prstGeom prst="rect">
              <a:avLst/>
            </a:prstGeom>
            <a:solidFill>
              <a:srgbClr val="6D6E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8" name="Freeform 94">
              <a:extLst>
                <a:ext uri="{FF2B5EF4-FFF2-40B4-BE49-F238E27FC236}">
                  <a16:creationId xmlns:a16="http://schemas.microsoft.com/office/drawing/2014/main" id="{4AB15EED-0891-A789-7D88-00638A4A5618}"/>
                </a:ext>
              </a:extLst>
            </p:cNvPr>
            <p:cNvSpPr>
              <a:spLocks/>
            </p:cNvSpPr>
            <p:nvPr/>
          </p:nvSpPr>
          <p:spPr bwMode="auto">
            <a:xfrm>
              <a:off x="7444871" y="3381094"/>
              <a:ext cx="634508" cy="66169"/>
            </a:xfrm>
            <a:custGeom>
              <a:avLst/>
              <a:gdLst>
                <a:gd name="T0" fmla="*/ 2257 w 2278"/>
                <a:gd name="T1" fmla="*/ 195 h 224"/>
                <a:gd name="T2" fmla="*/ 2267 w 2278"/>
                <a:gd name="T3" fmla="*/ 201 h 224"/>
                <a:gd name="T4" fmla="*/ 2274 w 2278"/>
                <a:gd name="T5" fmla="*/ 206 h 224"/>
                <a:gd name="T6" fmla="*/ 2276 w 2278"/>
                <a:gd name="T7" fmla="*/ 208 h 224"/>
                <a:gd name="T8" fmla="*/ 2277 w 2278"/>
                <a:gd name="T9" fmla="*/ 212 h 224"/>
                <a:gd name="T10" fmla="*/ 2278 w 2278"/>
                <a:gd name="T11" fmla="*/ 214 h 224"/>
                <a:gd name="T12" fmla="*/ 2278 w 2278"/>
                <a:gd name="T13" fmla="*/ 215 h 224"/>
                <a:gd name="T14" fmla="*/ 2277 w 2278"/>
                <a:gd name="T15" fmla="*/ 217 h 224"/>
                <a:gd name="T16" fmla="*/ 2276 w 2278"/>
                <a:gd name="T17" fmla="*/ 219 h 224"/>
                <a:gd name="T18" fmla="*/ 2274 w 2278"/>
                <a:gd name="T19" fmla="*/ 220 h 224"/>
                <a:gd name="T20" fmla="*/ 2270 w 2278"/>
                <a:gd name="T21" fmla="*/ 222 h 224"/>
                <a:gd name="T22" fmla="*/ 2261 w 2278"/>
                <a:gd name="T23" fmla="*/ 224 h 224"/>
                <a:gd name="T24" fmla="*/ 2249 w 2278"/>
                <a:gd name="T25" fmla="*/ 224 h 224"/>
                <a:gd name="T26" fmla="*/ 27 w 2278"/>
                <a:gd name="T27" fmla="*/ 224 h 224"/>
                <a:gd name="T28" fmla="*/ 16 w 2278"/>
                <a:gd name="T29" fmla="*/ 224 h 224"/>
                <a:gd name="T30" fmla="*/ 7 w 2278"/>
                <a:gd name="T31" fmla="*/ 222 h 224"/>
                <a:gd name="T32" fmla="*/ 4 w 2278"/>
                <a:gd name="T33" fmla="*/ 220 h 224"/>
                <a:gd name="T34" fmla="*/ 2 w 2278"/>
                <a:gd name="T35" fmla="*/ 219 h 224"/>
                <a:gd name="T36" fmla="*/ 0 w 2278"/>
                <a:gd name="T37" fmla="*/ 217 h 224"/>
                <a:gd name="T38" fmla="*/ 0 w 2278"/>
                <a:gd name="T39" fmla="*/ 215 h 224"/>
                <a:gd name="T40" fmla="*/ 0 w 2278"/>
                <a:gd name="T41" fmla="*/ 214 h 224"/>
                <a:gd name="T42" fmla="*/ 0 w 2278"/>
                <a:gd name="T43" fmla="*/ 212 h 224"/>
                <a:gd name="T44" fmla="*/ 2 w 2278"/>
                <a:gd name="T45" fmla="*/ 208 h 224"/>
                <a:gd name="T46" fmla="*/ 4 w 2278"/>
                <a:gd name="T47" fmla="*/ 206 h 224"/>
                <a:gd name="T48" fmla="*/ 11 w 2278"/>
                <a:gd name="T49" fmla="*/ 201 h 224"/>
                <a:gd name="T50" fmla="*/ 21 w 2278"/>
                <a:gd name="T51" fmla="*/ 195 h 224"/>
                <a:gd name="T52" fmla="*/ 352 w 2278"/>
                <a:gd name="T53" fmla="*/ 28 h 224"/>
                <a:gd name="T54" fmla="*/ 364 w 2278"/>
                <a:gd name="T55" fmla="*/ 22 h 224"/>
                <a:gd name="T56" fmla="*/ 379 w 2278"/>
                <a:gd name="T57" fmla="*/ 17 h 224"/>
                <a:gd name="T58" fmla="*/ 394 w 2278"/>
                <a:gd name="T59" fmla="*/ 12 h 224"/>
                <a:gd name="T60" fmla="*/ 411 w 2278"/>
                <a:gd name="T61" fmla="*/ 7 h 224"/>
                <a:gd name="T62" fmla="*/ 427 w 2278"/>
                <a:gd name="T63" fmla="*/ 4 h 224"/>
                <a:gd name="T64" fmla="*/ 444 w 2278"/>
                <a:gd name="T65" fmla="*/ 2 h 224"/>
                <a:gd name="T66" fmla="*/ 458 w 2278"/>
                <a:gd name="T67" fmla="*/ 0 h 224"/>
                <a:gd name="T68" fmla="*/ 472 w 2278"/>
                <a:gd name="T69" fmla="*/ 0 h 224"/>
                <a:gd name="T70" fmla="*/ 1804 w 2278"/>
                <a:gd name="T71" fmla="*/ 0 h 224"/>
                <a:gd name="T72" fmla="*/ 1819 w 2278"/>
                <a:gd name="T73" fmla="*/ 0 h 224"/>
                <a:gd name="T74" fmla="*/ 1834 w 2278"/>
                <a:gd name="T75" fmla="*/ 2 h 224"/>
                <a:gd name="T76" fmla="*/ 1850 w 2278"/>
                <a:gd name="T77" fmla="*/ 4 h 224"/>
                <a:gd name="T78" fmla="*/ 1866 w 2278"/>
                <a:gd name="T79" fmla="*/ 7 h 224"/>
                <a:gd name="T80" fmla="*/ 1883 w 2278"/>
                <a:gd name="T81" fmla="*/ 12 h 224"/>
                <a:gd name="T82" fmla="*/ 1898 w 2278"/>
                <a:gd name="T83" fmla="*/ 17 h 224"/>
                <a:gd name="T84" fmla="*/ 1913 w 2278"/>
                <a:gd name="T85" fmla="*/ 22 h 224"/>
                <a:gd name="T86" fmla="*/ 1926 w 2278"/>
                <a:gd name="T87" fmla="*/ 28 h 224"/>
                <a:gd name="T88" fmla="*/ 2257 w 2278"/>
                <a:gd name="T89" fmla="*/ 19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78" h="224">
                  <a:moveTo>
                    <a:pt x="2257" y="195"/>
                  </a:moveTo>
                  <a:lnTo>
                    <a:pt x="2267" y="201"/>
                  </a:lnTo>
                  <a:lnTo>
                    <a:pt x="2274" y="206"/>
                  </a:lnTo>
                  <a:lnTo>
                    <a:pt x="2276" y="208"/>
                  </a:lnTo>
                  <a:lnTo>
                    <a:pt x="2277" y="212"/>
                  </a:lnTo>
                  <a:lnTo>
                    <a:pt x="2278" y="214"/>
                  </a:lnTo>
                  <a:lnTo>
                    <a:pt x="2278" y="215"/>
                  </a:lnTo>
                  <a:lnTo>
                    <a:pt x="2277" y="217"/>
                  </a:lnTo>
                  <a:lnTo>
                    <a:pt x="2276" y="219"/>
                  </a:lnTo>
                  <a:lnTo>
                    <a:pt x="2274" y="220"/>
                  </a:lnTo>
                  <a:lnTo>
                    <a:pt x="2270" y="222"/>
                  </a:lnTo>
                  <a:lnTo>
                    <a:pt x="2261" y="224"/>
                  </a:lnTo>
                  <a:lnTo>
                    <a:pt x="2249" y="224"/>
                  </a:lnTo>
                  <a:lnTo>
                    <a:pt x="27" y="224"/>
                  </a:lnTo>
                  <a:lnTo>
                    <a:pt x="16" y="224"/>
                  </a:lnTo>
                  <a:lnTo>
                    <a:pt x="7" y="222"/>
                  </a:lnTo>
                  <a:lnTo>
                    <a:pt x="4" y="220"/>
                  </a:lnTo>
                  <a:lnTo>
                    <a:pt x="2" y="219"/>
                  </a:lnTo>
                  <a:lnTo>
                    <a:pt x="0" y="217"/>
                  </a:lnTo>
                  <a:lnTo>
                    <a:pt x="0" y="215"/>
                  </a:lnTo>
                  <a:lnTo>
                    <a:pt x="0" y="214"/>
                  </a:lnTo>
                  <a:lnTo>
                    <a:pt x="0" y="212"/>
                  </a:lnTo>
                  <a:lnTo>
                    <a:pt x="2" y="208"/>
                  </a:lnTo>
                  <a:lnTo>
                    <a:pt x="4" y="206"/>
                  </a:lnTo>
                  <a:lnTo>
                    <a:pt x="11" y="201"/>
                  </a:lnTo>
                  <a:lnTo>
                    <a:pt x="21" y="195"/>
                  </a:lnTo>
                  <a:lnTo>
                    <a:pt x="352" y="28"/>
                  </a:lnTo>
                  <a:lnTo>
                    <a:pt x="364" y="22"/>
                  </a:lnTo>
                  <a:lnTo>
                    <a:pt x="379" y="17"/>
                  </a:lnTo>
                  <a:lnTo>
                    <a:pt x="394" y="12"/>
                  </a:lnTo>
                  <a:lnTo>
                    <a:pt x="411" y="7"/>
                  </a:lnTo>
                  <a:lnTo>
                    <a:pt x="427" y="4"/>
                  </a:lnTo>
                  <a:lnTo>
                    <a:pt x="444" y="2"/>
                  </a:lnTo>
                  <a:lnTo>
                    <a:pt x="458" y="0"/>
                  </a:lnTo>
                  <a:lnTo>
                    <a:pt x="472" y="0"/>
                  </a:lnTo>
                  <a:lnTo>
                    <a:pt x="1804" y="0"/>
                  </a:lnTo>
                  <a:lnTo>
                    <a:pt x="1819" y="0"/>
                  </a:lnTo>
                  <a:lnTo>
                    <a:pt x="1834" y="2"/>
                  </a:lnTo>
                  <a:lnTo>
                    <a:pt x="1850" y="4"/>
                  </a:lnTo>
                  <a:lnTo>
                    <a:pt x="1866" y="7"/>
                  </a:lnTo>
                  <a:lnTo>
                    <a:pt x="1883" y="12"/>
                  </a:lnTo>
                  <a:lnTo>
                    <a:pt x="1898" y="17"/>
                  </a:lnTo>
                  <a:lnTo>
                    <a:pt x="1913" y="22"/>
                  </a:lnTo>
                  <a:lnTo>
                    <a:pt x="1926" y="28"/>
                  </a:lnTo>
                  <a:lnTo>
                    <a:pt x="2257" y="195"/>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9" name="Freeform 96">
              <a:extLst>
                <a:ext uri="{FF2B5EF4-FFF2-40B4-BE49-F238E27FC236}">
                  <a16:creationId xmlns:a16="http://schemas.microsoft.com/office/drawing/2014/main" id="{50349F82-232E-5D80-6674-ADE972CD75A2}"/>
                </a:ext>
              </a:extLst>
            </p:cNvPr>
            <p:cNvSpPr>
              <a:spLocks/>
            </p:cNvSpPr>
            <p:nvPr/>
          </p:nvSpPr>
          <p:spPr bwMode="auto">
            <a:xfrm>
              <a:off x="7440687" y="2946485"/>
              <a:ext cx="642875" cy="290240"/>
            </a:xfrm>
            <a:custGeom>
              <a:avLst/>
              <a:gdLst>
                <a:gd name="T0" fmla="*/ 2302 w 2307"/>
                <a:gd name="T1" fmla="*/ 906 h 964"/>
                <a:gd name="T2" fmla="*/ 2304 w 2307"/>
                <a:gd name="T3" fmla="*/ 912 h 964"/>
                <a:gd name="T4" fmla="*/ 2306 w 2307"/>
                <a:gd name="T5" fmla="*/ 917 h 964"/>
                <a:gd name="T6" fmla="*/ 2306 w 2307"/>
                <a:gd name="T7" fmla="*/ 923 h 964"/>
                <a:gd name="T8" fmla="*/ 2307 w 2307"/>
                <a:gd name="T9" fmla="*/ 928 h 964"/>
                <a:gd name="T10" fmla="*/ 2306 w 2307"/>
                <a:gd name="T11" fmla="*/ 934 h 964"/>
                <a:gd name="T12" fmla="*/ 2305 w 2307"/>
                <a:gd name="T13" fmla="*/ 938 h 964"/>
                <a:gd name="T14" fmla="*/ 2304 w 2307"/>
                <a:gd name="T15" fmla="*/ 943 h 964"/>
                <a:gd name="T16" fmla="*/ 2302 w 2307"/>
                <a:gd name="T17" fmla="*/ 947 h 964"/>
                <a:gd name="T18" fmla="*/ 2299 w 2307"/>
                <a:gd name="T19" fmla="*/ 950 h 964"/>
                <a:gd name="T20" fmla="*/ 2295 w 2307"/>
                <a:gd name="T21" fmla="*/ 954 h 964"/>
                <a:gd name="T22" fmla="*/ 2292 w 2307"/>
                <a:gd name="T23" fmla="*/ 957 h 964"/>
                <a:gd name="T24" fmla="*/ 2288 w 2307"/>
                <a:gd name="T25" fmla="*/ 959 h 964"/>
                <a:gd name="T26" fmla="*/ 2282 w 2307"/>
                <a:gd name="T27" fmla="*/ 961 h 964"/>
                <a:gd name="T28" fmla="*/ 2276 w 2307"/>
                <a:gd name="T29" fmla="*/ 963 h 964"/>
                <a:gd name="T30" fmla="*/ 2271 w 2307"/>
                <a:gd name="T31" fmla="*/ 964 h 964"/>
                <a:gd name="T32" fmla="*/ 2264 w 2307"/>
                <a:gd name="T33" fmla="*/ 964 h 964"/>
                <a:gd name="T34" fmla="*/ 42 w 2307"/>
                <a:gd name="T35" fmla="*/ 964 h 964"/>
                <a:gd name="T36" fmla="*/ 37 w 2307"/>
                <a:gd name="T37" fmla="*/ 964 h 964"/>
                <a:gd name="T38" fmla="*/ 30 w 2307"/>
                <a:gd name="T39" fmla="*/ 963 h 964"/>
                <a:gd name="T40" fmla="*/ 25 w 2307"/>
                <a:gd name="T41" fmla="*/ 961 h 964"/>
                <a:gd name="T42" fmla="*/ 20 w 2307"/>
                <a:gd name="T43" fmla="*/ 959 h 964"/>
                <a:gd name="T44" fmla="*/ 16 w 2307"/>
                <a:gd name="T45" fmla="*/ 957 h 964"/>
                <a:gd name="T46" fmla="*/ 11 w 2307"/>
                <a:gd name="T47" fmla="*/ 954 h 964"/>
                <a:gd name="T48" fmla="*/ 8 w 2307"/>
                <a:gd name="T49" fmla="*/ 950 h 964"/>
                <a:gd name="T50" fmla="*/ 6 w 2307"/>
                <a:gd name="T51" fmla="*/ 947 h 964"/>
                <a:gd name="T52" fmla="*/ 4 w 2307"/>
                <a:gd name="T53" fmla="*/ 943 h 964"/>
                <a:gd name="T54" fmla="*/ 1 w 2307"/>
                <a:gd name="T55" fmla="*/ 938 h 964"/>
                <a:gd name="T56" fmla="*/ 0 w 2307"/>
                <a:gd name="T57" fmla="*/ 934 h 964"/>
                <a:gd name="T58" fmla="*/ 0 w 2307"/>
                <a:gd name="T59" fmla="*/ 928 h 964"/>
                <a:gd name="T60" fmla="*/ 0 w 2307"/>
                <a:gd name="T61" fmla="*/ 923 h 964"/>
                <a:gd name="T62" fmla="*/ 1 w 2307"/>
                <a:gd name="T63" fmla="*/ 917 h 964"/>
                <a:gd name="T64" fmla="*/ 4 w 2307"/>
                <a:gd name="T65" fmla="*/ 912 h 964"/>
                <a:gd name="T66" fmla="*/ 6 w 2307"/>
                <a:gd name="T67" fmla="*/ 906 h 964"/>
                <a:gd name="T68" fmla="*/ 397 w 2307"/>
                <a:gd name="T69" fmla="*/ 57 h 964"/>
                <a:gd name="T70" fmla="*/ 403 w 2307"/>
                <a:gd name="T71" fmla="*/ 46 h 964"/>
                <a:gd name="T72" fmla="*/ 412 w 2307"/>
                <a:gd name="T73" fmla="*/ 35 h 964"/>
                <a:gd name="T74" fmla="*/ 422 w 2307"/>
                <a:gd name="T75" fmla="*/ 25 h 964"/>
                <a:gd name="T76" fmla="*/ 434 w 2307"/>
                <a:gd name="T77" fmla="*/ 16 h 964"/>
                <a:gd name="T78" fmla="*/ 448 w 2307"/>
                <a:gd name="T79" fmla="*/ 10 h 964"/>
                <a:gd name="T80" fmla="*/ 461 w 2307"/>
                <a:gd name="T81" fmla="*/ 4 h 964"/>
                <a:gd name="T82" fmla="*/ 474 w 2307"/>
                <a:gd name="T83" fmla="*/ 1 h 964"/>
                <a:gd name="T84" fmla="*/ 487 w 2307"/>
                <a:gd name="T85" fmla="*/ 0 h 964"/>
                <a:gd name="T86" fmla="*/ 1819 w 2307"/>
                <a:gd name="T87" fmla="*/ 0 h 964"/>
                <a:gd name="T88" fmla="*/ 1834 w 2307"/>
                <a:gd name="T89" fmla="*/ 1 h 964"/>
                <a:gd name="T90" fmla="*/ 1847 w 2307"/>
                <a:gd name="T91" fmla="*/ 4 h 964"/>
                <a:gd name="T92" fmla="*/ 1860 w 2307"/>
                <a:gd name="T93" fmla="*/ 10 h 964"/>
                <a:gd name="T94" fmla="*/ 1872 w 2307"/>
                <a:gd name="T95" fmla="*/ 16 h 964"/>
                <a:gd name="T96" fmla="*/ 1884 w 2307"/>
                <a:gd name="T97" fmla="*/ 25 h 964"/>
                <a:gd name="T98" fmla="*/ 1894 w 2307"/>
                <a:gd name="T99" fmla="*/ 35 h 964"/>
                <a:gd name="T100" fmla="*/ 1903 w 2307"/>
                <a:gd name="T101" fmla="*/ 46 h 964"/>
                <a:gd name="T102" fmla="*/ 1910 w 2307"/>
                <a:gd name="T103" fmla="*/ 57 h 964"/>
                <a:gd name="T104" fmla="*/ 2302 w 2307"/>
                <a:gd name="T105" fmla="*/ 906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7" h="964">
                  <a:moveTo>
                    <a:pt x="2302" y="906"/>
                  </a:moveTo>
                  <a:lnTo>
                    <a:pt x="2304" y="912"/>
                  </a:lnTo>
                  <a:lnTo>
                    <a:pt x="2306" y="917"/>
                  </a:lnTo>
                  <a:lnTo>
                    <a:pt x="2306" y="923"/>
                  </a:lnTo>
                  <a:lnTo>
                    <a:pt x="2307" y="928"/>
                  </a:lnTo>
                  <a:lnTo>
                    <a:pt x="2306" y="934"/>
                  </a:lnTo>
                  <a:lnTo>
                    <a:pt x="2305" y="938"/>
                  </a:lnTo>
                  <a:lnTo>
                    <a:pt x="2304" y="943"/>
                  </a:lnTo>
                  <a:lnTo>
                    <a:pt x="2302" y="947"/>
                  </a:lnTo>
                  <a:lnTo>
                    <a:pt x="2299" y="950"/>
                  </a:lnTo>
                  <a:lnTo>
                    <a:pt x="2295" y="954"/>
                  </a:lnTo>
                  <a:lnTo>
                    <a:pt x="2292" y="957"/>
                  </a:lnTo>
                  <a:lnTo>
                    <a:pt x="2288" y="959"/>
                  </a:lnTo>
                  <a:lnTo>
                    <a:pt x="2282" y="961"/>
                  </a:lnTo>
                  <a:lnTo>
                    <a:pt x="2276" y="963"/>
                  </a:lnTo>
                  <a:lnTo>
                    <a:pt x="2271" y="964"/>
                  </a:lnTo>
                  <a:lnTo>
                    <a:pt x="2264" y="964"/>
                  </a:lnTo>
                  <a:lnTo>
                    <a:pt x="42" y="964"/>
                  </a:lnTo>
                  <a:lnTo>
                    <a:pt x="37" y="964"/>
                  </a:lnTo>
                  <a:lnTo>
                    <a:pt x="30" y="963"/>
                  </a:lnTo>
                  <a:lnTo>
                    <a:pt x="25" y="961"/>
                  </a:lnTo>
                  <a:lnTo>
                    <a:pt x="20" y="959"/>
                  </a:lnTo>
                  <a:lnTo>
                    <a:pt x="16" y="957"/>
                  </a:lnTo>
                  <a:lnTo>
                    <a:pt x="11" y="954"/>
                  </a:lnTo>
                  <a:lnTo>
                    <a:pt x="8" y="950"/>
                  </a:lnTo>
                  <a:lnTo>
                    <a:pt x="6" y="947"/>
                  </a:lnTo>
                  <a:lnTo>
                    <a:pt x="4" y="943"/>
                  </a:lnTo>
                  <a:lnTo>
                    <a:pt x="1" y="938"/>
                  </a:lnTo>
                  <a:lnTo>
                    <a:pt x="0" y="934"/>
                  </a:lnTo>
                  <a:lnTo>
                    <a:pt x="0" y="928"/>
                  </a:lnTo>
                  <a:lnTo>
                    <a:pt x="0" y="923"/>
                  </a:lnTo>
                  <a:lnTo>
                    <a:pt x="1" y="917"/>
                  </a:lnTo>
                  <a:lnTo>
                    <a:pt x="4" y="912"/>
                  </a:lnTo>
                  <a:lnTo>
                    <a:pt x="6" y="906"/>
                  </a:lnTo>
                  <a:lnTo>
                    <a:pt x="397" y="57"/>
                  </a:lnTo>
                  <a:lnTo>
                    <a:pt x="403" y="46"/>
                  </a:lnTo>
                  <a:lnTo>
                    <a:pt x="412" y="35"/>
                  </a:lnTo>
                  <a:lnTo>
                    <a:pt x="422" y="25"/>
                  </a:lnTo>
                  <a:lnTo>
                    <a:pt x="434" y="16"/>
                  </a:lnTo>
                  <a:lnTo>
                    <a:pt x="448" y="10"/>
                  </a:lnTo>
                  <a:lnTo>
                    <a:pt x="461" y="4"/>
                  </a:lnTo>
                  <a:lnTo>
                    <a:pt x="474" y="1"/>
                  </a:lnTo>
                  <a:lnTo>
                    <a:pt x="487" y="0"/>
                  </a:lnTo>
                  <a:lnTo>
                    <a:pt x="1819" y="0"/>
                  </a:lnTo>
                  <a:lnTo>
                    <a:pt x="1834" y="1"/>
                  </a:lnTo>
                  <a:lnTo>
                    <a:pt x="1847" y="4"/>
                  </a:lnTo>
                  <a:lnTo>
                    <a:pt x="1860" y="10"/>
                  </a:lnTo>
                  <a:lnTo>
                    <a:pt x="1872" y="16"/>
                  </a:lnTo>
                  <a:lnTo>
                    <a:pt x="1884" y="25"/>
                  </a:lnTo>
                  <a:lnTo>
                    <a:pt x="1894" y="35"/>
                  </a:lnTo>
                  <a:lnTo>
                    <a:pt x="1903" y="46"/>
                  </a:lnTo>
                  <a:lnTo>
                    <a:pt x="1910" y="57"/>
                  </a:lnTo>
                  <a:lnTo>
                    <a:pt x="2302" y="906"/>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0" name="Freeform 97">
              <a:extLst>
                <a:ext uri="{FF2B5EF4-FFF2-40B4-BE49-F238E27FC236}">
                  <a16:creationId xmlns:a16="http://schemas.microsoft.com/office/drawing/2014/main" id="{F36B86F7-8FDD-CE48-D557-07B624C6D92F}"/>
                </a:ext>
              </a:extLst>
            </p:cNvPr>
            <p:cNvSpPr>
              <a:spLocks/>
            </p:cNvSpPr>
            <p:nvPr/>
          </p:nvSpPr>
          <p:spPr bwMode="auto">
            <a:xfrm>
              <a:off x="7451843" y="3236726"/>
              <a:ext cx="619168" cy="27069"/>
            </a:xfrm>
            <a:custGeom>
              <a:avLst/>
              <a:gdLst>
                <a:gd name="T0" fmla="*/ 2222 w 2222"/>
                <a:gd name="T1" fmla="*/ 0 h 91"/>
                <a:gd name="T2" fmla="*/ 0 w 2222"/>
                <a:gd name="T3" fmla="*/ 0 h 91"/>
                <a:gd name="T4" fmla="*/ 63 w 2222"/>
                <a:gd name="T5" fmla="*/ 91 h 91"/>
                <a:gd name="T6" fmla="*/ 2159 w 2222"/>
                <a:gd name="T7" fmla="*/ 91 h 91"/>
                <a:gd name="T8" fmla="*/ 2222 w 2222"/>
                <a:gd name="T9" fmla="*/ 0 h 91"/>
              </a:gdLst>
              <a:ahLst/>
              <a:cxnLst>
                <a:cxn ang="0">
                  <a:pos x="T0" y="T1"/>
                </a:cxn>
                <a:cxn ang="0">
                  <a:pos x="T2" y="T3"/>
                </a:cxn>
                <a:cxn ang="0">
                  <a:pos x="T4" y="T5"/>
                </a:cxn>
                <a:cxn ang="0">
                  <a:pos x="T6" y="T7"/>
                </a:cxn>
                <a:cxn ang="0">
                  <a:pos x="T8" y="T9"/>
                </a:cxn>
              </a:cxnLst>
              <a:rect l="0" t="0" r="r" b="b"/>
              <a:pathLst>
                <a:path w="2222" h="91">
                  <a:moveTo>
                    <a:pt x="2222" y="0"/>
                  </a:moveTo>
                  <a:lnTo>
                    <a:pt x="0" y="0"/>
                  </a:lnTo>
                  <a:lnTo>
                    <a:pt x="63" y="91"/>
                  </a:lnTo>
                  <a:lnTo>
                    <a:pt x="2159" y="91"/>
                  </a:lnTo>
                  <a:lnTo>
                    <a:pt x="2222" y="0"/>
                  </a:lnTo>
                  <a:close/>
                </a:path>
              </a:pathLst>
            </a:custGeom>
            <a:solidFill>
              <a:srgbClr val="9395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1" name="Freeform 98">
              <a:extLst>
                <a:ext uri="{FF2B5EF4-FFF2-40B4-BE49-F238E27FC236}">
                  <a16:creationId xmlns:a16="http://schemas.microsoft.com/office/drawing/2014/main" id="{C51BE638-8888-B750-5A78-A1E423EEE6FA}"/>
                </a:ext>
              </a:extLst>
            </p:cNvPr>
            <p:cNvSpPr>
              <a:spLocks/>
            </p:cNvSpPr>
            <p:nvPr/>
          </p:nvSpPr>
          <p:spPr bwMode="auto">
            <a:xfrm>
              <a:off x="7769794" y="3024684"/>
              <a:ext cx="111562" cy="64664"/>
            </a:xfrm>
            <a:custGeom>
              <a:avLst/>
              <a:gdLst>
                <a:gd name="T0" fmla="*/ 0 w 400"/>
                <a:gd name="T1" fmla="*/ 216 h 216"/>
                <a:gd name="T2" fmla="*/ 400 w 400"/>
                <a:gd name="T3" fmla="*/ 216 h 216"/>
                <a:gd name="T4" fmla="*/ 354 w 400"/>
                <a:gd name="T5" fmla="*/ 0 h 216"/>
                <a:gd name="T6" fmla="*/ 0 w 400"/>
                <a:gd name="T7" fmla="*/ 0 h 216"/>
                <a:gd name="T8" fmla="*/ 0 w 400"/>
                <a:gd name="T9" fmla="*/ 216 h 216"/>
              </a:gdLst>
              <a:ahLst/>
              <a:cxnLst>
                <a:cxn ang="0">
                  <a:pos x="T0" y="T1"/>
                </a:cxn>
                <a:cxn ang="0">
                  <a:pos x="T2" y="T3"/>
                </a:cxn>
                <a:cxn ang="0">
                  <a:pos x="T4" y="T5"/>
                </a:cxn>
                <a:cxn ang="0">
                  <a:pos x="T6" y="T7"/>
                </a:cxn>
                <a:cxn ang="0">
                  <a:pos x="T8" y="T9"/>
                </a:cxn>
              </a:cxnLst>
              <a:rect l="0" t="0" r="r" b="b"/>
              <a:pathLst>
                <a:path w="400" h="216">
                  <a:moveTo>
                    <a:pt x="0" y="216"/>
                  </a:moveTo>
                  <a:lnTo>
                    <a:pt x="400" y="216"/>
                  </a:lnTo>
                  <a:lnTo>
                    <a:pt x="354" y="0"/>
                  </a:lnTo>
                  <a:lnTo>
                    <a:pt x="0" y="0"/>
                  </a:lnTo>
                  <a:lnTo>
                    <a:pt x="0" y="216"/>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2" name="Freeform 99">
              <a:extLst>
                <a:ext uri="{FF2B5EF4-FFF2-40B4-BE49-F238E27FC236}">
                  <a16:creationId xmlns:a16="http://schemas.microsoft.com/office/drawing/2014/main" id="{8E4823FC-FEF2-2FBB-DE51-361CB9CAD6FB}"/>
                </a:ext>
              </a:extLst>
            </p:cNvPr>
            <p:cNvSpPr>
              <a:spLocks/>
            </p:cNvSpPr>
            <p:nvPr/>
          </p:nvSpPr>
          <p:spPr bwMode="auto">
            <a:xfrm>
              <a:off x="7645682" y="3024684"/>
              <a:ext cx="108773" cy="64664"/>
            </a:xfrm>
            <a:custGeom>
              <a:avLst/>
              <a:gdLst>
                <a:gd name="T0" fmla="*/ 393 w 393"/>
                <a:gd name="T1" fmla="*/ 216 h 216"/>
                <a:gd name="T2" fmla="*/ 393 w 393"/>
                <a:gd name="T3" fmla="*/ 0 h 216"/>
                <a:gd name="T4" fmla="*/ 45 w 393"/>
                <a:gd name="T5" fmla="*/ 0 h 216"/>
                <a:gd name="T6" fmla="*/ 0 w 393"/>
                <a:gd name="T7" fmla="*/ 216 h 216"/>
                <a:gd name="T8" fmla="*/ 393 w 393"/>
                <a:gd name="T9" fmla="*/ 216 h 216"/>
              </a:gdLst>
              <a:ahLst/>
              <a:cxnLst>
                <a:cxn ang="0">
                  <a:pos x="T0" y="T1"/>
                </a:cxn>
                <a:cxn ang="0">
                  <a:pos x="T2" y="T3"/>
                </a:cxn>
                <a:cxn ang="0">
                  <a:pos x="T4" y="T5"/>
                </a:cxn>
                <a:cxn ang="0">
                  <a:pos x="T6" y="T7"/>
                </a:cxn>
                <a:cxn ang="0">
                  <a:pos x="T8" y="T9"/>
                </a:cxn>
              </a:cxnLst>
              <a:rect l="0" t="0" r="r" b="b"/>
              <a:pathLst>
                <a:path w="393" h="216">
                  <a:moveTo>
                    <a:pt x="393" y="216"/>
                  </a:moveTo>
                  <a:lnTo>
                    <a:pt x="393" y="0"/>
                  </a:lnTo>
                  <a:lnTo>
                    <a:pt x="45" y="0"/>
                  </a:lnTo>
                  <a:lnTo>
                    <a:pt x="0" y="216"/>
                  </a:lnTo>
                  <a:lnTo>
                    <a:pt x="393" y="216"/>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3" name="Freeform 100">
              <a:extLst>
                <a:ext uri="{FF2B5EF4-FFF2-40B4-BE49-F238E27FC236}">
                  <a16:creationId xmlns:a16="http://schemas.microsoft.com/office/drawing/2014/main" id="{FBCAF690-7CE9-3512-4CCB-0E0859F91997}"/>
                </a:ext>
              </a:extLst>
            </p:cNvPr>
            <p:cNvSpPr>
              <a:spLocks/>
            </p:cNvSpPr>
            <p:nvPr/>
          </p:nvSpPr>
          <p:spPr bwMode="auto">
            <a:xfrm>
              <a:off x="7769794" y="2964531"/>
              <a:ext cx="94827" cy="45115"/>
            </a:xfrm>
            <a:custGeom>
              <a:avLst/>
              <a:gdLst>
                <a:gd name="T0" fmla="*/ 0 w 343"/>
                <a:gd name="T1" fmla="*/ 150 h 150"/>
                <a:gd name="T2" fmla="*/ 343 w 343"/>
                <a:gd name="T3" fmla="*/ 150 h 150"/>
                <a:gd name="T4" fmla="*/ 312 w 343"/>
                <a:gd name="T5" fmla="*/ 0 h 150"/>
                <a:gd name="T6" fmla="*/ 0 w 343"/>
                <a:gd name="T7" fmla="*/ 0 h 150"/>
                <a:gd name="T8" fmla="*/ 0 w 343"/>
                <a:gd name="T9" fmla="*/ 150 h 150"/>
              </a:gdLst>
              <a:ahLst/>
              <a:cxnLst>
                <a:cxn ang="0">
                  <a:pos x="T0" y="T1"/>
                </a:cxn>
                <a:cxn ang="0">
                  <a:pos x="T2" y="T3"/>
                </a:cxn>
                <a:cxn ang="0">
                  <a:pos x="T4" y="T5"/>
                </a:cxn>
                <a:cxn ang="0">
                  <a:pos x="T6" y="T7"/>
                </a:cxn>
                <a:cxn ang="0">
                  <a:pos x="T8" y="T9"/>
                </a:cxn>
              </a:cxnLst>
              <a:rect l="0" t="0" r="r" b="b"/>
              <a:pathLst>
                <a:path w="343" h="150">
                  <a:moveTo>
                    <a:pt x="0" y="150"/>
                  </a:moveTo>
                  <a:lnTo>
                    <a:pt x="343" y="150"/>
                  </a:lnTo>
                  <a:lnTo>
                    <a:pt x="312" y="0"/>
                  </a:lnTo>
                  <a:lnTo>
                    <a:pt x="0" y="0"/>
                  </a:lnTo>
                  <a:lnTo>
                    <a:pt x="0" y="15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4" name="Freeform 101">
              <a:extLst>
                <a:ext uri="{FF2B5EF4-FFF2-40B4-BE49-F238E27FC236}">
                  <a16:creationId xmlns:a16="http://schemas.microsoft.com/office/drawing/2014/main" id="{60E5E06A-367C-DC84-5DA7-057DA938792B}"/>
                </a:ext>
              </a:extLst>
            </p:cNvPr>
            <p:cNvSpPr>
              <a:spLocks/>
            </p:cNvSpPr>
            <p:nvPr/>
          </p:nvSpPr>
          <p:spPr bwMode="auto">
            <a:xfrm>
              <a:off x="7624764" y="3104388"/>
              <a:ext cx="129691" cy="93238"/>
            </a:xfrm>
            <a:custGeom>
              <a:avLst/>
              <a:gdLst>
                <a:gd name="T0" fmla="*/ 468 w 468"/>
                <a:gd name="T1" fmla="*/ 306 h 306"/>
                <a:gd name="T2" fmla="*/ 468 w 468"/>
                <a:gd name="T3" fmla="*/ 0 h 306"/>
                <a:gd name="T4" fmla="*/ 64 w 468"/>
                <a:gd name="T5" fmla="*/ 0 h 306"/>
                <a:gd name="T6" fmla="*/ 0 w 468"/>
                <a:gd name="T7" fmla="*/ 306 h 306"/>
                <a:gd name="T8" fmla="*/ 468 w 468"/>
                <a:gd name="T9" fmla="*/ 306 h 306"/>
              </a:gdLst>
              <a:ahLst/>
              <a:cxnLst>
                <a:cxn ang="0">
                  <a:pos x="T0" y="T1"/>
                </a:cxn>
                <a:cxn ang="0">
                  <a:pos x="T2" y="T3"/>
                </a:cxn>
                <a:cxn ang="0">
                  <a:pos x="T4" y="T5"/>
                </a:cxn>
                <a:cxn ang="0">
                  <a:pos x="T6" y="T7"/>
                </a:cxn>
                <a:cxn ang="0">
                  <a:pos x="T8" y="T9"/>
                </a:cxn>
              </a:cxnLst>
              <a:rect l="0" t="0" r="r" b="b"/>
              <a:pathLst>
                <a:path w="468" h="306">
                  <a:moveTo>
                    <a:pt x="468" y="306"/>
                  </a:moveTo>
                  <a:lnTo>
                    <a:pt x="468" y="0"/>
                  </a:lnTo>
                  <a:lnTo>
                    <a:pt x="64" y="0"/>
                  </a:lnTo>
                  <a:lnTo>
                    <a:pt x="0" y="306"/>
                  </a:lnTo>
                  <a:lnTo>
                    <a:pt x="468" y="306"/>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5" name="Freeform 102">
              <a:extLst>
                <a:ext uri="{FF2B5EF4-FFF2-40B4-BE49-F238E27FC236}">
                  <a16:creationId xmlns:a16="http://schemas.microsoft.com/office/drawing/2014/main" id="{598E9984-44E5-BACA-4FA4-7649A916A2A7}"/>
                </a:ext>
              </a:extLst>
            </p:cNvPr>
            <p:cNvSpPr>
              <a:spLocks/>
            </p:cNvSpPr>
            <p:nvPr/>
          </p:nvSpPr>
          <p:spPr bwMode="auto">
            <a:xfrm>
              <a:off x="7522964" y="3024684"/>
              <a:ext cx="119929" cy="64664"/>
            </a:xfrm>
            <a:custGeom>
              <a:avLst/>
              <a:gdLst>
                <a:gd name="T0" fmla="*/ 93 w 429"/>
                <a:gd name="T1" fmla="*/ 0 h 216"/>
                <a:gd name="T2" fmla="*/ 0 w 429"/>
                <a:gd name="T3" fmla="*/ 216 h 216"/>
                <a:gd name="T4" fmla="*/ 385 w 429"/>
                <a:gd name="T5" fmla="*/ 216 h 216"/>
                <a:gd name="T6" fmla="*/ 429 w 429"/>
                <a:gd name="T7" fmla="*/ 0 h 216"/>
                <a:gd name="T8" fmla="*/ 93 w 429"/>
                <a:gd name="T9" fmla="*/ 0 h 216"/>
              </a:gdLst>
              <a:ahLst/>
              <a:cxnLst>
                <a:cxn ang="0">
                  <a:pos x="T0" y="T1"/>
                </a:cxn>
                <a:cxn ang="0">
                  <a:pos x="T2" y="T3"/>
                </a:cxn>
                <a:cxn ang="0">
                  <a:pos x="T4" y="T5"/>
                </a:cxn>
                <a:cxn ang="0">
                  <a:pos x="T6" y="T7"/>
                </a:cxn>
                <a:cxn ang="0">
                  <a:pos x="T8" y="T9"/>
                </a:cxn>
              </a:cxnLst>
              <a:rect l="0" t="0" r="r" b="b"/>
              <a:pathLst>
                <a:path w="429" h="216">
                  <a:moveTo>
                    <a:pt x="93" y="0"/>
                  </a:moveTo>
                  <a:lnTo>
                    <a:pt x="0" y="216"/>
                  </a:lnTo>
                  <a:lnTo>
                    <a:pt x="385" y="216"/>
                  </a:lnTo>
                  <a:lnTo>
                    <a:pt x="429" y="0"/>
                  </a:lnTo>
                  <a:lnTo>
                    <a:pt x="93"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6" name="Freeform 103">
              <a:extLst>
                <a:ext uri="{FF2B5EF4-FFF2-40B4-BE49-F238E27FC236}">
                  <a16:creationId xmlns:a16="http://schemas.microsoft.com/office/drawing/2014/main" id="{29476F68-B40E-8581-172E-01B276B30586}"/>
                </a:ext>
              </a:extLst>
            </p:cNvPr>
            <p:cNvSpPr>
              <a:spLocks/>
            </p:cNvSpPr>
            <p:nvPr/>
          </p:nvSpPr>
          <p:spPr bwMode="auto">
            <a:xfrm>
              <a:off x="7661022" y="2964531"/>
              <a:ext cx="93434" cy="45115"/>
            </a:xfrm>
            <a:custGeom>
              <a:avLst/>
              <a:gdLst>
                <a:gd name="T0" fmla="*/ 337 w 337"/>
                <a:gd name="T1" fmla="*/ 0 h 150"/>
                <a:gd name="T2" fmla="*/ 31 w 337"/>
                <a:gd name="T3" fmla="*/ 0 h 150"/>
                <a:gd name="T4" fmla="*/ 0 w 337"/>
                <a:gd name="T5" fmla="*/ 150 h 150"/>
                <a:gd name="T6" fmla="*/ 337 w 337"/>
                <a:gd name="T7" fmla="*/ 150 h 150"/>
                <a:gd name="T8" fmla="*/ 337 w 337"/>
                <a:gd name="T9" fmla="*/ 0 h 150"/>
              </a:gdLst>
              <a:ahLst/>
              <a:cxnLst>
                <a:cxn ang="0">
                  <a:pos x="T0" y="T1"/>
                </a:cxn>
                <a:cxn ang="0">
                  <a:pos x="T2" y="T3"/>
                </a:cxn>
                <a:cxn ang="0">
                  <a:pos x="T4" y="T5"/>
                </a:cxn>
                <a:cxn ang="0">
                  <a:pos x="T6" y="T7"/>
                </a:cxn>
                <a:cxn ang="0">
                  <a:pos x="T8" y="T9"/>
                </a:cxn>
              </a:cxnLst>
              <a:rect l="0" t="0" r="r" b="b"/>
              <a:pathLst>
                <a:path w="337" h="150">
                  <a:moveTo>
                    <a:pt x="337" y="0"/>
                  </a:moveTo>
                  <a:lnTo>
                    <a:pt x="31" y="0"/>
                  </a:lnTo>
                  <a:lnTo>
                    <a:pt x="0" y="150"/>
                  </a:lnTo>
                  <a:lnTo>
                    <a:pt x="337" y="150"/>
                  </a:lnTo>
                  <a:lnTo>
                    <a:pt x="337"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7" name="Freeform 104">
              <a:extLst>
                <a:ext uri="{FF2B5EF4-FFF2-40B4-BE49-F238E27FC236}">
                  <a16:creationId xmlns:a16="http://schemas.microsoft.com/office/drawing/2014/main" id="{9D653CED-02B2-5395-F3E4-E7B9C7D0BE45}"/>
                </a:ext>
              </a:extLst>
            </p:cNvPr>
            <p:cNvSpPr>
              <a:spLocks/>
            </p:cNvSpPr>
            <p:nvPr/>
          </p:nvSpPr>
          <p:spPr bwMode="auto">
            <a:xfrm>
              <a:off x="7555038" y="2964531"/>
              <a:ext cx="99011" cy="45115"/>
            </a:xfrm>
            <a:custGeom>
              <a:avLst/>
              <a:gdLst>
                <a:gd name="T0" fmla="*/ 324 w 356"/>
                <a:gd name="T1" fmla="*/ 150 h 150"/>
                <a:gd name="T2" fmla="*/ 356 w 356"/>
                <a:gd name="T3" fmla="*/ 0 h 150"/>
                <a:gd name="T4" fmla="*/ 66 w 356"/>
                <a:gd name="T5" fmla="*/ 0 h 150"/>
                <a:gd name="T6" fmla="*/ 0 w 356"/>
                <a:gd name="T7" fmla="*/ 150 h 150"/>
                <a:gd name="T8" fmla="*/ 324 w 356"/>
                <a:gd name="T9" fmla="*/ 150 h 150"/>
              </a:gdLst>
              <a:ahLst/>
              <a:cxnLst>
                <a:cxn ang="0">
                  <a:pos x="T0" y="T1"/>
                </a:cxn>
                <a:cxn ang="0">
                  <a:pos x="T2" y="T3"/>
                </a:cxn>
                <a:cxn ang="0">
                  <a:pos x="T4" y="T5"/>
                </a:cxn>
                <a:cxn ang="0">
                  <a:pos x="T6" y="T7"/>
                </a:cxn>
                <a:cxn ang="0">
                  <a:pos x="T8" y="T9"/>
                </a:cxn>
              </a:cxnLst>
              <a:rect l="0" t="0" r="r" b="b"/>
              <a:pathLst>
                <a:path w="356" h="150">
                  <a:moveTo>
                    <a:pt x="324" y="150"/>
                  </a:moveTo>
                  <a:lnTo>
                    <a:pt x="356" y="0"/>
                  </a:lnTo>
                  <a:lnTo>
                    <a:pt x="66" y="0"/>
                  </a:lnTo>
                  <a:lnTo>
                    <a:pt x="0" y="150"/>
                  </a:lnTo>
                  <a:lnTo>
                    <a:pt x="324" y="15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8" name="Freeform 105">
              <a:extLst>
                <a:ext uri="{FF2B5EF4-FFF2-40B4-BE49-F238E27FC236}">
                  <a16:creationId xmlns:a16="http://schemas.microsoft.com/office/drawing/2014/main" id="{96B7ED5B-3797-49DD-367E-785C2D5EEFEF}"/>
                </a:ext>
              </a:extLst>
            </p:cNvPr>
            <p:cNvSpPr>
              <a:spLocks/>
            </p:cNvSpPr>
            <p:nvPr/>
          </p:nvSpPr>
          <p:spPr bwMode="auto">
            <a:xfrm>
              <a:off x="7769794" y="3104388"/>
              <a:ext cx="132480" cy="93238"/>
            </a:xfrm>
            <a:custGeom>
              <a:avLst/>
              <a:gdLst>
                <a:gd name="T0" fmla="*/ 411 w 475"/>
                <a:gd name="T1" fmla="*/ 0 h 306"/>
                <a:gd name="T2" fmla="*/ 0 w 475"/>
                <a:gd name="T3" fmla="*/ 0 h 306"/>
                <a:gd name="T4" fmla="*/ 0 w 475"/>
                <a:gd name="T5" fmla="*/ 306 h 306"/>
                <a:gd name="T6" fmla="*/ 475 w 475"/>
                <a:gd name="T7" fmla="*/ 306 h 306"/>
                <a:gd name="T8" fmla="*/ 411 w 475"/>
                <a:gd name="T9" fmla="*/ 0 h 306"/>
              </a:gdLst>
              <a:ahLst/>
              <a:cxnLst>
                <a:cxn ang="0">
                  <a:pos x="T0" y="T1"/>
                </a:cxn>
                <a:cxn ang="0">
                  <a:pos x="T2" y="T3"/>
                </a:cxn>
                <a:cxn ang="0">
                  <a:pos x="T4" y="T5"/>
                </a:cxn>
                <a:cxn ang="0">
                  <a:pos x="T6" y="T7"/>
                </a:cxn>
                <a:cxn ang="0">
                  <a:pos x="T8" y="T9"/>
                </a:cxn>
              </a:cxnLst>
              <a:rect l="0" t="0" r="r" b="b"/>
              <a:pathLst>
                <a:path w="475" h="306">
                  <a:moveTo>
                    <a:pt x="411" y="0"/>
                  </a:moveTo>
                  <a:lnTo>
                    <a:pt x="0" y="0"/>
                  </a:lnTo>
                  <a:lnTo>
                    <a:pt x="0" y="306"/>
                  </a:lnTo>
                  <a:lnTo>
                    <a:pt x="475" y="306"/>
                  </a:lnTo>
                  <a:lnTo>
                    <a:pt x="411"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9" name="Freeform 106">
              <a:extLst>
                <a:ext uri="{FF2B5EF4-FFF2-40B4-BE49-F238E27FC236}">
                  <a16:creationId xmlns:a16="http://schemas.microsoft.com/office/drawing/2014/main" id="{0B734493-C90C-91FC-EBFC-2C4B90FCEA32}"/>
                </a:ext>
              </a:extLst>
            </p:cNvPr>
            <p:cNvSpPr>
              <a:spLocks/>
            </p:cNvSpPr>
            <p:nvPr/>
          </p:nvSpPr>
          <p:spPr bwMode="auto">
            <a:xfrm>
              <a:off x="7871595" y="2964531"/>
              <a:ext cx="96222" cy="45115"/>
            </a:xfrm>
            <a:custGeom>
              <a:avLst/>
              <a:gdLst>
                <a:gd name="T0" fmla="*/ 32 w 348"/>
                <a:gd name="T1" fmla="*/ 150 h 150"/>
                <a:gd name="T2" fmla="*/ 348 w 348"/>
                <a:gd name="T3" fmla="*/ 150 h 150"/>
                <a:gd name="T4" fmla="*/ 283 w 348"/>
                <a:gd name="T5" fmla="*/ 0 h 150"/>
                <a:gd name="T6" fmla="*/ 0 w 348"/>
                <a:gd name="T7" fmla="*/ 0 h 150"/>
                <a:gd name="T8" fmla="*/ 32 w 348"/>
                <a:gd name="T9" fmla="*/ 150 h 150"/>
              </a:gdLst>
              <a:ahLst/>
              <a:cxnLst>
                <a:cxn ang="0">
                  <a:pos x="T0" y="T1"/>
                </a:cxn>
                <a:cxn ang="0">
                  <a:pos x="T2" y="T3"/>
                </a:cxn>
                <a:cxn ang="0">
                  <a:pos x="T4" y="T5"/>
                </a:cxn>
                <a:cxn ang="0">
                  <a:pos x="T6" y="T7"/>
                </a:cxn>
                <a:cxn ang="0">
                  <a:pos x="T8" y="T9"/>
                </a:cxn>
              </a:cxnLst>
              <a:rect l="0" t="0" r="r" b="b"/>
              <a:pathLst>
                <a:path w="348" h="150">
                  <a:moveTo>
                    <a:pt x="32" y="150"/>
                  </a:moveTo>
                  <a:lnTo>
                    <a:pt x="348" y="150"/>
                  </a:lnTo>
                  <a:lnTo>
                    <a:pt x="283" y="0"/>
                  </a:lnTo>
                  <a:lnTo>
                    <a:pt x="0" y="0"/>
                  </a:lnTo>
                  <a:lnTo>
                    <a:pt x="32" y="15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0" name="Freeform 107">
              <a:extLst>
                <a:ext uri="{FF2B5EF4-FFF2-40B4-BE49-F238E27FC236}">
                  <a16:creationId xmlns:a16="http://schemas.microsoft.com/office/drawing/2014/main" id="{C9B6EC86-30FA-41D7-AF83-52ABA6E88BDE}"/>
                </a:ext>
              </a:extLst>
            </p:cNvPr>
            <p:cNvSpPr>
              <a:spLocks/>
            </p:cNvSpPr>
            <p:nvPr/>
          </p:nvSpPr>
          <p:spPr bwMode="auto">
            <a:xfrm>
              <a:off x="7479734" y="3104388"/>
              <a:ext cx="147819" cy="93238"/>
            </a:xfrm>
            <a:custGeom>
              <a:avLst/>
              <a:gdLst>
                <a:gd name="T0" fmla="*/ 530 w 530"/>
                <a:gd name="T1" fmla="*/ 0 h 306"/>
                <a:gd name="T2" fmla="*/ 133 w 530"/>
                <a:gd name="T3" fmla="*/ 0 h 306"/>
                <a:gd name="T4" fmla="*/ 0 w 530"/>
                <a:gd name="T5" fmla="*/ 306 h 306"/>
                <a:gd name="T6" fmla="*/ 466 w 530"/>
                <a:gd name="T7" fmla="*/ 306 h 306"/>
                <a:gd name="T8" fmla="*/ 530 w 530"/>
                <a:gd name="T9" fmla="*/ 0 h 306"/>
              </a:gdLst>
              <a:ahLst/>
              <a:cxnLst>
                <a:cxn ang="0">
                  <a:pos x="T0" y="T1"/>
                </a:cxn>
                <a:cxn ang="0">
                  <a:pos x="T2" y="T3"/>
                </a:cxn>
                <a:cxn ang="0">
                  <a:pos x="T4" y="T5"/>
                </a:cxn>
                <a:cxn ang="0">
                  <a:pos x="T6" y="T7"/>
                </a:cxn>
                <a:cxn ang="0">
                  <a:pos x="T8" y="T9"/>
                </a:cxn>
              </a:cxnLst>
              <a:rect l="0" t="0" r="r" b="b"/>
              <a:pathLst>
                <a:path w="530" h="306">
                  <a:moveTo>
                    <a:pt x="530" y="0"/>
                  </a:moveTo>
                  <a:lnTo>
                    <a:pt x="133" y="0"/>
                  </a:lnTo>
                  <a:lnTo>
                    <a:pt x="0" y="306"/>
                  </a:lnTo>
                  <a:lnTo>
                    <a:pt x="466" y="306"/>
                  </a:lnTo>
                  <a:lnTo>
                    <a:pt x="530"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1" name="Freeform 108">
              <a:extLst>
                <a:ext uri="{FF2B5EF4-FFF2-40B4-BE49-F238E27FC236}">
                  <a16:creationId xmlns:a16="http://schemas.microsoft.com/office/drawing/2014/main" id="{F5D51A35-1BCC-FF87-58A5-C98DE21BBA9B}"/>
                </a:ext>
              </a:extLst>
            </p:cNvPr>
            <p:cNvSpPr>
              <a:spLocks/>
            </p:cNvSpPr>
            <p:nvPr/>
          </p:nvSpPr>
          <p:spPr bwMode="auto">
            <a:xfrm>
              <a:off x="7882751" y="3024684"/>
              <a:ext cx="118535" cy="64664"/>
            </a:xfrm>
            <a:custGeom>
              <a:avLst/>
              <a:gdLst>
                <a:gd name="T0" fmla="*/ 46 w 422"/>
                <a:gd name="T1" fmla="*/ 216 h 216"/>
                <a:gd name="T2" fmla="*/ 422 w 422"/>
                <a:gd name="T3" fmla="*/ 216 h 216"/>
                <a:gd name="T4" fmla="*/ 328 w 422"/>
                <a:gd name="T5" fmla="*/ 0 h 216"/>
                <a:gd name="T6" fmla="*/ 0 w 422"/>
                <a:gd name="T7" fmla="*/ 0 h 216"/>
                <a:gd name="T8" fmla="*/ 46 w 422"/>
                <a:gd name="T9" fmla="*/ 216 h 216"/>
              </a:gdLst>
              <a:ahLst/>
              <a:cxnLst>
                <a:cxn ang="0">
                  <a:pos x="T0" y="T1"/>
                </a:cxn>
                <a:cxn ang="0">
                  <a:pos x="T2" y="T3"/>
                </a:cxn>
                <a:cxn ang="0">
                  <a:pos x="T4" y="T5"/>
                </a:cxn>
                <a:cxn ang="0">
                  <a:pos x="T6" y="T7"/>
                </a:cxn>
                <a:cxn ang="0">
                  <a:pos x="T8" y="T9"/>
                </a:cxn>
              </a:cxnLst>
              <a:rect l="0" t="0" r="r" b="b"/>
              <a:pathLst>
                <a:path w="422" h="216">
                  <a:moveTo>
                    <a:pt x="46" y="216"/>
                  </a:moveTo>
                  <a:lnTo>
                    <a:pt x="422" y="216"/>
                  </a:lnTo>
                  <a:lnTo>
                    <a:pt x="328" y="0"/>
                  </a:lnTo>
                  <a:lnTo>
                    <a:pt x="0" y="0"/>
                  </a:lnTo>
                  <a:lnTo>
                    <a:pt x="46" y="216"/>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2" name="Freeform 109">
              <a:extLst>
                <a:ext uri="{FF2B5EF4-FFF2-40B4-BE49-F238E27FC236}">
                  <a16:creationId xmlns:a16="http://schemas.microsoft.com/office/drawing/2014/main" id="{EC612ECF-8322-9C3A-C2A2-35016A47C355}"/>
                </a:ext>
              </a:extLst>
            </p:cNvPr>
            <p:cNvSpPr>
              <a:spLocks/>
            </p:cNvSpPr>
            <p:nvPr/>
          </p:nvSpPr>
          <p:spPr bwMode="auto">
            <a:xfrm>
              <a:off x="7898090" y="3104388"/>
              <a:ext cx="146425" cy="93238"/>
            </a:xfrm>
            <a:custGeom>
              <a:avLst/>
              <a:gdLst>
                <a:gd name="T0" fmla="*/ 390 w 523"/>
                <a:gd name="T1" fmla="*/ 0 h 306"/>
                <a:gd name="T2" fmla="*/ 0 w 523"/>
                <a:gd name="T3" fmla="*/ 0 h 306"/>
                <a:gd name="T4" fmla="*/ 64 w 523"/>
                <a:gd name="T5" fmla="*/ 306 h 306"/>
                <a:gd name="T6" fmla="*/ 523 w 523"/>
                <a:gd name="T7" fmla="*/ 306 h 306"/>
                <a:gd name="T8" fmla="*/ 390 w 523"/>
                <a:gd name="T9" fmla="*/ 0 h 306"/>
              </a:gdLst>
              <a:ahLst/>
              <a:cxnLst>
                <a:cxn ang="0">
                  <a:pos x="T0" y="T1"/>
                </a:cxn>
                <a:cxn ang="0">
                  <a:pos x="T2" y="T3"/>
                </a:cxn>
                <a:cxn ang="0">
                  <a:pos x="T4" y="T5"/>
                </a:cxn>
                <a:cxn ang="0">
                  <a:pos x="T6" y="T7"/>
                </a:cxn>
                <a:cxn ang="0">
                  <a:pos x="T8" y="T9"/>
                </a:cxn>
              </a:cxnLst>
              <a:rect l="0" t="0" r="r" b="b"/>
              <a:pathLst>
                <a:path w="523" h="306">
                  <a:moveTo>
                    <a:pt x="390" y="0"/>
                  </a:moveTo>
                  <a:lnTo>
                    <a:pt x="0" y="0"/>
                  </a:lnTo>
                  <a:lnTo>
                    <a:pt x="64" y="306"/>
                  </a:lnTo>
                  <a:lnTo>
                    <a:pt x="523" y="306"/>
                  </a:lnTo>
                  <a:lnTo>
                    <a:pt x="390" y="0"/>
                  </a:lnTo>
                  <a:close/>
                </a:path>
              </a:pathLst>
            </a:custGeom>
            <a:solidFill>
              <a:srgbClr val="5090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3" name="Freeform 110">
              <a:extLst>
                <a:ext uri="{FF2B5EF4-FFF2-40B4-BE49-F238E27FC236}">
                  <a16:creationId xmlns:a16="http://schemas.microsoft.com/office/drawing/2014/main" id="{20388CE1-FE3D-710C-D324-C5C5E3A7DB20}"/>
                </a:ext>
              </a:extLst>
            </p:cNvPr>
            <p:cNvSpPr>
              <a:spLocks/>
            </p:cNvSpPr>
            <p:nvPr/>
          </p:nvSpPr>
          <p:spPr bwMode="auto">
            <a:xfrm>
              <a:off x="7691701" y="3251764"/>
              <a:ext cx="136663" cy="178956"/>
            </a:xfrm>
            <a:custGeom>
              <a:avLst/>
              <a:gdLst>
                <a:gd name="T0" fmla="*/ 491 w 491"/>
                <a:gd name="T1" fmla="*/ 597 h 597"/>
                <a:gd name="T2" fmla="*/ 0 w 491"/>
                <a:gd name="T3" fmla="*/ 597 h 597"/>
                <a:gd name="T4" fmla="*/ 83 w 491"/>
                <a:gd name="T5" fmla="*/ 0 h 597"/>
                <a:gd name="T6" fmla="*/ 407 w 491"/>
                <a:gd name="T7" fmla="*/ 0 h 597"/>
                <a:gd name="T8" fmla="*/ 491 w 491"/>
                <a:gd name="T9" fmla="*/ 597 h 597"/>
              </a:gdLst>
              <a:ahLst/>
              <a:cxnLst>
                <a:cxn ang="0">
                  <a:pos x="T0" y="T1"/>
                </a:cxn>
                <a:cxn ang="0">
                  <a:pos x="T2" y="T3"/>
                </a:cxn>
                <a:cxn ang="0">
                  <a:pos x="T4" y="T5"/>
                </a:cxn>
                <a:cxn ang="0">
                  <a:pos x="T6" y="T7"/>
                </a:cxn>
                <a:cxn ang="0">
                  <a:pos x="T8" y="T9"/>
                </a:cxn>
              </a:cxnLst>
              <a:rect l="0" t="0" r="r" b="b"/>
              <a:pathLst>
                <a:path w="491" h="597">
                  <a:moveTo>
                    <a:pt x="491" y="597"/>
                  </a:moveTo>
                  <a:lnTo>
                    <a:pt x="0" y="597"/>
                  </a:lnTo>
                  <a:lnTo>
                    <a:pt x="83" y="0"/>
                  </a:lnTo>
                  <a:lnTo>
                    <a:pt x="407" y="0"/>
                  </a:lnTo>
                  <a:lnTo>
                    <a:pt x="491" y="597"/>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4" name="Freeform 111">
              <a:extLst>
                <a:ext uri="{FF2B5EF4-FFF2-40B4-BE49-F238E27FC236}">
                  <a16:creationId xmlns:a16="http://schemas.microsoft.com/office/drawing/2014/main" id="{C52BC302-97F7-2FDE-933B-318697251757}"/>
                </a:ext>
              </a:extLst>
            </p:cNvPr>
            <p:cNvSpPr>
              <a:spLocks/>
            </p:cNvSpPr>
            <p:nvPr/>
          </p:nvSpPr>
          <p:spPr bwMode="auto">
            <a:xfrm>
              <a:off x="7782346" y="3251764"/>
              <a:ext cx="46020" cy="178956"/>
            </a:xfrm>
            <a:custGeom>
              <a:avLst/>
              <a:gdLst>
                <a:gd name="T0" fmla="*/ 84 w 168"/>
                <a:gd name="T1" fmla="*/ 0 h 597"/>
                <a:gd name="T2" fmla="*/ 0 w 168"/>
                <a:gd name="T3" fmla="*/ 0 h 597"/>
                <a:gd name="T4" fmla="*/ 84 w 168"/>
                <a:gd name="T5" fmla="*/ 597 h 597"/>
                <a:gd name="T6" fmla="*/ 168 w 168"/>
                <a:gd name="T7" fmla="*/ 597 h 597"/>
                <a:gd name="T8" fmla="*/ 84 w 168"/>
                <a:gd name="T9" fmla="*/ 0 h 597"/>
              </a:gdLst>
              <a:ahLst/>
              <a:cxnLst>
                <a:cxn ang="0">
                  <a:pos x="T0" y="T1"/>
                </a:cxn>
                <a:cxn ang="0">
                  <a:pos x="T2" y="T3"/>
                </a:cxn>
                <a:cxn ang="0">
                  <a:pos x="T4" y="T5"/>
                </a:cxn>
                <a:cxn ang="0">
                  <a:pos x="T6" y="T7"/>
                </a:cxn>
                <a:cxn ang="0">
                  <a:pos x="T8" y="T9"/>
                </a:cxn>
              </a:cxnLst>
              <a:rect l="0" t="0" r="r" b="b"/>
              <a:pathLst>
                <a:path w="168" h="597">
                  <a:moveTo>
                    <a:pt x="84" y="0"/>
                  </a:moveTo>
                  <a:lnTo>
                    <a:pt x="0" y="0"/>
                  </a:lnTo>
                  <a:lnTo>
                    <a:pt x="84" y="597"/>
                  </a:lnTo>
                  <a:lnTo>
                    <a:pt x="168" y="597"/>
                  </a:lnTo>
                  <a:lnTo>
                    <a:pt x="84" y="0"/>
                  </a:lnTo>
                  <a:close/>
                </a:path>
              </a:pathLst>
            </a:custGeom>
            <a:solidFill>
              <a:srgbClr val="BC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5" name="Freeform 112">
              <a:extLst>
                <a:ext uri="{FF2B5EF4-FFF2-40B4-BE49-F238E27FC236}">
                  <a16:creationId xmlns:a16="http://schemas.microsoft.com/office/drawing/2014/main" id="{B6680608-2CDA-D4BD-050D-1D12F523AD8B}"/>
                </a:ext>
              </a:extLst>
            </p:cNvPr>
            <p:cNvSpPr>
              <a:spLocks/>
            </p:cNvSpPr>
            <p:nvPr/>
          </p:nvSpPr>
          <p:spPr bwMode="auto">
            <a:xfrm>
              <a:off x="9227071" y="2785575"/>
              <a:ext cx="515973" cy="569953"/>
            </a:xfrm>
            <a:custGeom>
              <a:avLst/>
              <a:gdLst>
                <a:gd name="T0" fmla="*/ 1851 w 1851"/>
                <a:gd name="T1" fmla="*/ 1897 h 1897"/>
                <a:gd name="T2" fmla="*/ 0 w 1851"/>
                <a:gd name="T3" fmla="*/ 1897 h 1897"/>
                <a:gd name="T4" fmla="*/ 0 w 1851"/>
                <a:gd name="T5" fmla="*/ 924 h 1897"/>
                <a:gd name="T6" fmla="*/ 925 w 1851"/>
                <a:gd name="T7" fmla="*/ 0 h 1897"/>
                <a:gd name="T8" fmla="*/ 1851 w 1851"/>
                <a:gd name="T9" fmla="*/ 924 h 1897"/>
                <a:gd name="T10" fmla="*/ 1851 w 1851"/>
                <a:gd name="T11" fmla="*/ 1897 h 1897"/>
              </a:gdLst>
              <a:ahLst/>
              <a:cxnLst>
                <a:cxn ang="0">
                  <a:pos x="T0" y="T1"/>
                </a:cxn>
                <a:cxn ang="0">
                  <a:pos x="T2" y="T3"/>
                </a:cxn>
                <a:cxn ang="0">
                  <a:pos x="T4" y="T5"/>
                </a:cxn>
                <a:cxn ang="0">
                  <a:pos x="T6" y="T7"/>
                </a:cxn>
                <a:cxn ang="0">
                  <a:pos x="T8" y="T9"/>
                </a:cxn>
                <a:cxn ang="0">
                  <a:pos x="T10" y="T11"/>
                </a:cxn>
              </a:cxnLst>
              <a:rect l="0" t="0" r="r" b="b"/>
              <a:pathLst>
                <a:path w="1851" h="1897">
                  <a:moveTo>
                    <a:pt x="1851" y="1897"/>
                  </a:moveTo>
                  <a:lnTo>
                    <a:pt x="0" y="1897"/>
                  </a:lnTo>
                  <a:lnTo>
                    <a:pt x="0" y="924"/>
                  </a:lnTo>
                  <a:lnTo>
                    <a:pt x="925" y="0"/>
                  </a:lnTo>
                  <a:lnTo>
                    <a:pt x="1851" y="924"/>
                  </a:lnTo>
                  <a:lnTo>
                    <a:pt x="1851" y="18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6" name="Rectangle 113">
              <a:extLst>
                <a:ext uri="{FF2B5EF4-FFF2-40B4-BE49-F238E27FC236}">
                  <a16:creationId xmlns:a16="http://schemas.microsoft.com/office/drawing/2014/main" id="{3B31F51D-76D3-BDB0-11BD-1C5A7695BE6A}"/>
                </a:ext>
              </a:extLst>
            </p:cNvPr>
            <p:cNvSpPr>
              <a:spLocks noChangeArrowheads="1"/>
            </p:cNvSpPr>
            <p:nvPr/>
          </p:nvSpPr>
          <p:spPr bwMode="auto">
            <a:xfrm>
              <a:off x="9440432" y="3179579"/>
              <a:ext cx="85066" cy="174445"/>
            </a:xfrm>
            <a:prstGeom prst="rect">
              <a:avLst/>
            </a:prstGeom>
            <a:solidFill>
              <a:srgbClr val="CF9C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7" name="Rectangle 114">
              <a:extLst>
                <a:ext uri="{FF2B5EF4-FFF2-40B4-BE49-F238E27FC236}">
                  <a16:creationId xmlns:a16="http://schemas.microsoft.com/office/drawing/2014/main" id="{8A2AB2BA-325A-F33A-B51E-CF2973F9BF3E}"/>
                </a:ext>
              </a:extLst>
            </p:cNvPr>
            <p:cNvSpPr>
              <a:spLocks noChangeArrowheads="1"/>
            </p:cNvSpPr>
            <p:nvPr/>
          </p:nvSpPr>
          <p:spPr bwMode="auto">
            <a:xfrm>
              <a:off x="9447405" y="3187098"/>
              <a:ext cx="76699" cy="166926"/>
            </a:xfrm>
            <a:prstGeom prst="rect">
              <a:avLst/>
            </a:prstGeom>
            <a:solidFill>
              <a:srgbClr val="FFD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8" name="Freeform 115">
              <a:extLst>
                <a:ext uri="{FF2B5EF4-FFF2-40B4-BE49-F238E27FC236}">
                  <a16:creationId xmlns:a16="http://schemas.microsoft.com/office/drawing/2014/main" id="{DC7498DB-4BB8-6571-6602-60D1E29E64B6}"/>
                </a:ext>
              </a:extLst>
            </p:cNvPr>
            <p:cNvSpPr>
              <a:spLocks/>
            </p:cNvSpPr>
            <p:nvPr/>
          </p:nvSpPr>
          <p:spPr bwMode="auto">
            <a:xfrm>
              <a:off x="9469717" y="2752490"/>
              <a:ext cx="317951" cy="342874"/>
            </a:xfrm>
            <a:custGeom>
              <a:avLst/>
              <a:gdLst>
                <a:gd name="T0" fmla="*/ 1046 w 1139"/>
                <a:gd name="T1" fmla="*/ 1138 h 1138"/>
                <a:gd name="T2" fmla="*/ 1139 w 1139"/>
                <a:gd name="T3" fmla="*/ 1046 h 1138"/>
                <a:gd name="T4" fmla="*/ 93 w 1139"/>
                <a:gd name="T5" fmla="*/ 0 h 1138"/>
                <a:gd name="T6" fmla="*/ 0 w 1139"/>
                <a:gd name="T7" fmla="*/ 93 h 1138"/>
                <a:gd name="T8" fmla="*/ 1046 w 1139"/>
                <a:gd name="T9" fmla="*/ 1138 h 1138"/>
              </a:gdLst>
              <a:ahLst/>
              <a:cxnLst>
                <a:cxn ang="0">
                  <a:pos x="T0" y="T1"/>
                </a:cxn>
                <a:cxn ang="0">
                  <a:pos x="T2" y="T3"/>
                </a:cxn>
                <a:cxn ang="0">
                  <a:pos x="T4" y="T5"/>
                </a:cxn>
                <a:cxn ang="0">
                  <a:pos x="T6" y="T7"/>
                </a:cxn>
                <a:cxn ang="0">
                  <a:pos x="T8" y="T9"/>
                </a:cxn>
              </a:cxnLst>
              <a:rect l="0" t="0" r="r" b="b"/>
              <a:pathLst>
                <a:path w="1139" h="1138">
                  <a:moveTo>
                    <a:pt x="1046" y="1138"/>
                  </a:moveTo>
                  <a:lnTo>
                    <a:pt x="1139" y="1046"/>
                  </a:lnTo>
                  <a:lnTo>
                    <a:pt x="93" y="0"/>
                  </a:lnTo>
                  <a:lnTo>
                    <a:pt x="0" y="93"/>
                  </a:lnTo>
                  <a:lnTo>
                    <a:pt x="1046" y="1138"/>
                  </a:lnTo>
                  <a:close/>
                </a:path>
              </a:pathLst>
            </a:custGeom>
            <a:solidFill>
              <a:srgbClr val="AA05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59" name="Freeform 116">
              <a:extLst>
                <a:ext uri="{FF2B5EF4-FFF2-40B4-BE49-F238E27FC236}">
                  <a16:creationId xmlns:a16="http://schemas.microsoft.com/office/drawing/2014/main" id="{0D2CBB1F-C4A0-790A-DF17-7FF043FF9197}"/>
                </a:ext>
              </a:extLst>
            </p:cNvPr>
            <p:cNvSpPr>
              <a:spLocks/>
            </p:cNvSpPr>
            <p:nvPr/>
          </p:nvSpPr>
          <p:spPr bwMode="auto">
            <a:xfrm>
              <a:off x="9475295" y="2746475"/>
              <a:ext cx="317951" cy="341370"/>
            </a:xfrm>
            <a:custGeom>
              <a:avLst/>
              <a:gdLst>
                <a:gd name="T0" fmla="*/ 1047 w 1140"/>
                <a:gd name="T1" fmla="*/ 1138 h 1138"/>
                <a:gd name="T2" fmla="*/ 1140 w 1140"/>
                <a:gd name="T3" fmla="*/ 1045 h 1138"/>
                <a:gd name="T4" fmla="*/ 93 w 1140"/>
                <a:gd name="T5" fmla="*/ 0 h 1138"/>
                <a:gd name="T6" fmla="*/ 0 w 1140"/>
                <a:gd name="T7" fmla="*/ 93 h 1138"/>
                <a:gd name="T8" fmla="*/ 1047 w 1140"/>
                <a:gd name="T9" fmla="*/ 1138 h 1138"/>
              </a:gdLst>
              <a:ahLst/>
              <a:cxnLst>
                <a:cxn ang="0">
                  <a:pos x="T0" y="T1"/>
                </a:cxn>
                <a:cxn ang="0">
                  <a:pos x="T2" y="T3"/>
                </a:cxn>
                <a:cxn ang="0">
                  <a:pos x="T4" y="T5"/>
                </a:cxn>
                <a:cxn ang="0">
                  <a:pos x="T6" y="T7"/>
                </a:cxn>
                <a:cxn ang="0">
                  <a:pos x="T8" y="T9"/>
                </a:cxn>
              </a:cxnLst>
              <a:rect l="0" t="0" r="r" b="b"/>
              <a:pathLst>
                <a:path w="1140" h="1138">
                  <a:moveTo>
                    <a:pt x="1047" y="1138"/>
                  </a:moveTo>
                  <a:lnTo>
                    <a:pt x="1140" y="1045"/>
                  </a:lnTo>
                  <a:lnTo>
                    <a:pt x="93" y="0"/>
                  </a:lnTo>
                  <a:lnTo>
                    <a:pt x="0" y="93"/>
                  </a:lnTo>
                  <a:lnTo>
                    <a:pt x="1047" y="1138"/>
                  </a:lnTo>
                  <a:close/>
                </a:path>
              </a:pathLst>
            </a:custGeom>
            <a:solidFill>
              <a:srgbClr val="F064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0" name="Freeform 117">
              <a:extLst>
                <a:ext uri="{FF2B5EF4-FFF2-40B4-BE49-F238E27FC236}">
                  <a16:creationId xmlns:a16="http://schemas.microsoft.com/office/drawing/2014/main" id="{F16B496F-F9F6-D664-1F37-8C70BC3003CF}"/>
                </a:ext>
              </a:extLst>
            </p:cNvPr>
            <p:cNvSpPr>
              <a:spLocks/>
            </p:cNvSpPr>
            <p:nvPr/>
          </p:nvSpPr>
          <p:spPr bwMode="auto">
            <a:xfrm>
              <a:off x="9178262" y="2716398"/>
              <a:ext cx="344448" cy="371447"/>
            </a:xfrm>
            <a:custGeom>
              <a:avLst/>
              <a:gdLst>
                <a:gd name="T0" fmla="*/ 93 w 1235"/>
                <a:gd name="T1" fmla="*/ 1234 h 1234"/>
                <a:gd name="T2" fmla="*/ 0 w 1235"/>
                <a:gd name="T3" fmla="*/ 1141 h 1234"/>
                <a:gd name="T4" fmla="*/ 1142 w 1235"/>
                <a:gd name="T5" fmla="*/ 0 h 1234"/>
                <a:gd name="T6" fmla="*/ 1235 w 1235"/>
                <a:gd name="T7" fmla="*/ 93 h 1234"/>
                <a:gd name="T8" fmla="*/ 93 w 1235"/>
                <a:gd name="T9" fmla="*/ 1234 h 1234"/>
              </a:gdLst>
              <a:ahLst/>
              <a:cxnLst>
                <a:cxn ang="0">
                  <a:pos x="T0" y="T1"/>
                </a:cxn>
                <a:cxn ang="0">
                  <a:pos x="T2" y="T3"/>
                </a:cxn>
                <a:cxn ang="0">
                  <a:pos x="T4" y="T5"/>
                </a:cxn>
                <a:cxn ang="0">
                  <a:pos x="T6" y="T7"/>
                </a:cxn>
                <a:cxn ang="0">
                  <a:pos x="T8" y="T9"/>
                </a:cxn>
              </a:cxnLst>
              <a:rect l="0" t="0" r="r" b="b"/>
              <a:pathLst>
                <a:path w="1235" h="1234">
                  <a:moveTo>
                    <a:pt x="93" y="1234"/>
                  </a:moveTo>
                  <a:lnTo>
                    <a:pt x="0" y="1141"/>
                  </a:lnTo>
                  <a:lnTo>
                    <a:pt x="1142" y="0"/>
                  </a:lnTo>
                  <a:lnTo>
                    <a:pt x="1235" y="93"/>
                  </a:lnTo>
                  <a:lnTo>
                    <a:pt x="93" y="1234"/>
                  </a:lnTo>
                  <a:close/>
                </a:path>
              </a:pathLst>
            </a:custGeom>
            <a:solidFill>
              <a:srgbClr val="E456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1" name="Rectangle 118">
              <a:extLst>
                <a:ext uri="{FF2B5EF4-FFF2-40B4-BE49-F238E27FC236}">
                  <a16:creationId xmlns:a16="http://schemas.microsoft.com/office/drawing/2014/main" id="{498978FC-8D2D-FD02-4CEF-911D7EBE52E9}"/>
                </a:ext>
              </a:extLst>
            </p:cNvPr>
            <p:cNvSpPr>
              <a:spLocks noChangeArrowheads="1"/>
            </p:cNvSpPr>
            <p:nvPr/>
          </p:nvSpPr>
          <p:spPr bwMode="auto">
            <a:xfrm>
              <a:off x="9373494" y="3035211"/>
              <a:ext cx="86461" cy="9023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2" name="Rectangle 119">
              <a:extLst>
                <a:ext uri="{FF2B5EF4-FFF2-40B4-BE49-F238E27FC236}">
                  <a16:creationId xmlns:a16="http://schemas.microsoft.com/office/drawing/2014/main" id="{D1EA3208-3A81-AB15-76EF-DC6A0CD1393E}"/>
                </a:ext>
              </a:extLst>
            </p:cNvPr>
            <p:cNvSpPr>
              <a:spLocks noChangeArrowheads="1"/>
            </p:cNvSpPr>
            <p:nvPr/>
          </p:nvSpPr>
          <p:spPr bwMode="auto">
            <a:xfrm>
              <a:off x="9379073"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3" name="Rectangle 120">
              <a:extLst>
                <a:ext uri="{FF2B5EF4-FFF2-40B4-BE49-F238E27FC236}">
                  <a16:creationId xmlns:a16="http://schemas.microsoft.com/office/drawing/2014/main" id="{19347E55-36A4-97A8-E651-6E07E5CBB20A}"/>
                </a:ext>
              </a:extLst>
            </p:cNvPr>
            <p:cNvSpPr>
              <a:spLocks noChangeArrowheads="1"/>
            </p:cNvSpPr>
            <p:nvPr/>
          </p:nvSpPr>
          <p:spPr bwMode="auto">
            <a:xfrm>
              <a:off x="9419514"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4" name="Rectangle 121">
              <a:extLst>
                <a:ext uri="{FF2B5EF4-FFF2-40B4-BE49-F238E27FC236}">
                  <a16:creationId xmlns:a16="http://schemas.microsoft.com/office/drawing/2014/main" id="{5D0E370B-6CDC-5A00-0DD6-618DCECF9441}"/>
                </a:ext>
              </a:extLst>
            </p:cNvPr>
            <p:cNvSpPr>
              <a:spLocks noChangeArrowheads="1"/>
            </p:cNvSpPr>
            <p:nvPr/>
          </p:nvSpPr>
          <p:spPr bwMode="auto">
            <a:xfrm>
              <a:off x="9380467"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5" name="Rectangle 122">
              <a:extLst>
                <a:ext uri="{FF2B5EF4-FFF2-40B4-BE49-F238E27FC236}">
                  <a16:creationId xmlns:a16="http://schemas.microsoft.com/office/drawing/2014/main" id="{D6139EFA-F2A9-A761-DE8B-4AF020A89A02}"/>
                </a:ext>
              </a:extLst>
            </p:cNvPr>
            <p:cNvSpPr>
              <a:spLocks noChangeArrowheads="1"/>
            </p:cNvSpPr>
            <p:nvPr/>
          </p:nvSpPr>
          <p:spPr bwMode="auto">
            <a:xfrm>
              <a:off x="9420908"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6" name="Freeform 123">
              <a:extLst>
                <a:ext uri="{FF2B5EF4-FFF2-40B4-BE49-F238E27FC236}">
                  <a16:creationId xmlns:a16="http://schemas.microsoft.com/office/drawing/2014/main" id="{11D60A6A-B0DD-3886-5865-8F0771941A00}"/>
                </a:ext>
              </a:extLst>
            </p:cNvPr>
            <p:cNvSpPr>
              <a:spLocks/>
            </p:cNvSpPr>
            <p:nvPr/>
          </p:nvSpPr>
          <p:spPr bwMode="auto">
            <a:xfrm>
              <a:off x="9380467"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7" name="Freeform 124">
              <a:extLst>
                <a:ext uri="{FF2B5EF4-FFF2-40B4-BE49-F238E27FC236}">
                  <a16:creationId xmlns:a16="http://schemas.microsoft.com/office/drawing/2014/main" id="{9021838F-9056-A925-DE43-9F33D721063B}"/>
                </a:ext>
              </a:extLst>
            </p:cNvPr>
            <p:cNvSpPr>
              <a:spLocks/>
            </p:cNvSpPr>
            <p:nvPr/>
          </p:nvSpPr>
          <p:spPr bwMode="auto">
            <a:xfrm>
              <a:off x="9420908"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8" name="Rectangle 125">
              <a:extLst>
                <a:ext uri="{FF2B5EF4-FFF2-40B4-BE49-F238E27FC236}">
                  <a16:creationId xmlns:a16="http://schemas.microsoft.com/office/drawing/2014/main" id="{5427A8F9-23B4-3B9F-AC50-10FDAEAAEB8E}"/>
                </a:ext>
              </a:extLst>
            </p:cNvPr>
            <p:cNvSpPr>
              <a:spLocks noChangeArrowheads="1"/>
            </p:cNvSpPr>
            <p:nvPr/>
          </p:nvSpPr>
          <p:spPr bwMode="auto">
            <a:xfrm>
              <a:off x="9305163" y="3179579"/>
              <a:ext cx="86461" cy="105268"/>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9" name="Rectangle 126">
              <a:extLst>
                <a:ext uri="{FF2B5EF4-FFF2-40B4-BE49-F238E27FC236}">
                  <a16:creationId xmlns:a16="http://schemas.microsoft.com/office/drawing/2014/main" id="{D1409104-D78F-1EBB-AB9D-57D00AB6D56A}"/>
                </a:ext>
              </a:extLst>
            </p:cNvPr>
            <p:cNvSpPr>
              <a:spLocks noChangeArrowheads="1"/>
            </p:cNvSpPr>
            <p:nvPr/>
          </p:nvSpPr>
          <p:spPr bwMode="auto">
            <a:xfrm>
              <a:off x="9310741" y="3184091"/>
              <a:ext cx="34863"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0" name="Rectangle 127">
              <a:extLst>
                <a:ext uri="{FF2B5EF4-FFF2-40B4-BE49-F238E27FC236}">
                  <a16:creationId xmlns:a16="http://schemas.microsoft.com/office/drawing/2014/main" id="{50CAEB7A-31E1-F2CE-97BE-1B75DF1F7E82}"/>
                </a:ext>
              </a:extLst>
            </p:cNvPr>
            <p:cNvSpPr>
              <a:spLocks noChangeArrowheads="1"/>
            </p:cNvSpPr>
            <p:nvPr/>
          </p:nvSpPr>
          <p:spPr bwMode="auto">
            <a:xfrm>
              <a:off x="9351182" y="3184091"/>
              <a:ext cx="34863"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1" name="Rectangle 128">
              <a:extLst>
                <a:ext uri="{FF2B5EF4-FFF2-40B4-BE49-F238E27FC236}">
                  <a16:creationId xmlns:a16="http://schemas.microsoft.com/office/drawing/2014/main" id="{4F38B3F8-EF59-E17A-A572-83355BD38024}"/>
                </a:ext>
              </a:extLst>
            </p:cNvPr>
            <p:cNvSpPr>
              <a:spLocks noChangeArrowheads="1"/>
            </p:cNvSpPr>
            <p:nvPr/>
          </p:nvSpPr>
          <p:spPr bwMode="auto">
            <a:xfrm>
              <a:off x="9312136"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2" name="Rectangle 129">
              <a:extLst>
                <a:ext uri="{FF2B5EF4-FFF2-40B4-BE49-F238E27FC236}">
                  <a16:creationId xmlns:a16="http://schemas.microsoft.com/office/drawing/2014/main" id="{9CA64D36-07AC-BE3F-2B1B-77BD3804D632}"/>
                </a:ext>
              </a:extLst>
            </p:cNvPr>
            <p:cNvSpPr>
              <a:spLocks noChangeArrowheads="1"/>
            </p:cNvSpPr>
            <p:nvPr/>
          </p:nvSpPr>
          <p:spPr bwMode="auto">
            <a:xfrm>
              <a:off x="9352577"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3" name="Freeform 130">
              <a:extLst>
                <a:ext uri="{FF2B5EF4-FFF2-40B4-BE49-F238E27FC236}">
                  <a16:creationId xmlns:a16="http://schemas.microsoft.com/office/drawing/2014/main" id="{67C9735D-DA1A-8154-935E-E156EAFFAAA0}"/>
                </a:ext>
              </a:extLst>
            </p:cNvPr>
            <p:cNvSpPr>
              <a:spLocks/>
            </p:cNvSpPr>
            <p:nvPr/>
          </p:nvSpPr>
          <p:spPr bwMode="auto">
            <a:xfrm>
              <a:off x="9312136"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4" name="Freeform 131">
              <a:extLst>
                <a:ext uri="{FF2B5EF4-FFF2-40B4-BE49-F238E27FC236}">
                  <a16:creationId xmlns:a16="http://schemas.microsoft.com/office/drawing/2014/main" id="{586BDA43-F317-7616-956C-25EE647E10DB}"/>
                </a:ext>
              </a:extLst>
            </p:cNvPr>
            <p:cNvSpPr>
              <a:spLocks/>
            </p:cNvSpPr>
            <p:nvPr/>
          </p:nvSpPr>
          <p:spPr bwMode="auto">
            <a:xfrm>
              <a:off x="9352577" y="3185595"/>
              <a:ext cx="15340" cy="93238"/>
            </a:xfrm>
            <a:custGeom>
              <a:avLst/>
              <a:gdLst>
                <a:gd name="T0" fmla="*/ 0 w 56"/>
                <a:gd name="T1" fmla="*/ 0 h 307"/>
                <a:gd name="T2" fmla="*/ 56 w 56"/>
                <a:gd name="T3" fmla="*/ 0 h 307"/>
                <a:gd name="T4" fmla="*/ 0 w 56"/>
                <a:gd name="T5" fmla="*/ 307 h 307"/>
                <a:gd name="T6" fmla="*/ 0 w 56"/>
                <a:gd name="T7" fmla="*/ 0 h 307"/>
              </a:gdLst>
              <a:ahLst/>
              <a:cxnLst>
                <a:cxn ang="0">
                  <a:pos x="T0" y="T1"/>
                </a:cxn>
                <a:cxn ang="0">
                  <a:pos x="T2" y="T3"/>
                </a:cxn>
                <a:cxn ang="0">
                  <a:pos x="T4" y="T5"/>
                </a:cxn>
                <a:cxn ang="0">
                  <a:pos x="T6" y="T7"/>
                </a:cxn>
              </a:cxnLst>
              <a:rect l="0" t="0" r="r" b="b"/>
              <a:pathLst>
                <a:path w="56" h="307">
                  <a:moveTo>
                    <a:pt x="0" y="0"/>
                  </a:moveTo>
                  <a:lnTo>
                    <a:pt x="56"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5" name="Rectangle 132">
              <a:extLst>
                <a:ext uri="{FF2B5EF4-FFF2-40B4-BE49-F238E27FC236}">
                  <a16:creationId xmlns:a16="http://schemas.microsoft.com/office/drawing/2014/main" id="{49961C24-8109-CEC9-9BBD-7C02F89843FB}"/>
                </a:ext>
              </a:extLst>
            </p:cNvPr>
            <p:cNvSpPr>
              <a:spLocks noChangeArrowheads="1"/>
            </p:cNvSpPr>
            <p:nvPr/>
          </p:nvSpPr>
          <p:spPr bwMode="auto">
            <a:xfrm>
              <a:off x="9578490" y="3179579"/>
              <a:ext cx="86461" cy="105268"/>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6" name="Rectangle 133">
              <a:extLst>
                <a:ext uri="{FF2B5EF4-FFF2-40B4-BE49-F238E27FC236}">
                  <a16:creationId xmlns:a16="http://schemas.microsoft.com/office/drawing/2014/main" id="{9EB7FAE7-5D64-19B2-7461-E89996659A13}"/>
                </a:ext>
              </a:extLst>
            </p:cNvPr>
            <p:cNvSpPr>
              <a:spLocks noChangeArrowheads="1"/>
            </p:cNvSpPr>
            <p:nvPr/>
          </p:nvSpPr>
          <p:spPr bwMode="auto">
            <a:xfrm>
              <a:off x="9584068" y="3184091"/>
              <a:ext cx="34863"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7" name="Rectangle 134">
              <a:extLst>
                <a:ext uri="{FF2B5EF4-FFF2-40B4-BE49-F238E27FC236}">
                  <a16:creationId xmlns:a16="http://schemas.microsoft.com/office/drawing/2014/main" id="{64F9231F-1DBE-E251-E6BA-1715DEF39CE4}"/>
                </a:ext>
              </a:extLst>
            </p:cNvPr>
            <p:cNvSpPr>
              <a:spLocks noChangeArrowheads="1"/>
            </p:cNvSpPr>
            <p:nvPr/>
          </p:nvSpPr>
          <p:spPr bwMode="auto">
            <a:xfrm>
              <a:off x="9624509" y="3184091"/>
              <a:ext cx="36258"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8" name="Rectangle 135">
              <a:extLst>
                <a:ext uri="{FF2B5EF4-FFF2-40B4-BE49-F238E27FC236}">
                  <a16:creationId xmlns:a16="http://schemas.microsoft.com/office/drawing/2014/main" id="{F7C0744C-33F2-E10A-F157-4B5987338367}"/>
                </a:ext>
              </a:extLst>
            </p:cNvPr>
            <p:cNvSpPr>
              <a:spLocks noChangeArrowheads="1"/>
            </p:cNvSpPr>
            <p:nvPr/>
          </p:nvSpPr>
          <p:spPr bwMode="auto">
            <a:xfrm>
              <a:off x="9585462"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79" name="Rectangle 136">
              <a:extLst>
                <a:ext uri="{FF2B5EF4-FFF2-40B4-BE49-F238E27FC236}">
                  <a16:creationId xmlns:a16="http://schemas.microsoft.com/office/drawing/2014/main" id="{2D783C89-9DB0-DD99-7277-29A2B980ABEB}"/>
                </a:ext>
              </a:extLst>
            </p:cNvPr>
            <p:cNvSpPr>
              <a:spLocks noChangeArrowheads="1"/>
            </p:cNvSpPr>
            <p:nvPr/>
          </p:nvSpPr>
          <p:spPr bwMode="auto">
            <a:xfrm>
              <a:off x="9625904"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0" name="Freeform 137">
              <a:extLst>
                <a:ext uri="{FF2B5EF4-FFF2-40B4-BE49-F238E27FC236}">
                  <a16:creationId xmlns:a16="http://schemas.microsoft.com/office/drawing/2014/main" id="{3EAB2056-56F5-33D2-B6AF-498EDC0DA734}"/>
                </a:ext>
              </a:extLst>
            </p:cNvPr>
            <p:cNvSpPr>
              <a:spLocks/>
            </p:cNvSpPr>
            <p:nvPr/>
          </p:nvSpPr>
          <p:spPr bwMode="auto">
            <a:xfrm>
              <a:off x="9585462"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1" name="Freeform 138">
              <a:extLst>
                <a:ext uri="{FF2B5EF4-FFF2-40B4-BE49-F238E27FC236}">
                  <a16:creationId xmlns:a16="http://schemas.microsoft.com/office/drawing/2014/main" id="{80EA721E-EEEC-F5E6-A738-F6EF3A8BBA76}"/>
                </a:ext>
              </a:extLst>
            </p:cNvPr>
            <p:cNvSpPr>
              <a:spLocks/>
            </p:cNvSpPr>
            <p:nvPr/>
          </p:nvSpPr>
          <p:spPr bwMode="auto">
            <a:xfrm>
              <a:off x="9625904"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2" name="Rectangle 139">
              <a:extLst>
                <a:ext uri="{FF2B5EF4-FFF2-40B4-BE49-F238E27FC236}">
                  <a16:creationId xmlns:a16="http://schemas.microsoft.com/office/drawing/2014/main" id="{87546440-565F-9ED8-B5C1-4391BE41C51F}"/>
                </a:ext>
              </a:extLst>
            </p:cNvPr>
            <p:cNvSpPr>
              <a:spLocks noChangeArrowheads="1"/>
            </p:cNvSpPr>
            <p:nvPr/>
          </p:nvSpPr>
          <p:spPr bwMode="auto">
            <a:xfrm>
              <a:off x="9510158" y="3035211"/>
              <a:ext cx="86461" cy="9023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3" name="Rectangle 140">
              <a:extLst>
                <a:ext uri="{FF2B5EF4-FFF2-40B4-BE49-F238E27FC236}">
                  <a16:creationId xmlns:a16="http://schemas.microsoft.com/office/drawing/2014/main" id="{026DD7DA-1BAD-C33A-B84E-8DBE59C55196}"/>
                </a:ext>
              </a:extLst>
            </p:cNvPr>
            <p:cNvSpPr>
              <a:spLocks noChangeArrowheads="1"/>
            </p:cNvSpPr>
            <p:nvPr/>
          </p:nvSpPr>
          <p:spPr bwMode="auto">
            <a:xfrm>
              <a:off x="9514342" y="3039723"/>
              <a:ext cx="36258"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4" name="Rectangle 141">
              <a:extLst>
                <a:ext uri="{FF2B5EF4-FFF2-40B4-BE49-F238E27FC236}">
                  <a16:creationId xmlns:a16="http://schemas.microsoft.com/office/drawing/2014/main" id="{F46BDA74-C005-D428-8799-0D63ACE82032}"/>
                </a:ext>
              </a:extLst>
            </p:cNvPr>
            <p:cNvSpPr>
              <a:spLocks noChangeArrowheads="1"/>
            </p:cNvSpPr>
            <p:nvPr/>
          </p:nvSpPr>
          <p:spPr bwMode="auto">
            <a:xfrm>
              <a:off x="9556178"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5" name="Rectangle 142">
              <a:extLst>
                <a:ext uri="{FF2B5EF4-FFF2-40B4-BE49-F238E27FC236}">
                  <a16:creationId xmlns:a16="http://schemas.microsoft.com/office/drawing/2014/main" id="{05021F62-AEB6-A5E2-ABAE-10FBB2131EC6}"/>
                </a:ext>
              </a:extLst>
            </p:cNvPr>
            <p:cNvSpPr>
              <a:spLocks noChangeArrowheads="1"/>
            </p:cNvSpPr>
            <p:nvPr/>
          </p:nvSpPr>
          <p:spPr bwMode="auto">
            <a:xfrm>
              <a:off x="9517131"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6" name="Rectangle 143">
              <a:extLst>
                <a:ext uri="{FF2B5EF4-FFF2-40B4-BE49-F238E27FC236}">
                  <a16:creationId xmlns:a16="http://schemas.microsoft.com/office/drawing/2014/main" id="{8FD84F69-DE6D-91B3-B2A9-E5C089DBA74D}"/>
                </a:ext>
              </a:extLst>
            </p:cNvPr>
            <p:cNvSpPr>
              <a:spLocks noChangeArrowheads="1"/>
            </p:cNvSpPr>
            <p:nvPr/>
          </p:nvSpPr>
          <p:spPr bwMode="auto">
            <a:xfrm>
              <a:off x="9557571"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7" name="Freeform 144">
              <a:extLst>
                <a:ext uri="{FF2B5EF4-FFF2-40B4-BE49-F238E27FC236}">
                  <a16:creationId xmlns:a16="http://schemas.microsoft.com/office/drawing/2014/main" id="{656C9D49-E236-B0ED-B7AF-83DA11A10DD4}"/>
                </a:ext>
              </a:extLst>
            </p:cNvPr>
            <p:cNvSpPr>
              <a:spLocks/>
            </p:cNvSpPr>
            <p:nvPr/>
          </p:nvSpPr>
          <p:spPr bwMode="auto">
            <a:xfrm>
              <a:off x="9517131"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8" name="Freeform 145">
              <a:extLst>
                <a:ext uri="{FF2B5EF4-FFF2-40B4-BE49-F238E27FC236}">
                  <a16:creationId xmlns:a16="http://schemas.microsoft.com/office/drawing/2014/main" id="{D9A0E1B1-A315-EE4B-C4D1-377A7FA3BCE8}"/>
                </a:ext>
              </a:extLst>
            </p:cNvPr>
            <p:cNvSpPr>
              <a:spLocks/>
            </p:cNvSpPr>
            <p:nvPr/>
          </p:nvSpPr>
          <p:spPr bwMode="auto">
            <a:xfrm>
              <a:off x="9557571"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9" name="Freeform 146">
              <a:extLst>
                <a:ext uri="{FF2B5EF4-FFF2-40B4-BE49-F238E27FC236}">
                  <a16:creationId xmlns:a16="http://schemas.microsoft.com/office/drawing/2014/main" id="{A18D628F-8398-FB31-F50F-82A826E473B9}"/>
                </a:ext>
              </a:extLst>
            </p:cNvPr>
            <p:cNvSpPr>
              <a:spLocks/>
            </p:cNvSpPr>
            <p:nvPr/>
          </p:nvSpPr>
          <p:spPr bwMode="auto">
            <a:xfrm>
              <a:off x="9227071" y="2785575"/>
              <a:ext cx="515973" cy="569953"/>
            </a:xfrm>
            <a:custGeom>
              <a:avLst/>
              <a:gdLst>
                <a:gd name="T0" fmla="*/ 925 w 1851"/>
                <a:gd name="T1" fmla="*/ 0 h 1898"/>
                <a:gd name="T2" fmla="*/ 0 w 1851"/>
                <a:gd name="T3" fmla="*/ 925 h 1898"/>
                <a:gd name="T4" fmla="*/ 0 w 1851"/>
                <a:gd name="T5" fmla="*/ 993 h 1898"/>
                <a:gd name="T6" fmla="*/ 925 w 1851"/>
                <a:gd name="T7" fmla="*/ 69 h 1898"/>
                <a:gd name="T8" fmla="*/ 1724 w 1851"/>
                <a:gd name="T9" fmla="*/ 866 h 1898"/>
                <a:gd name="T10" fmla="*/ 1724 w 1851"/>
                <a:gd name="T11" fmla="*/ 1898 h 1898"/>
                <a:gd name="T12" fmla="*/ 1851 w 1851"/>
                <a:gd name="T13" fmla="*/ 1898 h 1898"/>
                <a:gd name="T14" fmla="*/ 1851 w 1851"/>
                <a:gd name="T15" fmla="*/ 925 h 1898"/>
                <a:gd name="T16" fmla="*/ 925 w 1851"/>
                <a:gd name="T17" fmla="*/ 0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1" h="1898">
                  <a:moveTo>
                    <a:pt x="925" y="0"/>
                  </a:moveTo>
                  <a:lnTo>
                    <a:pt x="0" y="925"/>
                  </a:lnTo>
                  <a:lnTo>
                    <a:pt x="0" y="993"/>
                  </a:lnTo>
                  <a:lnTo>
                    <a:pt x="925" y="69"/>
                  </a:lnTo>
                  <a:lnTo>
                    <a:pt x="1724" y="866"/>
                  </a:lnTo>
                  <a:lnTo>
                    <a:pt x="1724" y="1898"/>
                  </a:lnTo>
                  <a:lnTo>
                    <a:pt x="1851" y="1898"/>
                  </a:lnTo>
                  <a:lnTo>
                    <a:pt x="1851" y="925"/>
                  </a:lnTo>
                  <a:lnTo>
                    <a:pt x="925"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0" name="Freeform 147">
              <a:extLst>
                <a:ext uri="{FF2B5EF4-FFF2-40B4-BE49-F238E27FC236}">
                  <a16:creationId xmlns:a16="http://schemas.microsoft.com/office/drawing/2014/main" id="{697E28BC-54D0-B887-F353-9D2884B32F41}"/>
                </a:ext>
              </a:extLst>
            </p:cNvPr>
            <p:cNvSpPr>
              <a:spLocks/>
            </p:cNvSpPr>
            <p:nvPr/>
          </p:nvSpPr>
          <p:spPr bwMode="auto">
            <a:xfrm>
              <a:off x="8296923" y="2420142"/>
              <a:ext cx="923173" cy="935386"/>
            </a:xfrm>
            <a:custGeom>
              <a:avLst/>
              <a:gdLst>
                <a:gd name="T0" fmla="*/ 3306 w 3306"/>
                <a:gd name="T1" fmla="*/ 3112 h 3112"/>
                <a:gd name="T2" fmla="*/ 0 w 3306"/>
                <a:gd name="T3" fmla="*/ 3112 h 3112"/>
                <a:gd name="T4" fmla="*/ 0 w 3306"/>
                <a:gd name="T5" fmla="*/ 1650 h 3112"/>
                <a:gd name="T6" fmla="*/ 1653 w 3306"/>
                <a:gd name="T7" fmla="*/ 0 h 3112"/>
                <a:gd name="T8" fmla="*/ 3306 w 3306"/>
                <a:gd name="T9" fmla="*/ 1650 h 3112"/>
                <a:gd name="T10" fmla="*/ 3306 w 3306"/>
                <a:gd name="T11" fmla="*/ 3112 h 3112"/>
              </a:gdLst>
              <a:ahLst/>
              <a:cxnLst>
                <a:cxn ang="0">
                  <a:pos x="T0" y="T1"/>
                </a:cxn>
                <a:cxn ang="0">
                  <a:pos x="T2" y="T3"/>
                </a:cxn>
                <a:cxn ang="0">
                  <a:pos x="T4" y="T5"/>
                </a:cxn>
                <a:cxn ang="0">
                  <a:pos x="T6" y="T7"/>
                </a:cxn>
                <a:cxn ang="0">
                  <a:pos x="T8" y="T9"/>
                </a:cxn>
                <a:cxn ang="0">
                  <a:pos x="T10" y="T11"/>
                </a:cxn>
              </a:cxnLst>
              <a:rect l="0" t="0" r="r" b="b"/>
              <a:pathLst>
                <a:path w="3306" h="3112">
                  <a:moveTo>
                    <a:pt x="3306" y="3112"/>
                  </a:moveTo>
                  <a:lnTo>
                    <a:pt x="0" y="3112"/>
                  </a:lnTo>
                  <a:lnTo>
                    <a:pt x="0" y="1650"/>
                  </a:lnTo>
                  <a:lnTo>
                    <a:pt x="1653" y="0"/>
                  </a:lnTo>
                  <a:lnTo>
                    <a:pt x="3306" y="1650"/>
                  </a:lnTo>
                  <a:lnTo>
                    <a:pt x="3306" y="31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1" name="Rectangle 148">
              <a:extLst>
                <a:ext uri="{FF2B5EF4-FFF2-40B4-BE49-F238E27FC236}">
                  <a16:creationId xmlns:a16="http://schemas.microsoft.com/office/drawing/2014/main" id="{CA782F24-991F-0D0C-6372-76665FC03521}"/>
                </a:ext>
              </a:extLst>
            </p:cNvPr>
            <p:cNvSpPr>
              <a:spLocks noChangeArrowheads="1"/>
            </p:cNvSpPr>
            <p:nvPr/>
          </p:nvSpPr>
          <p:spPr bwMode="auto">
            <a:xfrm>
              <a:off x="8679023" y="3044235"/>
              <a:ext cx="150609" cy="311294"/>
            </a:xfrm>
            <a:prstGeom prst="rect">
              <a:avLst/>
            </a:prstGeom>
            <a:solidFill>
              <a:srgbClr val="CF9C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2" name="Rectangle 149">
              <a:extLst>
                <a:ext uri="{FF2B5EF4-FFF2-40B4-BE49-F238E27FC236}">
                  <a16:creationId xmlns:a16="http://schemas.microsoft.com/office/drawing/2014/main" id="{B5A98CBF-369C-3996-F059-274F0A08B215}"/>
                </a:ext>
              </a:extLst>
            </p:cNvPr>
            <p:cNvSpPr>
              <a:spLocks noChangeArrowheads="1"/>
            </p:cNvSpPr>
            <p:nvPr/>
          </p:nvSpPr>
          <p:spPr bwMode="auto">
            <a:xfrm>
              <a:off x="8690179" y="3056266"/>
              <a:ext cx="139452" cy="299263"/>
            </a:xfrm>
            <a:prstGeom prst="rect">
              <a:avLst/>
            </a:prstGeom>
            <a:solidFill>
              <a:srgbClr val="FFD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3" name="Freeform 150">
              <a:extLst>
                <a:ext uri="{FF2B5EF4-FFF2-40B4-BE49-F238E27FC236}">
                  <a16:creationId xmlns:a16="http://schemas.microsoft.com/office/drawing/2014/main" id="{33E567E1-20FE-A656-C43D-E1F8C8046B25}"/>
                </a:ext>
              </a:extLst>
            </p:cNvPr>
            <p:cNvSpPr>
              <a:spLocks/>
            </p:cNvSpPr>
            <p:nvPr/>
          </p:nvSpPr>
          <p:spPr bwMode="auto">
            <a:xfrm>
              <a:off x="8730620" y="2361493"/>
              <a:ext cx="567571" cy="612061"/>
            </a:xfrm>
            <a:custGeom>
              <a:avLst/>
              <a:gdLst>
                <a:gd name="T0" fmla="*/ 1868 w 2034"/>
                <a:gd name="T1" fmla="*/ 2033 h 2033"/>
                <a:gd name="T2" fmla="*/ 2034 w 2034"/>
                <a:gd name="T3" fmla="*/ 1868 h 2033"/>
                <a:gd name="T4" fmla="*/ 165 w 2034"/>
                <a:gd name="T5" fmla="*/ 0 h 2033"/>
                <a:gd name="T6" fmla="*/ 0 w 2034"/>
                <a:gd name="T7" fmla="*/ 165 h 2033"/>
                <a:gd name="T8" fmla="*/ 1868 w 2034"/>
                <a:gd name="T9" fmla="*/ 2033 h 2033"/>
              </a:gdLst>
              <a:ahLst/>
              <a:cxnLst>
                <a:cxn ang="0">
                  <a:pos x="T0" y="T1"/>
                </a:cxn>
                <a:cxn ang="0">
                  <a:pos x="T2" y="T3"/>
                </a:cxn>
                <a:cxn ang="0">
                  <a:pos x="T4" y="T5"/>
                </a:cxn>
                <a:cxn ang="0">
                  <a:pos x="T6" y="T7"/>
                </a:cxn>
                <a:cxn ang="0">
                  <a:pos x="T8" y="T9"/>
                </a:cxn>
              </a:cxnLst>
              <a:rect l="0" t="0" r="r" b="b"/>
              <a:pathLst>
                <a:path w="2034" h="2033">
                  <a:moveTo>
                    <a:pt x="1868" y="2033"/>
                  </a:moveTo>
                  <a:lnTo>
                    <a:pt x="2034" y="1868"/>
                  </a:lnTo>
                  <a:lnTo>
                    <a:pt x="165" y="0"/>
                  </a:lnTo>
                  <a:lnTo>
                    <a:pt x="0" y="165"/>
                  </a:lnTo>
                  <a:lnTo>
                    <a:pt x="1868" y="2033"/>
                  </a:lnTo>
                  <a:close/>
                </a:path>
              </a:pathLst>
            </a:custGeom>
            <a:solidFill>
              <a:srgbClr val="AA05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4" name="Freeform 151">
              <a:extLst>
                <a:ext uri="{FF2B5EF4-FFF2-40B4-BE49-F238E27FC236}">
                  <a16:creationId xmlns:a16="http://schemas.microsoft.com/office/drawing/2014/main" id="{B46FEAD9-EFDC-2E91-0B6E-5B02D4BAAB92}"/>
                </a:ext>
              </a:extLst>
            </p:cNvPr>
            <p:cNvSpPr>
              <a:spLocks/>
            </p:cNvSpPr>
            <p:nvPr/>
          </p:nvSpPr>
          <p:spPr bwMode="auto">
            <a:xfrm>
              <a:off x="8740382" y="2349463"/>
              <a:ext cx="567571" cy="612061"/>
            </a:xfrm>
            <a:custGeom>
              <a:avLst/>
              <a:gdLst>
                <a:gd name="T0" fmla="*/ 1869 w 2034"/>
                <a:gd name="T1" fmla="*/ 2033 h 2033"/>
                <a:gd name="T2" fmla="*/ 2034 w 2034"/>
                <a:gd name="T3" fmla="*/ 1868 h 2033"/>
                <a:gd name="T4" fmla="*/ 166 w 2034"/>
                <a:gd name="T5" fmla="*/ 0 h 2033"/>
                <a:gd name="T6" fmla="*/ 0 w 2034"/>
                <a:gd name="T7" fmla="*/ 166 h 2033"/>
                <a:gd name="T8" fmla="*/ 1869 w 2034"/>
                <a:gd name="T9" fmla="*/ 2033 h 2033"/>
              </a:gdLst>
              <a:ahLst/>
              <a:cxnLst>
                <a:cxn ang="0">
                  <a:pos x="T0" y="T1"/>
                </a:cxn>
                <a:cxn ang="0">
                  <a:pos x="T2" y="T3"/>
                </a:cxn>
                <a:cxn ang="0">
                  <a:pos x="T4" y="T5"/>
                </a:cxn>
                <a:cxn ang="0">
                  <a:pos x="T6" y="T7"/>
                </a:cxn>
                <a:cxn ang="0">
                  <a:pos x="T8" y="T9"/>
                </a:cxn>
              </a:cxnLst>
              <a:rect l="0" t="0" r="r" b="b"/>
              <a:pathLst>
                <a:path w="2034" h="2033">
                  <a:moveTo>
                    <a:pt x="1869" y="2033"/>
                  </a:moveTo>
                  <a:lnTo>
                    <a:pt x="2034" y="1868"/>
                  </a:lnTo>
                  <a:lnTo>
                    <a:pt x="166" y="0"/>
                  </a:lnTo>
                  <a:lnTo>
                    <a:pt x="0" y="166"/>
                  </a:lnTo>
                  <a:lnTo>
                    <a:pt x="1869" y="2033"/>
                  </a:lnTo>
                  <a:close/>
                </a:path>
              </a:pathLst>
            </a:custGeom>
            <a:solidFill>
              <a:srgbClr val="F064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5" name="Freeform 152">
              <a:extLst>
                <a:ext uri="{FF2B5EF4-FFF2-40B4-BE49-F238E27FC236}">
                  <a16:creationId xmlns:a16="http://schemas.microsoft.com/office/drawing/2014/main" id="{ADE173CD-CF3E-83BA-76B3-B1A8DDC51EA5}"/>
                </a:ext>
              </a:extLst>
            </p:cNvPr>
            <p:cNvSpPr>
              <a:spLocks/>
            </p:cNvSpPr>
            <p:nvPr/>
          </p:nvSpPr>
          <p:spPr bwMode="auto">
            <a:xfrm>
              <a:off x="8209069" y="2298332"/>
              <a:ext cx="614985" cy="663191"/>
            </a:xfrm>
            <a:custGeom>
              <a:avLst/>
              <a:gdLst>
                <a:gd name="T0" fmla="*/ 166 w 2206"/>
                <a:gd name="T1" fmla="*/ 2205 h 2205"/>
                <a:gd name="T2" fmla="*/ 0 w 2206"/>
                <a:gd name="T3" fmla="*/ 2040 h 2205"/>
                <a:gd name="T4" fmla="*/ 2041 w 2206"/>
                <a:gd name="T5" fmla="*/ 0 h 2205"/>
                <a:gd name="T6" fmla="*/ 2206 w 2206"/>
                <a:gd name="T7" fmla="*/ 165 h 2205"/>
                <a:gd name="T8" fmla="*/ 166 w 2206"/>
                <a:gd name="T9" fmla="*/ 2205 h 2205"/>
              </a:gdLst>
              <a:ahLst/>
              <a:cxnLst>
                <a:cxn ang="0">
                  <a:pos x="T0" y="T1"/>
                </a:cxn>
                <a:cxn ang="0">
                  <a:pos x="T2" y="T3"/>
                </a:cxn>
                <a:cxn ang="0">
                  <a:pos x="T4" y="T5"/>
                </a:cxn>
                <a:cxn ang="0">
                  <a:pos x="T6" y="T7"/>
                </a:cxn>
                <a:cxn ang="0">
                  <a:pos x="T8" y="T9"/>
                </a:cxn>
              </a:cxnLst>
              <a:rect l="0" t="0" r="r" b="b"/>
              <a:pathLst>
                <a:path w="2206" h="2205">
                  <a:moveTo>
                    <a:pt x="166" y="2205"/>
                  </a:moveTo>
                  <a:lnTo>
                    <a:pt x="0" y="2040"/>
                  </a:lnTo>
                  <a:lnTo>
                    <a:pt x="2041" y="0"/>
                  </a:lnTo>
                  <a:lnTo>
                    <a:pt x="2206" y="165"/>
                  </a:lnTo>
                  <a:lnTo>
                    <a:pt x="166" y="2205"/>
                  </a:lnTo>
                  <a:close/>
                </a:path>
              </a:pathLst>
            </a:custGeom>
            <a:solidFill>
              <a:srgbClr val="E456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6" name="Rectangle 153">
              <a:extLst>
                <a:ext uri="{FF2B5EF4-FFF2-40B4-BE49-F238E27FC236}">
                  <a16:creationId xmlns:a16="http://schemas.microsoft.com/office/drawing/2014/main" id="{4ACD52AE-8BB5-FD5F-4E01-C8F146C01E88}"/>
                </a:ext>
              </a:extLst>
            </p:cNvPr>
            <p:cNvSpPr>
              <a:spLocks noChangeArrowheads="1"/>
            </p:cNvSpPr>
            <p:nvPr/>
          </p:nvSpPr>
          <p:spPr bwMode="auto">
            <a:xfrm>
              <a:off x="8559094" y="2785575"/>
              <a:ext cx="154792" cy="16091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7" name="Rectangle 154">
              <a:extLst>
                <a:ext uri="{FF2B5EF4-FFF2-40B4-BE49-F238E27FC236}">
                  <a16:creationId xmlns:a16="http://schemas.microsoft.com/office/drawing/2014/main" id="{0429DE59-CAB0-273C-5150-582D3462DA40}"/>
                </a:ext>
              </a:extLst>
            </p:cNvPr>
            <p:cNvSpPr>
              <a:spLocks noChangeArrowheads="1"/>
            </p:cNvSpPr>
            <p:nvPr/>
          </p:nvSpPr>
          <p:spPr bwMode="auto">
            <a:xfrm>
              <a:off x="8568856"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8" name="Rectangle 155">
              <a:extLst>
                <a:ext uri="{FF2B5EF4-FFF2-40B4-BE49-F238E27FC236}">
                  <a16:creationId xmlns:a16="http://schemas.microsoft.com/office/drawing/2014/main" id="{BEF13D8C-F917-CFF5-157B-F06F6A532DBC}"/>
                </a:ext>
              </a:extLst>
            </p:cNvPr>
            <p:cNvSpPr>
              <a:spLocks noChangeArrowheads="1"/>
            </p:cNvSpPr>
            <p:nvPr/>
          </p:nvSpPr>
          <p:spPr bwMode="auto">
            <a:xfrm>
              <a:off x="8641371"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99" name="Rectangle 156">
              <a:extLst>
                <a:ext uri="{FF2B5EF4-FFF2-40B4-BE49-F238E27FC236}">
                  <a16:creationId xmlns:a16="http://schemas.microsoft.com/office/drawing/2014/main" id="{8E6B7BE9-9843-5F0D-7B7C-745BCDD8627A}"/>
                </a:ext>
              </a:extLst>
            </p:cNvPr>
            <p:cNvSpPr>
              <a:spLocks noChangeArrowheads="1"/>
            </p:cNvSpPr>
            <p:nvPr/>
          </p:nvSpPr>
          <p:spPr bwMode="auto">
            <a:xfrm>
              <a:off x="8571645"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0" name="Rectangle 157">
              <a:extLst>
                <a:ext uri="{FF2B5EF4-FFF2-40B4-BE49-F238E27FC236}">
                  <a16:creationId xmlns:a16="http://schemas.microsoft.com/office/drawing/2014/main" id="{4BCC9823-E524-820F-C134-36B2C621DECD}"/>
                </a:ext>
              </a:extLst>
            </p:cNvPr>
            <p:cNvSpPr>
              <a:spLocks noChangeArrowheads="1"/>
            </p:cNvSpPr>
            <p:nvPr/>
          </p:nvSpPr>
          <p:spPr bwMode="auto">
            <a:xfrm>
              <a:off x="8644160"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1" name="Freeform 158">
              <a:extLst>
                <a:ext uri="{FF2B5EF4-FFF2-40B4-BE49-F238E27FC236}">
                  <a16:creationId xmlns:a16="http://schemas.microsoft.com/office/drawing/2014/main" id="{4A750506-97E7-EAD2-DBAA-FB7D0AB1A79B}"/>
                </a:ext>
              </a:extLst>
            </p:cNvPr>
            <p:cNvSpPr>
              <a:spLocks/>
            </p:cNvSpPr>
            <p:nvPr/>
          </p:nvSpPr>
          <p:spPr bwMode="auto">
            <a:xfrm>
              <a:off x="8571645" y="2794598"/>
              <a:ext cx="26496"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2" name="Freeform 159">
              <a:extLst>
                <a:ext uri="{FF2B5EF4-FFF2-40B4-BE49-F238E27FC236}">
                  <a16:creationId xmlns:a16="http://schemas.microsoft.com/office/drawing/2014/main" id="{B047C40D-8457-19B5-9786-A4EC4397907B}"/>
                </a:ext>
              </a:extLst>
            </p:cNvPr>
            <p:cNvSpPr>
              <a:spLocks/>
            </p:cNvSpPr>
            <p:nvPr/>
          </p:nvSpPr>
          <p:spPr bwMode="auto">
            <a:xfrm>
              <a:off x="8644160" y="2794598"/>
              <a:ext cx="27890" cy="141360"/>
            </a:xfrm>
            <a:custGeom>
              <a:avLst/>
              <a:gdLst>
                <a:gd name="T0" fmla="*/ 0 w 99"/>
                <a:gd name="T1" fmla="*/ 0 h 472"/>
                <a:gd name="T2" fmla="*/ 99 w 99"/>
                <a:gd name="T3" fmla="*/ 0 h 472"/>
                <a:gd name="T4" fmla="*/ 0 w 99"/>
                <a:gd name="T5" fmla="*/ 472 h 472"/>
                <a:gd name="T6" fmla="*/ 0 w 99"/>
                <a:gd name="T7" fmla="*/ 0 h 472"/>
              </a:gdLst>
              <a:ahLst/>
              <a:cxnLst>
                <a:cxn ang="0">
                  <a:pos x="T0" y="T1"/>
                </a:cxn>
                <a:cxn ang="0">
                  <a:pos x="T2" y="T3"/>
                </a:cxn>
                <a:cxn ang="0">
                  <a:pos x="T4" y="T5"/>
                </a:cxn>
                <a:cxn ang="0">
                  <a:pos x="T6" y="T7"/>
                </a:cxn>
              </a:cxnLst>
              <a:rect l="0" t="0" r="r" b="b"/>
              <a:pathLst>
                <a:path w="99" h="472">
                  <a:moveTo>
                    <a:pt x="0" y="0"/>
                  </a:moveTo>
                  <a:lnTo>
                    <a:pt x="99"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3" name="Rectangle 160">
              <a:extLst>
                <a:ext uri="{FF2B5EF4-FFF2-40B4-BE49-F238E27FC236}">
                  <a16:creationId xmlns:a16="http://schemas.microsoft.com/office/drawing/2014/main" id="{7392D873-F639-4164-5638-12923FC71FFC}"/>
                </a:ext>
              </a:extLst>
            </p:cNvPr>
            <p:cNvSpPr>
              <a:spLocks noChangeArrowheads="1"/>
            </p:cNvSpPr>
            <p:nvPr/>
          </p:nvSpPr>
          <p:spPr bwMode="auto">
            <a:xfrm>
              <a:off x="8436376" y="3044235"/>
              <a:ext cx="156187" cy="187979"/>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4" name="Rectangle 161">
              <a:extLst>
                <a:ext uri="{FF2B5EF4-FFF2-40B4-BE49-F238E27FC236}">
                  <a16:creationId xmlns:a16="http://schemas.microsoft.com/office/drawing/2014/main" id="{095CEEB8-6F68-A32B-DB13-3F45606912EF}"/>
                </a:ext>
              </a:extLst>
            </p:cNvPr>
            <p:cNvSpPr>
              <a:spLocks noChangeArrowheads="1"/>
            </p:cNvSpPr>
            <p:nvPr/>
          </p:nvSpPr>
          <p:spPr bwMode="auto">
            <a:xfrm>
              <a:off x="8446138" y="3053258"/>
              <a:ext cx="62754"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5" name="Rectangle 162">
              <a:extLst>
                <a:ext uri="{FF2B5EF4-FFF2-40B4-BE49-F238E27FC236}">
                  <a16:creationId xmlns:a16="http://schemas.microsoft.com/office/drawing/2014/main" id="{DA62AF25-9BC7-9530-C875-C956B1E0C56B}"/>
                </a:ext>
              </a:extLst>
            </p:cNvPr>
            <p:cNvSpPr>
              <a:spLocks noChangeArrowheads="1"/>
            </p:cNvSpPr>
            <p:nvPr/>
          </p:nvSpPr>
          <p:spPr bwMode="auto">
            <a:xfrm>
              <a:off x="8518653" y="3053258"/>
              <a:ext cx="64148"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6" name="Rectangle 163">
              <a:extLst>
                <a:ext uri="{FF2B5EF4-FFF2-40B4-BE49-F238E27FC236}">
                  <a16:creationId xmlns:a16="http://schemas.microsoft.com/office/drawing/2014/main" id="{99C5BEC3-107C-FF6F-C194-E80D0146E049}"/>
                </a:ext>
              </a:extLst>
            </p:cNvPr>
            <p:cNvSpPr>
              <a:spLocks noChangeArrowheads="1"/>
            </p:cNvSpPr>
            <p:nvPr/>
          </p:nvSpPr>
          <p:spPr bwMode="auto">
            <a:xfrm>
              <a:off x="8448927"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7" name="Rectangle 164">
              <a:extLst>
                <a:ext uri="{FF2B5EF4-FFF2-40B4-BE49-F238E27FC236}">
                  <a16:creationId xmlns:a16="http://schemas.microsoft.com/office/drawing/2014/main" id="{5910FDAE-E99C-1B72-E199-BDC32AE58324}"/>
                </a:ext>
              </a:extLst>
            </p:cNvPr>
            <p:cNvSpPr>
              <a:spLocks noChangeArrowheads="1"/>
            </p:cNvSpPr>
            <p:nvPr/>
          </p:nvSpPr>
          <p:spPr bwMode="auto">
            <a:xfrm>
              <a:off x="8521442" y="3056266"/>
              <a:ext cx="58570"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8" name="Freeform 165">
              <a:extLst>
                <a:ext uri="{FF2B5EF4-FFF2-40B4-BE49-F238E27FC236}">
                  <a16:creationId xmlns:a16="http://schemas.microsoft.com/office/drawing/2014/main" id="{5F461854-1C45-500C-7072-9A9F4A7C6C1B}"/>
                </a:ext>
              </a:extLst>
            </p:cNvPr>
            <p:cNvSpPr>
              <a:spLocks/>
            </p:cNvSpPr>
            <p:nvPr/>
          </p:nvSpPr>
          <p:spPr bwMode="auto">
            <a:xfrm>
              <a:off x="8448927" y="3056266"/>
              <a:ext cx="26496"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9" name="Freeform 166">
              <a:extLst>
                <a:ext uri="{FF2B5EF4-FFF2-40B4-BE49-F238E27FC236}">
                  <a16:creationId xmlns:a16="http://schemas.microsoft.com/office/drawing/2014/main" id="{74E59C92-31B2-45A3-715D-1A77AA24F741}"/>
                </a:ext>
              </a:extLst>
            </p:cNvPr>
            <p:cNvSpPr>
              <a:spLocks/>
            </p:cNvSpPr>
            <p:nvPr/>
          </p:nvSpPr>
          <p:spPr bwMode="auto">
            <a:xfrm>
              <a:off x="8521442"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0" name="Rectangle 167">
              <a:extLst>
                <a:ext uri="{FF2B5EF4-FFF2-40B4-BE49-F238E27FC236}">
                  <a16:creationId xmlns:a16="http://schemas.microsoft.com/office/drawing/2014/main" id="{CD14B7BE-A9E2-1EC2-F8D9-7414BDFC3064}"/>
                </a:ext>
              </a:extLst>
            </p:cNvPr>
            <p:cNvSpPr>
              <a:spLocks noChangeArrowheads="1"/>
            </p:cNvSpPr>
            <p:nvPr/>
          </p:nvSpPr>
          <p:spPr bwMode="auto">
            <a:xfrm>
              <a:off x="8925854" y="3044235"/>
              <a:ext cx="154792" cy="187979"/>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1" name="Rectangle 168">
              <a:extLst>
                <a:ext uri="{FF2B5EF4-FFF2-40B4-BE49-F238E27FC236}">
                  <a16:creationId xmlns:a16="http://schemas.microsoft.com/office/drawing/2014/main" id="{3D71C523-18B6-5966-C4BC-A3CC912BD4AE}"/>
                </a:ext>
              </a:extLst>
            </p:cNvPr>
            <p:cNvSpPr>
              <a:spLocks noChangeArrowheads="1"/>
            </p:cNvSpPr>
            <p:nvPr/>
          </p:nvSpPr>
          <p:spPr bwMode="auto">
            <a:xfrm>
              <a:off x="8935615" y="3053258"/>
              <a:ext cx="62754"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2" name="Rectangle 169">
              <a:extLst>
                <a:ext uri="{FF2B5EF4-FFF2-40B4-BE49-F238E27FC236}">
                  <a16:creationId xmlns:a16="http://schemas.microsoft.com/office/drawing/2014/main" id="{8D263B5F-9E56-FCD2-59B3-8AA89A07C763}"/>
                </a:ext>
              </a:extLst>
            </p:cNvPr>
            <p:cNvSpPr>
              <a:spLocks noChangeArrowheads="1"/>
            </p:cNvSpPr>
            <p:nvPr/>
          </p:nvSpPr>
          <p:spPr bwMode="auto">
            <a:xfrm>
              <a:off x="9008130" y="3053258"/>
              <a:ext cx="62754"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3" name="Rectangle 170">
              <a:extLst>
                <a:ext uri="{FF2B5EF4-FFF2-40B4-BE49-F238E27FC236}">
                  <a16:creationId xmlns:a16="http://schemas.microsoft.com/office/drawing/2014/main" id="{7773A63D-2E0E-0493-6097-2117CAD92438}"/>
                </a:ext>
              </a:extLst>
            </p:cNvPr>
            <p:cNvSpPr>
              <a:spLocks noChangeArrowheads="1"/>
            </p:cNvSpPr>
            <p:nvPr/>
          </p:nvSpPr>
          <p:spPr bwMode="auto">
            <a:xfrm>
              <a:off x="8937010" y="3056266"/>
              <a:ext cx="58570"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4" name="Rectangle 171">
              <a:extLst>
                <a:ext uri="{FF2B5EF4-FFF2-40B4-BE49-F238E27FC236}">
                  <a16:creationId xmlns:a16="http://schemas.microsoft.com/office/drawing/2014/main" id="{1CA4B6C8-2B53-4946-C00A-4FBD89596C54}"/>
                </a:ext>
              </a:extLst>
            </p:cNvPr>
            <p:cNvSpPr>
              <a:spLocks noChangeArrowheads="1"/>
            </p:cNvSpPr>
            <p:nvPr/>
          </p:nvSpPr>
          <p:spPr bwMode="auto">
            <a:xfrm>
              <a:off x="9010919"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5" name="Freeform 172">
              <a:extLst>
                <a:ext uri="{FF2B5EF4-FFF2-40B4-BE49-F238E27FC236}">
                  <a16:creationId xmlns:a16="http://schemas.microsoft.com/office/drawing/2014/main" id="{B05FF732-5703-5282-BC18-F911D45C4E68}"/>
                </a:ext>
              </a:extLst>
            </p:cNvPr>
            <p:cNvSpPr>
              <a:spLocks/>
            </p:cNvSpPr>
            <p:nvPr/>
          </p:nvSpPr>
          <p:spPr bwMode="auto">
            <a:xfrm>
              <a:off x="8937010"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6" name="Freeform 173">
              <a:extLst>
                <a:ext uri="{FF2B5EF4-FFF2-40B4-BE49-F238E27FC236}">
                  <a16:creationId xmlns:a16="http://schemas.microsoft.com/office/drawing/2014/main" id="{0A0BE0DF-0DF3-6C05-8E2D-2AA7F14ACDBB}"/>
                </a:ext>
              </a:extLst>
            </p:cNvPr>
            <p:cNvSpPr>
              <a:spLocks/>
            </p:cNvSpPr>
            <p:nvPr/>
          </p:nvSpPr>
          <p:spPr bwMode="auto">
            <a:xfrm>
              <a:off x="9010919"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7" name="Rectangle 174">
              <a:extLst>
                <a:ext uri="{FF2B5EF4-FFF2-40B4-BE49-F238E27FC236}">
                  <a16:creationId xmlns:a16="http://schemas.microsoft.com/office/drawing/2014/main" id="{1C607F1B-856B-D181-7C01-AAB295B48542}"/>
                </a:ext>
              </a:extLst>
            </p:cNvPr>
            <p:cNvSpPr>
              <a:spLocks noChangeArrowheads="1"/>
            </p:cNvSpPr>
            <p:nvPr/>
          </p:nvSpPr>
          <p:spPr bwMode="auto">
            <a:xfrm>
              <a:off x="8801740" y="2785575"/>
              <a:ext cx="156187" cy="16091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8" name="Rectangle 175">
              <a:extLst>
                <a:ext uri="{FF2B5EF4-FFF2-40B4-BE49-F238E27FC236}">
                  <a16:creationId xmlns:a16="http://schemas.microsoft.com/office/drawing/2014/main" id="{84C624B1-3D28-87E8-3CBA-8CEA354F7773}"/>
                </a:ext>
              </a:extLst>
            </p:cNvPr>
            <p:cNvSpPr>
              <a:spLocks noChangeArrowheads="1"/>
            </p:cNvSpPr>
            <p:nvPr/>
          </p:nvSpPr>
          <p:spPr bwMode="auto">
            <a:xfrm>
              <a:off x="8811503" y="2793093"/>
              <a:ext cx="64148"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19" name="Rectangle 176">
              <a:extLst>
                <a:ext uri="{FF2B5EF4-FFF2-40B4-BE49-F238E27FC236}">
                  <a16:creationId xmlns:a16="http://schemas.microsoft.com/office/drawing/2014/main" id="{FB6DF776-2EB0-08AB-CDB1-12B267ED9D00}"/>
                </a:ext>
              </a:extLst>
            </p:cNvPr>
            <p:cNvSpPr>
              <a:spLocks noChangeArrowheads="1"/>
            </p:cNvSpPr>
            <p:nvPr/>
          </p:nvSpPr>
          <p:spPr bwMode="auto">
            <a:xfrm>
              <a:off x="8885412"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0" name="Rectangle 177">
              <a:extLst>
                <a:ext uri="{FF2B5EF4-FFF2-40B4-BE49-F238E27FC236}">
                  <a16:creationId xmlns:a16="http://schemas.microsoft.com/office/drawing/2014/main" id="{438BA302-57D7-250A-BAAA-8AA5AC0369CF}"/>
                </a:ext>
              </a:extLst>
            </p:cNvPr>
            <p:cNvSpPr>
              <a:spLocks noChangeArrowheads="1"/>
            </p:cNvSpPr>
            <p:nvPr/>
          </p:nvSpPr>
          <p:spPr bwMode="auto">
            <a:xfrm>
              <a:off x="8814292" y="2794598"/>
              <a:ext cx="58570"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1" name="Rectangle 178">
              <a:extLst>
                <a:ext uri="{FF2B5EF4-FFF2-40B4-BE49-F238E27FC236}">
                  <a16:creationId xmlns:a16="http://schemas.microsoft.com/office/drawing/2014/main" id="{CC7586DD-A663-6095-C94A-B099AA0701A9}"/>
                </a:ext>
              </a:extLst>
            </p:cNvPr>
            <p:cNvSpPr>
              <a:spLocks noChangeArrowheads="1"/>
            </p:cNvSpPr>
            <p:nvPr/>
          </p:nvSpPr>
          <p:spPr bwMode="auto">
            <a:xfrm>
              <a:off x="8888201"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2" name="Freeform 179">
              <a:extLst>
                <a:ext uri="{FF2B5EF4-FFF2-40B4-BE49-F238E27FC236}">
                  <a16:creationId xmlns:a16="http://schemas.microsoft.com/office/drawing/2014/main" id="{FFA55683-57D6-9C71-3025-107E58A7CF15}"/>
                </a:ext>
              </a:extLst>
            </p:cNvPr>
            <p:cNvSpPr>
              <a:spLocks/>
            </p:cNvSpPr>
            <p:nvPr/>
          </p:nvSpPr>
          <p:spPr bwMode="auto">
            <a:xfrm>
              <a:off x="8814292" y="2794598"/>
              <a:ext cx="27890"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3" name="Freeform 180">
              <a:extLst>
                <a:ext uri="{FF2B5EF4-FFF2-40B4-BE49-F238E27FC236}">
                  <a16:creationId xmlns:a16="http://schemas.microsoft.com/office/drawing/2014/main" id="{89C3A355-06B4-08B6-9984-B7EE7A21B647}"/>
                </a:ext>
              </a:extLst>
            </p:cNvPr>
            <p:cNvSpPr>
              <a:spLocks/>
            </p:cNvSpPr>
            <p:nvPr/>
          </p:nvSpPr>
          <p:spPr bwMode="auto">
            <a:xfrm>
              <a:off x="8888201" y="2794598"/>
              <a:ext cx="26496"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4" name="Freeform 181">
              <a:extLst>
                <a:ext uri="{FF2B5EF4-FFF2-40B4-BE49-F238E27FC236}">
                  <a16:creationId xmlns:a16="http://schemas.microsoft.com/office/drawing/2014/main" id="{534BDF2D-E860-A812-4310-4469B631175B}"/>
                </a:ext>
              </a:extLst>
            </p:cNvPr>
            <p:cNvSpPr>
              <a:spLocks/>
            </p:cNvSpPr>
            <p:nvPr/>
          </p:nvSpPr>
          <p:spPr bwMode="auto">
            <a:xfrm>
              <a:off x="8296923" y="2420142"/>
              <a:ext cx="923173" cy="935386"/>
            </a:xfrm>
            <a:custGeom>
              <a:avLst/>
              <a:gdLst>
                <a:gd name="T0" fmla="*/ 1653 w 3306"/>
                <a:gd name="T1" fmla="*/ 0 h 3113"/>
                <a:gd name="T2" fmla="*/ 0 w 3306"/>
                <a:gd name="T3" fmla="*/ 1652 h 3113"/>
                <a:gd name="T4" fmla="*/ 0 w 3306"/>
                <a:gd name="T5" fmla="*/ 1774 h 3113"/>
                <a:gd name="T6" fmla="*/ 1653 w 3306"/>
                <a:gd name="T7" fmla="*/ 122 h 3113"/>
                <a:gd name="T8" fmla="*/ 3079 w 3306"/>
                <a:gd name="T9" fmla="*/ 1546 h 3113"/>
                <a:gd name="T10" fmla="*/ 3079 w 3306"/>
                <a:gd name="T11" fmla="*/ 3113 h 3113"/>
                <a:gd name="T12" fmla="*/ 3306 w 3306"/>
                <a:gd name="T13" fmla="*/ 3113 h 3113"/>
                <a:gd name="T14" fmla="*/ 3306 w 3306"/>
                <a:gd name="T15" fmla="*/ 1652 h 3113"/>
                <a:gd name="T16" fmla="*/ 1653 w 3306"/>
                <a:gd name="T17" fmla="*/ 0 h 3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06" h="3113">
                  <a:moveTo>
                    <a:pt x="1653" y="0"/>
                  </a:moveTo>
                  <a:lnTo>
                    <a:pt x="0" y="1652"/>
                  </a:lnTo>
                  <a:lnTo>
                    <a:pt x="0" y="1774"/>
                  </a:lnTo>
                  <a:lnTo>
                    <a:pt x="1653" y="122"/>
                  </a:lnTo>
                  <a:lnTo>
                    <a:pt x="3079" y="1546"/>
                  </a:lnTo>
                  <a:lnTo>
                    <a:pt x="3079" y="3113"/>
                  </a:lnTo>
                  <a:lnTo>
                    <a:pt x="3306" y="3113"/>
                  </a:lnTo>
                  <a:lnTo>
                    <a:pt x="3306" y="1652"/>
                  </a:lnTo>
                  <a:lnTo>
                    <a:pt x="1653"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5" name="Freeform 182">
              <a:extLst>
                <a:ext uri="{FF2B5EF4-FFF2-40B4-BE49-F238E27FC236}">
                  <a16:creationId xmlns:a16="http://schemas.microsoft.com/office/drawing/2014/main" id="{DC2F416F-517F-8B11-6966-1C582607A425}"/>
                </a:ext>
              </a:extLst>
            </p:cNvPr>
            <p:cNvSpPr>
              <a:spLocks/>
            </p:cNvSpPr>
            <p:nvPr/>
          </p:nvSpPr>
          <p:spPr bwMode="auto">
            <a:xfrm>
              <a:off x="10756861" y="2785575"/>
              <a:ext cx="515973" cy="569953"/>
            </a:xfrm>
            <a:custGeom>
              <a:avLst/>
              <a:gdLst>
                <a:gd name="T0" fmla="*/ 1851 w 1851"/>
                <a:gd name="T1" fmla="*/ 1897 h 1897"/>
                <a:gd name="T2" fmla="*/ 0 w 1851"/>
                <a:gd name="T3" fmla="*/ 1897 h 1897"/>
                <a:gd name="T4" fmla="*/ 0 w 1851"/>
                <a:gd name="T5" fmla="*/ 924 h 1897"/>
                <a:gd name="T6" fmla="*/ 926 w 1851"/>
                <a:gd name="T7" fmla="*/ 0 h 1897"/>
                <a:gd name="T8" fmla="*/ 1851 w 1851"/>
                <a:gd name="T9" fmla="*/ 924 h 1897"/>
                <a:gd name="T10" fmla="*/ 1851 w 1851"/>
                <a:gd name="T11" fmla="*/ 1897 h 1897"/>
              </a:gdLst>
              <a:ahLst/>
              <a:cxnLst>
                <a:cxn ang="0">
                  <a:pos x="T0" y="T1"/>
                </a:cxn>
                <a:cxn ang="0">
                  <a:pos x="T2" y="T3"/>
                </a:cxn>
                <a:cxn ang="0">
                  <a:pos x="T4" y="T5"/>
                </a:cxn>
                <a:cxn ang="0">
                  <a:pos x="T6" y="T7"/>
                </a:cxn>
                <a:cxn ang="0">
                  <a:pos x="T8" y="T9"/>
                </a:cxn>
                <a:cxn ang="0">
                  <a:pos x="T10" y="T11"/>
                </a:cxn>
              </a:cxnLst>
              <a:rect l="0" t="0" r="r" b="b"/>
              <a:pathLst>
                <a:path w="1851" h="1897">
                  <a:moveTo>
                    <a:pt x="1851" y="1897"/>
                  </a:moveTo>
                  <a:lnTo>
                    <a:pt x="0" y="1897"/>
                  </a:lnTo>
                  <a:lnTo>
                    <a:pt x="0" y="924"/>
                  </a:lnTo>
                  <a:lnTo>
                    <a:pt x="926" y="0"/>
                  </a:lnTo>
                  <a:lnTo>
                    <a:pt x="1851" y="924"/>
                  </a:lnTo>
                  <a:lnTo>
                    <a:pt x="1851" y="18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6" name="Rectangle 183">
              <a:extLst>
                <a:ext uri="{FF2B5EF4-FFF2-40B4-BE49-F238E27FC236}">
                  <a16:creationId xmlns:a16="http://schemas.microsoft.com/office/drawing/2014/main" id="{75C6D39A-E43B-0665-6372-30BEBDB37D71}"/>
                </a:ext>
              </a:extLst>
            </p:cNvPr>
            <p:cNvSpPr>
              <a:spLocks noChangeArrowheads="1"/>
            </p:cNvSpPr>
            <p:nvPr/>
          </p:nvSpPr>
          <p:spPr bwMode="auto">
            <a:xfrm>
              <a:off x="10971617" y="3179579"/>
              <a:ext cx="83672" cy="174445"/>
            </a:xfrm>
            <a:prstGeom prst="rect">
              <a:avLst/>
            </a:prstGeom>
            <a:solidFill>
              <a:srgbClr val="CF9C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7" name="Rectangle 184">
              <a:extLst>
                <a:ext uri="{FF2B5EF4-FFF2-40B4-BE49-F238E27FC236}">
                  <a16:creationId xmlns:a16="http://schemas.microsoft.com/office/drawing/2014/main" id="{AF8DA779-9C06-1329-43F6-10C84B035256}"/>
                </a:ext>
              </a:extLst>
            </p:cNvPr>
            <p:cNvSpPr>
              <a:spLocks noChangeArrowheads="1"/>
            </p:cNvSpPr>
            <p:nvPr/>
          </p:nvSpPr>
          <p:spPr bwMode="auto">
            <a:xfrm>
              <a:off x="10977195" y="3187098"/>
              <a:ext cx="78093" cy="166926"/>
            </a:xfrm>
            <a:prstGeom prst="rect">
              <a:avLst/>
            </a:prstGeom>
            <a:solidFill>
              <a:srgbClr val="FFD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8" name="Freeform 185">
              <a:extLst>
                <a:ext uri="{FF2B5EF4-FFF2-40B4-BE49-F238E27FC236}">
                  <a16:creationId xmlns:a16="http://schemas.microsoft.com/office/drawing/2014/main" id="{44C50BBD-AF70-3611-016C-C3CCC4DB888D}"/>
                </a:ext>
              </a:extLst>
            </p:cNvPr>
            <p:cNvSpPr>
              <a:spLocks/>
            </p:cNvSpPr>
            <p:nvPr/>
          </p:nvSpPr>
          <p:spPr bwMode="auto">
            <a:xfrm>
              <a:off x="10999507" y="2752490"/>
              <a:ext cx="317951" cy="342874"/>
            </a:xfrm>
            <a:custGeom>
              <a:avLst/>
              <a:gdLst>
                <a:gd name="T0" fmla="*/ 1045 w 1138"/>
                <a:gd name="T1" fmla="*/ 1138 h 1138"/>
                <a:gd name="T2" fmla="*/ 1138 w 1138"/>
                <a:gd name="T3" fmla="*/ 1046 h 1138"/>
                <a:gd name="T4" fmla="*/ 92 w 1138"/>
                <a:gd name="T5" fmla="*/ 0 h 1138"/>
                <a:gd name="T6" fmla="*/ 0 w 1138"/>
                <a:gd name="T7" fmla="*/ 93 h 1138"/>
                <a:gd name="T8" fmla="*/ 1045 w 1138"/>
                <a:gd name="T9" fmla="*/ 1138 h 1138"/>
              </a:gdLst>
              <a:ahLst/>
              <a:cxnLst>
                <a:cxn ang="0">
                  <a:pos x="T0" y="T1"/>
                </a:cxn>
                <a:cxn ang="0">
                  <a:pos x="T2" y="T3"/>
                </a:cxn>
                <a:cxn ang="0">
                  <a:pos x="T4" y="T5"/>
                </a:cxn>
                <a:cxn ang="0">
                  <a:pos x="T6" y="T7"/>
                </a:cxn>
                <a:cxn ang="0">
                  <a:pos x="T8" y="T9"/>
                </a:cxn>
              </a:cxnLst>
              <a:rect l="0" t="0" r="r" b="b"/>
              <a:pathLst>
                <a:path w="1138" h="1138">
                  <a:moveTo>
                    <a:pt x="1045" y="1138"/>
                  </a:moveTo>
                  <a:lnTo>
                    <a:pt x="1138" y="1046"/>
                  </a:lnTo>
                  <a:lnTo>
                    <a:pt x="92" y="0"/>
                  </a:lnTo>
                  <a:lnTo>
                    <a:pt x="0" y="93"/>
                  </a:lnTo>
                  <a:lnTo>
                    <a:pt x="1045" y="1138"/>
                  </a:lnTo>
                  <a:close/>
                </a:path>
              </a:pathLst>
            </a:custGeom>
            <a:solidFill>
              <a:srgbClr val="AA05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9" name="Freeform 186">
              <a:extLst>
                <a:ext uri="{FF2B5EF4-FFF2-40B4-BE49-F238E27FC236}">
                  <a16:creationId xmlns:a16="http://schemas.microsoft.com/office/drawing/2014/main" id="{ED3E8385-6CBE-89E8-01A6-1791B27640E9}"/>
                </a:ext>
              </a:extLst>
            </p:cNvPr>
            <p:cNvSpPr>
              <a:spLocks/>
            </p:cNvSpPr>
            <p:nvPr/>
          </p:nvSpPr>
          <p:spPr bwMode="auto">
            <a:xfrm>
              <a:off x="11005085" y="2746475"/>
              <a:ext cx="317951" cy="341370"/>
            </a:xfrm>
            <a:custGeom>
              <a:avLst/>
              <a:gdLst>
                <a:gd name="T0" fmla="*/ 1047 w 1140"/>
                <a:gd name="T1" fmla="*/ 1138 h 1138"/>
                <a:gd name="T2" fmla="*/ 1140 w 1140"/>
                <a:gd name="T3" fmla="*/ 1045 h 1138"/>
                <a:gd name="T4" fmla="*/ 93 w 1140"/>
                <a:gd name="T5" fmla="*/ 0 h 1138"/>
                <a:gd name="T6" fmla="*/ 0 w 1140"/>
                <a:gd name="T7" fmla="*/ 93 h 1138"/>
                <a:gd name="T8" fmla="*/ 1047 w 1140"/>
                <a:gd name="T9" fmla="*/ 1138 h 1138"/>
              </a:gdLst>
              <a:ahLst/>
              <a:cxnLst>
                <a:cxn ang="0">
                  <a:pos x="T0" y="T1"/>
                </a:cxn>
                <a:cxn ang="0">
                  <a:pos x="T2" y="T3"/>
                </a:cxn>
                <a:cxn ang="0">
                  <a:pos x="T4" y="T5"/>
                </a:cxn>
                <a:cxn ang="0">
                  <a:pos x="T6" y="T7"/>
                </a:cxn>
                <a:cxn ang="0">
                  <a:pos x="T8" y="T9"/>
                </a:cxn>
              </a:cxnLst>
              <a:rect l="0" t="0" r="r" b="b"/>
              <a:pathLst>
                <a:path w="1140" h="1138">
                  <a:moveTo>
                    <a:pt x="1047" y="1138"/>
                  </a:moveTo>
                  <a:lnTo>
                    <a:pt x="1140" y="1045"/>
                  </a:lnTo>
                  <a:lnTo>
                    <a:pt x="93" y="0"/>
                  </a:lnTo>
                  <a:lnTo>
                    <a:pt x="0" y="93"/>
                  </a:lnTo>
                  <a:lnTo>
                    <a:pt x="1047" y="1138"/>
                  </a:lnTo>
                  <a:close/>
                </a:path>
              </a:pathLst>
            </a:custGeom>
            <a:solidFill>
              <a:srgbClr val="F064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0" name="Freeform 187">
              <a:extLst>
                <a:ext uri="{FF2B5EF4-FFF2-40B4-BE49-F238E27FC236}">
                  <a16:creationId xmlns:a16="http://schemas.microsoft.com/office/drawing/2014/main" id="{139A99A0-7B5D-C6CE-B83E-494EF41AB888}"/>
                </a:ext>
              </a:extLst>
            </p:cNvPr>
            <p:cNvSpPr>
              <a:spLocks/>
            </p:cNvSpPr>
            <p:nvPr/>
          </p:nvSpPr>
          <p:spPr bwMode="auto">
            <a:xfrm>
              <a:off x="10708053" y="2716398"/>
              <a:ext cx="344448" cy="371447"/>
            </a:xfrm>
            <a:custGeom>
              <a:avLst/>
              <a:gdLst>
                <a:gd name="T0" fmla="*/ 92 w 1234"/>
                <a:gd name="T1" fmla="*/ 1234 h 1234"/>
                <a:gd name="T2" fmla="*/ 0 w 1234"/>
                <a:gd name="T3" fmla="*/ 1141 h 1234"/>
                <a:gd name="T4" fmla="*/ 1142 w 1234"/>
                <a:gd name="T5" fmla="*/ 0 h 1234"/>
                <a:gd name="T6" fmla="*/ 1234 w 1234"/>
                <a:gd name="T7" fmla="*/ 93 h 1234"/>
                <a:gd name="T8" fmla="*/ 92 w 1234"/>
                <a:gd name="T9" fmla="*/ 1234 h 1234"/>
              </a:gdLst>
              <a:ahLst/>
              <a:cxnLst>
                <a:cxn ang="0">
                  <a:pos x="T0" y="T1"/>
                </a:cxn>
                <a:cxn ang="0">
                  <a:pos x="T2" y="T3"/>
                </a:cxn>
                <a:cxn ang="0">
                  <a:pos x="T4" y="T5"/>
                </a:cxn>
                <a:cxn ang="0">
                  <a:pos x="T6" y="T7"/>
                </a:cxn>
                <a:cxn ang="0">
                  <a:pos x="T8" y="T9"/>
                </a:cxn>
              </a:cxnLst>
              <a:rect l="0" t="0" r="r" b="b"/>
              <a:pathLst>
                <a:path w="1234" h="1234">
                  <a:moveTo>
                    <a:pt x="92" y="1234"/>
                  </a:moveTo>
                  <a:lnTo>
                    <a:pt x="0" y="1141"/>
                  </a:lnTo>
                  <a:lnTo>
                    <a:pt x="1142" y="0"/>
                  </a:lnTo>
                  <a:lnTo>
                    <a:pt x="1234" y="93"/>
                  </a:lnTo>
                  <a:lnTo>
                    <a:pt x="92" y="1234"/>
                  </a:lnTo>
                  <a:close/>
                </a:path>
              </a:pathLst>
            </a:custGeom>
            <a:solidFill>
              <a:srgbClr val="E456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1" name="Rectangle 188">
              <a:extLst>
                <a:ext uri="{FF2B5EF4-FFF2-40B4-BE49-F238E27FC236}">
                  <a16:creationId xmlns:a16="http://schemas.microsoft.com/office/drawing/2014/main" id="{95BDA514-ACF7-AAA0-57E8-2C6E256570A2}"/>
                </a:ext>
              </a:extLst>
            </p:cNvPr>
            <p:cNvSpPr>
              <a:spLocks noChangeArrowheads="1"/>
            </p:cNvSpPr>
            <p:nvPr/>
          </p:nvSpPr>
          <p:spPr bwMode="auto">
            <a:xfrm>
              <a:off x="10903286" y="3035211"/>
              <a:ext cx="86461" cy="9023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2" name="Rectangle 189">
              <a:extLst>
                <a:ext uri="{FF2B5EF4-FFF2-40B4-BE49-F238E27FC236}">
                  <a16:creationId xmlns:a16="http://schemas.microsoft.com/office/drawing/2014/main" id="{802E90B6-6FD9-F302-C93E-163F529C9C2C}"/>
                </a:ext>
              </a:extLst>
            </p:cNvPr>
            <p:cNvSpPr>
              <a:spLocks noChangeArrowheads="1"/>
            </p:cNvSpPr>
            <p:nvPr/>
          </p:nvSpPr>
          <p:spPr bwMode="auto">
            <a:xfrm>
              <a:off x="10908864"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3" name="Rectangle 190">
              <a:extLst>
                <a:ext uri="{FF2B5EF4-FFF2-40B4-BE49-F238E27FC236}">
                  <a16:creationId xmlns:a16="http://schemas.microsoft.com/office/drawing/2014/main" id="{1D8CD357-748A-2DFF-B107-DE5B8C4F6F9A}"/>
                </a:ext>
              </a:extLst>
            </p:cNvPr>
            <p:cNvSpPr>
              <a:spLocks noChangeArrowheads="1"/>
            </p:cNvSpPr>
            <p:nvPr/>
          </p:nvSpPr>
          <p:spPr bwMode="auto">
            <a:xfrm>
              <a:off x="10949305" y="3039723"/>
              <a:ext cx="36258"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4" name="Rectangle 191">
              <a:extLst>
                <a:ext uri="{FF2B5EF4-FFF2-40B4-BE49-F238E27FC236}">
                  <a16:creationId xmlns:a16="http://schemas.microsoft.com/office/drawing/2014/main" id="{F872E88C-EDAC-ED7B-8B1D-5EF32E3AB1A7}"/>
                </a:ext>
              </a:extLst>
            </p:cNvPr>
            <p:cNvSpPr>
              <a:spLocks noChangeArrowheads="1"/>
            </p:cNvSpPr>
            <p:nvPr/>
          </p:nvSpPr>
          <p:spPr bwMode="auto">
            <a:xfrm>
              <a:off x="10910258"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5" name="Rectangle 192">
              <a:extLst>
                <a:ext uri="{FF2B5EF4-FFF2-40B4-BE49-F238E27FC236}">
                  <a16:creationId xmlns:a16="http://schemas.microsoft.com/office/drawing/2014/main" id="{A8789DA8-8B88-2A1F-102F-4DF6905B3E26}"/>
                </a:ext>
              </a:extLst>
            </p:cNvPr>
            <p:cNvSpPr>
              <a:spLocks noChangeArrowheads="1"/>
            </p:cNvSpPr>
            <p:nvPr/>
          </p:nvSpPr>
          <p:spPr bwMode="auto">
            <a:xfrm>
              <a:off x="10950700" y="3039723"/>
              <a:ext cx="33468"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6" name="Freeform 193">
              <a:extLst>
                <a:ext uri="{FF2B5EF4-FFF2-40B4-BE49-F238E27FC236}">
                  <a16:creationId xmlns:a16="http://schemas.microsoft.com/office/drawing/2014/main" id="{EDEB7D19-4948-460B-BF2F-58C0B699A5C4}"/>
                </a:ext>
              </a:extLst>
            </p:cNvPr>
            <p:cNvSpPr>
              <a:spLocks/>
            </p:cNvSpPr>
            <p:nvPr/>
          </p:nvSpPr>
          <p:spPr bwMode="auto">
            <a:xfrm>
              <a:off x="10910258"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7" name="Freeform 194">
              <a:extLst>
                <a:ext uri="{FF2B5EF4-FFF2-40B4-BE49-F238E27FC236}">
                  <a16:creationId xmlns:a16="http://schemas.microsoft.com/office/drawing/2014/main" id="{9B617C31-8C83-93F7-119F-3DCAA461924C}"/>
                </a:ext>
              </a:extLst>
            </p:cNvPr>
            <p:cNvSpPr>
              <a:spLocks/>
            </p:cNvSpPr>
            <p:nvPr/>
          </p:nvSpPr>
          <p:spPr bwMode="auto">
            <a:xfrm>
              <a:off x="10950700" y="3039723"/>
              <a:ext cx="15340" cy="79703"/>
            </a:xfrm>
            <a:custGeom>
              <a:avLst/>
              <a:gdLst>
                <a:gd name="T0" fmla="*/ 0 w 55"/>
                <a:gd name="T1" fmla="*/ 0 h 264"/>
                <a:gd name="T2" fmla="*/ 55 w 55"/>
                <a:gd name="T3" fmla="*/ 0 h 264"/>
                <a:gd name="T4" fmla="*/ 0 w 55"/>
                <a:gd name="T5" fmla="*/ 264 h 264"/>
                <a:gd name="T6" fmla="*/ 0 w 55"/>
                <a:gd name="T7" fmla="*/ 0 h 264"/>
              </a:gdLst>
              <a:ahLst/>
              <a:cxnLst>
                <a:cxn ang="0">
                  <a:pos x="T0" y="T1"/>
                </a:cxn>
                <a:cxn ang="0">
                  <a:pos x="T2" y="T3"/>
                </a:cxn>
                <a:cxn ang="0">
                  <a:pos x="T4" y="T5"/>
                </a:cxn>
                <a:cxn ang="0">
                  <a:pos x="T6" y="T7"/>
                </a:cxn>
              </a:cxnLst>
              <a:rect l="0" t="0" r="r" b="b"/>
              <a:pathLst>
                <a:path w="55" h="264">
                  <a:moveTo>
                    <a:pt x="0" y="0"/>
                  </a:moveTo>
                  <a:lnTo>
                    <a:pt x="55"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8" name="Rectangle 195">
              <a:extLst>
                <a:ext uri="{FF2B5EF4-FFF2-40B4-BE49-F238E27FC236}">
                  <a16:creationId xmlns:a16="http://schemas.microsoft.com/office/drawing/2014/main" id="{06815018-3A32-1BB9-7997-5478CE54FD10}"/>
                </a:ext>
              </a:extLst>
            </p:cNvPr>
            <p:cNvSpPr>
              <a:spLocks noChangeArrowheads="1"/>
            </p:cNvSpPr>
            <p:nvPr/>
          </p:nvSpPr>
          <p:spPr bwMode="auto">
            <a:xfrm>
              <a:off x="10834954" y="3179579"/>
              <a:ext cx="86461" cy="105268"/>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9" name="Rectangle 196">
              <a:extLst>
                <a:ext uri="{FF2B5EF4-FFF2-40B4-BE49-F238E27FC236}">
                  <a16:creationId xmlns:a16="http://schemas.microsoft.com/office/drawing/2014/main" id="{8B363259-9E28-497D-F753-A8F7D8EDA937}"/>
                </a:ext>
              </a:extLst>
            </p:cNvPr>
            <p:cNvSpPr>
              <a:spLocks noChangeArrowheads="1"/>
            </p:cNvSpPr>
            <p:nvPr/>
          </p:nvSpPr>
          <p:spPr bwMode="auto">
            <a:xfrm>
              <a:off x="10840532" y="3184091"/>
              <a:ext cx="34863"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0" name="Rectangle 197">
              <a:extLst>
                <a:ext uri="{FF2B5EF4-FFF2-40B4-BE49-F238E27FC236}">
                  <a16:creationId xmlns:a16="http://schemas.microsoft.com/office/drawing/2014/main" id="{2FAAEA24-BBE9-2884-E4C3-1733A190827B}"/>
                </a:ext>
              </a:extLst>
            </p:cNvPr>
            <p:cNvSpPr>
              <a:spLocks noChangeArrowheads="1"/>
            </p:cNvSpPr>
            <p:nvPr/>
          </p:nvSpPr>
          <p:spPr bwMode="auto">
            <a:xfrm>
              <a:off x="10880974" y="3184091"/>
              <a:ext cx="36258"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1" name="Rectangle 198">
              <a:extLst>
                <a:ext uri="{FF2B5EF4-FFF2-40B4-BE49-F238E27FC236}">
                  <a16:creationId xmlns:a16="http://schemas.microsoft.com/office/drawing/2014/main" id="{72288C24-64F5-81F7-EB5F-CE3C640F4DA8}"/>
                </a:ext>
              </a:extLst>
            </p:cNvPr>
            <p:cNvSpPr>
              <a:spLocks noChangeArrowheads="1"/>
            </p:cNvSpPr>
            <p:nvPr/>
          </p:nvSpPr>
          <p:spPr bwMode="auto">
            <a:xfrm>
              <a:off x="10841927"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2" name="Rectangle 199">
              <a:extLst>
                <a:ext uri="{FF2B5EF4-FFF2-40B4-BE49-F238E27FC236}">
                  <a16:creationId xmlns:a16="http://schemas.microsoft.com/office/drawing/2014/main" id="{D24F882A-4EC5-61AD-D48D-272375CBC829}"/>
                </a:ext>
              </a:extLst>
            </p:cNvPr>
            <p:cNvSpPr>
              <a:spLocks noChangeArrowheads="1"/>
            </p:cNvSpPr>
            <p:nvPr/>
          </p:nvSpPr>
          <p:spPr bwMode="auto">
            <a:xfrm>
              <a:off x="10882368" y="3185595"/>
              <a:ext cx="33468"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3" name="Freeform 200">
              <a:extLst>
                <a:ext uri="{FF2B5EF4-FFF2-40B4-BE49-F238E27FC236}">
                  <a16:creationId xmlns:a16="http://schemas.microsoft.com/office/drawing/2014/main" id="{BE69D8CB-EBB5-D1C4-4E36-82740AEB63AC}"/>
                </a:ext>
              </a:extLst>
            </p:cNvPr>
            <p:cNvSpPr>
              <a:spLocks/>
            </p:cNvSpPr>
            <p:nvPr/>
          </p:nvSpPr>
          <p:spPr bwMode="auto">
            <a:xfrm>
              <a:off x="10841927"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4" name="Freeform 201">
              <a:extLst>
                <a:ext uri="{FF2B5EF4-FFF2-40B4-BE49-F238E27FC236}">
                  <a16:creationId xmlns:a16="http://schemas.microsoft.com/office/drawing/2014/main" id="{A7103ADC-C20F-C075-5DCD-32807DA50715}"/>
                </a:ext>
              </a:extLst>
            </p:cNvPr>
            <p:cNvSpPr>
              <a:spLocks/>
            </p:cNvSpPr>
            <p:nvPr/>
          </p:nvSpPr>
          <p:spPr bwMode="auto">
            <a:xfrm>
              <a:off x="10882368"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5" name="Rectangle 202">
              <a:extLst>
                <a:ext uri="{FF2B5EF4-FFF2-40B4-BE49-F238E27FC236}">
                  <a16:creationId xmlns:a16="http://schemas.microsoft.com/office/drawing/2014/main" id="{2A5466C7-6586-323E-9B13-E03060CE3AE1}"/>
                </a:ext>
              </a:extLst>
            </p:cNvPr>
            <p:cNvSpPr>
              <a:spLocks noChangeArrowheads="1"/>
            </p:cNvSpPr>
            <p:nvPr/>
          </p:nvSpPr>
          <p:spPr bwMode="auto">
            <a:xfrm>
              <a:off x="11108280" y="3179579"/>
              <a:ext cx="87856" cy="105268"/>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6" name="Rectangle 203">
              <a:extLst>
                <a:ext uri="{FF2B5EF4-FFF2-40B4-BE49-F238E27FC236}">
                  <a16:creationId xmlns:a16="http://schemas.microsoft.com/office/drawing/2014/main" id="{51ADB921-2753-3231-3E7F-48CAF24841C7}"/>
                </a:ext>
              </a:extLst>
            </p:cNvPr>
            <p:cNvSpPr>
              <a:spLocks noChangeArrowheads="1"/>
            </p:cNvSpPr>
            <p:nvPr/>
          </p:nvSpPr>
          <p:spPr bwMode="auto">
            <a:xfrm>
              <a:off x="11113858" y="3184091"/>
              <a:ext cx="36258"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7" name="Rectangle 204">
              <a:extLst>
                <a:ext uri="{FF2B5EF4-FFF2-40B4-BE49-F238E27FC236}">
                  <a16:creationId xmlns:a16="http://schemas.microsoft.com/office/drawing/2014/main" id="{5F0E22BB-8E6B-6A1E-2080-AAE98E5F0C08}"/>
                </a:ext>
              </a:extLst>
            </p:cNvPr>
            <p:cNvSpPr>
              <a:spLocks noChangeArrowheads="1"/>
            </p:cNvSpPr>
            <p:nvPr/>
          </p:nvSpPr>
          <p:spPr bwMode="auto">
            <a:xfrm>
              <a:off x="11154300" y="3184091"/>
              <a:ext cx="36258" cy="96246"/>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8" name="Rectangle 206">
              <a:extLst>
                <a:ext uri="{FF2B5EF4-FFF2-40B4-BE49-F238E27FC236}">
                  <a16:creationId xmlns:a16="http://schemas.microsoft.com/office/drawing/2014/main" id="{1E7BFAC1-16DB-D9F7-00D5-E5F33FB7921C}"/>
                </a:ext>
              </a:extLst>
            </p:cNvPr>
            <p:cNvSpPr>
              <a:spLocks noChangeArrowheads="1"/>
            </p:cNvSpPr>
            <p:nvPr/>
          </p:nvSpPr>
          <p:spPr bwMode="auto">
            <a:xfrm>
              <a:off x="11115253"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9" name="Rectangle 207">
              <a:extLst>
                <a:ext uri="{FF2B5EF4-FFF2-40B4-BE49-F238E27FC236}">
                  <a16:creationId xmlns:a16="http://schemas.microsoft.com/office/drawing/2014/main" id="{585B134E-E8E7-A4E0-7FB1-E927EEA17E8A}"/>
                </a:ext>
              </a:extLst>
            </p:cNvPr>
            <p:cNvSpPr>
              <a:spLocks noChangeArrowheads="1"/>
            </p:cNvSpPr>
            <p:nvPr/>
          </p:nvSpPr>
          <p:spPr bwMode="auto">
            <a:xfrm>
              <a:off x="11157089" y="3185595"/>
              <a:ext cx="32074" cy="9323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0" name="Freeform 208">
              <a:extLst>
                <a:ext uri="{FF2B5EF4-FFF2-40B4-BE49-F238E27FC236}">
                  <a16:creationId xmlns:a16="http://schemas.microsoft.com/office/drawing/2014/main" id="{7D46F9AC-5A36-0DD8-E2D4-5A518B963612}"/>
                </a:ext>
              </a:extLst>
            </p:cNvPr>
            <p:cNvSpPr>
              <a:spLocks/>
            </p:cNvSpPr>
            <p:nvPr/>
          </p:nvSpPr>
          <p:spPr bwMode="auto">
            <a:xfrm>
              <a:off x="11115253"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1" name="Freeform 209">
              <a:extLst>
                <a:ext uri="{FF2B5EF4-FFF2-40B4-BE49-F238E27FC236}">
                  <a16:creationId xmlns:a16="http://schemas.microsoft.com/office/drawing/2014/main" id="{53F3A348-504C-AD9D-A63F-9F0B2E6F6C78}"/>
                </a:ext>
              </a:extLst>
            </p:cNvPr>
            <p:cNvSpPr>
              <a:spLocks/>
            </p:cNvSpPr>
            <p:nvPr/>
          </p:nvSpPr>
          <p:spPr bwMode="auto">
            <a:xfrm>
              <a:off x="11157089" y="3185595"/>
              <a:ext cx="15340" cy="93238"/>
            </a:xfrm>
            <a:custGeom>
              <a:avLst/>
              <a:gdLst>
                <a:gd name="T0" fmla="*/ 0 w 55"/>
                <a:gd name="T1" fmla="*/ 0 h 307"/>
                <a:gd name="T2" fmla="*/ 55 w 55"/>
                <a:gd name="T3" fmla="*/ 0 h 307"/>
                <a:gd name="T4" fmla="*/ 0 w 55"/>
                <a:gd name="T5" fmla="*/ 307 h 307"/>
                <a:gd name="T6" fmla="*/ 0 w 55"/>
                <a:gd name="T7" fmla="*/ 0 h 307"/>
              </a:gdLst>
              <a:ahLst/>
              <a:cxnLst>
                <a:cxn ang="0">
                  <a:pos x="T0" y="T1"/>
                </a:cxn>
                <a:cxn ang="0">
                  <a:pos x="T2" y="T3"/>
                </a:cxn>
                <a:cxn ang="0">
                  <a:pos x="T4" y="T5"/>
                </a:cxn>
                <a:cxn ang="0">
                  <a:pos x="T6" y="T7"/>
                </a:cxn>
              </a:cxnLst>
              <a:rect l="0" t="0" r="r" b="b"/>
              <a:pathLst>
                <a:path w="55" h="307">
                  <a:moveTo>
                    <a:pt x="0" y="0"/>
                  </a:moveTo>
                  <a:lnTo>
                    <a:pt x="55" y="0"/>
                  </a:lnTo>
                  <a:lnTo>
                    <a:pt x="0" y="307"/>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2" name="Rectangle 210">
              <a:extLst>
                <a:ext uri="{FF2B5EF4-FFF2-40B4-BE49-F238E27FC236}">
                  <a16:creationId xmlns:a16="http://schemas.microsoft.com/office/drawing/2014/main" id="{DA94FC5D-D7D2-CA18-6A25-54CBFA829AC6}"/>
                </a:ext>
              </a:extLst>
            </p:cNvPr>
            <p:cNvSpPr>
              <a:spLocks noChangeArrowheads="1"/>
            </p:cNvSpPr>
            <p:nvPr/>
          </p:nvSpPr>
          <p:spPr bwMode="auto">
            <a:xfrm>
              <a:off x="11039949" y="3035211"/>
              <a:ext cx="86461" cy="9023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3" name="Rectangle 211">
              <a:extLst>
                <a:ext uri="{FF2B5EF4-FFF2-40B4-BE49-F238E27FC236}">
                  <a16:creationId xmlns:a16="http://schemas.microsoft.com/office/drawing/2014/main" id="{B34ED619-23EE-81DF-5E34-0D3922F27C8F}"/>
                </a:ext>
              </a:extLst>
            </p:cNvPr>
            <p:cNvSpPr>
              <a:spLocks noChangeArrowheads="1"/>
            </p:cNvSpPr>
            <p:nvPr/>
          </p:nvSpPr>
          <p:spPr bwMode="auto">
            <a:xfrm>
              <a:off x="11045527"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4" name="Rectangle 212">
              <a:extLst>
                <a:ext uri="{FF2B5EF4-FFF2-40B4-BE49-F238E27FC236}">
                  <a16:creationId xmlns:a16="http://schemas.microsoft.com/office/drawing/2014/main" id="{8FB492C0-991E-0720-5776-512EB70B4D75}"/>
                </a:ext>
              </a:extLst>
            </p:cNvPr>
            <p:cNvSpPr>
              <a:spLocks noChangeArrowheads="1"/>
            </p:cNvSpPr>
            <p:nvPr/>
          </p:nvSpPr>
          <p:spPr bwMode="auto">
            <a:xfrm>
              <a:off x="11085968" y="3039723"/>
              <a:ext cx="34863" cy="81207"/>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5" name="Rectangle 213">
              <a:extLst>
                <a:ext uri="{FF2B5EF4-FFF2-40B4-BE49-F238E27FC236}">
                  <a16:creationId xmlns:a16="http://schemas.microsoft.com/office/drawing/2014/main" id="{77426C9A-71B4-9192-ABB5-BE42DD3BDB38}"/>
                </a:ext>
              </a:extLst>
            </p:cNvPr>
            <p:cNvSpPr>
              <a:spLocks noChangeArrowheads="1"/>
            </p:cNvSpPr>
            <p:nvPr/>
          </p:nvSpPr>
          <p:spPr bwMode="auto">
            <a:xfrm>
              <a:off x="11046921"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6" name="Rectangle 214">
              <a:extLst>
                <a:ext uri="{FF2B5EF4-FFF2-40B4-BE49-F238E27FC236}">
                  <a16:creationId xmlns:a16="http://schemas.microsoft.com/office/drawing/2014/main" id="{BAF648BF-7DD9-C25B-7F17-0F735B52C89A}"/>
                </a:ext>
              </a:extLst>
            </p:cNvPr>
            <p:cNvSpPr>
              <a:spLocks noChangeArrowheads="1"/>
            </p:cNvSpPr>
            <p:nvPr/>
          </p:nvSpPr>
          <p:spPr bwMode="auto">
            <a:xfrm>
              <a:off x="11087363" y="3039723"/>
              <a:ext cx="32074" cy="79703"/>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7" name="Freeform 215">
              <a:extLst>
                <a:ext uri="{FF2B5EF4-FFF2-40B4-BE49-F238E27FC236}">
                  <a16:creationId xmlns:a16="http://schemas.microsoft.com/office/drawing/2014/main" id="{CA19151F-6BF6-7410-CE6A-D66E53AF5E19}"/>
                </a:ext>
              </a:extLst>
            </p:cNvPr>
            <p:cNvSpPr>
              <a:spLocks/>
            </p:cNvSpPr>
            <p:nvPr/>
          </p:nvSpPr>
          <p:spPr bwMode="auto">
            <a:xfrm>
              <a:off x="11046921" y="3039723"/>
              <a:ext cx="15340" cy="79703"/>
            </a:xfrm>
            <a:custGeom>
              <a:avLst/>
              <a:gdLst>
                <a:gd name="T0" fmla="*/ 0 w 56"/>
                <a:gd name="T1" fmla="*/ 0 h 264"/>
                <a:gd name="T2" fmla="*/ 56 w 56"/>
                <a:gd name="T3" fmla="*/ 0 h 264"/>
                <a:gd name="T4" fmla="*/ 0 w 56"/>
                <a:gd name="T5" fmla="*/ 264 h 264"/>
                <a:gd name="T6" fmla="*/ 0 w 56"/>
                <a:gd name="T7" fmla="*/ 0 h 264"/>
              </a:gdLst>
              <a:ahLst/>
              <a:cxnLst>
                <a:cxn ang="0">
                  <a:pos x="T0" y="T1"/>
                </a:cxn>
                <a:cxn ang="0">
                  <a:pos x="T2" y="T3"/>
                </a:cxn>
                <a:cxn ang="0">
                  <a:pos x="T4" y="T5"/>
                </a:cxn>
                <a:cxn ang="0">
                  <a:pos x="T6" y="T7"/>
                </a:cxn>
              </a:cxnLst>
              <a:rect l="0" t="0" r="r" b="b"/>
              <a:pathLst>
                <a:path w="56" h="264">
                  <a:moveTo>
                    <a:pt x="0" y="0"/>
                  </a:moveTo>
                  <a:lnTo>
                    <a:pt x="56"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8" name="Freeform 216">
              <a:extLst>
                <a:ext uri="{FF2B5EF4-FFF2-40B4-BE49-F238E27FC236}">
                  <a16:creationId xmlns:a16="http://schemas.microsoft.com/office/drawing/2014/main" id="{77DCCD7E-EFE4-5AA0-1E7F-6D4544CAAF6B}"/>
                </a:ext>
              </a:extLst>
            </p:cNvPr>
            <p:cNvSpPr>
              <a:spLocks/>
            </p:cNvSpPr>
            <p:nvPr/>
          </p:nvSpPr>
          <p:spPr bwMode="auto">
            <a:xfrm>
              <a:off x="11087363" y="3039723"/>
              <a:ext cx="15340" cy="79703"/>
            </a:xfrm>
            <a:custGeom>
              <a:avLst/>
              <a:gdLst>
                <a:gd name="T0" fmla="*/ 0 w 56"/>
                <a:gd name="T1" fmla="*/ 0 h 264"/>
                <a:gd name="T2" fmla="*/ 56 w 56"/>
                <a:gd name="T3" fmla="*/ 0 h 264"/>
                <a:gd name="T4" fmla="*/ 0 w 56"/>
                <a:gd name="T5" fmla="*/ 264 h 264"/>
                <a:gd name="T6" fmla="*/ 0 w 56"/>
                <a:gd name="T7" fmla="*/ 0 h 264"/>
              </a:gdLst>
              <a:ahLst/>
              <a:cxnLst>
                <a:cxn ang="0">
                  <a:pos x="T0" y="T1"/>
                </a:cxn>
                <a:cxn ang="0">
                  <a:pos x="T2" y="T3"/>
                </a:cxn>
                <a:cxn ang="0">
                  <a:pos x="T4" y="T5"/>
                </a:cxn>
                <a:cxn ang="0">
                  <a:pos x="T6" y="T7"/>
                </a:cxn>
              </a:cxnLst>
              <a:rect l="0" t="0" r="r" b="b"/>
              <a:pathLst>
                <a:path w="56" h="264">
                  <a:moveTo>
                    <a:pt x="0" y="0"/>
                  </a:moveTo>
                  <a:lnTo>
                    <a:pt x="56" y="0"/>
                  </a:lnTo>
                  <a:lnTo>
                    <a:pt x="0" y="264"/>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9" name="Freeform 217">
              <a:extLst>
                <a:ext uri="{FF2B5EF4-FFF2-40B4-BE49-F238E27FC236}">
                  <a16:creationId xmlns:a16="http://schemas.microsoft.com/office/drawing/2014/main" id="{019BAEC4-488B-36DA-F91B-6A20532A487F}"/>
                </a:ext>
              </a:extLst>
            </p:cNvPr>
            <p:cNvSpPr>
              <a:spLocks/>
            </p:cNvSpPr>
            <p:nvPr/>
          </p:nvSpPr>
          <p:spPr bwMode="auto">
            <a:xfrm>
              <a:off x="10756861" y="2785575"/>
              <a:ext cx="515973" cy="569953"/>
            </a:xfrm>
            <a:custGeom>
              <a:avLst/>
              <a:gdLst>
                <a:gd name="T0" fmla="*/ 926 w 1851"/>
                <a:gd name="T1" fmla="*/ 0 h 1898"/>
                <a:gd name="T2" fmla="*/ 0 w 1851"/>
                <a:gd name="T3" fmla="*/ 925 h 1898"/>
                <a:gd name="T4" fmla="*/ 0 w 1851"/>
                <a:gd name="T5" fmla="*/ 993 h 1898"/>
                <a:gd name="T6" fmla="*/ 926 w 1851"/>
                <a:gd name="T7" fmla="*/ 69 h 1898"/>
                <a:gd name="T8" fmla="*/ 1724 w 1851"/>
                <a:gd name="T9" fmla="*/ 866 h 1898"/>
                <a:gd name="T10" fmla="*/ 1724 w 1851"/>
                <a:gd name="T11" fmla="*/ 1898 h 1898"/>
                <a:gd name="T12" fmla="*/ 1851 w 1851"/>
                <a:gd name="T13" fmla="*/ 1898 h 1898"/>
                <a:gd name="T14" fmla="*/ 1851 w 1851"/>
                <a:gd name="T15" fmla="*/ 925 h 1898"/>
                <a:gd name="T16" fmla="*/ 926 w 1851"/>
                <a:gd name="T17" fmla="*/ 0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1" h="1898">
                  <a:moveTo>
                    <a:pt x="926" y="0"/>
                  </a:moveTo>
                  <a:lnTo>
                    <a:pt x="0" y="925"/>
                  </a:lnTo>
                  <a:lnTo>
                    <a:pt x="0" y="993"/>
                  </a:lnTo>
                  <a:lnTo>
                    <a:pt x="926" y="69"/>
                  </a:lnTo>
                  <a:lnTo>
                    <a:pt x="1724" y="866"/>
                  </a:lnTo>
                  <a:lnTo>
                    <a:pt x="1724" y="1898"/>
                  </a:lnTo>
                  <a:lnTo>
                    <a:pt x="1851" y="1898"/>
                  </a:lnTo>
                  <a:lnTo>
                    <a:pt x="1851" y="925"/>
                  </a:lnTo>
                  <a:lnTo>
                    <a:pt x="926"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0" name="Freeform 218">
              <a:extLst>
                <a:ext uri="{FF2B5EF4-FFF2-40B4-BE49-F238E27FC236}">
                  <a16:creationId xmlns:a16="http://schemas.microsoft.com/office/drawing/2014/main" id="{45A5246B-5DA1-F53C-DB8B-F227FC6FEC93}"/>
                </a:ext>
              </a:extLst>
            </p:cNvPr>
            <p:cNvSpPr>
              <a:spLocks/>
            </p:cNvSpPr>
            <p:nvPr/>
          </p:nvSpPr>
          <p:spPr bwMode="auto">
            <a:xfrm>
              <a:off x="9828109" y="2420142"/>
              <a:ext cx="921780" cy="935386"/>
            </a:xfrm>
            <a:custGeom>
              <a:avLst/>
              <a:gdLst>
                <a:gd name="T0" fmla="*/ 3307 w 3307"/>
                <a:gd name="T1" fmla="*/ 3112 h 3112"/>
                <a:gd name="T2" fmla="*/ 0 w 3307"/>
                <a:gd name="T3" fmla="*/ 3112 h 3112"/>
                <a:gd name="T4" fmla="*/ 0 w 3307"/>
                <a:gd name="T5" fmla="*/ 1650 h 3112"/>
                <a:gd name="T6" fmla="*/ 1654 w 3307"/>
                <a:gd name="T7" fmla="*/ 0 h 3112"/>
                <a:gd name="T8" fmla="*/ 3307 w 3307"/>
                <a:gd name="T9" fmla="*/ 1650 h 3112"/>
                <a:gd name="T10" fmla="*/ 3307 w 3307"/>
                <a:gd name="T11" fmla="*/ 3112 h 3112"/>
              </a:gdLst>
              <a:ahLst/>
              <a:cxnLst>
                <a:cxn ang="0">
                  <a:pos x="T0" y="T1"/>
                </a:cxn>
                <a:cxn ang="0">
                  <a:pos x="T2" y="T3"/>
                </a:cxn>
                <a:cxn ang="0">
                  <a:pos x="T4" y="T5"/>
                </a:cxn>
                <a:cxn ang="0">
                  <a:pos x="T6" y="T7"/>
                </a:cxn>
                <a:cxn ang="0">
                  <a:pos x="T8" y="T9"/>
                </a:cxn>
                <a:cxn ang="0">
                  <a:pos x="T10" y="T11"/>
                </a:cxn>
              </a:cxnLst>
              <a:rect l="0" t="0" r="r" b="b"/>
              <a:pathLst>
                <a:path w="3307" h="3112">
                  <a:moveTo>
                    <a:pt x="3307" y="3112"/>
                  </a:moveTo>
                  <a:lnTo>
                    <a:pt x="0" y="3112"/>
                  </a:lnTo>
                  <a:lnTo>
                    <a:pt x="0" y="1650"/>
                  </a:lnTo>
                  <a:lnTo>
                    <a:pt x="1654" y="0"/>
                  </a:lnTo>
                  <a:lnTo>
                    <a:pt x="3307" y="1650"/>
                  </a:lnTo>
                  <a:lnTo>
                    <a:pt x="3307" y="31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1" name="Rectangle 219">
              <a:extLst>
                <a:ext uri="{FF2B5EF4-FFF2-40B4-BE49-F238E27FC236}">
                  <a16:creationId xmlns:a16="http://schemas.microsoft.com/office/drawing/2014/main" id="{E23BC40F-7C50-B8FC-2445-34CF0FF6C184}"/>
                </a:ext>
              </a:extLst>
            </p:cNvPr>
            <p:cNvSpPr>
              <a:spLocks noChangeArrowheads="1"/>
            </p:cNvSpPr>
            <p:nvPr/>
          </p:nvSpPr>
          <p:spPr bwMode="auto">
            <a:xfrm>
              <a:off x="10210208" y="3044235"/>
              <a:ext cx="150609" cy="311294"/>
            </a:xfrm>
            <a:prstGeom prst="rect">
              <a:avLst/>
            </a:prstGeom>
            <a:solidFill>
              <a:srgbClr val="CF9C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2" name="Rectangle 220">
              <a:extLst>
                <a:ext uri="{FF2B5EF4-FFF2-40B4-BE49-F238E27FC236}">
                  <a16:creationId xmlns:a16="http://schemas.microsoft.com/office/drawing/2014/main" id="{7F2AD426-2AAB-4CDD-FB94-B5DFE7A96E66}"/>
                </a:ext>
              </a:extLst>
            </p:cNvPr>
            <p:cNvSpPr>
              <a:spLocks noChangeArrowheads="1"/>
            </p:cNvSpPr>
            <p:nvPr/>
          </p:nvSpPr>
          <p:spPr bwMode="auto">
            <a:xfrm>
              <a:off x="10221364" y="3056266"/>
              <a:ext cx="138058" cy="299263"/>
            </a:xfrm>
            <a:prstGeom prst="rect">
              <a:avLst/>
            </a:prstGeom>
            <a:solidFill>
              <a:srgbClr val="FFD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3" name="Freeform 221">
              <a:extLst>
                <a:ext uri="{FF2B5EF4-FFF2-40B4-BE49-F238E27FC236}">
                  <a16:creationId xmlns:a16="http://schemas.microsoft.com/office/drawing/2014/main" id="{DFD7B1DE-B884-9A38-B04F-E539E1539B7C}"/>
                </a:ext>
              </a:extLst>
            </p:cNvPr>
            <p:cNvSpPr>
              <a:spLocks/>
            </p:cNvSpPr>
            <p:nvPr/>
          </p:nvSpPr>
          <p:spPr bwMode="auto">
            <a:xfrm>
              <a:off x="10261806" y="2361493"/>
              <a:ext cx="567571" cy="612061"/>
            </a:xfrm>
            <a:custGeom>
              <a:avLst/>
              <a:gdLst>
                <a:gd name="T0" fmla="*/ 1869 w 2035"/>
                <a:gd name="T1" fmla="*/ 2033 h 2033"/>
                <a:gd name="T2" fmla="*/ 2035 w 2035"/>
                <a:gd name="T3" fmla="*/ 1868 h 2033"/>
                <a:gd name="T4" fmla="*/ 166 w 2035"/>
                <a:gd name="T5" fmla="*/ 0 h 2033"/>
                <a:gd name="T6" fmla="*/ 0 w 2035"/>
                <a:gd name="T7" fmla="*/ 165 h 2033"/>
                <a:gd name="T8" fmla="*/ 1869 w 2035"/>
                <a:gd name="T9" fmla="*/ 2033 h 2033"/>
              </a:gdLst>
              <a:ahLst/>
              <a:cxnLst>
                <a:cxn ang="0">
                  <a:pos x="T0" y="T1"/>
                </a:cxn>
                <a:cxn ang="0">
                  <a:pos x="T2" y="T3"/>
                </a:cxn>
                <a:cxn ang="0">
                  <a:pos x="T4" y="T5"/>
                </a:cxn>
                <a:cxn ang="0">
                  <a:pos x="T6" y="T7"/>
                </a:cxn>
                <a:cxn ang="0">
                  <a:pos x="T8" y="T9"/>
                </a:cxn>
              </a:cxnLst>
              <a:rect l="0" t="0" r="r" b="b"/>
              <a:pathLst>
                <a:path w="2035" h="2033">
                  <a:moveTo>
                    <a:pt x="1869" y="2033"/>
                  </a:moveTo>
                  <a:lnTo>
                    <a:pt x="2035" y="1868"/>
                  </a:lnTo>
                  <a:lnTo>
                    <a:pt x="166" y="0"/>
                  </a:lnTo>
                  <a:lnTo>
                    <a:pt x="0" y="165"/>
                  </a:lnTo>
                  <a:lnTo>
                    <a:pt x="1869" y="2033"/>
                  </a:lnTo>
                  <a:close/>
                </a:path>
              </a:pathLst>
            </a:custGeom>
            <a:solidFill>
              <a:srgbClr val="AA05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4" name="Freeform 222">
              <a:extLst>
                <a:ext uri="{FF2B5EF4-FFF2-40B4-BE49-F238E27FC236}">
                  <a16:creationId xmlns:a16="http://schemas.microsoft.com/office/drawing/2014/main" id="{B65FB941-2CC9-872A-5BBB-4763C612FF73}"/>
                </a:ext>
              </a:extLst>
            </p:cNvPr>
            <p:cNvSpPr>
              <a:spLocks/>
            </p:cNvSpPr>
            <p:nvPr/>
          </p:nvSpPr>
          <p:spPr bwMode="auto">
            <a:xfrm>
              <a:off x="10271567" y="2349463"/>
              <a:ext cx="566176" cy="612061"/>
            </a:xfrm>
            <a:custGeom>
              <a:avLst/>
              <a:gdLst>
                <a:gd name="T0" fmla="*/ 1868 w 2034"/>
                <a:gd name="T1" fmla="*/ 2033 h 2033"/>
                <a:gd name="T2" fmla="*/ 2034 w 2034"/>
                <a:gd name="T3" fmla="*/ 1868 h 2033"/>
                <a:gd name="T4" fmla="*/ 165 w 2034"/>
                <a:gd name="T5" fmla="*/ 0 h 2033"/>
                <a:gd name="T6" fmla="*/ 0 w 2034"/>
                <a:gd name="T7" fmla="*/ 166 h 2033"/>
                <a:gd name="T8" fmla="*/ 1868 w 2034"/>
                <a:gd name="T9" fmla="*/ 2033 h 2033"/>
              </a:gdLst>
              <a:ahLst/>
              <a:cxnLst>
                <a:cxn ang="0">
                  <a:pos x="T0" y="T1"/>
                </a:cxn>
                <a:cxn ang="0">
                  <a:pos x="T2" y="T3"/>
                </a:cxn>
                <a:cxn ang="0">
                  <a:pos x="T4" y="T5"/>
                </a:cxn>
                <a:cxn ang="0">
                  <a:pos x="T6" y="T7"/>
                </a:cxn>
                <a:cxn ang="0">
                  <a:pos x="T8" y="T9"/>
                </a:cxn>
              </a:cxnLst>
              <a:rect l="0" t="0" r="r" b="b"/>
              <a:pathLst>
                <a:path w="2034" h="2033">
                  <a:moveTo>
                    <a:pt x="1868" y="2033"/>
                  </a:moveTo>
                  <a:lnTo>
                    <a:pt x="2034" y="1868"/>
                  </a:lnTo>
                  <a:lnTo>
                    <a:pt x="165" y="0"/>
                  </a:lnTo>
                  <a:lnTo>
                    <a:pt x="0" y="166"/>
                  </a:lnTo>
                  <a:lnTo>
                    <a:pt x="1868" y="2033"/>
                  </a:lnTo>
                  <a:close/>
                </a:path>
              </a:pathLst>
            </a:custGeom>
            <a:solidFill>
              <a:srgbClr val="F064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5" name="Freeform 223">
              <a:extLst>
                <a:ext uri="{FF2B5EF4-FFF2-40B4-BE49-F238E27FC236}">
                  <a16:creationId xmlns:a16="http://schemas.microsoft.com/office/drawing/2014/main" id="{7D6AF7A5-F60B-D2E9-6A50-7BECF0BAD759}"/>
                </a:ext>
              </a:extLst>
            </p:cNvPr>
            <p:cNvSpPr>
              <a:spLocks/>
            </p:cNvSpPr>
            <p:nvPr/>
          </p:nvSpPr>
          <p:spPr bwMode="auto">
            <a:xfrm>
              <a:off x="9738859" y="2298332"/>
              <a:ext cx="616379" cy="663191"/>
            </a:xfrm>
            <a:custGeom>
              <a:avLst/>
              <a:gdLst>
                <a:gd name="T0" fmla="*/ 166 w 2207"/>
                <a:gd name="T1" fmla="*/ 2205 h 2205"/>
                <a:gd name="T2" fmla="*/ 0 w 2207"/>
                <a:gd name="T3" fmla="*/ 2040 h 2205"/>
                <a:gd name="T4" fmla="*/ 2041 w 2207"/>
                <a:gd name="T5" fmla="*/ 0 h 2205"/>
                <a:gd name="T6" fmla="*/ 2207 w 2207"/>
                <a:gd name="T7" fmla="*/ 165 h 2205"/>
                <a:gd name="T8" fmla="*/ 166 w 2207"/>
                <a:gd name="T9" fmla="*/ 2205 h 2205"/>
              </a:gdLst>
              <a:ahLst/>
              <a:cxnLst>
                <a:cxn ang="0">
                  <a:pos x="T0" y="T1"/>
                </a:cxn>
                <a:cxn ang="0">
                  <a:pos x="T2" y="T3"/>
                </a:cxn>
                <a:cxn ang="0">
                  <a:pos x="T4" y="T5"/>
                </a:cxn>
                <a:cxn ang="0">
                  <a:pos x="T6" y="T7"/>
                </a:cxn>
                <a:cxn ang="0">
                  <a:pos x="T8" y="T9"/>
                </a:cxn>
              </a:cxnLst>
              <a:rect l="0" t="0" r="r" b="b"/>
              <a:pathLst>
                <a:path w="2207" h="2205">
                  <a:moveTo>
                    <a:pt x="166" y="2205"/>
                  </a:moveTo>
                  <a:lnTo>
                    <a:pt x="0" y="2040"/>
                  </a:lnTo>
                  <a:lnTo>
                    <a:pt x="2041" y="0"/>
                  </a:lnTo>
                  <a:lnTo>
                    <a:pt x="2207" y="165"/>
                  </a:lnTo>
                  <a:lnTo>
                    <a:pt x="166" y="2205"/>
                  </a:lnTo>
                  <a:close/>
                </a:path>
              </a:pathLst>
            </a:custGeom>
            <a:solidFill>
              <a:srgbClr val="E456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6" name="Rectangle 224">
              <a:extLst>
                <a:ext uri="{FF2B5EF4-FFF2-40B4-BE49-F238E27FC236}">
                  <a16:creationId xmlns:a16="http://schemas.microsoft.com/office/drawing/2014/main" id="{2A85E310-C1CE-6501-8B29-C21483FE8C85}"/>
                </a:ext>
              </a:extLst>
            </p:cNvPr>
            <p:cNvSpPr>
              <a:spLocks noChangeArrowheads="1"/>
            </p:cNvSpPr>
            <p:nvPr/>
          </p:nvSpPr>
          <p:spPr bwMode="auto">
            <a:xfrm>
              <a:off x="10088885" y="2785575"/>
              <a:ext cx="156187" cy="16091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7" name="Rectangle 225">
              <a:extLst>
                <a:ext uri="{FF2B5EF4-FFF2-40B4-BE49-F238E27FC236}">
                  <a16:creationId xmlns:a16="http://schemas.microsoft.com/office/drawing/2014/main" id="{0A8D5F12-DFED-C34A-6AFF-2A52AABB7617}"/>
                </a:ext>
              </a:extLst>
            </p:cNvPr>
            <p:cNvSpPr>
              <a:spLocks noChangeArrowheads="1"/>
            </p:cNvSpPr>
            <p:nvPr/>
          </p:nvSpPr>
          <p:spPr bwMode="auto">
            <a:xfrm>
              <a:off x="10098646"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8" name="Rectangle 226">
              <a:extLst>
                <a:ext uri="{FF2B5EF4-FFF2-40B4-BE49-F238E27FC236}">
                  <a16:creationId xmlns:a16="http://schemas.microsoft.com/office/drawing/2014/main" id="{1F0B43E3-6273-4399-61B1-995003F0D297}"/>
                </a:ext>
              </a:extLst>
            </p:cNvPr>
            <p:cNvSpPr>
              <a:spLocks noChangeArrowheads="1"/>
            </p:cNvSpPr>
            <p:nvPr/>
          </p:nvSpPr>
          <p:spPr bwMode="auto">
            <a:xfrm>
              <a:off x="10171161"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9" name="Rectangle 227">
              <a:extLst>
                <a:ext uri="{FF2B5EF4-FFF2-40B4-BE49-F238E27FC236}">
                  <a16:creationId xmlns:a16="http://schemas.microsoft.com/office/drawing/2014/main" id="{0502085B-2D2D-9762-85E3-380149DD2A2B}"/>
                </a:ext>
              </a:extLst>
            </p:cNvPr>
            <p:cNvSpPr>
              <a:spLocks noChangeArrowheads="1"/>
            </p:cNvSpPr>
            <p:nvPr/>
          </p:nvSpPr>
          <p:spPr bwMode="auto">
            <a:xfrm>
              <a:off x="10101435"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0" name="Rectangle 228">
              <a:extLst>
                <a:ext uri="{FF2B5EF4-FFF2-40B4-BE49-F238E27FC236}">
                  <a16:creationId xmlns:a16="http://schemas.microsoft.com/office/drawing/2014/main" id="{12BAE99C-7D6F-5EE6-8905-8A52A271692E}"/>
                </a:ext>
              </a:extLst>
            </p:cNvPr>
            <p:cNvSpPr>
              <a:spLocks noChangeArrowheads="1"/>
            </p:cNvSpPr>
            <p:nvPr/>
          </p:nvSpPr>
          <p:spPr bwMode="auto">
            <a:xfrm>
              <a:off x="10173950" y="2794598"/>
              <a:ext cx="58570"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1" name="Freeform 229">
              <a:extLst>
                <a:ext uri="{FF2B5EF4-FFF2-40B4-BE49-F238E27FC236}">
                  <a16:creationId xmlns:a16="http://schemas.microsoft.com/office/drawing/2014/main" id="{125B905C-95D6-C0FB-69FB-AE436C1C26CD}"/>
                </a:ext>
              </a:extLst>
            </p:cNvPr>
            <p:cNvSpPr>
              <a:spLocks/>
            </p:cNvSpPr>
            <p:nvPr/>
          </p:nvSpPr>
          <p:spPr bwMode="auto">
            <a:xfrm>
              <a:off x="10101435" y="2794598"/>
              <a:ext cx="26496"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2" name="Freeform 230">
              <a:extLst>
                <a:ext uri="{FF2B5EF4-FFF2-40B4-BE49-F238E27FC236}">
                  <a16:creationId xmlns:a16="http://schemas.microsoft.com/office/drawing/2014/main" id="{902A12B1-D06B-EF7C-9F3D-1AD161FD7B94}"/>
                </a:ext>
              </a:extLst>
            </p:cNvPr>
            <p:cNvSpPr>
              <a:spLocks/>
            </p:cNvSpPr>
            <p:nvPr/>
          </p:nvSpPr>
          <p:spPr bwMode="auto">
            <a:xfrm>
              <a:off x="10173950" y="2794598"/>
              <a:ext cx="27890"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3" name="Rectangle 231">
              <a:extLst>
                <a:ext uri="{FF2B5EF4-FFF2-40B4-BE49-F238E27FC236}">
                  <a16:creationId xmlns:a16="http://schemas.microsoft.com/office/drawing/2014/main" id="{063DCFFE-A10D-7E83-83C2-99448E950ED8}"/>
                </a:ext>
              </a:extLst>
            </p:cNvPr>
            <p:cNvSpPr>
              <a:spLocks noChangeArrowheads="1"/>
            </p:cNvSpPr>
            <p:nvPr/>
          </p:nvSpPr>
          <p:spPr bwMode="auto">
            <a:xfrm>
              <a:off x="9966167" y="3044235"/>
              <a:ext cx="156187" cy="187979"/>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4" name="Rectangle 232">
              <a:extLst>
                <a:ext uri="{FF2B5EF4-FFF2-40B4-BE49-F238E27FC236}">
                  <a16:creationId xmlns:a16="http://schemas.microsoft.com/office/drawing/2014/main" id="{51684871-E8B5-2CC8-3792-EEFC83092359}"/>
                </a:ext>
              </a:extLst>
            </p:cNvPr>
            <p:cNvSpPr>
              <a:spLocks noChangeArrowheads="1"/>
            </p:cNvSpPr>
            <p:nvPr/>
          </p:nvSpPr>
          <p:spPr bwMode="auto">
            <a:xfrm>
              <a:off x="9975928" y="3053258"/>
              <a:ext cx="64148"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5" name="Rectangle 233">
              <a:extLst>
                <a:ext uri="{FF2B5EF4-FFF2-40B4-BE49-F238E27FC236}">
                  <a16:creationId xmlns:a16="http://schemas.microsoft.com/office/drawing/2014/main" id="{081C5BDE-1BD0-AF36-6022-54E8A8D92C45}"/>
                </a:ext>
              </a:extLst>
            </p:cNvPr>
            <p:cNvSpPr>
              <a:spLocks noChangeArrowheads="1"/>
            </p:cNvSpPr>
            <p:nvPr/>
          </p:nvSpPr>
          <p:spPr bwMode="auto">
            <a:xfrm>
              <a:off x="10048444" y="3053258"/>
              <a:ext cx="64148"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6" name="Rectangle 234">
              <a:extLst>
                <a:ext uri="{FF2B5EF4-FFF2-40B4-BE49-F238E27FC236}">
                  <a16:creationId xmlns:a16="http://schemas.microsoft.com/office/drawing/2014/main" id="{096B09F4-82F2-374F-637A-688EE7B52934}"/>
                </a:ext>
              </a:extLst>
            </p:cNvPr>
            <p:cNvSpPr>
              <a:spLocks noChangeArrowheads="1"/>
            </p:cNvSpPr>
            <p:nvPr/>
          </p:nvSpPr>
          <p:spPr bwMode="auto">
            <a:xfrm>
              <a:off x="9978718"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7" name="Rectangle 235">
              <a:extLst>
                <a:ext uri="{FF2B5EF4-FFF2-40B4-BE49-F238E27FC236}">
                  <a16:creationId xmlns:a16="http://schemas.microsoft.com/office/drawing/2014/main" id="{4448B48C-BB3A-A447-DD64-20EF8DADBF6D}"/>
                </a:ext>
              </a:extLst>
            </p:cNvPr>
            <p:cNvSpPr>
              <a:spLocks noChangeArrowheads="1"/>
            </p:cNvSpPr>
            <p:nvPr/>
          </p:nvSpPr>
          <p:spPr bwMode="auto">
            <a:xfrm>
              <a:off x="10052628"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8" name="Freeform 236">
              <a:extLst>
                <a:ext uri="{FF2B5EF4-FFF2-40B4-BE49-F238E27FC236}">
                  <a16:creationId xmlns:a16="http://schemas.microsoft.com/office/drawing/2014/main" id="{C9AD6C4E-AAA6-7509-EBAB-7F0DA7A8D31B}"/>
                </a:ext>
              </a:extLst>
            </p:cNvPr>
            <p:cNvSpPr>
              <a:spLocks/>
            </p:cNvSpPr>
            <p:nvPr/>
          </p:nvSpPr>
          <p:spPr bwMode="auto">
            <a:xfrm>
              <a:off x="9978718"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9" name="Freeform 237">
              <a:extLst>
                <a:ext uri="{FF2B5EF4-FFF2-40B4-BE49-F238E27FC236}">
                  <a16:creationId xmlns:a16="http://schemas.microsoft.com/office/drawing/2014/main" id="{3C771050-1CA9-9320-C3D3-94B62DEF2664}"/>
                </a:ext>
              </a:extLst>
            </p:cNvPr>
            <p:cNvSpPr>
              <a:spLocks/>
            </p:cNvSpPr>
            <p:nvPr/>
          </p:nvSpPr>
          <p:spPr bwMode="auto">
            <a:xfrm>
              <a:off x="10052628" y="3056266"/>
              <a:ext cx="26496" cy="163918"/>
            </a:xfrm>
            <a:custGeom>
              <a:avLst/>
              <a:gdLst>
                <a:gd name="T0" fmla="*/ 0 w 99"/>
                <a:gd name="T1" fmla="*/ 0 h 549"/>
                <a:gd name="T2" fmla="*/ 99 w 99"/>
                <a:gd name="T3" fmla="*/ 0 h 549"/>
                <a:gd name="T4" fmla="*/ 0 w 99"/>
                <a:gd name="T5" fmla="*/ 549 h 549"/>
                <a:gd name="T6" fmla="*/ 0 w 99"/>
                <a:gd name="T7" fmla="*/ 0 h 549"/>
              </a:gdLst>
              <a:ahLst/>
              <a:cxnLst>
                <a:cxn ang="0">
                  <a:pos x="T0" y="T1"/>
                </a:cxn>
                <a:cxn ang="0">
                  <a:pos x="T2" y="T3"/>
                </a:cxn>
                <a:cxn ang="0">
                  <a:pos x="T4" y="T5"/>
                </a:cxn>
                <a:cxn ang="0">
                  <a:pos x="T6" y="T7"/>
                </a:cxn>
              </a:cxnLst>
              <a:rect l="0" t="0" r="r" b="b"/>
              <a:pathLst>
                <a:path w="99" h="549">
                  <a:moveTo>
                    <a:pt x="0" y="0"/>
                  </a:moveTo>
                  <a:lnTo>
                    <a:pt x="99"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0" name="Rectangle 238">
              <a:extLst>
                <a:ext uri="{FF2B5EF4-FFF2-40B4-BE49-F238E27FC236}">
                  <a16:creationId xmlns:a16="http://schemas.microsoft.com/office/drawing/2014/main" id="{4F5B0635-F8B2-6D13-8FED-9F036D167758}"/>
                </a:ext>
              </a:extLst>
            </p:cNvPr>
            <p:cNvSpPr>
              <a:spLocks noChangeArrowheads="1"/>
            </p:cNvSpPr>
            <p:nvPr/>
          </p:nvSpPr>
          <p:spPr bwMode="auto">
            <a:xfrm>
              <a:off x="10455644" y="3044235"/>
              <a:ext cx="154792" cy="187979"/>
            </a:xfrm>
            <a:prstGeom prst="rect">
              <a:avLst/>
            </a:prstGeom>
            <a:solidFill>
              <a:srgbClr val="E6E4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1" name="Rectangle 239">
              <a:extLst>
                <a:ext uri="{FF2B5EF4-FFF2-40B4-BE49-F238E27FC236}">
                  <a16:creationId xmlns:a16="http://schemas.microsoft.com/office/drawing/2014/main" id="{4E80B76C-6C91-44CD-C022-5F40323D7AA0}"/>
                </a:ext>
              </a:extLst>
            </p:cNvPr>
            <p:cNvSpPr>
              <a:spLocks noChangeArrowheads="1"/>
            </p:cNvSpPr>
            <p:nvPr/>
          </p:nvSpPr>
          <p:spPr bwMode="auto">
            <a:xfrm>
              <a:off x="10465406" y="3053258"/>
              <a:ext cx="62754"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2" name="Rectangle 240">
              <a:extLst>
                <a:ext uri="{FF2B5EF4-FFF2-40B4-BE49-F238E27FC236}">
                  <a16:creationId xmlns:a16="http://schemas.microsoft.com/office/drawing/2014/main" id="{0FCBCE55-6A92-EEDB-F687-78669F8E2445}"/>
                </a:ext>
              </a:extLst>
            </p:cNvPr>
            <p:cNvSpPr>
              <a:spLocks noChangeArrowheads="1"/>
            </p:cNvSpPr>
            <p:nvPr/>
          </p:nvSpPr>
          <p:spPr bwMode="auto">
            <a:xfrm>
              <a:off x="10537921" y="3053258"/>
              <a:ext cx="64148" cy="169933"/>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3" name="Rectangle 241">
              <a:extLst>
                <a:ext uri="{FF2B5EF4-FFF2-40B4-BE49-F238E27FC236}">
                  <a16:creationId xmlns:a16="http://schemas.microsoft.com/office/drawing/2014/main" id="{3C1690AC-5BE9-F1F4-A46C-4A6A5BEB8C12}"/>
                </a:ext>
              </a:extLst>
            </p:cNvPr>
            <p:cNvSpPr>
              <a:spLocks noChangeArrowheads="1"/>
            </p:cNvSpPr>
            <p:nvPr/>
          </p:nvSpPr>
          <p:spPr bwMode="auto">
            <a:xfrm>
              <a:off x="10468195" y="3056266"/>
              <a:ext cx="57176"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4" name="Rectangle 242">
              <a:extLst>
                <a:ext uri="{FF2B5EF4-FFF2-40B4-BE49-F238E27FC236}">
                  <a16:creationId xmlns:a16="http://schemas.microsoft.com/office/drawing/2014/main" id="{0AAA3820-35A7-6F18-6BAC-702A3BB5AAD1}"/>
                </a:ext>
              </a:extLst>
            </p:cNvPr>
            <p:cNvSpPr>
              <a:spLocks noChangeArrowheads="1"/>
            </p:cNvSpPr>
            <p:nvPr/>
          </p:nvSpPr>
          <p:spPr bwMode="auto">
            <a:xfrm>
              <a:off x="10540710" y="3056266"/>
              <a:ext cx="58570" cy="163918"/>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5" name="Freeform 243">
              <a:extLst>
                <a:ext uri="{FF2B5EF4-FFF2-40B4-BE49-F238E27FC236}">
                  <a16:creationId xmlns:a16="http://schemas.microsoft.com/office/drawing/2014/main" id="{B594C01B-9660-9313-BFDE-3FDAF07FB8DC}"/>
                </a:ext>
              </a:extLst>
            </p:cNvPr>
            <p:cNvSpPr>
              <a:spLocks/>
            </p:cNvSpPr>
            <p:nvPr/>
          </p:nvSpPr>
          <p:spPr bwMode="auto">
            <a:xfrm>
              <a:off x="10468195" y="3056266"/>
              <a:ext cx="26496" cy="163918"/>
            </a:xfrm>
            <a:custGeom>
              <a:avLst/>
              <a:gdLst>
                <a:gd name="T0" fmla="*/ 0 w 99"/>
                <a:gd name="T1" fmla="*/ 0 h 549"/>
                <a:gd name="T2" fmla="*/ 99 w 99"/>
                <a:gd name="T3" fmla="*/ 0 h 549"/>
                <a:gd name="T4" fmla="*/ 0 w 99"/>
                <a:gd name="T5" fmla="*/ 549 h 549"/>
                <a:gd name="T6" fmla="*/ 0 w 99"/>
                <a:gd name="T7" fmla="*/ 0 h 549"/>
              </a:gdLst>
              <a:ahLst/>
              <a:cxnLst>
                <a:cxn ang="0">
                  <a:pos x="T0" y="T1"/>
                </a:cxn>
                <a:cxn ang="0">
                  <a:pos x="T2" y="T3"/>
                </a:cxn>
                <a:cxn ang="0">
                  <a:pos x="T4" y="T5"/>
                </a:cxn>
                <a:cxn ang="0">
                  <a:pos x="T6" y="T7"/>
                </a:cxn>
              </a:cxnLst>
              <a:rect l="0" t="0" r="r" b="b"/>
              <a:pathLst>
                <a:path w="99" h="549">
                  <a:moveTo>
                    <a:pt x="0" y="0"/>
                  </a:moveTo>
                  <a:lnTo>
                    <a:pt x="99"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6" name="Freeform 244">
              <a:extLst>
                <a:ext uri="{FF2B5EF4-FFF2-40B4-BE49-F238E27FC236}">
                  <a16:creationId xmlns:a16="http://schemas.microsoft.com/office/drawing/2014/main" id="{3B17DE58-47D4-7E81-A969-A56F3547F47A}"/>
                </a:ext>
              </a:extLst>
            </p:cNvPr>
            <p:cNvSpPr>
              <a:spLocks/>
            </p:cNvSpPr>
            <p:nvPr/>
          </p:nvSpPr>
          <p:spPr bwMode="auto">
            <a:xfrm>
              <a:off x="10540710" y="3056266"/>
              <a:ext cx="27890" cy="163918"/>
            </a:xfrm>
            <a:custGeom>
              <a:avLst/>
              <a:gdLst>
                <a:gd name="T0" fmla="*/ 0 w 98"/>
                <a:gd name="T1" fmla="*/ 0 h 549"/>
                <a:gd name="T2" fmla="*/ 98 w 98"/>
                <a:gd name="T3" fmla="*/ 0 h 549"/>
                <a:gd name="T4" fmla="*/ 0 w 98"/>
                <a:gd name="T5" fmla="*/ 549 h 549"/>
                <a:gd name="T6" fmla="*/ 0 w 98"/>
                <a:gd name="T7" fmla="*/ 0 h 549"/>
              </a:gdLst>
              <a:ahLst/>
              <a:cxnLst>
                <a:cxn ang="0">
                  <a:pos x="T0" y="T1"/>
                </a:cxn>
                <a:cxn ang="0">
                  <a:pos x="T2" y="T3"/>
                </a:cxn>
                <a:cxn ang="0">
                  <a:pos x="T4" y="T5"/>
                </a:cxn>
                <a:cxn ang="0">
                  <a:pos x="T6" y="T7"/>
                </a:cxn>
              </a:cxnLst>
              <a:rect l="0" t="0" r="r" b="b"/>
              <a:pathLst>
                <a:path w="98" h="549">
                  <a:moveTo>
                    <a:pt x="0" y="0"/>
                  </a:moveTo>
                  <a:lnTo>
                    <a:pt x="98" y="0"/>
                  </a:lnTo>
                  <a:lnTo>
                    <a:pt x="0" y="549"/>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7" name="Rectangle 245">
              <a:extLst>
                <a:ext uri="{FF2B5EF4-FFF2-40B4-BE49-F238E27FC236}">
                  <a16:creationId xmlns:a16="http://schemas.microsoft.com/office/drawing/2014/main" id="{52F5D3C5-A5F6-8BEF-A692-C8E5073D78A9}"/>
                </a:ext>
              </a:extLst>
            </p:cNvPr>
            <p:cNvSpPr>
              <a:spLocks noChangeArrowheads="1"/>
            </p:cNvSpPr>
            <p:nvPr/>
          </p:nvSpPr>
          <p:spPr bwMode="auto">
            <a:xfrm>
              <a:off x="10332926" y="2785575"/>
              <a:ext cx="154792" cy="160910"/>
            </a:xfrm>
            <a:prstGeom prst="rect">
              <a:avLst/>
            </a:prstGeom>
            <a:solidFill>
              <a:srgbClr val="E6E6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8" name="Rectangle 246">
              <a:extLst>
                <a:ext uri="{FF2B5EF4-FFF2-40B4-BE49-F238E27FC236}">
                  <a16:creationId xmlns:a16="http://schemas.microsoft.com/office/drawing/2014/main" id="{88AAB1F6-F778-286F-D205-EA2AED08F0FD}"/>
                </a:ext>
              </a:extLst>
            </p:cNvPr>
            <p:cNvSpPr>
              <a:spLocks noChangeArrowheads="1"/>
            </p:cNvSpPr>
            <p:nvPr/>
          </p:nvSpPr>
          <p:spPr bwMode="auto">
            <a:xfrm>
              <a:off x="10342688"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9" name="Rectangle 247">
              <a:extLst>
                <a:ext uri="{FF2B5EF4-FFF2-40B4-BE49-F238E27FC236}">
                  <a16:creationId xmlns:a16="http://schemas.microsoft.com/office/drawing/2014/main" id="{FF7EBBDC-2928-A573-DD22-4C26D293753D}"/>
                </a:ext>
              </a:extLst>
            </p:cNvPr>
            <p:cNvSpPr>
              <a:spLocks noChangeArrowheads="1"/>
            </p:cNvSpPr>
            <p:nvPr/>
          </p:nvSpPr>
          <p:spPr bwMode="auto">
            <a:xfrm>
              <a:off x="10415203" y="2793093"/>
              <a:ext cx="62754" cy="145872"/>
            </a:xfrm>
            <a:prstGeom prst="rect">
              <a:avLst/>
            </a:prstGeom>
            <a:solidFill>
              <a:srgbClr val="C4C1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0" name="Rectangle 248">
              <a:extLst>
                <a:ext uri="{FF2B5EF4-FFF2-40B4-BE49-F238E27FC236}">
                  <a16:creationId xmlns:a16="http://schemas.microsoft.com/office/drawing/2014/main" id="{480DD6EA-D9A5-F238-7608-61F9D6DD046F}"/>
                </a:ext>
              </a:extLst>
            </p:cNvPr>
            <p:cNvSpPr>
              <a:spLocks noChangeArrowheads="1"/>
            </p:cNvSpPr>
            <p:nvPr/>
          </p:nvSpPr>
          <p:spPr bwMode="auto">
            <a:xfrm>
              <a:off x="10345477"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1" name="Rectangle 249">
              <a:extLst>
                <a:ext uri="{FF2B5EF4-FFF2-40B4-BE49-F238E27FC236}">
                  <a16:creationId xmlns:a16="http://schemas.microsoft.com/office/drawing/2014/main" id="{7F4040C0-41AE-24DA-FDE0-EFD224B166CC}"/>
                </a:ext>
              </a:extLst>
            </p:cNvPr>
            <p:cNvSpPr>
              <a:spLocks noChangeArrowheads="1"/>
            </p:cNvSpPr>
            <p:nvPr/>
          </p:nvSpPr>
          <p:spPr bwMode="auto">
            <a:xfrm>
              <a:off x="10417992" y="2794598"/>
              <a:ext cx="57176" cy="141360"/>
            </a:xfrm>
            <a:prstGeom prst="rect">
              <a:avLst/>
            </a:prstGeom>
            <a:solidFill>
              <a:srgbClr val="70CD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2" name="Freeform 250">
              <a:extLst>
                <a:ext uri="{FF2B5EF4-FFF2-40B4-BE49-F238E27FC236}">
                  <a16:creationId xmlns:a16="http://schemas.microsoft.com/office/drawing/2014/main" id="{BA9A2E13-691F-9474-6747-DF06ABB508AD}"/>
                </a:ext>
              </a:extLst>
            </p:cNvPr>
            <p:cNvSpPr>
              <a:spLocks/>
            </p:cNvSpPr>
            <p:nvPr/>
          </p:nvSpPr>
          <p:spPr bwMode="auto">
            <a:xfrm>
              <a:off x="10345477" y="2794598"/>
              <a:ext cx="26496" cy="141360"/>
            </a:xfrm>
            <a:custGeom>
              <a:avLst/>
              <a:gdLst>
                <a:gd name="T0" fmla="*/ 0 w 98"/>
                <a:gd name="T1" fmla="*/ 0 h 472"/>
                <a:gd name="T2" fmla="*/ 98 w 98"/>
                <a:gd name="T3" fmla="*/ 0 h 472"/>
                <a:gd name="T4" fmla="*/ 0 w 98"/>
                <a:gd name="T5" fmla="*/ 472 h 472"/>
                <a:gd name="T6" fmla="*/ 0 w 98"/>
                <a:gd name="T7" fmla="*/ 0 h 472"/>
              </a:gdLst>
              <a:ahLst/>
              <a:cxnLst>
                <a:cxn ang="0">
                  <a:pos x="T0" y="T1"/>
                </a:cxn>
                <a:cxn ang="0">
                  <a:pos x="T2" y="T3"/>
                </a:cxn>
                <a:cxn ang="0">
                  <a:pos x="T4" y="T5"/>
                </a:cxn>
                <a:cxn ang="0">
                  <a:pos x="T6" y="T7"/>
                </a:cxn>
              </a:cxnLst>
              <a:rect l="0" t="0" r="r" b="b"/>
              <a:pathLst>
                <a:path w="98" h="472">
                  <a:moveTo>
                    <a:pt x="0" y="0"/>
                  </a:moveTo>
                  <a:lnTo>
                    <a:pt x="98"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3" name="Freeform 251">
              <a:extLst>
                <a:ext uri="{FF2B5EF4-FFF2-40B4-BE49-F238E27FC236}">
                  <a16:creationId xmlns:a16="http://schemas.microsoft.com/office/drawing/2014/main" id="{FF1B76A1-B387-AF9B-B850-D5E05C61336A}"/>
                </a:ext>
              </a:extLst>
            </p:cNvPr>
            <p:cNvSpPr>
              <a:spLocks/>
            </p:cNvSpPr>
            <p:nvPr/>
          </p:nvSpPr>
          <p:spPr bwMode="auto">
            <a:xfrm>
              <a:off x="10417992" y="2794598"/>
              <a:ext cx="27890" cy="141360"/>
            </a:xfrm>
            <a:custGeom>
              <a:avLst/>
              <a:gdLst>
                <a:gd name="T0" fmla="*/ 0 w 99"/>
                <a:gd name="T1" fmla="*/ 0 h 472"/>
                <a:gd name="T2" fmla="*/ 99 w 99"/>
                <a:gd name="T3" fmla="*/ 0 h 472"/>
                <a:gd name="T4" fmla="*/ 0 w 99"/>
                <a:gd name="T5" fmla="*/ 472 h 472"/>
                <a:gd name="T6" fmla="*/ 0 w 99"/>
                <a:gd name="T7" fmla="*/ 0 h 472"/>
              </a:gdLst>
              <a:ahLst/>
              <a:cxnLst>
                <a:cxn ang="0">
                  <a:pos x="T0" y="T1"/>
                </a:cxn>
                <a:cxn ang="0">
                  <a:pos x="T2" y="T3"/>
                </a:cxn>
                <a:cxn ang="0">
                  <a:pos x="T4" y="T5"/>
                </a:cxn>
                <a:cxn ang="0">
                  <a:pos x="T6" y="T7"/>
                </a:cxn>
              </a:cxnLst>
              <a:rect l="0" t="0" r="r" b="b"/>
              <a:pathLst>
                <a:path w="99" h="472">
                  <a:moveTo>
                    <a:pt x="0" y="0"/>
                  </a:moveTo>
                  <a:lnTo>
                    <a:pt x="99" y="0"/>
                  </a:lnTo>
                  <a:lnTo>
                    <a:pt x="0" y="472"/>
                  </a:lnTo>
                  <a:lnTo>
                    <a:pt x="0" y="0"/>
                  </a:lnTo>
                  <a:close/>
                </a:path>
              </a:pathLst>
            </a:custGeom>
            <a:solidFill>
              <a:srgbClr val="46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4" name="Freeform 252">
              <a:extLst>
                <a:ext uri="{FF2B5EF4-FFF2-40B4-BE49-F238E27FC236}">
                  <a16:creationId xmlns:a16="http://schemas.microsoft.com/office/drawing/2014/main" id="{D9C37DF0-7443-BA3D-0DA3-9C0DE8FE6125}"/>
                </a:ext>
              </a:extLst>
            </p:cNvPr>
            <p:cNvSpPr>
              <a:spLocks/>
            </p:cNvSpPr>
            <p:nvPr/>
          </p:nvSpPr>
          <p:spPr bwMode="auto">
            <a:xfrm>
              <a:off x="9828109" y="2420142"/>
              <a:ext cx="921780" cy="935386"/>
            </a:xfrm>
            <a:custGeom>
              <a:avLst/>
              <a:gdLst>
                <a:gd name="T0" fmla="*/ 1654 w 3307"/>
                <a:gd name="T1" fmla="*/ 0 h 3113"/>
                <a:gd name="T2" fmla="*/ 0 w 3307"/>
                <a:gd name="T3" fmla="*/ 1652 h 3113"/>
                <a:gd name="T4" fmla="*/ 0 w 3307"/>
                <a:gd name="T5" fmla="*/ 1774 h 3113"/>
                <a:gd name="T6" fmla="*/ 1654 w 3307"/>
                <a:gd name="T7" fmla="*/ 122 h 3113"/>
                <a:gd name="T8" fmla="*/ 3079 w 3307"/>
                <a:gd name="T9" fmla="*/ 1546 h 3113"/>
                <a:gd name="T10" fmla="*/ 3079 w 3307"/>
                <a:gd name="T11" fmla="*/ 3113 h 3113"/>
                <a:gd name="T12" fmla="*/ 3307 w 3307"/>
                <a:gd name="T13" fmla="*/ 3113 h 3113"/>
                <a:gd name="T14" fmla="*/ 3307 w 3307"/>
                <a:gd name="T15" fmla="*/ 1652 h 3113"/>
                <a:gd name="T16" fmla="*/ 1654 w 3307"/>
                <a:gd name="T17" fmla="*/ 0 h 3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07" h="3113">
                  <a:moveTo>
                    <a:pt x="1654" y="0"/>
                  </a:moveTo>
                  <a:lnTo>
                    <a:pt x="0" y="1652"/>
                  </a:lnTo>
                  <a:lnTo>
                    <a:pt x="0" y="1774"/>
                  </a:lnTo>
                  <a:lnTo>
                    <a:pt x="1654" y="122"/>
                  </a:lnTo>
                  <a:lnTo>
                    <a:pt x="3079" y="1546"/>
                  </a:lnTo>
                  <a:lnTo>
                    <a:pt x="3079" y="3113"/>
                  </a:lnTo>
                  <a:lnTo>
                    <a:pt x="3307" y="3113"/>
                  </a:lnTo>
                  <a:lnTo>
                    <a:pt x="3307" y="1652"/>
                  </a:lnTo>
                  <a:lnTo>
                    <a:pt x="1654" y="0"/>
                  </a:lnTo>
                  <a:close/>
                </a:path>
              </a:pathLst>
            </a:custGeom>
            <a:solidFill>
              <a:srgbClr val="E6E6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5" name="Freeform 258">
              <a:extLst>
                <a:ext uri="{FF2B5EF4-FFF2-40B4-BE49-F238E27FC236}">
                  <a16:creationId xmlns:a16="http://schemas.microsoft.com/office/drawing/2014/main" id="{28FF3006-9334-43F0-AD0E-2001FC284DEE}"/>
                </a:ext>
              </a:extLst>
            </p:cNvPr>
            <p:cNvSpPr>
              <a:spLocks/>
            </p:cNvSpPr>
            <p:nvPr/>
          </p:nvSpPr>
          <p:spPr bwMode="auto">
            <a:xfrm>
              <a:off x="11504325" y="2932951"/>
              <a:ext cx="57176" cy="70680"/>
            </a:xfrm>
            <a:custGeom>
              <a:avLst/>
              <a:gdLst>
                <a:gd name="T0" fmla="*/ 151 w 206"/>
                <a:gd name="T1" fmla="*/ 237 h 237"/>
                <a:gd name="T2" fmla="*/ 162 w 206"/>
                <a:gd name="T3" fmla="*/ 228 h 237"/>
                <a:gd name="T4" fmla="*/ 173 w 206"/>
                <a:gd name="T5" fmla="*/ 220 h 237"/>
                <a:gd name="T6" fmla="*/ 187 w 206"/>
                <a:gd name="T7" fmla="*/ 213 h 237"/>
                <a:gd name="T8" fmla="*/ 206 w 206"/>
                <a:gd name="T9" fmla="*/ 203 h 237"/>
                <a:gd name="T10" fmla="*/ 200 w 206"/>
                <a:gd name="T11" fmla="*/ 181 h 237"/>
                <a:gd name="T12" fmla="*/ 194 w 206"/>
                <a:gd name="T13" fmla="*/ 160 h 237"/>
                <a:gd name="T14" fmla="*/ 186 w 206"/>
                <a:gd name="T15" fmla="*/ 140 h 237"/>
                <a:gd name="T16" fmla="*/ 176 w 206"/>
                <a:gd name="T17" fmla="*/ 121 h 237"/>
                <a:gd name="T18" fmla="*/ 165 w 206"/>
                <a:gd name="T19" fmla="*/ 104 h 237"/>
                <a:gd name="T20" fmla="*/ 153 w 206"/>
                <a:gd name="T21" fmla="*/ 89 h 237"/>
                <a:gd name="T22" fmla="*/ 140 w 206"/>
                <a:gd name="T23" fmla="*/ 75 h 237"/>
                <a:gd name="T24" fmla="*/ 125 w 206"/>
                <a:gd name="T25" fmla="*/ 61 h 237"/>
                <a:gd name="T26" fmla="*/ 111 w 206"/>
                <a:gd name="T27" fmla="*/ 49 h 237"/>
                <a:gd name="T28" fmla="*/ 95 w 206"/>
                <a:gd name="T29" fmla="*/ 38 h 237"/>
                <a:gd name="T30" fmla="*/ 80 w 206"/>
                <a:gd name="T31" fmla="*/ 28 h 237"/>
                <a:gd name="T32" fmla="*/ 63 w 206"/>
                <a:gd name="T33" fmla="*/ 21 h 237"/>
                <a:gd name="T34" fmla="*/ 48 w 206"/>
                <a:gd name="T35" fmla="*/ 13 h 237"/>
                <a:gd name="T36" fmla="*/ 31 w 206"/>
                <a:gd name="T37" fmla="*/ 7 h 237"/>
                <a:gd name="T38" fmla="*/ 16 w 206"/>
                <a:gd name="T39" fmla="*/ 3 h 237"/>
                <a:gd name="T40" fmla="*/ 0 w 206"/>
                <a:gd name="T41" fmla="*/ 0 h 237"/>
                <a:gd name="T42" fmla="*/ 13 w 206"/>
                <a:gd name="T43" fmla="*/ 6 h 237"/>
                <a:gd name="T44" fmla="*/ 24 w 206"/>
                <a:gd name="T45" fmla="*/ 16 h 237"/>
                <a:gd name="T46" fmla="*/ 36 w 206"/>
                <a:gd name="T47" fmla="*/ 28 h 237"/>
                <a:gd name="T48" fmla="*/ 48 w 206"/>
                <a:gd name="T49" fmla="*/ 40 h 237"/>
                <a:gd name="T50" fmla="*/ 60 w 206"/>
                <a:gd name="T51" fmla="*/ 55 h 237"/>
                <a:gd name="T52" fmla="*/ 71 w 206"/>
                <a:gd name="T53" fmla="*/ 71 h 237"/>
                <a:gd name="T54" fmla="*/ 82 w 206"/>
                <a:gd name="T55" fmla="*/ 87 h 237"/>
                <a:gd name="T56" fmla="*/ 93 w 206"/>
                <a:gd name="T57" fmla="*/ 104 h 237"/>
                <a:gd name="T58" fmla="*/ 103 w 206"/>
                <a:gd name="T59" fmla="*/ 122 h 237"/>
                <a:gd name="T60" fmla="*/ 113 w 206"/>
                <a:gd name="T61" fmla="*/ 140 h 237"/>
                <a:gd name="T62" fmla="*/ 122 w 206"/>
                <a:gd name="T63" fmla="*/ 157 h 237"/>
                <a:gd name="T64" fmla="*/ 130 w 206"/>
                <a:gd name="T65" fmla="*/ 175 h 237"/>
                <a:gd name="T66" fmla="*/ 137 w 206"/>
                <a:gd name="T67" fmla="*/ 192 h 237"/>
                <a:gd name="T68" fmla="*/ 143 w 206"/>
                <a:gd name="T69" fmla="*/ 208 h 237"/>
                <a:gd name="T70" fmla="*/ 147 w 206"/>
                <a:gd name="T71" fmla="*/ 223 h 237"/>
                <a:gd name="T72" fmla="*/ 151 w 206"/>
                <a:gd name="T7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237">
                  <a:moveTo>
                    <a:pt x="151" y="237"/>
                  </a:moveTo>
                  <a:lnTo>
                    <a:pt x="162" y="228"/>
                  </a:lnTo>
                  <a:lnTo>
                    <a:pt x="173" y="220"/>
                  </a:lnTo>
                  <a:lnTo>
                    <a:pt x="187" y="213"/>
                  </a:lnTo>
                  <a:lnTo>
                    <a:pt x="206" y="203"/>
                  </a:lnTo>
                  <a:lnTo>
                    <a:pt x="200" y="181"/>
                  </a:lnTo>
                  <a:lnTo>
                    <a:pt x="194" y="160"/>
                  </a:lnTo>
                  <a:lnTo>
                    <a:pt x="186" y="140"/>
                  </a:lnTo>
                  <a:lnTo>
                    <a:pt x="176" y="121"/>
                  </a:lnTo>
                  <a:lnTo>
                    <a:pt x="165" y="104"/>
                  </a:lnTo>
                  <a:lnTo>
                    <a:pt x="153" y="89"/>
                  </a:lnTo>
                  <a:lnTo>
                    <a:pt x="140" y="75"/>
                  </a:lnTo>
                  <a:lnTo>
                    <a:pt x="125" y="61"/>
                  </a:lnTo>
                  <a:lnTo>
                    <a:pt x="111" y="49"/>
                  </a:lnTo>
                  <a:lnTo>
                    <a:pt x="95" y="38"/>
                  </a:lnTo>
                  <a:lnTo>
                    <a:pt x="80" y="28"/>
                  </a:lnTo>
                  <a:lnTo>
                    <a:pt x="63" y="21"/>
                  </a:lnTo>
                  <a:lnTo>
                    <a:pt x="48" y="13"/>
                  </a:lnTo>
                  <a:lnTo>
                    <a:pt x="31" y="7"/>
                  </a:lnTo>
                  <a:lnTo>
                    <a:pt x="16" y="3"/>
                  </a:lnTo>
                  <a:lnTo>
                    <a:pt x="0" y="0"/>
                  </a:lnTo>
                  <a:lnTo>
                    <a:pt x="13" y="6"/>
                  </a:lnTo>
                  <a:lnTo>
                    <a:pt x="24" y="16"/>
                  </a:lnTo>
                  <a:lnTo>
                    <a:pt x="36" y="28"/>
                  </a:lnTo>
                  <a:lnTo>
                    <a:pt x="48" y="40"/>
                  </a:lnTo>
                  <a:lnTo>
                    <a:pt x="60" y="55"/>
                  </a:lnTo>
                  <a:lnTo>
                    <a:pt x="71" y="71"/>
                  </a:lnTo>
                  <a:lnTo>
                    <a:pt x="82" y="87"/>
                  </a:lnTo>
                  <a:lnTo>
                    <a:pt x="93" y="104"/>
                  </a:lnTo>
                  <a:lnTo>
                    <a:pt x="103" y="122"/>
                  </a:lnTo>
                  <a:lnTo>
                    <a:pt x="113" y="140"/>
                  </a:lnTo>
                  <a:lnTo>
                    <a:pt x="122" y="157"/>
                  </a:lnTo>
                  <a:lnTo>
                    <a:pt x="130" y="175"/>
                  </a:lnTo>
                  <a:lnTo>
                    <a:pt x="137" y="192"/>
                  </a:lnTo>
                  <a:lnTo>
                    <a:pt x="143" y="208"/>
                  </a:lnTo>
                  <a:lnTo>
                    <a:pt x="147" y="223"/>
                  </a:lnTo>
                  <a:lnTo>
                    <a:pt x="151" y="237"/>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6" name="Freeform 259">
              <a:extLst>
                <a:ext uri="{FF2B5EF4-FFF2-40B4-BE49-F238E27FC236}">
                  <a16:creationId xmlns:a16="http://schemas.microsoft.com/office/drawing/2014/main" id="{84A52DA7-918E-C233-B04D-A480BFCB82A3}"/>
                </a:ext>
              </a:extLst>
            </p:cNvPr>
            <p:cNvSpPr>
              <a:spLocks/>
            </p:cNvSpPr>
            <p:nvPr/>
          </p:nvSpPr>
          <p:spPr bwMode="auto">
            <a:xfrm>
              <a:off x="11302119" y="3173565"/>
              <a:ext cx="57176" cy="54138"/>
            </a:xfrm>
            <a:custGeom>
              <a:avLst/>
              <a:gdLst>
                <a:gd name="T0" fmla="*/ 188 w 206"/>
                <a:gd name="T1" fmla="*/ 103 h 178"/>
                <a:gd name="T2" fmla="*/ 175 w 206"/>
                <a:gd name="T3" fmla="*/ 101 h 178"/>
                <a:gd name="T4" fmla="*/ 162 w 206"/>
                <a:gd name="T5" fmla="*/ 97 h 178"/>
                <a:gd name="T6" fmla="*/ 149 w 206"/>
                <a:gd name="T7" fmla="*/ 94 h 178"/>
                <a:gd name="T8" fmla="*/ 136 w 206"/>
                <a:gd name="T9" fmla="*/ 90 h 178"/>
                <a:gd name="T10" fmla="*/ 109 w 206"/>
                <a:gd name="T11" fmla="*/ 78 h 178"/>
                <a:gd name="T12" fmla="*/ 83 w 206"/>
                <a:gd name="T13" fmla="*/ 66 h 178"/>
                <a:gd name="T14" fmla="*/ 71 w 206"/>
                <a:gd name="T15" fmla="*/ 60 h 178"/>
                <a:gd name="T16" fmla="*/ 59 w 206"/>
                <a:gd name="T17" fmla="*/ 52 h 178"/>
                <a:gd name="T18" fmla="*/ 47 w 206"/>
                <a:gd name="T19" fmla="*/ 44 h 178"/>
                <a:gd name="T20" fmla="*/ 35 w 206"/>
                <a:gd name="T21" fmla="*/ 37 h 178"/>
                <a:gd name="T22" fmla="*/ 26 w 206"/>
                <a:gd name="T23" fmla="*/ 28 h 178"/>
                <a:gd name="T24" fmla="*/ 16 w 206"/>
                <a:gd name="T25" fmla="*/ 19 h 178"/>
                <a:gd name="T26" fmla="*/ 7 w 206"/>
                <a:gd name="T27" fmla="*/ 9 h 178"/>
                <a:gd name="T28" fmla="*/ 0 w 206"/>
                <a:gd name="T29" fmla="*/ 0 h 178"/>
                <a:gd name="T30" fmla="*/ 6 w 206"/>
                <a:gd name="T31" fmla="*/ 16 h 178"/>
                <a:gd name="T32" fmla="*/ 12 w 206"/>
                <a:gd name="T33" fmla="*/ 31 h 178"/>
                <a:gd name="T34" fmla="*/ 20 w 206"/>
                <a:gd name="T35" fmla="*/ 46 h 178"/>
                <a:gd name="T36" fmla="*/ 29 w 206"/>
                <a:gd name="T37" fmla="*/ 61 h 178"/>
                <a:gd name="T38" fmla="*/ 38 w 206"/>
                <a:gd name="T39" fmla="*/ 75 h 178"/>
                <a:gd name="T40" fmla="*/ 49 w 206"/>
                <a:gd name="T41" fmla="*/ 88 h 178"/>
                <a:gd name="T42" fmla="*/ 61 w 206"/>
                <a:gd name="T43" fmla="*/ 102 h 178"/>
                <a:gd name="T44" fmla="*/ 73 w 206"/>
                <a:gd name="T45" fmla="*/ 114 h 178"/>
                <a:gd name="T46" fmla="*/ 86 w 206"/>
                <a:gd name="T47" fmla="*/ 125 h 178"/>
                <a:gd name="T48" fmla="*/ 102 w 206"/>
                <a:gd name="T49" fmla="*/ 136 h 178"/>
                <a:gd name="T50" fmla="*/ 116 w 206"/>
                <a:gd name="T51" fmla="*/ 146 h 178"/>
                <a:gd name="T52" fmla="*/ 133 w 206"/>
                <a:gd name="T53" fmla="*/ 154 h 178"/>
                <a:gd name="T54" fmla="*/ 150 w 206"/>
                <a:gd name="T55" fmla="*/ 161 h 178"/>
                <a:gd name="T56" fmla="*/ 168 w 206"/>
                <a:gd name="T57" fmla="*/ 168 h 178"/>
                <a:gd name="T58" fmla="*/ 187 w 206"/>
                <a:gd name="T59" fmla="*/ 173 h 178"/>
                <a:gd name="T60" fmla="*/ 206 w 206"/>
                <a:gd name="T61" fmla="*/ 178 h 178"/>
                <a:gd name="T62" fmla="*/ 202 w 206"/>
                <a:gd name="T63" fmla="*/ 169 h 178"/>
                <a:gd name="T64" fmla="*/ 199 w 206"/>
                <a:gd name="T65" fmla="*/ 160 h 178"/>
                <a:gd name="T66" fmla="*/ 196 w 206"/>
                <a:gd name="T67" fmla="*/ 150 h 178"/>
                <a:gd name="T68" fmla="*/ 193 w 206"/>
                <a:gd name="T69" fmla="*/ 141 h 178"/>
                <a:gd name="T70" fmla="*/ 190 w 206"/>
                <a:gd name="T71" fmla="*/ 122 h 178"/>
                <a:gd name="T72" fmla="*/ 188 w 206"/>
                <a:gd name="T73" fmla="*/ 10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178">
                  <a:moveTo>
                    <a:pt x="188" y="103"/>
                  </a:moveTo>
                  <a:lnTo>
                    <a:pt x="175" y="101"/>
                  </a:lnTo>
                  <a:lnTo>
                    <a:pt x="162" y="97"/>
                  </a:lnTo>
                  <a:lnTo>
                    <a:pt x="149" y="94"/>
                  </a:lnTo>
                  <a:lnTo>
                    <a:pt x="136" y="90"/>
                  </a:lnTo>
                  <a:lnTo>
                    <a:pt x="109" y="78"/>
                  </a:lnTo>
                  <a:lnTo>
                    <a:pt x="83" y="66"/>
                  </a:lnTo>
                  <a:lnTo>
                    <a:pt x="71" y="60"/>
                  </a:lnTo>
                  <a:lnTo>
                    <a:pt x="59" y="52"/>
                  </a:lnTo>
                  <a:lnTo>
                    <a:pt x="47" y="44"/>
                  </a:lnTo>
                  <a:lnTo>
                    <a:pt x="35" y="37"/>
                  </a:lnTo>
                  <a:lnTo>
                    <a:pt x="26" y="28"/>
                  </a:lnTo>
                  <a:lnTo>
                    <a:pt x="16" y="19"/>
                  </a:lnTo>
                  <a:lnTo>
                    <a:pt x="7" y="9"/>
                  </a:lnTo>
                  <a:lnTo>
                    <a:pt x="0" y="0"/>
                  </a:lnTo>
                  <a:lnTo>
                    <a:pt x="6" y="16"/>
                  </a:lnTo>
                  <a:lnTo>
                    <a:pt x="12" y="31"/>
                  </a:lnTo>
                  <a:lnTo>
                    <a:pt x="20" y="46"/>
                  </a:lnTo>
                  <a:lnTo>
                    <a:pt x="29" y="61"/>
                  </a:lnTo>
                  <a:lnTo>
                    <a:pt x="38" y="75"/>
                  </a:lnTo>
                  <a:lnTo>
                    <a:pt x="49" y="88"/>
                  </a:lnTo>
                  <a:lnTo>
                    <a:pt x="61" y="102"/>
                  </a:lnTo>
                  <a:lnTo>
                    <a:pt x="73" y="114"/>
                  </a:lnTo>
                  <a:lnTo>
                    <a:pt x="86" y="125"/>
                  </a:lnTo>
                  <a:lnTo>
                    <a:pt x="102" y="136"/>
                  </a:lnTo>
                  <a:lnTo>
                    <a:pt x="116" y="146"/>
                  </a:lnTo>
                  <a:lnTo>
                    <a:pt x="133" y="154"/>
                  </a:lnTo>
                  <a:lnTo>
                    <a:pt x="150" y="161"/>
                  </a:lnTo>
                  <a:lnTo>
                    <a:pt x="168" y="168"/>
                  </a:lnTo>
                  <a:lnTo>
                    <a:pt x="187" y="173"/>
                  </a:lnTo>
                  <a:lnTo>
                    <a:pt x="206" y="178"/>
                  </a:lnTo>
                  <a:lnTo>
                    <a:pt x="202" y="169"/>
                  </a:lnTo>
                  <a:lnTo>
                    <a:pt x="199" y="160"/>
                  </a:lnTo>
                  <a:lnTo>
                    <a:pt x="196" y="150"/>
                  </a:lnTo>
                  <a:lnTo>
                    <a:pt x="193" y="141"/>
                  </a:lnTo>
                  <a:lnTo>
                    <a:pt x="190" y="122"/>
                  </a:lnTo>
                  <a:lnTo>
                    <a:pt x="188" y="103"/>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7" name="Freeform 261">
              <a:extLst>
                <a:ext uri="{FF2B5EF4-FFF2-40B4-BE49-F238E27FC236}">
                  <a16:creationId xmlns:a16="http://schemas.microsoft.com/office/drawing/2014/main" id="{6D16B10A-CACB-624C-0FE3-A2A0364D5094}"/>
                </a:ext>
              </a:extLst>
            </p:cNvPr>
            <p:cNvSpPr>
              <a:spLocks/>
            </p:cNvSpPr>
            <p:nvPr/>
          </p:nvSpPr>
          <p:spPr bwMode="auto">
            <a:xfrm>
              <a:off x="8305291" y="3209657"/>
              <a:ext cx="68332" cy="279714"/>
            </a:xfrm>
            <a:custGeom>
              <a:avLst/>
              <a:gdLst>
                <a:gd name="T0" fmla="*/ 227 w 243"/>
                <a:gd name="T1" fmla="*/ 488 h 931"/>
                <a:gd name="T2" fmla="*/ 215 w 243"/>
                <a:gd name="T3" fmla="*/ 494 h 931"/>
                <a:gd name="T4" fmla="*/ 195 w 243"/>
                <a:gd name="T5" fmla="*/ 504 h 931"/>
                <a:gd name="T6" fmla="*/ 170 w 243"/>
                <a:gd name="T7" fmla="*/ 519 h 931"/>
                <a:gd name="T8" fmla="*/ 141 w 243"/>
                <a:gd name="T9" fmla="*/ 537 h 931"/>
                <a:gd name="T10" fmla="*/ 106 w 243"/>
                <a:gd name="T11" fmla="*/ 0 h 931"/>
                <a:gd name="T12" fmla="*/ 15 w 243"/>
                <a:gd name="T13" fmla="*/ 0 h 931"/>
                <a:gd name="T14" fmla="*/ 0 w 243"/>
                <a:gd name="T15" fmla="*/ 931 h 931"/>
                <a:gd name="T16" fmla="*/ 166 w 243"/>
                <a:gd name="T17" fmla="*/ 931 h 931"/>
                <a:gd name="T18" fmla="*/ 145 w 243"/>
                <a:gd name="T19" fmla="*/ 613 h 931"/>
                <a:gd name="T20" fmla="*/ 175 w 243"/>
                <a:gd name="T21" fmla="*/ 583 h 931"/>
                <a:gd name="T22" fmla="*/ 202 w 243"/>
                <a:gd name="T23" fmla="*/ 557 h 931"/>
                <a:gd name="T24" fmla="*/ 222 w 243"/>
                <a:gd name="T25" fmla="*/ 538 h 931"/>
                <a:gd name="T26" fmla="*/ 234 w 243"/>
                <a:gd name="T27" fmla="*/ 528 h 931"/>
                <a:gd name="T28" fmla="*/ 238 w 243"/>
                <a:gd name="T29" fmla="*/ 522 h 931"/>
                <a:gd name="T30" fmla="*/ 241 w 243"/>
                <a:gd name="T31" fmla="*/ 517 h 931"/>
                <a:gd name="T32" fmla="*/ 243 w 243"/>
                <a:gd name="T33" fmla="*/ 510 h 931"/>
                <a:gd name="T34" fmla="*/ 243 w 243"/>
                <a:gd name="T35" fmla="*/ 504 h 931"/>
                <a:gd name="T36" fmla="*/ 241 w 243"/>
                <a:gd name="T37" fmla="*/ 497 h 931"/>
                <a:gd name="T38" fmla="*/ 238 w 243"/>
                <a:gd name="T39" fmla="*/ 493 h 931"/>
                <a:gd name="T40" fmla="*/ 236 w 243"/>
                <a:gd name="T41" fmla="*/ 490 h 931"/>
                <a:gd name="T42" fmla="*/ 234 w 243"/>
                <a:gd name="T43" fmla="*/ 489 h 931"/>
                <a:gd name="T44" fmla="*/ 230 w 243"/>
                <a:gd name="T45" fmla="*/ 488 h 931"/>
                <a:gd name="T46" fmla="*/ 227 w 243"/>
                <a:gd name="T47" fmla="*/ 488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931">
                  <a:moveTo>
                    <a:pt x="227" y="488"/>
                  </a:moveTo>
                  <a:lnTo>
                    <a:pt x="215" y="494"/>
                  </a:lnTo>
                  <a:lnTo>
                    <a:pt x="195" y="504"/>
                  </a:lnTo>
                  <a:lnTo>
                    <a:pt x="170" y="519"/>
                  </a:lnTo>
                  <a:lnTo>
                    <a:pt x="141" y="537"/>
                  </a:lnTo>
                  <a:lnTo>
                    <a:pt x="106" y="0"/>
                  </a:lnTo>
                  <a:lnTo>
                    <a:pt x="15" y="0"/>
                  </a:lnTo>
                  <a:lnTo>
                    <a:pt x="0" y="931"/>
                  </a:lnTo>
                  <a:lnTo>
                    <a:pt x="166" y="931"/>
                  </a:lnTo>
                  <a:lnTo>
                    <a:pt x="145" y="613"/>
                  </a:lnTo>
                  <a:lnTo>
                    <a:pt x="175" y="583"/>
                  </a:lnTo>
                  <a:lnTo>
                    <a:pt x="202" y="557"/>
                  </a:lnTo>
                  <a:lnTo>
                    <a:pt x="222" y="538"/>
                  </a:lnTo>
                  <a:lnTo>
                    <a:pt x="234" y="528"/>
                  </a:lnTo>
                  <a:lnTo>
                    <a:pt x="238" y="522"/>
                  </a:lnTo>
                  <a:lnTo>
                    <a:pt x="241" y="517"/>
                  </a:lnTo>
                  <a:lnTo>
                    <a:pt x="243" y="510"/>
                  </a:lnTo>
                  <a:lnTo>
                    <a:pt x="243" y="504"/>
                  </a:lnTo>
                  <a:lnTo>
                    <a:pt x="241" y="497"/>
                  </a:lnTo>
                  <a:lnTo>
                    <a:pt x="238" y="493"/>
                  </a:lnTo>
                  <a:lnTo>
                    <a:pt x="236" y="490"/>
                  </a:lnTo>
                  <a:lnTo>
                    <a:pt x="234" y="489"/>
                  </a:lnTo>
                  <a:lnTo>
                    <a:pt x="230" y="488"/>
                  </a:lnTo>
                  <a:lnTo>
                    <a:pt x="227" y="488"/>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8" name="Freeform 263">
              <a:extLst>
                <a:ext uri="{FF2B5EF4-FFF2-40B4-BE49-F238E27FC236}">
                  <a16:creationId xmlns:a16="http://schemas.microsoft.com/office/drawing/2014/main" id="{51E04245-C168-A3AD-4AAC-FB54F56A84A3}"/>
                </a:ext>
              </a:extLst>
            </p:cNvPr>
            <p:cNvSpPr>
              <a:spLocks/>
            </p:cNvSpPr>
            <p:nvPr/>
          </p:nvSpPr>
          <p:spPr bwMode="auto">
            <a:xfrm>
              <a:off x="8132370" y="2973554"/>
              <a:ext cx="382099" cy="363929"/>
            </a:xfrm>
            <a:custGeom>
              <a:avLst/>
              <a:gdLst>
                <a:gd name="T0" fmla="*/ 1366 w 1371"/>
                <a:gd name="T1" fmla="*/ 678 h 1211"/>
                <a:gd name="T2" fmla="*/ 1347 w 1371"/>
                <a:gd name="T3" fmla="*/ 621 h 1211"/>
                <a:gd name="T4" fmla="*/ 1300 w 1371"/>
                <a:gd name="T5" fmla="*/ 551 h 1211"/>
                <a:gd name="T6" fmla="*/ 1323 w 1371"/>
                <a:gd name="T7" fmla="*/ 481 h 1211"/>
                <a:gd name="T8" fmla="*/ 1326 w 1371"/>
                <a:gd name="T9" fmla="*/ 409 h 1211"/>
                <a:gd name="T10" fmla="*/ 1311 w 1371"/>
                <a:gd name="T11" fmla="*/ 346 h 1211"/>
                <a:gd name="T12" fmla="*/ 1283 w 1371"/>
                <a:gd name="T13" fmla="*/ 291 h 1211"/>
                <a:gd name="T14" fmla="*/ 1242 w 1371"/>
                <a:gd name="T15" fmla="*/ 243 h 1211"/>
                <a:gd name="T16" fmla="*/ 1191 w 1371"/>
                <a:gd name="T17" fmla="*/ 207 h 1211"/>
                <a:gd name="T18" fmla="*/ 1132 w 1371"/>
                <a:gd name="T19" fmla="*/ 184 h 1211"/>
                <a:gd name="T20" fmla="*/ 1067 w 1371"/>
                <a:gd name="T21" fmla="*/ 176 h 1211"/>
                <a:gd name="T22" fmla="*/ 985 w 1371"/>
                <a:gd name="T23" fmla="*/ 189 h 1211"/>
                <a:gd name="T24" fmla="*/ 927 w 1371"/>
                <a:gd name="T25" fmla="*/ 166 h 1211"/>
                <a:gd name="T26" fmla="*/ 868 w 1371"/>
                <a:gd name="T27" fmla="*/ 74 h 1211"/>
                <a:gd name="T28" fmla="*/ 775 w 1371"/>
                <a:gd name="T29" fmla="*/ 16 h 1211"/>
                <a:gd name="T30" fmla="*/ 662 w 1371"/>
                <a:gd name="T31" fmla="*/ 2 h 1211"/>
                <a:gd name="T32" fmla="*/ 555 w 1371"/>
                <a:gd name="T33" fmla="*/ 35 h 1211"/>
                <a:gd name="T34" fmla="*/ 475 w 1371"/>
                <a:gd name="T35" fmla="*/ 108 h 1211"/>
                <a:gd name="T36" fmla="*/ 430 w 1371"/>
                <a:gd name="T37" fmla="*/ 209 h 1211"/>
                <a:gd name="T38" fmla="*/ 354 w 1371"/>
                <a:gd name="T39" fmla="*/ 180 h 1211"/>
                <a:gd name="T40" fmla="*/ 277 w 1371"/>
                <a:gd name="T41" fmla="*/ 177 h 1211"/>
                <a:gd name="T42" fmla="*/ 214 w 1371"/>
                <a:gd name="T43" fmla="*/ 191 h 1211"/>
                <a:gd name="T44" fmla="*/ 159 w 1371"/>
                <a:gd name="T45" fmla="*/ 220 h 1211"/>
                <a:gd name="T46" fmla="*/ 111 w 1371"/>
                <a:gd name="T47" fmla="*/ 261 h 1211"/>
                <a:gd name="T48" fmla="*/ 75 w 1371"/>
                <a:gd name="T49" fmla="*/ 312 h 1211"/>
                <a:gd name="T50" fmla="*/ 52 w 1371"/>
                <a:gd name="T51" fmla="*/ 370 h 1211"/>
                <a:gd name="T52" fmla="*/ 44 w 1371"/>
                <a:gd name="T53" fmla="*/ 435 h 1211"/>
                <a:gd name="T54" fmla="*/ 55 w 1371"/>
                <a:gd name="T55" fmla="*/ 510 h 1211"/>
                <a:gd name="T56" fmla="*/ 42 w 1371"/>
                <a:gd name="T57" fmla="*/ 589 h 1211"/>
                <a:gd name="T58" fmla="*/ 14 w 1371"/>
                <a:gd name="T59" fmla="*/ 643 h 1211"/>
                <a:gd name="T60" fmla="*/ 1 w 1371"/>
                <a:gd name="T61" fmla="*/ 704 h 1211"/>
                <a:gd name="T62" fmla="*/ 10 w 1371"/>
                <a:gd name="T63" fmla="*/ 800 h 1211"/>
                <a:gd name="T64" fmla="*/ 63 w 1371"/>
                <a:gd name="T65" fmla="*/ 899 h 1211"/>
                <a:gd name="T66" fmla="*/ 152 w 1371"/>
                <a:gd name="T67" fmla="*/ 965 h 1211"/>
                <a:gd name="T68" fmla="*/ 228 w 1371"/>
                <a:gd name="T69" fmla="*/ 1032 h 1211"/>
                <a:gd name="T70" fmla="*/ 287 w 1371"/>
                <a:gd name="T71" fmla="*/ 1131 h 1211"/>
                <a:gd name="T72" fmla="*/ 382 w 1371"/>
                <a:gd name="T73" fmla="*/ 1195 h 1211"/>
                <a:gd name="T74" fmla="*/ 464 w 1371"/>
                <a:gd name="T75" fmla="*/ 1211 h 1211"/>
                <a:gd name="T76" fmla="*/ 539 w 1371"/>
                <a:gd name="T77" fmla="*/ 1205 h 1211"/>
                <a:gd name="T78" fmla="*/ 608 w 1371"/>
                <a:gd name="T79" fmla="*/ 1176 h 1211"/>
                <a:gd name="T80" fmla="*/ 667 w 1371"/>
                <a:gd name="T81" fmla="*/ 1129 h 1211"/>
                <a:gd name="T82" fmla="*/ 715 w 1371"/>
                <a:gd name="T83" fmla="*/ 1140 h 1211"/>
                <a:gd name="T84" fmla="*/ 775 w 1371"/>
                <a:gd name="T85" fmla="*/ 1183 h 1211"/>
                <a:gd name="T86" fmla="*/ 848 w 1371"/>
                <a:gd name="T87" fmla="*/ 1208 h 1211"/>
                <a:gd name="T88" fmla="*/ 920 w 1371"/>
                <a:gd name="T89" fmla="*/ 1210 h 1211"/>
                <a:gd name="T90" fmla="*/ 1010 w 1371"/>
                <a:gd name="T91" fmla="*/ 1185 h 1211"/>
                <a:gd name="T92" fmla="*/ 1099 w 1371"/>
                <a:gd name="T93" fmla="*/ 1113 h 1211"/>
                <a:gd name="T94" fmla="*/ 1148 w 1371"/>
                <a:gd name="T95" fmla="*/ 1009 h 1211"/>
                <a:gd name="T96" fmla="*/ 1239 w 1371"/>
                <a:gd name="T97" fmla="*/ 955 h 1211"/>
                <a:gd name="T98" fmla="*/ 1322 w 1371"/>
                <a:gd name="T99" fmla="*/ 881 h 1211"/>
                <a:gd name="T100" fmla="*/ 1367 w 1371"/>
                <a:gd name="T101" fmla="*/ 777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1" h="1211">
                  <a:moveTo>
                    <a:pt x="1371" y="729"/>
                  </a:moveTo>
                  <a:lnTo>
                    <a:pt x="1370" y="717"/>
                  </a:lnTo>
                  <a:lnTo>
                    <a:pt x="1369" y="704"/>
                  </a:lnTo>
                  <a:lnTo>
                    <a:pt x="1368" y="692"/>
                  </a:lnTo>
                  <a:lnTo>
                    <a:pt x="1366" y="678"/>
                  </a:lnTo>
                  <a:lnTo>
                    <a:pt x="1364" y="666"/>
                  </a:lnTo>
                  <a:lnTo>
                    <a:pt x="1360" y="655"/>
                  </a:lnTo>
                  <a:lnTo>
                    <a:pt x="1356" y="643"/>
                  </a:lnTo>
                  <a:lnTo>
                    <a:pt x="1351" y="632"/>
                  </a:lnTo>
                  <a:lnTo>
                    <a:pt x="1347" y="621"/>
                  </a:lnTo>
                  <a:lnTo>
                    <a:pt x="1342" y="610"/>
                  </a:lnTo>
                  <a:lnTo>
                    <a:pt x="1336" y="599"/>
                  </a:lnTo>
                  <a:lnTo>
                    <a:pt x="1329" y="589"/>
                  </a:lnTo>
                  <a:lnTo>
                    <a:pt x="1315" y="569"/>
                  </a:lnTo>
                  <a:lnTo>
                    <a:pt x="1300" y="551"/>
                  </a:lnTo>
                  <a:lnTo>
                    <a:pt x="1306" y="538"/>
                  </a:lnTo>
                  <a:lnTo>
                    <a:pt x="1312" y="524"/>
                  </a:lnTo>
                  <a:lnTo>
                    <a:pt x="1316" y="510"/>
                  </a:lnTo>
                  <a:lnTo>
                    <a:pt x="1319" y="496"/>
                  </a:lnTo>
                  <a:lnTo>
                    <a:pt x="1323" y="481"/>
                  </a:lnTo>
                  <a:lnTo>
                    <a:pt x="1325" y="466"/>
                  </a:lnTo>
                  <a:lnTo>
                    <a:pt x="1326" y="451"/>
                  </a:lnTo>
                  <a:lnTo>
                    <a:pt x="1327" y="435"/>
                  </a:lnTo>
                  <a:lnTo>
                    <a:pt x="1326" y="422"/>
                  </a:lnTo>
                  <a:lnTo>
                    <a:pt x="1326" y="409"/>
                  </a:lnTo>
                  <a:lnTo>
                    <a:pt x="1324" y="396"/>
                  </a:lnTo>
                  <a:lnTo>
                    <a:pt x="1322" y="384"/>
                  </a:lnTo>
                  <a:lnTo>
                    <a:pt x="1318" y="370"/>
                  </a:lnTo>
                  <a:lnTo>
                    <a:pt x="1315" y="358"/>
                  </a:lnTo>
                  <a:lnTo>
                    <a:pt x="1311" y="346"/>
                  </a:lnTo>
                  <a:lnTo>
                    <a:pt x="1306" y="335"/>
                  </a:lnTo>
                  <a:lnTo>
                    <a:pt x="1302" y="323"/>
                  </a:lnTo>
                  <a:lnTo>
                    <a:pt x="1295" y="312"/>
                  </a:lnTo>
                  <a:lnTo>
                    <a:pt x="1290" y="301"/>
                  </a:lnTo>
                  <a:lnTo>
                    <a:pt x="1283" y="291"/>
                  </a:lnTo>
                  <a:lnTo>
                    <a:pt x="1275" y="280"/>
                  </a:lnTo>
                  <a:lnTo>
                    <a:pt x="1268" y="270"/>
                  </a:lnTo>
                  <a:lnTo>
                    <a:pt x="1260" y="261"/>
                  </a:lnTo>
                  <a:lnTo>
                    <a:pt x="1251" y="252"/>
                  </a:lnTo>
                  <a:lnTo>
                    <a:pt x="1242" y="243"/>
                  </a:lnTo>
                  <a:lnTo>
                    <a:pt x="1232" y="234"/>
                  </a:lnTo>
                  <a:lnTo>
                    <a:pt x="1222" y="227"/>
                  </a:lnTo>
                  <a:lnTo>
                    <a:pt x="1212" y="220"/>
                  </a:lnTo>
                  <a:lnTo>
                    <a:pt x="1201" y="213"/>
                  </a:lnTo>
                  <a:lnTo>
                    <a:pt x="1191" y="207"/>
                  </a:lnTo>
                  <a:lnTo>
                    <a:pt x="1179" y="201"/>
                  </a:lnTo>
                  <a:lnTo>
                    <a:pt x="1168" y="196"/>
                  </a:lnTo>
                  <a:lnTo>
                    <a:pt x="1156" y="191"/>
                  </a:lnTo>
                  <a:lnTo>
                    <a:pt x="1144" y="187"/>
                  </a:lnTo>
                  <a:lnTo>
                    <a:pt x="1132" y="184"/>
                  </a:lnTo>
                  <a:lnTo>
                    <a:pt x="1120" y="181"/>
                  </a:lnTo>
                  <a:lnTo>
                    <a:pt x="1106" y="178"/>
                  </a:lnTo>
                  <a:lnTo>
                    <a:pt x="1093" y="177"/>
                  </a:lnTo>
                  <a:lnTo>
                    <a:pt x="1080" y="176"/>
                  </a:lnTo>
                  <a:lnTo>
                    <a:pt x="1067" y="176"/>
                  </a:lnTo>
                  <a:lnTo>
                    <a:pt x="1050" y="176"/>
                  </a:lnTo>
                  <a:lnTo>
                    <a:pt x="1033" y="178"/>
                  </a:lnTo>
                  <a:lnTo>
                    <a:pt x="1017" y="180"/>
                  </a:lnTo>
                  <a:lnTo>
                    <a:pt x="1000" y="185"/>
                  </a:lnTo>
                  <a:lnTo>
                    <a:pt x="985" y="189"/>
                  </a:lnTo>
                  <a:lnTo>
                    <a:pt x="969" y="195"/>
                  </a:lnTo>
                  <a:lnTo>
                    <a:pt x="955" y="201"/>
                  </a:lnTo>
                  <a:lnTo>
                    <a:pt x="941" y="209"/>
                  </a:lnTo>
                  <a:lnTo>
                    <a:pt x="935" y="187"/>
                  </a:lnTo>
                  <a:lnTo>
                    <a:pt x="927" y="166"/>
                  </a:lnTo>
                  <a:lnTo>
                    <a:pt x="919" y="145"/>
                  </a:lnTo>
                  <a:lnTo>
                    <a:pt x="907" y="126"/>
                  </a:lnTo>
                  <a:lnTo>
                    <a:pt x="895" y="108"/>
                  </a:lnTo>
                  <a:lnTo>
                    <a:pt x="882" y="91"/>
                  </a:lnTo>
                  <a:lnTo>
                    <a:pt x="868" y="74"/>
                  </a:lnTo>
                  <a:lnTo>
                    <a:pt x="851" y="60"/>
                  </a:lnTo>
                  <a:lnTo>
                    <a:pt x="833" y="47"/>
                  </a:lnTo>
                  <a:lnTo>
                    <a:pt x="815" y="35"/>
                  </a:lnTo>
                  <a:lnTo>
                    <a:pt x="796" y="25"/>
                  </a:lnTo>
                  <a:lnTo>
                    <a:pt x="775" y="16"/>
                  </a:lnTo>
                  <a:lnTo>
                    <a:pt x="754" y="9"/>
                  </a:lnTo>
                  <a:lnTo>
                    <a:pt x="732" y="4"/>
                  </a:lnTo>
                  <a:lnTo>
                    <a:pt x="709" y="2"/>
                  </a:lnTo>
                  <a:lnTo>
                    <a:pt x="686" y="0"/>
                  </a:lnTo>
                  <a:lnTo>
                    <a:pt x="662" y="2"/>
                  </a:lnTo>
                  <a:lnTo>
                    <a:pt x="639" y="4"/>
                  </a:lnTo>
                  <a:lnTo>
                    <a:pt x="617" y="9"/>
                  </a:lnTo>
                  <a:lnTo>
                    <a:pt x="596" y="16"/>
                  </a:lnTo>
                  <a:lnTo>
                    <a:pt x="575" y="25"/>
                  </a:lnTo>
                  <a:lnTo>
                    <a:pt x="555" y="35"/>
                  </a:lnTo>
                  <a:lnTo>
                    <a:pt x="536" y="47"/>
                  </a:lnTo>
                  <a:lnTo>
                    <a:pt x="520" y="60"/>
                  </a:lnTo>
                  <a:lnTo>
                    <a:pt x="503" y="74"/>
                  </a:lnTo>
                  <a:lnTo>
                    <a:pt x="488" y="90"/>
                  </a:lnTo>
                  <a:lnTo>
                    <a:pt x="475" y="108"/>
                  </a:lnTo>
                  <a:lnTo>
                    <a:pt x="462" y="126"/>
                  </a:lnTo>
                  <a:lnTo>
                    <a:pt x="452" y="145"/>
                  </a:lnTo>
                  <a:lnTo>
                    <a:pt x="443" y="166"/>
                  </a:lnTo>
                  <a:lnTo>
                    <a:pt x="436" y="187"/>
                  </a:lnTo>
                  <a:lnTo>
                    <a:pt x="430" y="209"/>
                  </a:lnTo>
                  <a:lnTo>
                    <a:pt x="416" y="201"/>
                  </a:lnTo>
                  <a:lnTo>
                    <a:pt x="402" y="195"/>
                  </a:lnTo>
                  <a:lnTo>
                    <a:pt x="386" y="189"/>
                  </a:lnTo>
                  <a:lnTo>
                    <a:pt x="370" y="185"/>
                  </a:lnTo>
                  <a:lnTo>
                    <a:pt x="354" y="180"/>
                  </a:lnTo>
                  <a:lnTo>
                    <a:pt x="338" y="178"/>
                  </a:lnTo>
                  <a:lnTo>
                    <a:pt x="321" y="176"/>
                  </a:lnTo>
                  <a:lnTo>
                    <a:pt x="303" y="176"/>
                  </a:lnTo>
                  <a:lnTo>
                    <a:pt x="290" y="176"/>
                  </a:lnTo>
                  <a:lnTo>
                    <a:pt x="277" y="177"/>
                  </a:lnTo>
                  <a:lnTo>
                    <a:pt x="264" y="178"/>
                  </a:lnTo>
                  <a:lnTo>
                    <a:pt x="251" y="181"/>
                  </a:lnTo>
                  <a:lnTo>
                    <a:pt x="238" y="184"/>
                  </a:lnTo>
                  <a:lnTo>
                    <a:pt x="226" y="187"/>
                  </a:lnTo>
                  <a:lnTo>
                    <a:pt x="214" y="191"/>
                  </a:lnTo>
                  <a:lnTo>
                    <a:pt x="203" y="196"/>
                  </a:lnTo>
                  <a:lnTo>
                    <a:pt x="191" y="201"/>
                  </a:lnTo>
                  <a:lnTo>
                    <a:pt x="180" y="207"/>
                  </a:lnTo>
                  <a:lnTo>
                    <a:pt x="169" y="213"/>
                  </a:lnTo>
                  <a:lnTo>
                    <a:pt x="159" y="220"/>
                  </a:lnTo>
                  <a:lnTo>
                    <a:pt x="148" y="227"/>
                  </a:lnTo>
                  <a:lnTo>
                    <a:pt x="138" y="234"/>
                  </a:lnTo>
                  <a:lnTo>
                    <a:pt x="129" y="243"/>
                  </a:lnTo>
                  <a:lnTo>
                    <a:pt x="120" y="252"/>
                  </a:lnTo>
                  <a:lnTo>
                    <a:pt x="111" y="261"/>
                  </a:lnTo>
                  <a:lnTo>
                    <a:pt x="104" y="270"/>
                  </a:lnTo>
                  <a:lnTo>
                    <a:pt x="96" y="280"/>
                  </a:lnTo>
                  <a:lnTo>
                    <a:pt x="88" y="291"/>
                  </a:lnTo>
                  <a:lnTo>
                    <a:pt x="81" y="301"/>
                  </a:lnTo>
                  <a:lnTo>
                    <a:pt x="75" y="312"/>
                  </a:lnTo>
                  <a:lnTo>
                    <a:pt x="69" y="323"/>
                  </a:lnTo>
                  <a:lnTo>
                    <a:pt x="64" y="335"/>
                  </a:lnTo>
                  <a:lnTo>
                    <a:pt x="59" y="346"/>
                  </a:lnTo>
                  <a:lnTo>
                    <a:pt x="55" y="358"/>
                  </a:lnTo>
                  <a:lnTo>
                    <a:pt x="52" y="370"/>
                  </a:lnTo>
                  <a:lnTo>
                    <a:pt x="49" y="384"/>
                  </a:lnTo>
                  <a:lnTo>
                    <a:pt x="47" y="396"/>
                  </a:lnTo>
                  <a:lnTo>
                    <a:pt x="45" y="409"/>
                  </a:lnTo>
                  <a:lnTo>
                    <a:pt x="44" y="422"/>
                  </a:lnTo>
                  <a:lnTo>
                    <a:pt x="44" y="435"/>
                  </a:lnTo>
                  <a:lnTo>
                    <a:pt x="44" y="451"/>
                  </a:lnTo>
                  <a:lnTo>
                    <a:pt x="45" y="466"/>
                  </a:lnTo>
                  <a:lnTo>
                    <a:pt x="48" y="481"/>
                  </a:lnTo>
                  <a:lnTo>
                    <a:pt x="50" y="496"/>
                  </a:lnTo>
                  <a:lnTo>
                    <a:pt x="55" y="510"/>
                  </a:lnTo>
                  <a:lnTo>
                    <a:pt x="59" y="524"/>
                  </a:lnTo>
                  <a:lnTo>
                    <a:pt x="65" y="538"/>
                  </a:lnTo>
                  <a:lnTo>
                    <a:pt x="70" y="551"/>
                  </a:lnTo>
                  <a:lnTo>
                    <a:pt x="55" y="569"/>
                  </a:lnTo>
                  <a:lnTo>
                    <a:pt x="42" y="589"/>
                  </a:lnTo>
                  <a:lnTo>
                    <a:pt x="35" y="599"/>
                  </a:lnTo>
                  <a:lnTo>
                    <a:pt x="30" y="610"/>
                  </a:lnTo>
                  <a:lnTo>
                    <a:pt x="24" y="621"/>
                  </a:lnTo>
                  <a:lnTo>
                    <a:pt x="18" y="632"/>
                  </a:lnTo>
                  <a:lnTo>
                    <a:pt x="14" y="643"/>
                  </a:lnTo>
                  <a:lnTo>
                    <a:pt x="11" y="655"/>
                  </a:lnTo>
                  <a:lnTo>
                    <a:pt x="7" y="666"/>
                  </a:lnTo>
                  <a:lnTo>
                    <a:pt x="5" y="678"/>
                  </a:lnTo>
                  <a:lnTo>
                    <a:pt x="3" y="692"/>
                  </a:lnTo>
                  <a:lnTo>
                    <a:pt x="1" y="704"/>
                  </a:lnTo>
                  <a:lnTo>
                    <a:pt x="0" y="717"/>
                  </a:lnTo>
                  <a:lnTo>
                    <a:pt x="0" y="729"/>
                  </a:lnTo>
                  <a:lnTo>
                    <a:pt x="1" y="753"/>
                  </a:lnTo>
                  <a:lnTo>
                    <a:pt x="4" y="777"/>
                  </a:lnTo>
                  <a:lnTo>
                    <a:pt x="10" y="800"/>
                  </a:lnTo>
                  <a:lnTo>
                    <a:pt x="16" y="821"/>
                  </a:lnTo>
                  <a:lnTo>
                    <a:pt x="25" y="842"/>
                  </a:lnTo>
                  <a:lnTo>
                    <a:pt x="36" y="862"/>
                  </a:lnTo>
                  <a:lnTo>
                    <a:pt x="48" y="881"/>
                  </a:lnTo>
                  <a:lnTo>
                    <a:pt x="63" y="899"/>
                  </a:lnTo>
                  <a:lnTo>
                    <a:pt x="78" y="915"/>
                  </a:lnTo>
                  <a:lnTo>
                    <a:pt x="95" y="930"/>
                  </a:lnTo>
                  <a:lnTo>
                    <a:pt x="112" y="943"/>
                  </a:lnTo>
                  <a:lnTo>
                    <a:pt x="132" y="955"/>
                  </a:lnTo>
                  <a:lnTo>
                    <a:pt x="152" y="965"/>
                  </a:lnTo>
                  <a:lnTo>
                    <a:pt x="173" y="974"/>
                  </a:lnTo>
                  <a:lnTo>
                    <a:pt x="195" y="981"/>
                  </a:lnTo>
                  <a:lnTo>
                    <a:pt x="218" y="985"/>
                  </a:lnTo>
                  <a:lnTo>
                    <a:pt x="223" y="1009"/>
                  </a:lnTo>
                  <a:lnTo>
                    <a:pt x="228" y="1032"/>
                  </a:lnTo>
                  <a:lnTo>
                    <a:pt x="237" y="1054"/>
                  </a:lnTo>
                  <a:lnTo>
                    <a:pt x="247" y="1075"/>
                  </a:lnTo>
                  <a:lnTo>
                    <a:pt x="259" y="1094"/>
                  </a:lnTo>
                  <a:lnTo>
                    <a:pt x="272" y="1113"/>
                  </a:lnTo>
                  <a:lnTo>
                    <a:pt x="287" y="1131"/>
                  </a:lnTo>
                  <a:lnTo>
                    <a:pt x="303" y="1146"/>
                  </a:lnTo>
                  <a:lnTo>
                    <a:pt x="321" y="1161"/>
                  </a:lnTo>
                  <a:lnTo>
                    <a:pt x="341" y="1174"/>
                  </a:lnTo>
                  <a:lnTo>
                    <a:pt x="361" y="1185"/>
                  </a:lnTo>
                  <a:lnTo>
                    <a:pt x="382" y="1195"/>
                  </a:lnTo>
                  <a:lnTo>
                    <a:pt x="404" y="1202"/>
                  </a:lnTo>
                  <a:lnTo>
                    <a:pt x="427" y="1207"/>
                  </a:lnTo>
                  <a:lnTo>
                    <a:pt x="439" y="1209"/>
                  </a:lnTo>
                  <a:lnTo>
                    <a:pt x="451" y="1210"/>
                  </a:lnTo>
                  <a:lnTo>
                    <a:pt x="464" y="1211"/>
                  </a:lnTo>
                  <a:lnTo>
                    <a:pt x="476" y="1211"/>
                  </a:lnTo>
                  <a:lnTo>
                    <a:pt x="492" y="1211"/>
                  </a:lnTo>
                  <a:lnTo>
                    <a:pt x="508" y="1210"/>
                  </a:lnTo>
                  <a:lnTo>
                    <a:pt x="523" y="1208"/>
                  </a:lnTo>
                  <a:lnTo>
                    <a:pt x="539" y="1205"/>
                  </a:lnTo>
                  <a:lnTo>
                    <a:pt x="553" y="1200"/>
                  </a:lnTo>
                  <a:lnTo>
                    <a:pt x="567" y="1195"/>
                  </a:lnTo>
                  <a:lnTo>
                    <a:pt x="582" y="1189"/>
                  </a:lnTo>
                  <a:lnTo>
                    <a:pt x="595" y="1183"/>
                  </a:lnTo>
                  <a:lnTo>
                    <a:pt x="608" y="1176"/>
                  </a:lnTo>
                  <a:lnTo>
                    <a:pt x="621" y="1167"/>
                  </a:lnTo>
                  <a:lnTo>
                    <a:pt x="634" y="1158"/>
                  </a:lnTo>
                  <a:lnTo>
                    <a:pt x="645" y="1150"/>
                  </a:lnTo>
                  <a:lnTo>
                    <a:pt x="656" y="1140"/>
                  </a:lnTo>
                  <a:lnTo>
                    <a:pt x="667" y="1129"/>
                  </a:lnTo>
                  <a:lnTo>
                    <a:pt x="676" y="1118"/>
                  </a:lnTo>
                  <a:lnTo>
                    <a:pt x="686" y="1105"/>
                  </a:lnTo>
                  <a:lnTo>
                    <a:pt x="694" y="1118"/>
                  </a:lnTo>
                  <a:lnTo>
                    <a:pt x="704" y="1129"/>
                  </a:lnTo>
                  <a:lnTo>
                    <a:pt x="715" y="1140"/>
                  </a:lnTo>
                  <a:lnTo>
                    <a:pt x="726" y="1150"/>
                  </a:lnTo>
                  <a:lnTo>
                    <a:pt x="737" y="1158"/>
                  </a:lnTo>
                  <a:lnTo>
                    <a:pt x="750" y="1167"/>
                  </a:lnTo>
                  <a:lnTo>
                    <a:pt x="763" y="1176"/>
                  </a:lnTo>
                  <a:lnTo>
                    <a:pt x="775" y="1183"/>
                  </a:lnTo>
                  <a:lnTo>
                    <a:pt x="789" y="1189"/>
                  </a:lnTo>
                  <a:lnTo>
                    <a:pt x="803" y="1195"/>
                  </a:lnTo>
                  <a:lnTo>
                    <a:pt x="818" y="1200"/>
                  </a:lnTo>
                  <a:lnTo>
                    <a:pt x="832" y="1205"/>
                  </a:lnTo>
                  <a:lnTo>
                    <a:pt x="848" y="1208"/>
                  </a:lnTo>
                  <a:lnTo>
                    <a:pt x="863" y="1210"/>
                  </a:lnTo>
                  <a:lnTo>
                    <a:pt x="879" y="1211"/>
                  </a:lnTo>
                  <a:lnTo>
                    <a:pt x="894" y="1211"/>
                  </a:lnTo>
                  <a:lnTo>
                    <a:pt x="907" y="1211"/>
                  </a:lnTo>
                  <a:lnTo>
                    <a:pt x="920" y="1210"/>
                  </a:lnTo>
                  <a:lnTo>
                    <a:pt x="931" y="1209"/>
                  </a:lnTo>
                  <a:lnTo>
                    <a:pt x="943" y="1207"/>
                  </a:lnTo>
                  <a:lnTo>
                    <a:pt x="966" y="1202"/>
                  </a:lnTo>
                  <a:lnTo>
                    <a:pt x="988" y="1195"/>
                  </a:lnTo>
                  <a:lnTo>
                    <a:pt x="1010" y="1185"/>
                  </a:lnTo>
                  <a:lnTo>
                    <a:pt x="1030" y="1174"/>
                  </a:lnTo>
                  <a:lnTo>
                    <a:pt x="1049" y="1161"/>
                  </a:lnTo>
                  <a:lnTo>
                    <a:pt x="1067" y="1146"/>
                  </a:lnTo>
                  <a:lnTo>
                    <a:pt x="1083" y="1131"/>
                  </a:lnTo>
                  <a:lnTo>
                    <a:pt x="1099" y="1113"/>
                  </a:lnTo>
                  <a:lnTo>
                    <a:pt x="1112" y="1094"/>
                  </a:lnTo>
                  <a:lnTo>
                    <a:pt x="1124" y="1075"/>
                  </a:lnTo>
                  <a:lnTo>
                    <a:pt x="1134" y="1054"/>
                  </a:lnTo>
                  <a:lnTo>
                    <a:pt x="1142" y="1032"/>
                  </a:lnTo>
                  <a:lnTo>
                    <a:pt x="1148" y="1009"/>
                  </a:lnTo>
                  <a:lnTo>
                    <a:pt x="1153" y="985"/>
                  </a:lnTo>
                  <a:lnTo>
                    <a:pt x="1175" y="981"/>
                  </a:lnTo>
                  <a:lnTo>
                    <a:pt x="1197" y="974"/>
                  </a:lnTo>
                  <a:lnTo>
                    <a:pt x="1219" y="965"/>
                  </a:lnTo>
                  <a:lnTo>
                    <a:pt x="1239" y="955"/>
                  </a:lnTo>
                  <a:lnTo>
                    <a:pt x="1258" y="943"/>
                  </a:lnTo>
                  <a:lnTo>
                    <a:pt x="1276" y="930"/>
                  </a:lnTo>
                  <a:lnTo>
                    <a:pt x="1293" y="915"/>
                  </a:lnTo>
                  <a:lnTo>
                    <a:pt x="1308" y="899"/>
                  </a:lnTo>
                  <a:lnTo>
                    <a:pt x="1322" y="881"/>
                  </a:lnTo>
                  <a:lnTo>
                    <a:pt x="1334" y="862"/>
                  </a:lnTo>
                  <a:lnTo>
                    <a:pt x="1345" y="842"/>
                  </a:lnTo>
                  <a:lnTo>
                    <a:pt x="1354" y="821"/>
                  </a:lnTo>
                  <a:lnTo>
                    <a:pt x="1361" y="800"/>
                  </a:lnTo>
                  <a:lnTo>
                    <a:pt x="1367" y="777"/>
                  </a:lnTo>
                  <a:lnTo>
                    <a:pt x="1370" y="753"/>
                  </a:lnTo>
                  <a:lnTo>
                    <a:pt x="1371" y="729"/>
                  </a:lnTo>
                  <a:close/>
                </a:path>
              </a:pathLst>
            </a:custGeom>
            <a:solidFill>
              <a:srgbClr val="00A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9" name="Freeform 264">
              <a:extLst>
                <a:ext uri="{FF2B5EF4-FFF2-40B4-BE49-F238E27FC236}">
                  <a16:creationId xmlns:a16="http://schemas.microsoft.com/office/drawing/2014/main" id="{06BF0C77-9155-D62A-B13E-9E6CC6454C48}"/>
                </a:ext>
              </a:extLst>
            </p:cNvPr>
            <p:cNvSpPr>
              <a:spLocks/>
            </p:cNvSpPr>
            <p:nvPr/>
          </p:nvSpPr>
          <p:spPr bwMode="auto">
            <a:xfrm>
              <a:off x="8195124" y="3027692"/>
              <a:ext cx="319346" cy="309790"/>
            </a:xfrm>
            <a:custGeom>
              <a:avLst/>
              <a:gdLst>
                <a:gd name="T0" fmla="*/ 1087 w 1142"/>
                <a:gd name="T1" fmla="*/ 331 h 1032"/>
                <a:gd name="T2" fmla="*/ 1097 w 1142"/>
                <a:gd name="T3" fmla="*/ 272 h 1032"/>
                <a:gd name="T4" fmla="*/ 1088 w 1142"/>
                <a:gd name="T5" fmla="*/ 187 h 1032"/>
                <a:gd name="T6" fmla="*/ 1050 w 1142"/>
                <a:gd name="T7" fmla="*/ 105 h 1032"/>
                <a:gd name="T8" fmla="*/ 986 w 1142"/>
                <a:gd name="T9" fmla="*/ 43 h 1032"/>
                <a:gd name="T10" fmla="*/ 904 w 1142"/>
                <a:gd name="T11" fmla="*/ 6 h 1032"/>
                <a:gd name="T12" fmla="*/ 916 w 1142"/>
                <a:gd name="T13" fmla="*/ 29 h 1032"/>
                <a:gd name="T14" fmla="*/ 955 w 1142"/>
                <a:gd name="T15" fmla="*/ 74 h 1032"/>
                <a:gd name="T16" fmla="*/ 980 w 1142"/>
                <a:gd name="T17" fmla="*/ 129 h 1032"/>
                <a:gd name="T18" fmla="*/ 992 w 1142"/>
                <a:gd name="T19" fmla="*/ 190 h 1032"/>
                <a:gd name="T20" fmla="*/ 989 w 1142"/>
                <a:gd name="T21" fmla="*/ 250 h 1032"/>
                <a:gd name="T22" fmla="*/ 973 w 1142"/>
                <a:gd name="T23" fmla="*/ 303 h 1032"/>
                <a:gd name="T24" fmla="*/ 1006 w 1142"/>
                <a:gd name="T25" fmla="*/ 371 h 1032"/>
                <a:gd name="T26" fmla="*/ 1027 w 1142"/>
                <a:gd name="T27" fmla="*/ 425 h 1032"/>
                <a:gd name="T28" fmla="*/ 1034 w 1142"/>
                <a:gd name="T29" fmla="*/ 473 h 1032"/>
                <a:gd name="T30" fmla="*/ 1025 w 1142"/>
                <a:gd name="T31" fmla="*/ 551 h 1032"/>
                <a:gd name="T32" fmla="*/ 988 w 1142"/>
                <a:gd name="T33" fmla="*/ 628 h 1032"/>
                <a:gd name="T34" fmla="*/ 927 w 1142"/>
                <a:gd name="T35" fmla="*/ 687 h 1032"/>
                <a:gd name="T36" fmla="*/ 849 w 1142"/>
                <a:gd name="T37" fmla="*/ 722 h 1032"/>
                <a:gd name="T38" fmla="*/ 810 w 1142"/>
                <a:gd name="T39" fmla="*/ 792 h 1032"/>
                <a:gd name="T40" fmla="*/ 762 w 1142"/>
                <a:gd name="T41" fmla="*/ 865 h 1032"/>
                <a:gd name="T42" fmla="*/ 693 w 1142"/>
                <a:gd name="T43" fmla="*/ 917 h 1032"/>
                <a:gd name="T44" fmla="*/ 607 w 1142"/>
                <a:gd name="T45" fmla="*/ 941 h 1032"/>
                <a:gd name="T46" fmla="*/ 539 w 1142"/>
                <a:gd name="T47" fmla="*/ 938 h 1032"/>
                <a:gd name="T48" fmla="*/ 484 w 1142"/>
                <a:gd name="T49" fmla="*/ 920 h 1032"/>
                <a:gd name="T50" fmla="*/ 434 w 1142"/>
                <a:gd name="T51" fmla="*/ 891 h 1032"/>
                <a:gd name="T52" fmla="*/ 394 w 1142"/>
                <a:gd name="T53" fmla="*/ 853 h 1032"/>
                <a:gd name="T54" fmla="*/ 357 w 1142"/>
                <a:gd name="T55" fmla="*/ 874 h 1032"/>
                <a:gd name="T56" fmla="*/ 313 w 1142"/>
                <a:gd name="T57" fmla="*/ 908 h 1032"/>
                <a:gd name="T58" fmla="*/ 260 w 1142"/>
                <a:gd name="T59" fmla="*/ 931 h 1032"/>
                <a:gd name="T60" fmla="*/ 203 w 1142"/>
                <a:gd name="T61" fmla="*/ 941 h 1032"/>
                <a:gd name="T62" fmla="*/ 146 w 1142"/>
                <a:gd name="T63" fmla="*/ 939 h 1032"/>
                <a:gd name="T64" fmla="*/ 94 w 1142"/>
                <a:gd name="T65" fmla="*/ 923 h 1032"/>
                <a:gd name="T66" fmla="*/ 49 w 1142"/>
                <a:gd name="T67" fmla="*/ 899 h 1032"/>
                <a:gd name="T68" fmla="*/ 9 w 1142"/>
                <a:gd name="T69" fmla="*/ 866 h 1032"/>
                <a:gd name="T70" fmla="*/ 27 w 1142"/>
                <a:gd name="T71" fmla="*/ 910 h 1032"/>
                <a:gd name="T72" fmla="*/ 78 w 1142"/>
                <a:gd name="T73" fmla="*/ 971 h 1032"/>
                <a:gd name="T74" fmla="*/ 146 w 1142"/>
                <a:gd name="T75" fmla="*/ 1013 h 1032"/>
                <a:gd name="T76" fmla="*/ 226 w 1142"/>
                <a:gd name="T77" fmla="*/ 1032 h 1032"/>
                <a:gd name="T78" fmla="*/ 294 w 1142"/>
                <a:gd name="T79" fmla="*/ 1029 h 1032"/>
                <a:gd name="T80" fmla="*/ 353 w 1142"/>
                <a:gd name="T81" fmla="*/ 1010 h 1032"/>
                <a:gd name="T82" fmla="*/ 405 w 1142"/>
                <a:gd name="T83" fmla="*/ 979 h 1032"/>
                <a:gd name="T84" fmla="*/ 447 w 1142"/>
                <a:gd name="T85" fmla="*/ 939 h 1032"/>
                <a:gd name="T86" fmla="*/ 486 w 1142"/>
                <a:gd name="T87" fmla="*/ 961 h 1032"/>
                <a:gd name="T88" fmla="*/ 534 w 1142"/>
                <a:gd name="T89" fmla="*/ 997 h 1032"/>
                <a:gd name="T90" fmla="*/ 589 w 1142"/>
                <a:gd name="T91" fmla="*/ 1021 h 1032"/>
                <a:gd name="T92" fmla="*/ 650 w 1142"/>
                <a:gd name="T93" fmla="*/ 1032 h 1032"/>
                <a:gd name="T94" fmla="*/ 702 w 1142"/>
                <a:gd name="T95" fmla="*/ 1030 h 1032"/>
                <a:gd name="T96" fmla="*/ 781 w 1142"/>
                <a:gd name="T97" fmla="*/ 1006 h 1032"/>
                <a:gd name="T98" fmla="*/ 854 w 1142"/>
                <a:gd name="T99" fmla="*/ 952 h 1032"/>
                <a:gd name="T100" fmla="*/ 905 w 1142"/>
                <a:gd name="T101" fmla="*/ 875 h 1032"/>
                <a:gd name="T102" fmla="*/ 946 w 1142"/>
                <a:gd name="T103" fmla="*/ 802 h 1032"/>
                <a:gd name="T104" fmla="*/ 1029 w 1142"/>
                <a:gd name="T105" fmla="*/ 764 h 1032"/>
                <a:gd name="T106" fmla="*/ 1093 w 1142"/>
                <a:gd name="T107" fmla="*/ 702 h 1032"/>
                <a:gd name="T108" fmla="*/ 1132 w 1142"/>
                <a:gd name="T109" fmla="*/ 621 h 1032"/>
                <a:gd name="T110" fmla="*/ 1141 w 1142"/>
                <a:gd name="T111" fmla="*/ 538 h 1032"/>
                <a:gd name="T112" fmla="*/ 1135 w 1142"/>
                <a:gd name="T113" fmla="*/ 487 h 1032"/>
                <a:gd name="T114" fmla="*/ 1118 w 1142"/>
                <a:gd name="T115" fmla="*/ 442 h 1032"/>
                <a:gd name="T116" fmla="*/ 1086 w 1142"/>
                <a:gd name="T117" fmla="*/ 39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2" h="1032">
                  <a:moveTo>
                    <a:pt x="1071" y="372"/>
                  </a:moveTo>
                  <a:lnTo>
                    <a:pt x="1077" y="359"/>
                  </a:lnTo>
                  <a:lnTo>
                    <a:pt x="1083" y="345"/>
                  </a:lnTo>
                  <a:lnTo>
                    <a:pt x="1087" y="331"/>
                  </a:lnTo>
                  <a:lnTo>
                    <a:pt x="1090" y="317"/>
                  </a:lnTo>
                  <a:lnTo>
                    <a:pt x="1094" y="302"/>
                  </a:lnTo>
                  <a:lnTo>
                    <a:pt x="1096" y="287"/>
                  </a:lnTo>
                  <a:lnTo>
                    <a:pt x="1097" y="272"/>
                  </a:lnTo>
                  <a:lnTo>
                    <a:pt x="1098" y="256"/>
                  </a:lnTo>
                  <a:lnTo>
                    <a:pt x="1097" y="233"/>
                  </a:lnTo>
                  <a:lnTo>
                    <a:pt x="1094" y="209"/>
                  </a:lnTo>
                  <a:lnTo>
                    <a:pt x="1088" y="187"/>
                  </a:lnTo>
                  <a:lnTo>
                    <a:pt x="1082" y="165"/>
                  </a:lnTo>
                  <a:lnTo>
                    <a:pt x="1073" y="144"/>
                  </a:lnTo>
                  <a:lnTo>
                    <a:pt x="1062" y="124"/>
                  </a:lnTo>
                  <a:lnTo>
                    <a:pt x="1050" y="105"/>
                  </a:lnTo>
                  <a:lnTo>
                    <a:pt x="1035" y="87"/>
                  </a:lnTo>
                  <a:lnTo>
                    <a:pt x="1021" y="72"/>
                  </a:lnTo>
                  <a:lnTo>
                    <a:pt x="1003" y="57"/>
                  </a:lnTo>
                  <a:lnTo>
                    <a:pt x="986" y="43"/>
                  </a:lnTo>
                  <a:lnTo>
                    <a:pt x="967" y="31"/>
                  </a:lnTo>
                  <a:lnTo>
                    <a:pt x="947" y="21"/>
                  </a:lnTo>
                  <a:lnTo>
                    <a:pt x="926" y="12"/>
                  </a:lnTo>
                  <a:lnTo>
                    <a:pt x="904" y="6"/>
                  </a:lnTo>
                  <a:lnTo>
                    <a:pt x="881" y="0"/>
                  </a:lnTo>
                  <a:lnTo>
                    <a:pt x="894" y="9"/>
                  </a:lnTo>
                  <a:lnTo>
                    <a:pt x="905" y="18"/>
                  </a:lnTo>
                  <a:lnTo>
                    <a:pt x="916" y="29"/>
                  </a:lnTo>
                  <a:lnTo>
                    <a:pt x="927" y="39"/>
                  </a:lnTo>
                  <a:lnTo>
                    <a:pt x="937" y="50"/>
                  </a:lnTo>
                  <a:lnTo>
                    <a:pt x="946" y="62"/>
                  </a:lnTo>
                  <a:lnTo>
                    <a:pt x="955" y="74"/>
                  </a:lnTo>
                  <a:lnTo>
                    <a:pt x="962" y="87"/>
                  </a:lnTo>
                  <a:lnTo>
                    <a:pt x="969" y="101"/>
                  </a:lnTo>
                  <a:lnTo>
                    <a:pt x="976" y="115"/>
                  </a:lnTo>
                  <a:lnTo>
                    <a:pt x="980" y="129"/>
                  </a:lnTo>
                  <a:lnTo>
                    <a:pt x="984" y="144"/>
                  </a:lnTo>
                  <a:lnTo>
                    <a:pt x="988" y="159"/>
                  </a:lnTo>
                  <a:lnTo>
                    <a:pt x="991" y="175"/>
                  </a:lnTo>
                  <a:lnTo>
                    <a:pt x="992" y="190"/>
                  </a:lnTo>
                  <a:lnTo>
                    <a:pt x="993" y="207"/>
                  </a:lnTo>
                  <a:lnTo>
                    <a:pt x="992" y="221"/>
                  </a:lnTo>
                  <a:lnTo>
                    <a:pt x="991" y="235"/>
                  </a:lnTo>
                  <a:lnTo>
                    <a:pt x="989" y="250"/>
                  </a:lnTo>
                  <a:lnTo>
                    <a:pt x="986" y="263"/>
                  </a:lnTo>
                  <a:lnTo>
                    <a:pt x="982" y="277"/>
                  </a:lnTo>
                  <a:lnTo>
                    <a:pt x="978" y="291"/>
                  </a:lnTo>
                  <a:lnTo>
                    <a:pt x="973" y="303"/>
                  </a:lnTo>
                  <a:lnTo>
                    <a:pt x="967" y="316"/>
                  </a:lnTo>
                  <a:lnTo>
                    <a:pt x="982" y="333"/>
                  </a:lnTo>
                  <a:lnTo>
                    <a:pt x="995" y="351"/>
                  </a:lnTo>
                  <a:lnTo>
                    <a:pt x="1006" y="371"/>
                  </a:lnTo>
                  <a:lnTo>
                    <a:pt x="1016" y="392"/>
                  </a:lnTo>
                  <a:lnTo>
                    <a:pt x="1021" y="403"/>
                  </a:lnTo>
                  <a:lnTo>
                    <a:pt x="1024" y="414"/>
                  </a:lnTo>
                  <a:lnTo>
                    <a:pt x="1027" y="425"/>
                  </a:lnTo>
                  <a:lnTo>
                    <a:pt x="1030" y="436"/>
                  </a:lnTo>
                  <a:lnTo>
                    <a:pt x="1032" y="448"/>
                  </a:lnTo>
                  <a:lnTo>
                    <a:pt x="1033" y="461"/>
                  </a:lnTo>
                  <a:lnTo>
                    <a:pt x="1034" y="473"/>
                  </a:lnTo>
                  <a:lnTo>
                    <a:pt x="1034" y="485"/>
                  </a:lnTo>
                  <a:lnTo>
                    <a:pt x="1033" y="507"/>
                  </a:lnTo>
                  <a:lnTo>
                    <a:pt x="1031" y="529"/>
                  </a:lnTo>
                  <a:lnTo>
                    <a:pt x="1025" y="551"/>
                  </a:lnTo>
                  <a:lnTo>
                    <a:pt x="1019" y="572"/>
                  </a:lnTo>
                  <a:lnTo>
                    <a:pt x="1010" y="591"/>
                  </a:lnTo>
                  <a:lnTo>
                    <a:pt x="1000" y="611"/>
                  </a:lnTo>
                  <a:lnTo>
                    <a:pt x="988" y="628"/>
                  </a:lnTo>
                  <a:lnTo>
                    <a:pt x="974" y="645"/>
                  </a:lnTo>
                  <a:lnTo>
                    <a:pt x="960" y="660"/>
                  </a:lnTo>
                  <a:lnTo>
                    <a:pt x="945" y="675"/>
                  </a:lnTo>
                  <a:lnTo>
                    <a:pt x="927" y="687"/>
                  </a:lnTo>
                  <a:lnTo>
                    <a:pt x="909" y="699"/>
                  </a:lnTo>
                  <a:lnTo>
                    <a:pt x="891" y="708"/>
                  </a:lnTo>
                  <a:lnTo>
                    <a:pt x="870" y="717"/>
                  </a:lnTo>
                  <a:lnTo>
                    <a:pt x="849" y="722"/>
                  </a:lnTo>
                  <a:lnTo>
                    <a:pt x="828" y="728"/>
                  </a:lnTo>
                  <a:lnTo>
                    <a:pt x="823" y="750"/>
                  </a:lnTo>
                  <a:lnTo>
                    <a:pt x="818" y="771"/>
                  </a:lnTo>
                  <a:lnTo>
                    <a:pt x="810" y="792"/>
                  </a:lnTo>
                  <a:lnTo>
                    <a:pt x="800" y="812"/>
                  </a:lnTo>
                  <a:lnTo>
                    <a:pt x="789" y="830"/>
                  </a:lnTo>
                  <a:lnTo>
                    <a:pt x="777" y="848"/>
                  </a:lnTo>
                  <a:lnTo>
                    <a:pt x="762" y="865"/>
                  </a:lnTo>
                  <a:lnTo>
                    <a:pt x="747" y="880"/>
                  </a:lnTo>
                  <a:lnTo>
                    <a:pt x="729" y="893"/>
                  </a:lnTo>
                  <a:lnTo>
                    <a:pt x="712" y="906"/>
                  </a:lnTo>
                  <a:lnTo>
                    <a:pt x="693" y="917"/>
                  </a:lnTo>
                  <a:lnTo>
                    <a:pt x="672" y="925"/>
                  </a:lnTo>
                  <a:lnTo>
                    <a:pt x="651" y="932"/>
                  </a:lnTo>
                  <a:lnTo>
                    <a:pt x="630" y="938"/>
                  </a:lnTo>
                  <a:lnTo>
                    <a:pt x="607" y="941"/>
                  </a:lnTo>
                  <a:lnTo>
                    <a:pt x="584" y="942"/>
                  </a:lnTo>
                  <a:lnTo>
                    <a:pt x="568" y="941"/>
                  </a:lnTo>
                  <a:lnTo>
                    <a:pt x="554" y="940"/>
                  </a:lnTo>
                  <a:lnTo>
                    <a:pt x="539" y="938"/>
                  </a:lnTo>
                  <a:lnTo>
                    <a:pt x="525" y="934"/>
                  </a:lnTo>
                  <a:lnTo>
                    <a:pt x="511" y="931"/>
                  </a:lnTo>
                  <a:lnTo>
                    <a:pt x="497" y="925"/>
                  </a:lnTo>
                  <a:lnTo>
                    <a:pt x="484" y="920"/>
                  </a:lnTo>
                  <a:lnTo>
                    <a:pt x="471" y="914"/>
                  </a:lnTo>
                  <a:lnTo>
                    <a:pt x="459" y="908"/>
                  </a:lnTo>
                  <a:lnTo>
                    <a:pt x="447" y="900"/>
                  </a:lnTo>
                  <a:lnTo>
                    <a:pt x="434" y="891"/>
                  </a:lnTo>
                  <a:lnTo>
                    <a:pt x="423" y="882"/>
                  </a:lnTo>
                  <a:lnTo>
                    <a:pt x="413" y="874"/>
                  </a:lnTo>
                  <a:lnTo>
                    <a:pt x="403" y="862"/>
                  </a:lnTo>
                  <a:lnTo>
                    <a:pt x="394" y="853"/>
                  </a:lnTo>
                  <a:lnTo>
                    <a:pt x="386" y="841"/>
                  </a:lnTo>
                  <a:lnTo>
                    <a:pt x="377" y="853"/>
                  </a:lnTo>
                  <a:lnTo>
                    <a:pt x="367" y="862"/>
                  </a:lnTo>
                  <a:lnTo>
                    <a:pt x="357" y="874"/>
                  </a:lnTo>
                  <a:lnTo>
                    <a:pt x="347" y="882"/>
                  </a:lnTo>
                  <a:lnTo>
                    <a:pt x="336" y="891"/>
                  </a:lnTo>
                  <a:lnTo>
                    <a:pt x="324" y="900"/>
                  </a:lnTo>
                  <a:lnTo>
                    <a:pt x="313" y="908"/>
                  </a:lnTo>
                  <a:lnTo>
                    <a:pt x="300" y="914"/>
                  </a:lnTo>
                  <a:lnTo>
                    <a:pt x="288" y="920"/>
                  </a:lnTo>
                  <a:lnTo>
                    <a:pt x="274" y="925"/>
                  </a:lnTo>
                  <a:lnTo>
                    <a:pt x="260" y="931"/>
                  </a:lnTo>
                  <a:lnTo>
                    <a:pt x="247" y="934"/>
                  </a:lnTo>
                  <a:lnTo>
                    <a:pt x="232" y="938"/>
                  </a:lnTo>
                  <a:lnTo>
                    <a:pt x="217" y="940"/>
                  </a:lnTo>
                  <a:lnTo>
                    <a:pt x="203" y="941"/>
                  </a:lnTo>
                  <a:lnTo>
                    <a:pt x="187" y="942"/>
                  </a:lnTo>
                  <a:lnTo>
                    <a:pt x="173" y="941"/>
                  </a:lnTo>
                  <a:lnTo>
                    <a:pt x="159" y="940"/>
                  </a:lnTo>
                  <a:lnTo>
                    <a:pt x="146" y="939"/>
                  </a:lnTo>
                  <a:lnTo>
                    <a:pt x="133" y="935"/>
                  </a:lnTo>
                  <a:lnTo>
                    <a:pt x="120" y="932"/>
                  </a:lnTo>
                  <a:lnTo>
                    <a:pt x="108" y="929"/>
                  </a:lnTo>
                  <a:lnTo>
                    <a:pt x="94" y="923"/>
                  </a:lnTo>
                  <a:lnTo>
                    <a:pt x="83" y="919"/>
                  </a:lnTo>
                  <a:lnTo>
                    <a:pt x="71" y="912"/>
                  </a:lnTo>
                  <a:lnTo>
                    <a:pt x="60" y="906"/>
                  </a:lnTo>
                  <a:lnTo>
                    <a:pt x="49" y="899"/>
                  </a:lnTo>
                  <a:lnTo>
                    <a:pt x="38" y="891"/>
                  </a:lnTo>
                  <a:lnTo>
                    <a:pt x="28" y="883"/>
                  </a:lnTo>
                  <a:lnTo>
                    <a:pt x="18" y="875"/>
                  </a:lnTo>
                  <a:lnTo>
                    <a:pt x="9" y="866"/>
                  </a:lnTo>
                  <a:lnTo>
                    <a:pt x="0" y="856"/>
                  </a:lnTo>
                  <a:lnTo>
                    <a:pt x="8" y="875"/>
                  </a:lnTo>
                  <a:lnTo>
                    <a:pt x="17" y="893"/>
                  </a:lnTo>
                  <a:lnTo>
                    <a:pt x="27" y="910"/>
                  </a:lnTo>
                  <a:lnTo>
                    <a:pt x="38" y="926"/>
                  </a:lnTo>
                  <a:lnTo>
                    <a:pt x="50" y="942"/>
                  </a:lnTo>
                  <a:lnTo>
                    <a:pt x="63" y="957"/>
                  </a:lnTo>
                  <a:lnTo>
                    <a:pt x="78" y="971"/>
                  </a:lnTo>
                  <a:lnTo>
                    <a:pt x="93" y="983"/>
                  </a:lnTo>
                  <a:lnTo>
                    <a:pt x="110" y="994"/>
                  </a:lnTo>
                  <a:lnTo>
                    <a:pt x="127" y="1004"/>
                  </a:lnTo>
                  <a:lnTo>
                    <a:pt x="146" y="1013"/>
                  </a:lnTo>
                  <a:lnTo>
                    <a:pt x="165" y="1019"/>
                  </a:lnTo>
                  <a:lnTo>
                    <a:pt x="185" y="1026"/>
                  </a:lnTo>
                  <a:lnTo>
                    <a:pt x="205" y="1029"/>
                  </a:lnTo>
                  <a:lnTo>
                    <a:pt x="226" y="1032"/>
                  </a:lnTo>
                  <a:lnTo>
                    <a:pt x="247" y="1032"/>
                  </a:lnTo>
                  <a:lnTo>
                    <a:pt x="263" y="1032"/>
                  </a:lnTo>
                  <a:lnTo>
                    <a:pt x="279" y="1031"/>
                  </a:lnTo>
                  <a:lnTo>
                    <a:pt x="294" y="1029"/>
                  </a:lnTo>
                  <a:lnTo>
                    <a:pt x="310" y="1026"/>
                  </a:lnTo>
                  <a:lnTo>
                    <a:pt x="324" y="1021"/>
                  </a:lnTo>
                  <a:lnTo>
                    <a:pt x="338" y="1016"/>
                  </a:lnTo>
                  <a:lnTo>
                    <a:pt x="353" y="1010"/>
                  </a:lnTo>
                  <a:lnTo>
                    <a:pt x="366" y="1004"/>
                  </a:lnTo>
                  <a:lnTo>
                    <a:pt x="379" y="997"/>
                  </a:lnTo>
                  <a:lnTo>
                    <a:pt x="392" y="988"/>
                  </a:lnTo>
                  <a:lnTo>
                    <a:pt x="405" y="979"/>
                  </a:lnTo>
                  <a:lnTo>
                    <a:pt x="416" y="971"/>
                  </a:lnTo>
                  <a:lnTo>
                    <a:pt x="427" y="961"/>
                  </a:lnTo>
                  <a:lnTo>
                    <a:pt x="438" y="950"/>
                  </a:lnTo>
                  <a:lnTo>
                    <a:pt x="447" y="939"/>
                  </a:lnTo>
                  <a:lnTo>
                    <a:pt x="457" y="926"/>
                  </a:lnTo>
                  <a:lnTo>
                    <a:pt x="465" y="939"/>
                  </a:lnTo>
                  <a:lnTo>
                    <a:pt x="475" y="950"/>
                  </a:lnTo>
                  <a:lnTo>
                    <a:pt x="486" y="961"/>
                  </a:lnTo>
                  <a:lnTo>
                    <a:pt x="497" y="971"/>
                  </a:lnTo>
                  <a:lnTo>
                    <a:pt x="508" y="979"/>
                  </a:lnTo>
                  <a:lnTo>
                    <a:pt x="521" y="988"/>
                  </a:lnTo>
                  <a:lnTo>
                    <a:pt x="534" y="997"/>
                  </a:lnTo>
                  <a:lnTo>
                    <a:pt x="546" y="1004"/>
                  </a:lnTo>
                  <a:lnTo>
                    <a:pt x="560" y="1010"/>
                  </a:lnTo>
                  <a:lnTo>
                    <a:pt x="574" y="1016"/>
                  </a:lnTo>
                  <a:lnTo>
                    <a:pt x="589" y="1021"/>
                  </a:lnTo>
                  <a:lnTo>
                    <a:pt x="603" y="1026"/>
                  </a:lnTo>
                  <a:lnTo>
                    <a:pt x="619" y="1029"/>
                  </a:lnTo>
                  <a:lnTo>
                    <a:pt x="634" y="1031"/>
                  </a:lnTo>
                  <a:lnTo>
                    <a:pt x="650" y="1032"/>
                  </a:lnTo>
                  <a:lnTo>
                    <a:pt x="665" y="1032"/>
                  </a:lnTo>
                  <a:lnTo>
                    <a:pt x="678" y="1032"/>
                  </a:lnTo>
                  <a:lnTo>
                    <a:pt x="691" y="1031"/>
                  </a:lnTo>
                  <a:lnTo>
                    <a:pt x="702" y="1030"/>
                  </a:lnTo>
                  <a:lnTo>
                    <a:pt x="714" y="1028"/>
                  </a:lnTo>
                  <a:lnTo>
                    <a:pt x="737" y="1023"/>
                  </a:lnTo>
                  <a:lnTo>
                    <a:pt x="759" y="1016"/>
                  </a:lnTo>
                  <a:lnTo>
                    <a:pt x="781" y="1006"/>
                  </a:lnTo>
                  <a:lnTo>
                    <a:pt x="801" y="995"/>
                  </a:lnTo>
                  <a:lnTo>
                    <a:pt x="820" y="982"/>
                  </a:lnTo>
                  <a:lnTo>
                    <a:pt x="838" y="967"/>
                  </a:lnTo>
                  <a:lnTo>
                    <a:pt x="854" y="952"/>
                  </a:lnTo>
                  <a:lnTo>
                    <a:pt x="870" y="934"/>
                  </a:lnTo>
                  <a:lnTo>
                    <a:pt x="883" y="915"/>
                  </a:lnTo>
                  <a:lnTo>
                    <a:pt x="895" y="896"/>
                  </a:lnTo>
                  <a:lnTo>
                    <a:pt x="905" y="875"/>
                  </a:lnTo>
                  <a:lnTo>
                    <a:pt x="913" y="853"/>
                  </a:lnTo>
                  <a:lnTo>
                    <a:pt x="919" y="830"/>
                  </a:lnTo>
                  <a:lnTo>
                    <a:pt x="924" y="806"/>
                  </a:lnTo>
                  <a:lnTo>
                    <a:pt x="946" y="802"/>
                  </a:lnTo>
                  <a:lnTo>
                    <a:pt x="968" y="795"/>
                  </a:lnTo>
                  <a:lnTo>
                    <a:pt x="990" y="786"/>
                  </a:lnTo>
                  <a:lnTo>
                    <a:pt x="1010" y="776"/>
                  </a:lnTo>
                  <a:lnTo>
                    <a:pt x="1029" y="764"/>
                  </a:lnTo>
                  <a:lnTo>
                    <a:pt x="1047" y="751"/>
                  </a:lnTo>
                  <a:lnTo>
                    <a:pt x="1064" y="736"/>
                  </a:lnTo>
                  <a:lnTo>
                    <a:pt x="1079" y="720"/>
                  </a:lnTo>
                  <a:lnTo>
                    <a:pt x="1093" y="702"/>
                  </a:lnTo>
                  <a:lnTo>
                    <a:pt x="1105" y="683"/>
                  </a:lnTo>
                  <a:lnTo>
                    <a:pt x="1116" y="663"/>
                  </a:lnTo>
                  <a:lnTo>
                    <a:pt x="1125" y="642"/>
                  </a:lnTo>
                  <a:lnTo>
                    <a:pt x="1132" y="621"/>
                  </a:lnTo>
                  <a:lnTo>
                    <a:pt x="1138" y="598"/>
                  </a:lnTo>
                  <a:lnTo>
                    <a:pt x="1141" y="574"/>
                  </a:lnTo>
                  <a:lnTo>
                    <a:pt x="1142" y="550"/>
                  </a:lnTo>
                  <a:lnTo>
                    <a:pt x="1141" y="538"/>
                  </a:lnTo>
                  <a:lnTo>
                    <a:pt x="1140" y="525"/>
                  </a:lnTo>
                  <a:lnTo>
                    <a:pt x="1139" y="513"/>
                  </a:lnTo>
                  <a:lnTo>
                    <a:pt x="1137" y="499"/>
                  </a:lnTo>
                  <a:lnTo>
                    <a:pt x="1135" y="487"/>
                  </a:lnTo>
                  <a:lnTo>
                    <a:pt x="1131" y="476"/>
                  </a:lnTo>
                  <a:lnTo>
                    <a:pt x="1127" y="464"/>
                  </a:lnTo>
                  <a:lnTo>
                    <a:pt x="1122" y="453"/>
                  </a:lnTo>
                  <a:lnTo>
                    <a:pt x="1118" y="442"/>
                  </a:lnTo>
                  <a:lnTo>
                    <a:pt x="1113" y="431"/>
                  </a:lnTo>
                  <a:lnTo>
                    <a:pt x="1107" y="420"/>
                  </a:lnTo>
                  <a:lnTo>
                    <a:pt x="1100" y="410"/>
                  </a:lnTo>
                  <a:lnTo>
                    <a:pt x="1086" y="390"/>
                  </a:lnTo>
                  <a:lnTo>
                    <a:pt x="1071" y="372"/>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0" name="Freeform 265">
              <a:extLst>
                <a:ext uri="{FF2B5EF4-FFF2-40B4-BE49-F238E27FC236}">
                  <a16:creationId xmlns:a16="http://schemas.microsoft.com/office/drawing/2014/main" id="{637B5588-9500-7EEB-9645-2B3664435ADE}"/>
                </a:ext>
              </a:extLst>
            </p:cNvPr>
            <p:cNvSpPr>
              <a:spLocks/>
            </p:cNvSpPr>
            <p:nvPr/>
          </p:nvSpPr>
          <p:spPr bwMode="auto">
            <a:xfrm>
              <a:off x="8337365" y="2975058"/>
              <a:ext cx="57176" cy="72184"/>
            </a:xfrm>
            <a:custGeom>
              <a:avLst/>
              <a:gdLst>
                <a:gd name="T0" fmla="*/ 150 w 206"/>
                <a:gd name="T1" fmla="*/ 237 h 237"/>
                <a:gd name="T2" fmla="*/ 160 w 206"/>
                <a:gd name="T3" fmla="*/ 229 h 237"/>
                <a:gd name="T4" fmla="*/ 172 w 206"/>
                <a:gd name="T5" fmla="*/ 222 h 237"/>
                <a:gd name="T6" fmla="*/ 187 w 206"/>
                <a:gd name="T7" fmla="*/ 214 h 237"/>
                <a:gd name="T8" fmla="*/ 206 w 206"/>
                <a:gd name="T9" fmla="*/ 204 h 237"/>
                <a:gd name="T10" fmla="*/ 200 w 206"/>
                <a:gd name="T11" fmla="*/ 181 h 237"/>
                <a:gd name="T12" fmla="*/ 193 w 206"/>
                <a:gd name="T13" fmla="*/ 160 h 237"/>
                <a:gd name="T14" fmla="*/ 185 w 206"/>
                <a:gd name="T15" fmla="*/ 141 h 237"/>
                <a:gd name="T16" fmla="*/ 175 w 206"/>
                <a:gd name="T17" fmla="*/ 122 h 237"/>
                <a:gd name="T18" fmla="*/ 164 w 206"/>
                <a:gd name="T19" fmla="*/ 105 h 237"/>
                <a:gd name="T20" fmla="*/ 152 w 206"/>
                <a:gd name="T21" fmla="*/ 89 h 237"/>
                <a:gd name="T22" fmla="*/ 138 w 206"/>
                <a:gd name="T23" fmla="*/ 75 h 237"/>
                <a:gd name="T24" fmla="*/ 125 w 206"/>
                <a:gd name="T25" fmla="*/ 62 h 237"/>
                <a:gd name="T26" fmla="*/ 110 w 206"/>
                <a:gd name="T27" fmla="*/ 50 h 237"/>
                <a:gd name="T28" fmla="*/ 95 w 206"/>
                <a:gd name="T29" fmla="*/ 38 h 237"/>
                <a:gd name="T30" fmla="*/ 79 w 206"/>
                <a:gd name="T31" fmla="*/ 30 h 237"/>
                <a:gd name="T32" fmla="*/ 63 w 206"/>
                <a:gd name="T33" fmla="*/ 21 h 237"/>
                <a:gd name="T34" fmla="*/ 47 w 206"/>
                <a:gd name="T35" fmla="*/ 14 h 237"/>
                <a:gd name="T36" fmla="*/ 31 w 206"/>
                <a:gd name="T37" fmla="*/ 9 h 237"/>
                <a:gd name="T38" fmla="*/ 16 w 206"/>
                <a:gd name="T39" fmla="*/ 3 h 237"/>
                <a:gd name="T40" fmla="*/ 0 w 206"/>
                <a:gd name="T41" fmla="*/ 0 h 237"/>
                <a:gd name="T42" fmla="*/ 11 w 206"/>
                <a:gd name="T43" fmla="*/ 8 h 237"/>
                <a:gd name="T44" fmla="*/ 23 w 206"/>
                <a:gd name="T45" fmla="*/ 18 h 237"/>
                <a:gd name="T46" fmla="*/ 36 w 206"/>
                <a:gd name="T47" fmla="*/ 29 h 237"/>
                <a:gd name="T48" fmla="*/ 48 w 206"/>
                <a:gd name="T49" fmla="*/ 42 h 237"/>
                <a:gd name="T50" fmla="*/ 59 w 206"/>
                <a:gd name="T51" fmla="*/ 56 h 237"/>
                <a:gd name="T52" fmla="*/ 71 w 206"/>
                <a:gd name="T53" fmla="*/ 72 h 237"/>
                <a:gd name="T54" fmla="*/ 82 w 206"/>
                <a:gd name="T55" fmla="*/ 88 h 237"/>
                <a:gd name="T56" fmla="*/ 93 w 206"/>
                <a:gd name="T57" fmla="*/ 105 h 237"/>
                <a:gd name="T58" fmla="*/ 103 w 206"/>
                <a:gd name="T59" fmla="*/ 122 h 237"/>
                <a:gd name="T60" fmla="*/ 113 w 206"/>
                <a:gd name="T61" fmla="*/ 140 h 237"/>
                <a:gd name="T62" fmla="*/ 122 w 206"/>
                <a:gd name="T63" fmla="*/ 158 h 237"/>
                <a:gd name="T64" fmla="*/ 129 w 206"/>
                <a:gd name="T65" fmla="*/ 175 h 237"/>
                <a:gd name="T66" fmla="*/ 136 w 206"/>
                <a:gd name="T67" fmla="*/ 192 h 237"/>
                <a:gd name="T68" fmla="*/ 143 w 206"/>
                <a:gd name="T69" fmla="*/ 208 h 237"/>
                <a:gd name="T70" fmla="*/ 147 w 206"/>
                <a:gd name="T71" fmla="*/ 224 h 237"/>
                <a:gd name="T72" fmla="*/ 150 w 206"/>
                <a:gd name="T7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237">
                  <a:moveTo>
                    <a:pt x="150" y="237"/>
                  </a:moveTo>
                  <a:lnTo>
                    <a:pt x="160" y="229"/>
                  </a:lnTo>
                  <a:lnTo>
                    <a:pt x="172" y="222"/>
                  </a:lnTo>
                  <a:lnTo>
                    <a:pt x="187" y="214"/>
                  </a:lnTo>
                  <a:lnTo>
                    <a:pt x="206" y="204"/>
                  </a:lnTo>
                  <a:lnTo>
                    <a:pt x="200" y="181"/>
                  </a:lnTo>
                  <a:lnTo>
                    <a:pt x="193" y="160"/>
                  </a:lnTo>
                  <a:lnTo>
                    <a:pt x="185" y="141"/>
                  </a:lnTo>
                  <a:lnTo>
                    <a:pt x="175" y="122"/>
                  </a:lnTo>
                  <a:lnTo>
                    <a:pt x="164" y="105"/>
                  </a:lnTo>
                  <a:lnTo>
                    <a:pt x="152" y="89"/>
                  </a:lnTo>
                  <a:lnTo>
                    <a:pt x="138" y="75"/>
                  </a:lnTo>
                  <a:lnTo>
                    <a:pt x="125" y="62"/>
                  </a:lnTo>
                  <a:lnTo>
                    <a:pt x="110" y="50"/>
                  </a:lnTo>
                  <a:lnTo>
                    <a:pt x="95" y="38"/>
                  </a:lnTo>
                  <a:lnTo>
                    <a:pt x="79" y="30"/>
                  </a:lnTo>
                  <a:lnTo>
                    <a:pt x="63" y="21"/>
                  </a:lnTo>
                  <a:lnTo>
                    <a:pt x="47" y="14"/>
                  </a:lnTo>
                  <a:lnTo>
                    <a:pt x="31" y="9"/>
                  </a:lnTo>
                  <a:lnTo>
                    <a:pt x="16" y="3"/>
                  </a:lnTo>
                  <a:lnTo>
                    <a:pt x="0" y="0"/>
                  </a:lnTo>
                  <a:lnTo>
                    <a:pt x="11" y="8"/>
                  </a:lnTo>
                  <a:lnTo>
                    <a:pt x="23" y="18"/>
                  </a:lnTo>
                  <a:lnTo>
                    <a:pt x="36" y="29"/>
                  </a:lnTo>
                  <a:lnTo>
                    <a:pt x="48" y="42"/>
                  </a:lnTo>
                  <a:lnTo>
                    <a:pt x="59" y="56"/>
                  </a:lnTo>
                  <a:lnTo>
                    <a:pt x="71" y="72"/>
                  </a:lnTo>
                  <a:lnTo>
                    <a:pt x="82" y="88"/>
                  </a:lnTo>
                  <a:lnTo>
                    <a:pt x="93" y="105"/>
                  </a:lnTo>
                  <a:lnTo>
                    <a:pt x="103" y="122"/>
                  </a:lnTo>
                  <a:lnTo>
                    <a:pt x="113" y="140"/>
                  </a:lnTo>
                  <a:lnTo>
                    <a:pt x="122" y="158"/>
                  </a:lnTo>
                  <a:lnTo>
                    <a:pt x="129" y="175"/>
                  </a:lnTo>
                  <a:lnTo>
                    <a:pt x="136" y="192"/>
                  </a:lnTo>
                  <a:lnTo>
                    <a:pt x="143" y="208"/>
                  </a:lnTo>
                  <a:lnTo>
                    <a:pt x="147" y="224"/>
                  </a:lnTo>
                  <a:lnTo>
                    <a:pt x="150" y="237"/>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1" name="Freeform 266">
              <a:extLst>
                <a:ext uri="{FF2B5EF4-FFF2-40B4-BE49-F238E27FC236}">
                  <a16:creationId xmlns:a16="http://schemas.microsoft.com/office/drawing/2014/main" id="{6F1CAFCC-189C-1898-C855-488560D676C5}"/>
                </a:ext>
              </a:extLst>
            </p:cNvPr>
            <p:cNvSpPr>
              <a:spLocks/>
            </p:cNvSpPr>
            <p:nvPr/>
          </p:nvSpPr>
          <p:spPr bwMode="auto">
            <a:xfrm>
              <a:off x="8135159" y="3217175"/>
              <a:ext cx="57176" cy="52634"/>
            </a:xfrm>
            <a:custGeom>
              <a:avLst/>
              <a:gdLst>
                <a:gd name="T0" fmla="*/ 188 w 206"/>
                <a:gd name="T1" fmla="*/ 103 h 178"/>
                <a:gd name="T2" fmla="*/ 175 w 206"/>
                <a:gd name="T3" fmla="*/ 101 h 178"/>
                <a:gd name="T4" fmla="*/ 162 w 206"/>
                <a:gd name="T5" fmla="*/ 98 h 178"/>
                <a:gd name="T6" fmla="*/ 150 w 206"/>
                <a:gd name="T7" fmla="*/ 94 h 178"/>
                <a:gd name="T8" fmla="*/ 137 w 206"/>
                <a:gd name="T9" fmla="*/ 90 h 178"/>
                <a:gd name="T10" fmla="*/ 109 w 206"/>
                <a:gd name="T11" fmla="*/ 80 h 178"/>
                <a:gd name="T12" fmla="*/ 84 w 206"/>
                <a:gd name="T13" fmla="*/ 68 h 178"/>
                <a:gd name="T14" fmla="*/ 71 w 206"/>
                <a:gd name="T15" fmla="*/ 60 h 178"/>
                <a:gd name="T16" fmla="*/ 58 w 206"/>
                <a:gd name="T17" fmla="*/ 53 h 178"/>
                <a:gd name="T18" fmla="*/ 47 w 206"/>
                <a:gd name="T19" fmla="*/ 46 h 178"/>
                <a:gd name="T20" fmla="*/ 36 w 206"/>
                <a:gd name="T21" fmla="*/ 37 h 178"/>
                <a:gd name="T22" fmla="*/ 25 w 206"/>
                <a:gd name="T23" fmla="*/ 28 h 178"/>
                <a:gd name="T24" fmla="*/ 16 w 206"/>
                <a:gd name="T25" fmla="*/ 19 h 178"/>
                <a:gd name="T26" fmla="*/ 8 w 206"/>
                <a:gd name="T27" fmla="*/ 10 h 178"/>
                <a:gd name="T28" fmla="*/ 0 w 206"/>
                <a:gd name="T29" fmla="*/ 0 h 178"/>
                <a:gd name="T30" fmla="*/ 5 w 206"/>
                <a:gd name="T31" fmla="*/ 17 h 178"/>
                <a:gd name="T32" fmla="*/ 12 w 206"/>
                <a:gd name="T33" fmla="*/ 32 h 178"/>
                <a:gd name="T34" fmla="*/ 20 w 206"/>
                <a:gd name="T35" fmla="*/ 47 h 178"/>
                <a:gd name="T36" fmla="*/ 29 w 206"/>
                <a:gd name="T37" fmla="*/ 61 h 178"/>
                <a:gd name="T38" fmla="*/ 38 w 206"/>
                <a:gd name="T39" fmla="*/ 75 h 178"/>
                <a:gd name="T40" fmla="*/ 50 w 206"/>
                <a:gd name="T41" fmla="*/ 90 h 178"/>
                <a:gd name="T42" fmla="*/ 61 w 206"/>
                <a:gd name="T43" fmla="*/ 102 h 178"/>
                <a:gd name="T44" fmla="*/ 74 w 206"/>
                <a:gd name="T45" fmla="*/ 114 h 178"/>
                <a:gd name="T46" fmla="*/ 87 w 206"/>
                <a:gd name="T47" fmla="*/ 126 h 178"/>
                <a:gd name="T48" fmla="*/ 101 w 206"/>
                <a:gd name="T49" fmla="*/ 136 h 178"/>
                <a:gd name="T50" fmla="*/ 117 w 206"/>
                <a:gd name="T51" fmla="*/ 146 h 178"/>
                <a:gd name="T52" fmla="*/ 133 w 206"/>
                <a:gd name="T53" fmla="*/ 155 h 178"/>
                <a:gd name="T54" fmla="*/ 150 w 206"/>
                <a:gd name="T55" fmla="*/ 163 h 178"/>
                <a:gd name="T56" fmla="*/ 168 w 206"/>
                <a:gd name="T57" fmla="*/ 169 h 178"/>
                <a:gd name="T58" fmla="*/ 186 w 206"/>
                <a:gd name="T59" fmla="*/ 175 h 178"/>
                <a:gd name="T60" fmla="*/ 206 w 206"/>
                <a:gd name="T61" fmla="*/ 178 h 178"/>
                <a:gd name="T62" fmla="*/ 202 w 206"/>
                <a:gd name="T63" fmla="*/ 169 h 178"/>
                <a:gd name="T64" fmla="*/ 200 w 206"/>
                <a:gd name="T65" fmla="*/ 160 h 178"/>
                <a:gd name="T66" fmla="*/ 196 w 206"/>
                <a:gd name="T67" fmla="*/ 152 h 178"/>
                <a:gd name="T68" fmla="*/ 194 w 206"/>
                <a:gd name="T69" fmla="*/ 142 h 178"/>
                <a:gd name="T70" fmla="*/ 191 w 206"/>
                <a:gd name="T71" fmla="*/ 123 h 178"/>
                <a:gd name="T72" fmla="*/ 188 w 206"/>
                <a:gd name="T73" fmla="*/ 10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178">
                  <a:moveTo>
                    <a:pt x="188" y="103"/>
                  </a:moveTo>
                  <a:lnTo>
                    <a:pt x="175" y="101"/>
                  </a:lnTo>
                  <a:lnTo>
                    <a:pt x="162" y="98"/>
                  </a:lnTo>
                  <a:lnTo>
                    <a:pt x="150" y="94"/>
                  </a:lnTo>
                  <a:lnTo>
                    <a:pt x="137" y="90"/>
                  </a:lnTo>
                  <a:lnTo>
                    <a:pt x="109" y="80"/>
                  </a:lnTo>
                  <a:lnTo>
                    <a:pt x="84" y="68"/>
                  </a:lnTo>
                  <a:lnTo>
                    <a:pt x="71" y="60"/>
                  </a:lnTo>
                  <a:lnTo>
                    <a:pt x="58" y="53"/>
                  </a:lnTo>
                  <a:lnTo>
                    <a:pt x="47" y="46"/>
                  </a:lnTo>
                  <a:lnTo>
                    <a:pt x="36" y="37"/>
                  </a:lnTo>
                  <a:lnTo>
                    <a:pt x="25" y="28"/>
                  </a:lnTo>
                  <a:lnTo>
                    <a:pt x="16" y="19"/>
                  </a:lnTo>
                  <a:lnTo>
                    <a:pt x="8" y="10"/>
                  </a:lnTo>
                  <a:lnTo>
                    <a:pt x="0" y="0"/>
                  </a:lnTo>
                  <a:lnTo>
                    <a:pt x="5" y="17"/>
                  </a:lnTo>
                  <a:lnTo>
                    <a:pt x="12" y="32"/>
                  </a:lnTo>
                  <a:lnTo>
                    <a:pt x="20" y="47"/>
                  </a:lnTo>
                  <a:lnTo>
                    <a:pt x="29" y="61"/>
                  </a:lnTo>
                  <a:lnTo>
                    <a:pt x="38" y="75"/>
                  </a:lnTo>
                  <a:lnTo>
                    <a:pt x="50" y="90"/>
                  </a:lnTo>
                  <a:lnTo>
                    <a:pt x="61" y="102"/>
                  </a:lnTo>
                  <a:lnTo>
                    <a:pt x="74" y="114"/>
                  </a:lnTo>
                  <a:lnTo>
                    <a:pt x="87" y="126"/>
                  </a:lnTo>
                  <a:lnTo>
                    <a:pt x="101" y="136"/>
                  </a:lnTo>
                  <a:lnTo>
                    <a:pt x="117" y="146"/>
                  </a:lnTo>
                  <a:lnTo>
                    <a:pt x="133" y="155"/>
                  </a:lnTo>
                  <a:lnTo>
                    <a:pt x="150" y="163"/>
                  </a:lnTo>
                  <a:lnTo>
                    <a:pt x="168" y="169"/>
                  </a:lnTo>
                  <a:lnTo>
                    <a:pt x="186" y="175"/>
                  </a:lnTo>
                  <a:lnTo>
                    <a:pt x="206" y="178"/>
                  </a:lnTo>
                  <a:lnTo>
                    <a:pt x="202" y="169"/>
                  </a:lnTo>
                  <a:lnTo>
                    <a:pt x="200" y="160"/>
                  </a:lnTo>
                  <a:lnTo>
                    <a:pt x="196" y="152"/>
                  </a:lnTo>
                  <a:lnTo>
                    <a:pt x="194" y="142"/>
                  </a:lnTo>
                  <a:lnTo>
                    <a:pt x="191" y="123"/>
                  </a:lnTo>
                  <a:lnTo>
                    <a:pt x="188" y="103"/>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2" name="Freeform 272">
              <a:extLst>
                <a:ext uri="{FF2B5EF4-FFF2-40B4-BE49-F238E27FC236}">
                  <a16:creationId xmlns:a16="http://schemas.microsoft.com/office/drawing/2014/main" id="{105776A9-4C81-6DA0-3F12-856172BB7B9A}"/>
                </a:ext>
              </a:extLst>
            </p:cNvPr>
            <p:cNvSpPr>
              <a:spLocks/>
            </p:cNvSpPr>
            <p:nvPr/>
          </p:nvSpPr>
          <p:spPr bwMode="auto">
            <a:xfrm>
              <a:off x="9899230" y="2969043"/>
              <a:ext cx="57176" cy="70680"/>
            </a:xfrm>
            <a:custGeom>
              <a:avLst/>
              <a:gdLst>
                <a:gd name="T0" fmla="*/ 151 w 205"/>
                <a:gd name="T1" fmla="*/ 237 h 237"/>
                <a:gd name="T2" fmla="*/ 161 w 205"/>
                <a:gd name="T3" fmla="*/ 229 h 237"/>
                <a:gd name="T4" fmla="*/ 173 w 205"/>
                <a:gd name="T5" fmla="*/ 222 h 237"/>
                <a:gd name="T6" fmla="*/ 186 w 205"/>
                <a:gd name="T7" fmla="*/ 213 h 237"/>
                <a:gd name="T8" fmla="*/ 205 w 205"/>
                <a:gd name="T9" fmla="*/ 204 h 237"/>
                <a:gd name="T10" fmla="*/ 201 w 205"/>
                <a:gd name="T11" fmla="*/ 181 h 237"/>
                <a:gd name="T12" fmla="*/ 194 w 205"/>
                <a:gd name="T13" fmla="*/ 160 h 237"/>
                <a:gd name="T14" fmla="*/ 185 w 205"/>
                <a:gd name="T15" fmla="*/ 140 h 237"/>
                <a:gd name="T16" fmla="*/ 175 w 205"/>
                <a:gd name="T17" fmla="*/ 122 h 237"/>
                <a:gd name="T18" fmla="*/ 164 w 205"/>
                <a:gd name="T19" fmla="*/ 105 h 237"/>
                <a:gd name="T20" fmla="*/ 152 w 205"/>
                <a:gd name="T21" fmla="*/ 89 h 237"/>
                <a:gd name="T22" fmla="*/ 139 w 205"/>
                <a:gd name="T23" fmla="*/ 75 h 237"/>
                <a:gd name="T24" fmla="*/ 126 w 205"/>
                <a:gd name="T25" fmla="*/ 62 h 237"/>
                <a:gd name="T26" fmla="*/ 110 w 205"/>
                <a:gd name="T27" fmla="*/ 49 h 237"/>
                <a:gd name="T28" fmla="*/ 95 w 205"/>
                <a:gd name="T29" fmla="*/ 38 h 237"/>
                <a:gd name="T30" fmla="*/ 79 w 205"/>
                <a:gd name="T31" fmla="*/ 30 h 237"/>
                <a:gd name="T32" fmla="*/ 64 w 205"/>
                <a:gd name="T33" fmla="*/ 21 h 237"/>
                <a:gd name="T34" fmla="*/ 47 w 205"/>
                <a:gd name="T35" fmla="*/ 14 h 237"/>
                <a:gd name="T36" fmla="*/ 32 w 205"/>
                <a:gd name="T37" fmla="*/ 7 h 237"/>
                <a:gd name="T38" fmla="*/ 15 w 205"/>
                <a:gd name="T39" fmla="*/ 3 h 237"/>
                <a:gd name="T40" fmla="*/ 0 w 205"/>
                <a:gd name="T41" fmla="*/ 0 h 237"/>
                <a:gd name="T42" fmla="*/ 12 w 205"/>
                <a:gd name="T43" fmla="*/ 7 h 237"/>
                <a:gd name="T44" fmla="*/ 24 w 205"/>
                <a:gd name="T45" fmla="*/ 17 h 237"/>
                <a:gd name="T46" fmla="*/ 36 w 205"/>
                <a:gd name="T47" fmla="*/ 28 h 237"/>
                <a:gd name="T48" fmla="*/ 47 w 205"/>
                <a:gd name="T49" fmla="*/ 42 h 237"/>
                <a:gd name="T50" fmla="*/ 59 w 205"/>
                <a:gd name="T51" fmla="*/ 56 h 237"/>
                <a:gd name="T52" fmla="*/ 71 w 205"/>
                <a:gd name="T53" fmla="*/ 72 h 237"/>
                <a:gd name="T54" fmla="*/ 83 w 205"/>
                <a:gd name="T55" fmla="*/ 88 h 237"/>
                <a:gd name="T56" fmla="*/ 94 w 205"/>
                <a:gd name="T57" fmla="*/ 105 h 237"/>
                <a:gd name="T58" fmla="*/ 104 w 205"/>
                <a:gd name="T59" fmla="*/ 122 h 237"/>
                <a:gd name="T60" fmla="*/ 113 w 205"/>
                <a:gd name="T61" fmla="*/ 140 h 237"/>
                <a:gd name="T62" fmla="*/ 122 w 205"/>
                <a:gd name="T63" fmla="*/ 158 h 237"/>
                <a:gd name="T64" fmla="*/ 130 w 205"/>
                <a:gd name="T65" fmla="*/ 175 h 237"/>
                <a:gd name="T66" fmla="*/ 137 w 205"/>
                <a:gd name="T67" fmla="*/ 192 h 237"/>
                <a:gd name="T68" fmla="*/ 142 w 205"/>
                <a:gd name="T69" fmla="*/ 208 h 237"/>
                <a:gd name="T70" fmla="*/ 148 w 205"/>
                <a:gd name="T71" fmla="*/ 224 h 237"/>
                <a:gd name="T72" fmla="*/ 151 w 205"/>
                <a:gd name="T7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5" h="237">
                  <a:moveTo>
                    <a:pt x="151" y="237"/>
                  </a:moveTo>
                  <a:lnTo>
                    <a:pt x="161" y="229"/>
                  </a:lnTo>
                  <a:lnTo>
                    <a:pt x="173" y="222"/>
                  </a:lnTo>
                  <a:lnTo>
                    <a:pt x="186" y="213"/>
                  </a:lnTo>
                  <a:lnTo>
                    <a:pt x="205" y="204"/>
                  </a:lnTo>
                  <a:lnTo>
                    <a:pt x="201" y="181"/>
                  </a:lnTo>
                  <a:lnTo>
                    <a:pt x="194" y="160"/>
                  </a:lnTo>
                  <a:lnTo>
                    <a:pt x="185" y="140"/>
                  </a:lnTo>
                  <a:lnTo>
                    <a:pt x="175" y="122"/>
                  </a:lnTo>
                  <a:lnTo>
                    <a:pt x="164" y="105"/>
                  </a:lnTo>
                  <a:lnTo>
                    <a:pt x="152" y="89"/>
                  </a:lnTo>
                  <a:lnTo>
                    <a:pt x="139" y="75"/>
                  </a:lnTo>
                  <a:lnTo>
                    <a:pt x="126" y="62"/>
                  </a:lnTo>
                  <a:lnTo>
                    <a:pt x="110" y="49"/>
                  </a:lnTo>
                  <a:lnTo>
                    <a:pt x="95" y="38"/>
                  </a:lnTo>
                  <a:lnTo>
                    <a:pt x="79" y="30"/>
                  </a:lnTo>
                  <a:lnTo>
                    <a:pt x="64" y="21"/>
                  </a:lnTo>
                  <a:lnTo>
                    <a:pt x="47" y="14"/>
                  </a:lnTo>
                  <a:lnTo>
                    <a:pt x="32" y="7"/>
                  </a:lnTo>
                  <a:lnTo>
                    <a:pt x="15" y="3"/>
                  </a:lnTo>
                  <a:lnTo>
                    <a:pt x="0" y="0"/>
                  </a:lnTo>
                  <a:lnTo>
                    <a:pt x="12" y="7"/>
                  </a:lnTo>
                  <a:lnTo>
                    <a:pt x="24" y="17"/>
                  </a:lnTo>
                  <a:lnTo>
                    <a:pt x="36" y="28"/>
                  </a:lnTo>
                  <a:lnTo>
                    <a:pt x="47" y="42"/>
                  </a:lnTo>
                  <a:lnTo>
                    <a:pt x="59" y="56"/>
                  </a:lnTo>
                  <a:lnTo>
                    <a:pt x="71" y="72"/>
                  </a:lnTo>
                  <a:lnTo>
                    <a:pt x="83" y="88"/>
                  </a:lnTo>
                  <a:lnTo>
                    <a:pt x="94" y="105"/>
                  </a:lnTo>
                  <a:lnTo>
                    <a:pt x="104" y="122"/>
                  </a:lnTo>
                  <a:lnTo>
                    <a:pt x="113" y="140"/>
                  </a:lnTo>
                  <a:lnTo>
                    <a:pt x="122" y="158"/>
                  </a:lnTo>
                  <a:lnTo>
                    <a:pt x="130" y="175"/>
                  </a:lnTo>
                  <a:lnTo>
                    <a:pt x="137" y="192"/>
                  </a:lnTo>
                  <a:lnTo>
                    <a:pt x="142" y="208"/>
                  </a:lnTo>
                  <a:lnTo>
                    <a:pt x="148" y="224"/>
                  </a:lnTo>
                  <a:lnTo>
                    <a:pt x="151" y="237"/>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3" name="Oval 317">
              <a:extLst>
                <a:ext uri="{FF2B5EF4-FFF2-40B4-BE49-F238E27FC236}">
                  <a16:creationId xmlns:a16="http://schemas.microsoft.com/office/drawing/2014/main" id="{AC26B07B-C63A-14D8-4F7C-5290C5FA30B8}"/>
                </a:ext>
              </a:extLst>
            </p:cNvPr>
            <p:cNvSpPr/>
            <p:nvPr/>
          </p:nvSpPr>
          <p:spPr>
            <a:xfrm>
              <a:off x="7202224" y="3264547"/>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304" name="Freeform 280">
              <a:extLst>
                <a:ext uri="{FF2B5EF4-FFF2-40B4-BE49-F238E27FC236}">
                  <a16:creationId xmlns:a16="http://schemas.microsoft.com/office/drawing/2014/main" id="{5571FB0F-DF70-A2ED-88A4-57AD8943F606}"/>
                </a:ext>
              </a:extLst>
            </p:cNvPr>
            <p:cNvSpPr>
              <a:spLocks/>
            </p:cNvSpPr>
            <p:nvPr/>
          </p:nvSpPr>
          <p:spPr bwMode="auto">
            <a:xfrm>
              <a:off x="7277529" y="3009646"/>
              <a:ext cx="46020" cy="279714"/>
            </a:xfrm>
            <a:custGeom>
              <a:avLst/>
              <a:gdLst>
                <a:gd name="T0" fmla="*/ 107 w 167"/>
                <a:gd name="T1" fmla="*/ 0 h 930"/>
                <a:gd name="T2" fmla="*/ 16 w 167"/>
                <a:gd name="T3" fmla="*/ 0 h 930"/>
                <a:gd name="T4" fmla="*/ 0 w 167"/>
                <a:gd name="T5" fmla="*/ 930 h 930"/>
                <a:gd name="T6" fmla="*/ 167 w 167"/>
                <a:gd name="T7" fmla="*/ 930 h 930"/>
                <a:gd name="T8" fmla="*/ 107 w 167"/>
                <a:gd name="T9" fmla="*/ 0 h 930"/>
              </a:gdLst>
              <a:ahLst/>
              <a:cxnLst>
                <a:cxn ang="0">
                  <a:pos x="T0" y="T1"/>
                </a:cxn>
                <a:cxn ang="0">
                  <a:pos x="T2" y="T3"/>
                </a:cxn>
                <a:cxn ang="0">
                  <a:pos x="T4" y="T5"/>
                </a:cxn>
                <a:cxn ang="0">
                  <a:pos x="T6" y="T7"/>
                </a:cxn>
                <a:cxn ang="0">
                  <a:pos x="T8" y="T9"/>
                </a:cxn>
              </a:cxnLst>
              <a:rect l="0" t="0" r="r" b="b"/>
              <a:pathLst>
                <a:path w="167" h="930">
                  <a:moveTo>
                    <a:pt x="107" y="0"/>
                  </a:moveTo>
                  <a:lnTo>
                    <a:pt x="16" y="0"/>
                  </a:lnTo>
                  <a:lnTo>
                    <a:pt x="0" y="930"/>
                  </a:lnTo>
                  <a:lnTo>
                    <a:pt x="167" y="930"/>
                  </a:lnTo>
                  <a:lnTo>
                    <a:pt x="107" y="0"/>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5" name="Freeform 282">
              <a:extLst>
                <a:ext uri="{FF2B5EF4-FFF2-40B4-BE49-F238E27FC236}">
                  <a16:creationId xmlns:a16="http://schemas.microsoft.com/office/drawing/2014/main" id="{19410C7F-0047-10A7-6FC1-B8829D83A538}"/>
                </a:ext>
              </a:extLst>
            </p:cNvPr>
            <p:cNvSpPr>
              <a:spLocks/>
            </p:cNvSpPr>
            <p:nvPr/>
          </p:nvSpPr>
          <p:spPr bwMode="auto">
            <a:xfrm>
              <a:off x="7139470" y="2624663"/>
              <a:ext cx="322135" cy="449646"/>
            </a:xfrm>
            <a:custGeom>
              <a:avLst/>
              <a:gdLst>
                <a:gd name="T0" fmla="*/ 1137 w 1153"/>
                <a:gd name="T1" fmla="*/ 581 h 1496"/>
                <a:gd name="T2" fmla="*/ 1151 w 1153"/>
                <a:gd name="T3" fmla="*/ 711 h 1496"/>
                <a:gd name="T4" fmla="*/ 1149 w 1153"/>
                <a:gd name="T5" fmla="*/ 841 h 1496"/>
                <a:gd name="T6" fmla="*/ 1130 w 1153"/>
                <a:gd name="T7" fmla="*/ 968 h 1496"/>
                <a:gd name="T8" fmla="*/ 1095 w 1153"/>
                <a:gd name="T9" fmla="*/ 1088 h 1496"/>
                <a:gd name="T10" fmla="*/ 1044 w 1153"/>
                <a:gd name="T11" fmla="*/ 1200 h 1496"/>
                <a:gd name="T12" fmla="*/ 979 w 1153"/>
                <a:gd name="T13" fmla="*/ 1297 h 1496"/>
                <a:gd name="T14" fmla="*/ 899 w 1153"/>
                <a:gd name="T15" fmla="*/ 1379 h 1496"/>
                <a:gd name="T16" fmla="*/ 805 w 1153"/>
                <a:gd name="T17" fmla="*/ 1442 h 1496"/>
                <a:gd name="T18" fmla="*/ 696 w 1153"/>
                <a:gd name="T19" fmla="*/ 1481 h 1496"/>
                <a:gd name="T20" fmla="*/ 576 w 1153"/>
                <a:gd name="T21" fmla="*/ 1496 h 1496"/>
                <a:gd name="T22" fmla="*/ 456 w 1153"/>
                <a:gd name="T23" fmla="*/ 1481 h 1496"/>
                <a:gd name="T24" fmla="*/ 347 w 1153"/>
                <a:gd name="T25" fmla="*/ 1442 h 1496"/>
                <a:gd name="T26" fmla="*/ 254 w 1153"/>
                <a:gd name="T27" fmla="*/ 1379 h 1496"/>
                <a:gd name="T28" fmla="*/ 173 w 1153"/>
                <a:gd name="T29" fmla="*/ 1297 h 1496"/>
                <a:gd name="T30" fmla="*/ 108 w 1153"/>
                <a:gd name="T31" fmla="*/ 1200 h 1496"/>
                <a:gd name="T32" fmla="*/ 57 w 1153"/>
                <a:gd name="T33" fmla="*/ 1088 h 1496"/>
                <a:gd name="T34" fmla="*/ 22 w 1153"/>
                <a:gd name="T35" fmla="*/ 968 h 1496"/>
                <a:gd name="T36" fmla="*/ 3 w 1153"/>
                <a:gd name="T37" fmla="*/ 841 h 1496"/>
                <a:gd name="T38" fmla="*/ 1 w 1153"/>
                <a:gd name="T39" fmla="*/ 711 h 1496"/>
                <a:gd name="T40" fmla="*/ 15 w 1153"/>
                <a:gd name="T41" fmla="*/ 581 h 1496"/>
                <a:gd name="T42" fmla="*/ 43 w 1153"/>
                <a:gd name="T43" fmla="*/ 466 h 1496"/>
                <a:gd name="T44" fmla="*/ 72 w 1153"/>
                <a:gd name="T45" fmla="*/ 385 h 1496"/>
                <a:gd name="T46" fmla="*/ 110 w 1153"/>
                <a:gd name="T47" fmla="*/ 310 h 1496"/>
                <a:gd name="T48" fmla="*/ 153 w 1153"/>
                <a:gd name="T49" fmla="*/ 244 h 1496"/>
                <a:gd name="T50" fmla="*/ 201 w 1153"/>
                <a:gd name="T51" fmla="*/ 183 h 1496"/>
                <a:gd name="T52" fmla="*/ 254 w 1153"/>
                <a:gd name="T53" fmla="*/ 131 h 1496"/>
                <a:gd name="T54" fmla="*/ 310 w 1153"/>
                <a:gd name="T55" fmla="*/ 88 h 1496"/>
                <a:gd name="T56" fmla="*/ 368 w 1153"/>
                <a:gd name="T57" fmla="*/ 53 h 1496"/>
                <a:gd name="T58" fmla="*/ 429 w 1153"/>
                <a:gd name="T59" fmla="*/ 26 h 1496"/>
                <a:gd name="T60" fmla="*/ 492 w 1153"/>
                <a:gd name="T61" fmla="*/ 9 h 1496"/>
                <a:gd name="T62" fmla="*/ 555 w 1153"/>
                <a:gd name="T63" fmla="*/ 0 h 1496"/>
                <a:gd name="T64" fmla="*/ 618 w 1153"/>
                <a:gd name="T65" fmla="*/ 2 h 1496"/>
                <a:gd name="T66" fmla="*/ 681 w 1153"/>
                <a:gd name="T67" fmla="*/ 13 h 1496"/>
                <a:gd name="T68" fmla="*/ 743 w 1153"/>
                <a:gd name="T69" fmla="*/ 34 h 1496"/>
                <a:gd name="T70" fmla="*/ 804 w 1153"/>
                <a:gd name="T71" fmla="*/ 63 h 1496"/>
                <a:gd name="T72" fmla="*/ 862 w 1153"/>
                <a:gd name="T73" fmla="*/ 102 h 1496"/>
                <a:gd name="T74" fmla="*/ 916 w 1153"/>
                <a:gd name="T75" fmla="*/ 148 h 1496"/>
                <a:gd name="T76" fmla="*/ 968 w 1153"/>
                <a:gd name="T77" fmla="*/ 203 h 1496"/>
                <a:gd name="T78" fmla="*/ 1015 w 1153"/>
                <a:gd name="T79" fmla="*/ 265 h 1496"/>
                <a:gd name="T80" fmla="*/ 1055 w 1153"/>
                <a:gd name="T81" fmla="*/ 334 h 1496"/>
                <a:gd name="T82" fmla="*/ 1090 w 1153"/>
                <a:gd name="T83" fmla="*/ 412 h 1496"/>
                <a:gd name="T84" fmla="*/ 1118 w 1153"/>
                <a:gd name="T85" fmla="*/ 495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3" h="1496">
                  <a:moveTo>
                    <a:pt x="1118" y="495"/>
                  </a:moveTo>
                  <a:lnTo>
                    <a:pt x="1128" y="538"/>
                  </a:lnTo>
                  <a:lnTo>
                    <a:pt x="1137" y="581"/>
                  </a:lnTo>
                  <a:lnTo>
                    <a:pt x="1144" y="624"/>
                  </a:lnTo>
                  <a:lnTo>
                    <a:pt x="1149" y="667"/>
                  </a:lnTo>
                  <a:lnTo>
                    <a:pt x="1151" y="711"/>
                  </a:lnTo>
                  <a:lnTo>
                    <a:pt x="1153" y="754"/>
                  </a:lnTo>
                  <a:lnTo>
                    <a:pt x="1151" y="798"/>
                  </a:lnTo>
                  <a:lnTo>
                    <a:pt x="1149" y="841"/>
                  </a:lnTo>
                  <a:lnTo>
                    <a:pt x="1145" y="884"/>
                  </a:lnTo>
                  <a:lnTo>
                    <a:pt x="1138" y="926"/>
                  </a:lnTo>
                  <a:lnTo>
                    <a:pt x="1130" y="968"/>
                  </a:lnTo>
                  <a:lnTo>
                    <a:pt x="1121" y="1009"/>
                  </a:lnTo>
                  <a:lnTo>
                    <a:pt x="1108" y="1050"/>
                  </a:lnTo>
                  <a:lnTo>
                    <a:pt x="1095" y="1088"/>
                  </a:lnTo>
                  <a:lnTo>
                    <a:pt x="1080" y="1127"/>
                  </a:lnTo>
                  <a:lnTo>
                    <a:pt x="1063" y="1164"/>
                  </a:lnTo>
                  <a:lnTo>
                    <a:pt x="1044" y="1200"/>
                  </a:lnTo>
                  <a:lnTo>
                    <a:pt x="1024" y="1234"/>
                  </a:lnTo>
                  <a:lnTo>
                    <a:pt x="1002" y="1266"/>
                  </a:lnTo>
                  <a:lnTo>
                    <a:pt x="979" y="1297"/>
                  </a:lnTo>
                  <a:lnTo>
                    <a:pt x="954" y="1327"/>
                  </a:lnTo>
                  <a:lnTo>
                    <a:pt x="927" y="1355"/>
                  </a:lnTo>
                  <a:lnTo>
                    <a:pt x="899" y="1379"/>
                  </a:lnTo>
                  <a:lnTo>
                    <a:pt x="869" y="1402"/>
                  </a:lnTo>
                  <a:lnTo>
                    <a:pt x="838" y="1423"/>
                  </a:lnTo>
                  <a:lnTo>
                    <a:pt x="805" y="1442"/>
                  </a:lnTo>
                  <a:lnTo>
                    <a:pt x="770" y="1457"/>
                  </a:lnTo>
                  <a:lnTo>
                    <a:pt x="734" y="1470"/>
                  </a:lnTo>
                  <a:lnTo>
                    <a:pt x="696" y="1481"/>
                  </a:lnTo>
                  <a:lnTo>
                    <a:pt x="658" y="1489"/>
                  </a:lnTo>
                  <a:lnTo>
                    <a:pt x="618" y="1494"/>
                  </a:lnTo>
                  <a:lnTo>
                    <a:pt x="576" y="1496"/>
                  </a:lnTo>
                  <a:lnTo>
                    <a:pt x="534" y="1494"/>
                  </a:lnTo>
                  <a:lnTo>
                    <a:pt x="494" y="1489"/>
                  </a:lnTo>
                  <a:lnTo>
                    <a:pt x="456" y="1481"/>
                  </a:lnTo>
                  <a:lnTo>
                    <a:pt x="418" y="1470"/>
                  </a:lnTo>
                  <a:lnTo>
                    <a:pt x="382" y="1457"/>
                  </a:lnTo>
                  <a:lnTo>
                    <a:pt x="347" y="1442"/>
                  </a:lnTo>
                  <a:lnTo>
                    <a:pt x="314" y="1423"/>
                  </a:lnTo>
                  <a:lnTo>
                    <a:pt x="283" y="1402"/>
                  </a:lnTo>
                  <a:lnTo>
                    <a:pt x="254" y="1379"/>
                  </a:lnTo>
                  <a:lnTo>
                    <a:pt x="225" y="1355"/>
                  </a:lnTo>
                  <a:lnTo>
                    <a:pt x="198" y="1327"/>
                  </a:lnTo>
                  <a:lnTo>
                    <a:pt x="173" y="1297"/>
                  </a:lnTo>
                  <a:lnTo>
                    <a:pt x="150" y="1266"/>
                  </a:lnTo>
                  <a:lnTo>
                    <a:pt x="128" y="1234"/>
                  </a:lnTo>
                  <a:lnTo>
                    <a:pt x="108" y="1200"/>
                  </a:lnTo>
                  <a:lnTo>
                    <a:pt x="89" y="1164"/>
                  </a:lnTo>
                  <a:lnTo>
                    <a:pt x="72" y="1127"/>
                  </a:lnTo>
                  <a:lnTo>
                    <a:pt x="57" y="1088"/>
                  </a:lnTo>
                  <a:lnTo>
                    <a:pt x="44" y="1050"/>
                  </a:lnTo>
                  <a:lnTo>
                    <a:pt x="32" y="1009"/>
                  </a:lnTo>
                  <a:lnTo>
                    <a:pt x="22" y="968"/>
                  </a:lnTo>
                  <a:lnTo>
                    <a:pt x="14" y="926"/>
                  </a:lnTo>
                  <a:lnTo>
                    <a:pt x="7" y="884"/>
                  </a:lnTo>
                  <a:lnTo>
                    <a:pt x="3" y="841"/>
                  </a:lnTo>
                  <a:lnTo>
                    <a:pt x="1" y="798"/>
                  </a:lnTo>
                  <a:lnTo>
                    <a:pt x="0" y="754"/>
                  </a:lnTo>
                  <a:lnTo>
                    <a:pt x="1" y="711"/>
                  </a:lnTo>
                  <a:lnTo>
                    <a:pt x="3" y="667"/>
                  </a:lnTo>
                  <a:lnTo>
                    <a:pt x="8" y="624"/>
                  </a:lnTo>
                  <a:lnTo>
                    <a:pt x="15" y="581"/>
                  </a:lnTo>
                  <a:lnTo>
                    <a:pt x="24" y="538"/>
                  </a:lnTo>
                  <a:lnTo>
                    <a:pt x="34" y="495"/>
                  </a:lnTo>
                  <a:lnTo>
                    <a:pt x="43" y="466"/>
                  </a:lnTo>
                  <a:lnTo>
                    <a:pt x="52" y="438"/>
                  </a:lnTo>
                  <a:lnTo>
                    <a:pt x="63" y="412"/>
                  </a:lnTo>
                  <a:lnTo>
                    <a:pt x="72" y="385"/>
                  </a:lnTo>
                  <a:lnTo>
                    <a:pt x="85" y="360"/>
                  </a:lnTo>
                  <a:lnTo>
                    <a:pt x="97" y="334"/>
                  </a:lnTo>
                  <a:lnTo>
                    <a:pt x="110" y="310"/>
                  </a:lnTo>
                  <a:lnTo>
                    <a:pt x="123" y="287"/>
                  </a:lnTo>
                  <a:lnTo>
                    <a:pt x="138" y="265"/>
                  </a:lnTo>
                  <a:lnTo>
                    <a:pt x="153" y="244"/>
                  </a:lnTo>
                  <a:lnTo>
                    <a:pt x="169" y="223"/>
                  </a:lnTo>
                  <a:lnTo>
                    <a:pt x="184" y="203"/>
                  </a:lnTo>
                  <a:lnTo>
                    <a:pt x="201" y="183"/>
                  </a:lnTo>
                  <a:lnTo>
                    <a:pt x="218" y="166"/>
                  </a:lnTo>
                  <a:lnTo>
                    <a:pt x="236" y="148"/>
                  </a:lnTo>
                  <a:lnTo>
                    <a:pt x="254" y="131"/>
                  </a:lnTo>
                  <a:lnTo>
                    <a:pt x="271" y="116"/>
                  </a:lnTo>
                  <a:lnTo>
                    <a:pt x="290" y="102"/>
                  </a:lnTo>
                  <a:lnTo>
                    <a:pt x="310" y="88"/>
                  </a:lnTo>
                  <a:lnTo>
                    <a:pt x="329" y="75"/>
                  </a:lnTo>
                  <a:lnTo>
                    <a:pt x="349" y="63"/>
                  </a:lnTo>
                  <a:lnTo>
                    <a:pt x="368" y="53"/>
                  </a:lnTo>
                  <a:lnTo>
                    <a:pt x="388" y="43"/>
                  </a:lnTo>
                  <a:lnTo>
                    <a:pt x="409" y="34"/>
                  </a:lnTo>
                  <a:lnTo>
                    <a:pt x="429" y="26"/>
                  </a:lnTo>
                  <a:lnTo>
                    <a:pt x="450" y="19"/>
                  </a:lnTo>
                  <a:lnTo>
                    <a:pt x="471" y="13"/>
                  </a:lnTo>
                  <a:lnTo>
                    <a:pt x="492" y="9"/>
                  </a:lnTo>
                  <a:lnTo>
                    <a:pt x="513" y="4"/>
                  </a:lnTo>
                  <a:lnTo>
                    <a:pt x="534" y="2"/>
                  </a:lnTo>
                  <a:lnTo>
                    <a:pt x="555" y="0"/>
                  </a:lnTo>
                  <a:lnTo>
                    <a:pt x="576" y="0"/>
                  </a:lnTo>
                  <a:lnTo>
                    <a:pt x="597" y="0"/>
                  </a:lnTo>
                  <a:lnTo>
                    <a:pt x="618" y="2"/>
                  </a:lnTo>
                  <a:lnTo>
                    <a:pt x="639" y="4"/>
                  </a:lnTo>
                  <a:lnTo>
                    <a:pt x="660" y="9"/>
                  </a:lnTo>
                  <a:lnTo>
                    <a:pt x="681" y="13"/>
                  </a:lnTo>
                  <a:lnTo>
                    <a:pt x="702" y="19"/>
                  </a:lnTo>
                  <a:lnTo>
                    <a:pt x="723" y="26"/>
                  </a:lnTo>
                  <a:lnTo>
                    <a:pt x="743" y="34"/>
                  </a:lnTo>
                  <a:lnTo>
                    <a:pt x="764" y="43"/>
                  </a:lnTo>
                  <a:lnTo>
                    <a:pt x="784" y="53"/>
                  </a:lnTo>
                  <a:lnTo>
                    <a:pt x="804" y="63"/>
                  </a:lnTo>
                  <a:lnTo>
                    <a:pt x="823" y="75"/>
                  </a:lnTo>
                  <a:lnTo>
                    <a:pt x="842" y="88"/>
                  </a:lnTo>
                  <a:lnTo>
                    <a:pt x="862" y="102"/>
                  </a:lnTo>
                  <a:lnTo>
                    <a:pt x="881" y="116"/>
                  </a:lnTo>
                  <a:lnTo>
                    <a:pt x="899" y="131"/>
                  </a:lnTo>
                  <a:lnTo>
                    <a:pt x="916" y="148"/>
                  </a:lnTo>
                  <a:lnTo>
                    <a:pt x="934" y="166"/>
                  </a:lnTo>
                  <a:lnTo>
                    <a:pt x="952" y="183"/>
                  </a:lnTo>
                  <a:lnTo>
                    <a:pt x="968" y="203"/>
                  </a:lnTo>
                  <a:lnTo>
                    <a:pt x="984" y="223"/>
                  </a:lnTo>
                  <a:lnTo>
                    <a:pt x="999" y="244"/>
                  </a:lnTo>
                  <a:lnTo>
                    <a:pt x="1015" y="265"/>
                  </a:lnTo>
                  <a:lnTo>
                    <a:pt x="1029" y="287"/>
                  </a:lnTo>
                  <a:lnTo>
                    <a:pt x="1042" y="310"/>
                  </a:lnTo>
                  <a:lnTo>
                    <a:pt x="1055" y="334"/>
                  </a:lnTo>
                  <a:lnTo>
                    <a:pt x="1068" y="360"/>
                  </a:lnTo>
                  <a:lnTo>
                    <a:pt x="1080" y="385"/>
                  </a:lnTo>
                  <a:lnTo>
                    <a:pt x="1090" y="412"/>
                  </a:lnTo>
                  <a:lnTo>
                    <a:pt x="1101" y="438"/>
                  </a:lnTo>
                  <a:lnTo>
                    <a:pt x="1109" y="466"/>
                  </a:lnTo>
                  <a:lnTo>
                    <a:pt x="1118" y="495"/>
                  </a:lnTo>
                  <a:close/>
                </a:path>
              </a:pathLst>
            </a:custGeom>
            <a:solidFill>
              <a:srgbClr val="54B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6" name="Freeform 283">
              <a:extLst>
                <a:ext uri="{FF2B5EF4-FFF2-40B4-BE49-F238E27FC236}">
                  <a16:creationId xmlns:a16="http://schemas.microsoft.com/office/drawing/2014/main" id="{B0D91D8C-2DAA-713A-6269-46946E7473D5}"/>
                </a:ext>
              </a:extLst>
            </p:cNvPr>
            <p:cNvSpPr>
              <a:spLocks/>
            </p:cNvSpPr>
            <p:nvPr/>
          </p:nvSpPr>
          <p:spPr bwMode="auto">
            <a:xfrm>
              <a:off x="7146443" y="2624663"/>
              <a:ext cx="315162" cy="449646"/>
            </a:xfrm>
            <a:custGeom>
              <a:avLst/>
              <a:gdLst>
                <a:gd name="T0" fmla="*/ 539 w 1131"/>
                <a:gd name="T1" fmla="*/ 1 h 1496"/>
                <a:gd name="T2" fmla="*/ 589 w 1131"/>
                <a:gd name="T3" fmla="*/ 12 h 1496"/>
                <a:gd name="T4" fmla="*/ 638 w 1131"/>
                <a:gd name="T5" fmla="*/ 30 h 1496"/>
                <a:gd name="T6" fmla="*/ 686 w 1131"/>
                <a:gd name="T7" fmla="*/ 54 h 1496"/>
                <a:gd name="T8" fmla="*/ 731 w 1131"/>
                <a:gd name="T9" fmla="*/ 85 h 1496"/>
                <a:gd name="T10" fmla="*/ 774 w 1131"/>
                <a:gd name="T11" fmla="*/ 121 h 1496"/>
                <a:gd name="T12" fmla="*/ 813 w 1131"/>
                <a:gd name="T13" fmla="*/ 164 h 1496"/>
                <a:gd name="T14" fmla="*/ 848 w 1131"/>
                <a:gd name="T15" fmla="*/ 212 h 1496"/>
                <a:gd name="T16" fmla="*/ 880 w 1131"/>
                <a:gd name="T17" fmla="*/ 266 h 1496"/>
                <a:gd name="T18" fmla="*/ 906 w 1131"/>
                <a:gd name="T19" fmla="*/ 325 h 1496"/>
                <a:gd name="T20" fmla="*/ 927 w 1131"/>
                <a:gd name="T21" fmla="*/ 389 h 1496"/>
                <a:gd name="T22" fmla="*/ 944 w 1131"/>
                <a:gd name="T23" fmla="*/ 469 h 1496"/>
                <a:gd name="T24" fmla="*/ 953 w 1131"/>
                <a:gd name="T25" fmla="*/ 577 h 1496"/>
                <a:gd name="T26" fmla="*/ 947 w 1131"/>
                <a:gd name="T27" fmla="*/ 686 h 1496"/>
                <a:gd name="T28" fmla="*/ 926 w 1131"/>
                <a:gd name="T29" fmla="*/ 790 h 1496"/>
                <a:gd name="T30" fmla="*/ 893 w 1131"/>
                <a:gd name="T31" fmla="*/ 891 h 1496"/>
                <a:gd name="T32" fmla="*/ 848 w 1131"/>
                <a:gd name="T33" fmla="*/ 982 h 1496"/>
                <a:gd name="T34" fmla="*/ 789 w 1131"/>
                <a:gd name="T35" fmla="*/ 1065 h 1496"/>
                <a:gd name="T36" fmla="*/ 720 w 1131"/>
                <a:gd name="T37" fmla="*/ 1136 h 1496"/>
                <a:gd name="T38" fmla="*/ 639 w 1131"/>
                <a:gd name="T39" fmla="*/ 1191 h 1496"/>
                <a:gd name="T40" fmla="*/ 550 w 1131"/>
                <a:gd name="T41" fmla="*/ 1230 h 1496"/>
                <a:gd name="T42" fmla="*/ 450 w 1131"/>
                <a:gd name="T43" fmla="*/ 1247 h 1496"/>
                <a:gd name="T44" fmla="*/ 380 w 1131"/>
                <a:gd name="T45" fmla="*/ 1247 h 1496"/>
                <a:gd name="T46" fmla="*/ 330 w 1131"/>
                <a:gd name="T47" fmla="*/ 1240 h 1496"/>
                <a:gd name="T48" fmla="*/ 281 w 1131"/>
                <a:gd name="T49" fmla="*/ 1226 h 1496"/>
                <a:gd name="T50" fmla="*/ 236 w 1131"/>
                <a:gd name="T51" fmla="*/ 1208 h 1496"/>
                <a:gd name="T52" fmla="*/ 193 w 1131"/>
                <a:gd name="T53" fmla="*/ 1185 h 1496"/>
                <a:gd name="T54" fmla="*/ 153 w 1131"/>
                <a:gd name="T55" fmla="*/ 1155 h 1496"/>
                <a:gd name="T56" fmla="*/ 116 w 1131"/>
                <a:gd name="T57" fmla="*/ 1122 h 1496"/>
                <a:gd name="T58" fmla="*/ 81 w 1131"/>
                <a:gd name="T59" fmla="*/ 1084 h 1496"/>
                <a:gd name="T60" fmla="*/ 33 w 1131"/>
                <a:gd name="T61" fmla="*/ 1012 h 1496"/>
                <a:gd name="T62" fmla="*/ 6 w 1131"/>
                <a:gd name="T63" fmla="*/ 977 h 1496"/>
                <a:gd name="T64" fmla="*/ 31 w 1131"/>
                <a:gd name="T65" fmla="*/ 1060 h 1496"/>
                <a:gd name="T66" fmla="*/ 63 w 1131"/>
                <a:gd name="T67" fmla="*/ 1137 h 1496"/>
                <a:gd name="T68" fmla="*/ 100 w 1131"/>
                <a:gd name="T69" fmla="*/ 1210 h 1496"/>
                <a:gd name="T70" fmla="*/ 144 w 1131"/>
                <a:gd name="T71" fmla="*/ 1276 h 1496"/>
                <a:gd name="T72" fmla="*/ 195 w 1131"/>
                <a:gd name="T73" fmla="*/ 1336 h 1496"/>
                <a:gd name="T74" fmla="*/ 251 w 1131"/>
                <a:gd name="T75" fmla="*/ 1387 h 1496"/>
                <a:gd name="T76" fmla="*/ 313 w 1131"/>
                <a:gd name="T77" fmla="*/ 1430 h 1496"/>
                <a:gd name="T78" fmla="*/ 380 w 1131"/>
                <a:gd name="T79" fmla="*/ 1463 h 1496"/>
                <a:gd name="T80" fmla="*/ 451 w 1131"/>
                <a:gd name="T81" fmla="*/ 1485 h 1496"/>
                <a:gd name="T82" fmla="*/ 528 w 1131"/>
                <a:gd name="T83" fmla="*/ 1495 h 1496"/>
                <a:gd name="T84" fmla="*/ 636 w 1131"/>
                <a:gd name="T85" fmla="*/ 1489 h 1496"/>
                <a:gd name="T86" fmla="*/ 748 w 1131"/>
                <a:gd name="T87" fmla="*/ 1457 h 1496"/>
                <a:gd name="T88" fmla="*/ 847 w 1131"/>
                <a:gd name="T89" fmla="*/ 1402 h 1496"/>
                <a:gd name="T90" fmla="*/ 932 w 1131"/>
                <a:gd name="T91" fmla="*/ 1327 h 1496"/>
                <a:gd name="T92" fmla="*/ 1002 w 1131"/>
                <a:gd name="T93" fmla="*/ 1234 h 1496"/>
                <a:gd name="T94" fmla="*/ 1058 w 1131"/>
                <a:gd name="T95" fmla="*/ 1127 h 1496"/>
                <a:gd name="T96" fmla="*/ 1099 w 1131"/>
                <a:gd name="T97" fmla="*/ 1009 h 1496"/>
                <a:gd name="T98" fmla="*/ 1123 w 1131"/>
                <a:gd name="T99" fmla="*/ 884 h 1496"/>
                <a:gd name="T100" fmla="*/ 1131 w 1131"/>
                <a:gd name="T101" fmla="*/ 754 h 1496"/>
                <a:gd name="T102" fmla="*/ 1122 w 1131"/>
                <a:gd name="T103" fmla="*/ 624 h 1496"/>
                <a:gd name="T104" fmla="*/ 1096 w 1131"/>
                <a:gd name="T105" fmla="*/ 495 h 1496"/>
                <a:gd name="T106" fmla="*/ 1068 w 1131"/>
                <a:gd name="T107" fmla="*/ 412 h 1496"/>
                <a:gd name="T108" fmla="*/ 1033 w 1131"/>
                <a:gd name="T109" fmla="*/ 334 h 1496"/>
                <a:gd name="T110" fmla="*/ 993 w 1131"/>
                <a:gd name="T111" fmla="*/ 265 h 1496"/>
                <a:gd name="T112" fmla="*/ 946 w 1131"/>
                <a:gd name="T113" fmla="*/ 203 h 1496"/>
                <a:gd name="T114" fmla="*/ 894 w 1131"/>
                <a:gd name="T115" fmla="*/ 148 h 1496"/>
                <a:gd name="T116" fmla="*/ 840 w 1131"/>
                <a:gd name="T117" fmla="*/ 102 h 1496"/>
                <a:gd name="T118" fmla="*/ 782 w 1131"/>
                <a:gd name="T119" fmla="*/ 63 h 1496"/>
                <a:gd name="T120" fmla="*/ 721 w 1131"/>
                <a:gd name="T121" fmla="*/ 34 h 1496"/>
                <a:gd name="T122" fmla="*/ 659 w 1131"/>
                <a:gd name="T123" fmla="*/ 13 h 1496"/>
                <a:gd name="T124" fmla="*/ 596 w 1131"/>
                <a:gd name="T125" fmla="*/ 2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1" h="1496">
                  <a:moveTo>
                    <a:pt x="554" y="0"/>
                  </a:moveTo>
                  <a:lnTo>
                    <a:pt x="546" y="0"/>
                  </a:lnTo>
                  <a:lnTo>
                    <a:pt x="539" y="1"/>
                  </a:lnTo>
                  <a:lnTo>
                    <a:pt x="556" y="3"/>
                  </a:lnTo>
                  <a:lnTo>
                    <a:pt x="573" y="8"/>
                  </a:lnTo>
                  <a:lnTo>
                    <a:pt x="589" y="12"/>
                  </a:lnTo>
                  <a:lnTo>
                    <a:pt x="606" y="17"/>
                  </a:lnTo>
                  <a:lnTo>
                    <a:pt x="621" y="23"/>
                  </a:lnTo>
                  <a:lnTo>
                    <a:pt x="638" y="30"/>
                  </a:lnTo>
                  <a:lnTo>
                    <a:pt x="655" y="36"/>
                  </a:lnTo>
                  <a:lnTo>
                    <a:pt x="670" y="45"/>
                  </a:lnTo>
                  <a:lnTo>
                    <a:pt x="686" y="54"/>
                  </a:lnTo>
                  <a:lnTo>
                    <a:pt x="701" y="63"/>
                  </a:lnTo>
                  <a:lnTo>
                    <a:pt x="716" y="74"/>
                  </a:lnTo>
                  <a:lnTo>
                    <a:pt x="731" y="85"/>
                  </a:lnTo>
                  <a:lnTo>
                    <a:pt x="745" y="96"/>
                  </a:lnTo>
                  <a:lnTo>
                    <a:pt x="760" y="108"/>
                  </a:lnTo>
                  <a:lnTo>
                    <a:pt x="774" y="121"/>
                  </a:lnTo>
                  <a:lnTo>
                    <a:pt x="787" y="135"/>
                  </a:lnTo>
                  <a:lnTo>
                    <a:pt x="800" y="149"/>
                  </a:lnTo>
                  <a:lnTo>
                    <a:pt x="813" y="164"/>
                  </a:lnTo>
                  <a:lnTo>
                    <a:pt x="825" y="180"/>
                  </a:lnTo>
                  <a:lnTo>
                    <a:pt x="837" y="195"/>
                  </a:lnTo>
                  <a:lnTo>
                    <a:pt x="848" y="212"/>
                  </a:lnTo>
                  <a:lnTo>
                    <a:pt x="859" y="230"/>
                  </a:lnTo>
                  <a:lnTo>
                    <a:pt x="870" y="247"/>
                  </a:lnTo>
                  <a:lnTo>
                    <a:pt x="880" y="266"/>
                  </a:lnTo>
                  <a:lnTo>
                    <a:pt x="889" y="285"/>
                  </a:lnTo>
                  <a:lnTo>
                    <a:pt x="898" y="305"/>
                  </a:lnTo>
                  <a:lnTo>
                    <a:pt x="906" y="325"/>
                  </a:lnTo>
                  <a:lnTo>
                    <a:pt x="914" y="346"/>
                  </a:lnTo>
                  <a:lnTo>
                    <a:pt x="921" y="368"/>
                  </a:lnTo>
                  <a:lnTo>
                    <a:pt x="927" y="389"/>
                  </a:lnTo>
                  <a:lnTo>
                    <a:pt x="933" y="412"/>
                  </a:lnTo>
                  <a:lnTo>
                    <a:pt x="937" y="434"/>
                  </a:lnTo>
                  <a:lnTo>
                    <a:pt x="944" y="469"/>
                  </a:lnTo>
                  <a:lnTo>
                    <a:pt x="948" y="506"/>
                  </a:lnTo>
                  <a:lnTo>
                    <a:pt x="952" y="541"/>
                  </a:lnTo>
                  <a:lnTo>
                    <a:pt x="953" y="577"/>
                  </a:lnTo>
                  <a:lnTo>
                    <a:pt x="953" y="614"/>
                  </a:lnTo>
                  <a:lnTo>
                    <a:pt x="951" y="649"/>
                  </a:lnTo>
                  <a:lnTo>
                    <a:pt x="947" y="686"/>
                  </a:lnTo>
                  <a:lnTo>
                    <a:pt x="942" y="721"/>
                  </a:lnTo>
                  <a:lnTo>
                    <a:pt x="935" y="756"/>
                  </a:lnTo>
                  <a:lnTo>
                    <a:pt x="926" y="790"/>
                  </a:lnTo>
                  <a:lnTo>
                    <a:pt x="917" y="825"/>
                  </a:lnTo>
                  <a:lnTo>
                    <a:pt x="906" y="858"/>
                  </a:lnTo>
                  <a:lnTo>
                    <a:pt x="893" y="891"/>
                  </a:lnTo>
                  <a:lnTo>
                    <a:pt x="880" y="922"/>
                  </a:lnTo>
                  <a:lnTo>
                    <a:pt x="864" y="953"/>
                  </a:lnTo>
                  <a:lnTo>
                    <a:pt x="848" y="982"/>
                  </a:lnTo>
                  <a:lnTo>
                    <a:pt x="829" y="1012"/>
                  </a:lnTo>
                  <a:lnTo>
                    <a:pt x="810" y="1040"/>
                  </a:lnTo>
                  <a:lnTo>
                    <a:pt x="789" y="1065"/>
                  </a:lnTo>
                  <a:lnTo>
                    <a:pt x="767" y="1091"/>
                  </a:lnTo>
                  <a:lnTo>
                    <a:pt x="744" y="1114"/>
                  </a:lnTo>
                  <a:lnTo>
                    <a:pt x="720" y="1136"/>
                  </a:lnTo>
                  <a:lnTo>
                    <a:pt x="694" y="1156"/>
                  </a:lnTo>
                  <a:lnTo>
                    <a:pt x="668" y="1175"/>
                  </a:lnTo>
                  <a:lnTo>
                    <a:pt x="639" y="1191"/>
                  </a:lnTo>
                  <a:lnTo>
                    <a:pt x="610" y="1205"/>
                  </a:lnTo>
                  <a:lnTo>
                    <a:pt x="581" y="1219"/>
                  </a:lnTo>
                  <a:lnTo>
                    <a:pt x="550" y="1230"/>
                  </a:lnTo>
                  <a:lnTo>
                    <a:pt x="518" y="1238"/>
                  </a:lnTo>
                  <a:lnTo>
                    <a:pt x="485" y="1244"/>
                  </a:lnTo>
                  <a:lnTo>
                    <a:pt x="450" y="1247"/>
                  </a:lnTo>
                  <a:lnTo>
                    <a:pt x="415" y="1249"/>
                  </a:lnTo>
                  <a:lnTo>
                    <a:pt x="397" y="1249"/>
                  </a:lnTo>
                  <a:lnTo>
                    <a:pt x="380" y="1247"/>
                  </a:lnTo>
                  <a:lnTo>
                    <a:pt x="363" y="1245"/>
                  </a:lnTo>
                  <a:lnTo>
                    <a:pt x="346" y="1243"/>
                  </a:lnTo>
                  <a:lnTo>
                    <a:pt x="330" y="1240"/>
                  </a:lnTo>
                  <a:lnTo>
                    <a:pt x="313" y="1236"/>
                  </a:lnTo>
                  <a:lnTo>
                    <a:pt x="297" y="1232"/>
                  </a:lnTo>
                  <a:lnTo>
                    <a:pt x="281" y="1226"/>
                  </a:lnTo>
                  <a:lnTo>
                    <a:pt x="266" y="1221"/>
                  </a:lnTo>
                  <a:lnTo>
                    <a:pt x="250" y="1215"/>
                  </a:lnTo>
                  <a:lnTo>
                    <a:pt x="236" y="1208"/>
                  </a:lnTo>
                  <a:lnTo>
                    <a:pt x="222" y="1201"/>
                  </a:lnTo>
                  <a:lnTo>
                    <a:pt x="207" y="1192"/>
                  </a:lnTo>
                  <a:lnTo>
                    <a:pt x="193" y="1185"/>
                  </a:lnTo>
                  <a:lnTo>
                    <a:pt x="180" y="1175"/>
                  </a:lnTo>
                  <a:lnTo>
                    <a:pt x="166" y="1166"/>
                  </a:lnTo>
                  <a:lnTo>
                    <a:pt x="153" y="1155"/>
                  </a:lnTo>
                  <a:lnTo>
                    <a:pt x="140" y="1145"/>
                  </a:lnTo>
                  <a:lnTo>
                    <a:pt x="128" y="1134"/>
                  </a:lnTo>
                  <a:lnTo>
                    <a:pt x="116" y="1122"/>
                  </a:lnTo>
                  <a:lnTo>
                    <a:pt x="105" y="1109"/>
                  </a:lnTo>
                  <a:lnTo>
                    <a:pt x="92" y="1097"/>
                  </a:lnTo>
                  <a:lnTo>
                    <a:pt x="81" y="1084"/>
                  </a:lnTo>
                  <a:lnTo>
                    <a:pt x="71" y="1071"/>
                  </a:lnTo>
                  <a:lnTo>
                    <a:pt x="52" y="1042"/>
                  </a:lnTo>
                  <a:lnTo>
                    <a:pt x="33" y="1012"/>
                  </a:lnTo>
                  <a:lnTo>
                    <a:pt x="15" y="981"/>
                  </a:lnTo>
                  <a:lnTo>
                    <a:pt x="0" y="949"/>
                  </a:lnTo>
                  <a:lnTo>
                    <a:pt x="6" y="977"/>
                  </a:lnTo>
                  <a:lnTo>
                    <a:pt x="14" y="1005"/>
                  </a:lnTo>
                  <a:lnTo>
                    <a:pt x="22" y="1032"/>
                  </a:lnTo>
                  <a:lnTo>
                    <a:pt x="31" y="1060"/>
                  </a:lnTo>
                  <a:lnTo>
                    <a:pt x="41" y="1085"/>
                  </a:lnTo>
                  <a:lnTo>
                    <a:pt x="50" y="1112"/>
                  </a:lnTo>
                  <a:lnTo>
                    <a:pt x="63" y="1137"/>
                  </a:lnTo>
                  <a:lnTo>
                    <a:pt x="74" y="1162"/>
                  </a:lnTo>
                  <a:lnTo>
                    <a:pt x="87" y="1186"/>
                  </a:lnTo>
                  <a:lnTo>
                    <a:pt x="100" y="1210"/>
                  </a:lnTo>
                  <a:lnTo>
                    <a:pt x="115" y="1233"/>
                  </a:lnTo>
                  <a:lnTo>
                    <a:pt x="129" y="1255"/>
                  </a:lnTo>
                  <a:lnTo>
                    <a:pt x="144" y="1276"/>
                  </a:lnTo>
                  <a:lnTo>
                    <a:pt x="161" y="1297"/>
                  </a:lnTo>
                  <a:lnTo>
                    <a:pt x="177" y="1317"/>
                  </a:lnTo>
                  <a:lnTo>
                    <a:pt x="195" y="1336"/>
                  </a:lnTo>
                  <a:lnTo>
                    <a:pt x="213" y="1353"/>
                  </a:lnTo>
                  <a:lnTo>
                    <a:pt x="232" y="1371"/>
                  </a:lnTo>
                  <a:lnTo>
                    <a:pt x="251" y="1387"/>
                  </a:lnTo>
                  <a:lnTo>
                    <a:pt x="271" y="1402"/>
                  </a:lnTo>
                  <a:lnTo>
                    <a:pt x="292" y="1416"/>
                  </a:lnTo>
                  <a:lnTo>
                    <a:pt x="313" y="1430"/>
                  </a:lnTo>
                  <a:lnTo>
                    <a:pt x="335" y="1442"/>
                  </a:lnTo>
                  <a:lnTo>
                    <a:pt x="358" y="1453"/>
                  </a:lnTo>
                  <a:lnTo>
                    <a:pt x="380" y="1463"/>
                  </a:lnTo>
                  <a:lnTo>
                    <a:pt x="404" y="1470"/>
                  </a:lnTo>
                  <a:lnTo>
                    <a:pt x="427" y="1478"/>
                  </a:lnTo>
                  <a:lnTo>
                    <a:pt x="451" y="1485"/>
                  </a:lnTo>
                  <a:lnTo>
                    <a:pt x="477" y="1489"/>
                  </a:lnTo>
                  <a:lnTo>
                    <a:pt x="502" y="1493"/>
                  </a:lnTo>
                  <a:lnTo>
                    <a:pt x="528" y="1495"/>
                  </a:lnTo>
                  <a:lnTo>
                    <a:pt x="554" y="1496"/>
                  </a:lnTo>
                  <a:lnTo>
                    <a:pt x="596" y="1494"/>
                  </a:lnTo>
                  <a:lnTo>
                    <a:pt x="636" y="1489"/>
                  </a:lnTo>
                  <a:lnTo>
                    <a:pt x="674" y="1481"/>
                  </a:lnTo>
                  <a:lnTo>
                    <a:pt x="712" y="1470"/>
                  </a:lnTo>
                  <a:lnTo>
                    <a:pt x="748" y="1457"/>
                  </a:lnTo>
                  <a:lnTo>
                    <a:pt x="783" y="1442"/>
                  </a:lnTo>
                  <a:lnTo>
                    <a:pt x="816" y="1423"/>
                  </a:lnTo>
                  <a:lnTo>
                    <a:pt x="847" y="1402"/>
                  </a:lnTo>
                  <a:lnTo>
                    <a:pt x="877" y="1379"/>
                  </a:lnTo>
                  <a:lnTo>
                    <a:pt x="905" y="1355"/>
                  </a:lnTo>
                  <a:lnTo>
                    <a:pt x="932" y="1327"/>
                  </a:lnTo>
                  <a:lnTo>
                    <a:pt x="957" y="1297"/>
                  </a:lnTo>
                  <a:lnTo>
                    <a:pt x="980" y="1266"/>
                  </a:lnTo>
                  <a:lnTo>
                    <a:pt x="1002" y="1234"/>
                  </a:lnTo>
                  <a:lnTo>
                    <a:pt x="1022" y="1200"/>
                  </a:lnTo>
                  <a:lnTo>
                    <a:pt x="1041" y="1164"/>
                  </a:lnTo>
                  <a:lnTo>
                    <a:pt x="1058" y="1127"/>
                  </a:lnTo>
                  <a:lnTo>
                    <a:pt x="1073" y="1088"/>
                  </a:lnTo>
                  <a:lnTo>
                    <a:pt x="1086" y="1050"/>
                  </a:lnTo>
                  <a:lnTo>
                    <a:pt x="1099" y="1009"/>
                  </a:lnTo>
                  <a:lnTo>
                    <a:pt x="1108" y="968"/>
                  </a:lnTo>
                  <a:lnTo>
                    <a:pt x="1116" y="926"/>
                  </a:lnTo>
                  <a:lnTo>
                    <a:pt x="1123" y="884"/>
                  </a:lnTo>
                  <a:lnTo>
                    <a:pt x="1127" y="841"/>
                  </a:lnTo>
                  <a:lnTo>
                    <a:pt x="1129" y="798"/>
                  </a:lnTo>
                  <a:lnTo>
                    <a:pt x="1131" y="754"/>
                  </a:lnTo>
                  <a:lnTo>
                    <a:pt x="1129" y="711"/>
                  </a:lnTo>
                  <a:lnTo>
                    <a:pt x="1127" y="667"/>
                  </a:lnTo>
                  <a:lnTo>
                    <a:pt x="1122" y="624"/>
                  </a:lnTo>
                  <a:lnTo>
                    <a:pt x="1115" y="581"/>
                  </a:lnTo>
                  <a:lnTo>
                    <a:pt x="1106" y="538"/>
                  </a:lnTo>
                  <a:lnTo>
                    <a:pt x="1096" y="495"/>
                  </a:lnTo>
                  <a:lnTo>
                    <a:pt x="1087" y="466"/>
                  </a:lnTo>
                  <a:lnTo>
                    <a:pt x="1079" y="438"/>
                  </a:lnTo>
                  <a:lnTo>
                    <a:pt x="1068" y="412"/>
                  </a:lnTo>
                  <a:lnTo>
                    <a:pt x="1058" y="385"/>
                  </a:lnTo>
                  <a:lnTo>
                    <a:pt x="1046" y="360"/>
                  </a:lnTo>
                  <a:lnTo>
                    <a:pt x="1033" y="334"/>
                  </a:lnTo>
                  <a:lnTo>
                    <a:pt x="1020" y="310"/>
                  </a:lnTo>
                  <a:lnTo>
                    <a:pt x="1007" y="287"/>
                  </a:lnTo>
                  <a:lnTo>
                    <a:pt x="993" y="265"/>
                  </a:lnTo>
                  <a:lnTo>
                    <a:pt x="977" y="244"/>
                  </a:lnTo>
                  <a:lnTo>
                    <a:pt x="962" y="223"/>
                  </a:lnTo>
                  <a:lnTo>
                    <a:pt x="946" y="203"/>
                  </a:lnTo>
                  <a:lnTo>
                    <a:pt x="930" y="183"/>
                  </a:lnTo>
                  <a:lnTo>
                    <a:pt x="912" y="166"/>
                  </a:lnTo>
                  <a:lnTo>
                    <a:pt x="894" y="148"/>
                  </a:lnTo>
                  <a:lnTo>
                    <a:pt x="877" y="131"/>
                  </a:lnTo>
                  <a:lnTo>
                    <a:pt x="859" y="116"/>
                  </a:lnTo>
                  <a:lnTo>
                    <a:pt x="840" y="102"/>
                  </a:lnTo>
                  <a:lnTo>
                    <a:pt x="820" y="88"/>
                  </a:lnTo>
                  <a:lnTo>
                    <a:pt x="801" y="75"/>
                  </a:lnTo>
                  <a:lnTo>
                    <a:pt x="782" y="63"/>
                  </a:lnTo>
                  <a:lnTo>
                    <a:pt x="762" y="53"/>
                  </a:lnTo>
                  <a:lnTo>
                    <a:pt x="742" y="43"/>
                  </a:lnTo>
                  <a:lnTo>
                    <a:pt x="721" y="34"/>
                  </a:lnTo>
                  <a:lnTo>
                    <a:pt x="701" y="26"/>
                  </a:lnTo>
                  <a:lnTo>
                    <a:pt x="680" y="19"/>
                  </a:lnTo>
                  <a:lnTo>
                    <a:pt x="659" y="13"/>
                  </a:lnTo>
                  <a:lnTo>
                    <a:pt x="638" y="9"/>
                  </a:lnTo>
                  <a:lnTo>
                    <a:pt x="617" y="4"/>
                  </a:lnTo>
                  <a:lnTo>
                    <a:pt x="596" y="2"/>
                  </a:lnTo>
                  <a:lnTo>
                    <a:pt x="575" y="0"/>
                  </a:lnTo>
                  <a:lnTo>
                    <a:pt x="554" y="0"/>
                  </a:lnTo>
                  <a:close/>
                </a:path>
              </a:pathLst>
            </a:custGeom>
            <a:solidFill>
              <a:srgbClr val="49A8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7" name="Freeform 289">
              <a:extLst>
                <a:ext uri="{FF2B5EF4-FFF2-40B4-BE49-F238E27FC236}">
                  <a16:creationId xmlns:a16="http://schemas.microsoft.com/office/drawing/2014/main" id="{2A08A7F9-10B2-76DE-4199-14101383F9C4}"/>
                </a:ext>
              </a:extLst>
            </p:cNvPr>
            <p:cNvSpPr>
              <a:spLocks/>
            </p:cNvSpPr>
            <p:nvPr/>
          </p:nvSpPr>
          <p:spPr bwMode="auto">
            <a:xfrm>
              <a:off x="8867284" y="1232112"/>
              <a:ext cx="563387" cy="384982"/>
            </a:xfrm>
            <a:custGeom>
              <a:avLst/>
              <a:gdLst>
                <a:gd name="T0" fmla="*/ 1622 w 2017"/>
                <a:gd name="T1" fmla="*/ 359 h 1284"/>
                <a:gd name="T2" fmla="*/ 1586 w 2017"/>
                <a:gd name="T3" fmla="*/ 262 h 1284"/>
                <a:gd name="T4" fmla="*/ 1531 w 2017"/>
                <a:gd name="T5" fmla="*/ 174 h 1284"/>
                <a:gd name="T6" fmla="*/ 1458 w 2017"/>
                <a:gd name="T7" fmla="*/ 103 h 1284"/>
                <a:gd name="T8" fmla="*/ 1372 w 2017"/>
                <a:gd name="T9" fmla="*/ 47 h 1284"/>
                <a:gd name="T10" fmla="*/ 1273 w 2017"/>
                <a:gd name="T11" fmla="*/ 12 h 1284"/>
                <a:gd name="T12" fmla="*/ 1166 w 2017"/>
                <a:gd name="T13" fmla="*/ 0 h 1284"/>
                <a:gd name="T14" fmla="*/ 1068 w 2017"/>
                <a:gd name="T15" fmla="*/ 11 h 1284"/>
                <a:gd name="T16" fmla="*/ 978 w 2017"/>
                <a:gd name="T17" fmla="*/ 41 h 1284"/>
                <a:gd name="T18" fmla="*/ 895 w 2017"/>
                <a:gd name="T19" fmla="*/ 87 h 1284"/>
                <a:gd name="T20" fmla="*/ 825 w 2017"/>
                <a:gd name="T21" fmla="*/ 149 h 1284"/>
                <a:gd name="T22" fmla="*/ 768 w 2017"/>
                <a:gd name="T23" fmla="*/ 224 h 1284"/>
                <a:gd name="T24" fmla="*/ 727 w 2017"/>
                <a:gd name="T25" fmla="*/ 309 h 1284"/>
                <a:gd name="T26" fmla="*/ 668 w 2017"/>
                <a:gd name="T27" fmla="*/ 324 h 1284"/>
                <a:gd name="T28" fmla="*/ 581 w 2017"/>
                <a:gd name="T29" fmla="*/ 309 h 1284"/>
                <a:gd name="T30" fmla="*/ 513 w 2017"/>
                <a:gd name="T31" fmla="*/ 318 h 1284"/>
                <a:gd name="T32" fmla="*/ 450 w 2017"/>
                <a:gd name="T33" fmla="*/ 342 h 1284"/>
                <a:gd name="T34" fmla="*/ 397 w 2017"/>
                <a:gd name="T35" fmla="*/ 381 h 1284"/>
                <a:gd name="T36" fmla="*/ 354 w 2017"/>
                <a:gd name="T37" fmla="*/ 430 h 1284"/>
                <a:gd name="T38" fmla="*/ 323 w 2017"/>
                <a:gd name="T39" fmla="*/ 490 h 1284"/>
                <a:gd name="T40" fmla="*/ 307 w 2017"/>
                <a:gd name="T41" fmla="*/ 556 h 1284"/>
                <a:gd name="T42" fmla="*/ 309 w 2017"/>
                <a:gd name="T43" fmla="*/ 620 h 1284"/>
                <a:gd name="T44" fmla="*/ 275 w 2017"/>
                <a:gd name="T45" fmla="*/ 629 h 1284"/>
                <a:gd name="T46" fmla="*/ 207 w 2017"/>
                <a:gd name="T47" fmla="*/ 638 h 1284"/>
                <a:gd name="T48" fmla="*/ 144 w 2017"/>
                <a:gd name="T49" fmla="*/ 662 h 1284"/>
                <a:gd name="T50" fmla="*/ 91 w 2017"/>
                <a:gd name="T51" fmla="*/ 701 h 1284"/>
                <a:gd name="T52" fmla="*/ 48 w 2017"/>
                <a:gd name="T53" fmla="*/ 751 h 1284"/>
                <a:gd name="T54" fmla="*/ 17 w 2017"/>
                <a:gd name="T55" fmla="*/ 809 h 1284"/>
                <a:gd name="T56" fmla="*/ 2 w 2017"/>
                <a:gd name="T57" fmla="*/ 875 h 1284"/>
                <a:gd name="T58" fmla="*/ 3 w 2017"/>
                <a:gd name="T59" fmla="*/ 946 h 1284"/>
                <a:gd name="T60" fmla="*/ 22 w 2017"/>
                <a:gd name="T61" fmla="*/ 1010 h 1284"/>
                <a:gd name="T62" fmla="*/ 55 w 2017"/>
                <a:gd name="T63" fmla="*/ 1067 h 1284"/>
                <a:gd name="T64" fmla="*/ 101 w 2017"/>
                <a:gd name="T65" fmla="*/ 1116 h 1284"/>
                <a:gd name="T66" fmla="*/ 156 w 2017"/>
                <a:gd name="T67" fmla="*/ 1151 h 1284"/>
                <a:gd name="T68" fmla="*/ 220 w 2017"/>
                <a:gd name="T69" fmla="*/ 1172 h 1284"/>
                <a:gd name="T70" fmla="*/ 294 w 2017"/>
                <a:gd name="T71" fmla="*/ 1178 h 1284"/>
                <a:gd name="T72" fmla="*/ 384 w 2017"/>
                <a:gd name="T73" fmla="*/ 1155 h 1284"/>
                <a:gd name="T74" fmla="*/ 523 w 2017"/>
                <a:gd name="T75" fmla="*/ 1194 h 1284"/>
                <a:gd name="T76" fmla="*/ 731 w 2017"/>
                <a:gd name="T77" fmla="*/ 1256 h 1284"/>
                <a:gd name="T78" fmla="*/ 960 w 2017"/>
                <a:gd name="T79" fmla="*/ 1283 h 1284"/>
                <a:gd name="T80" fmla="*/ 1182 w 2017"/>
                <a:gd name="T81" fmla="*/ 1277 h 1284"/>
                <a:gd name="T82" fmla="*/ 1373 w 2017"/>
                <a:gd name="T83" fmla="*/ 1245 h 1284"/>
                <a:gd name="T84" fmla="*/ 1505 w 2017"/>
                <a:gd name="T85" fmla="*/ 1193 h 1284"/>
                <a:gd name="T86" fmla="*/ 1575 w 2017"/>
                <a:gd name="T87" fmla="*/ 1144 h 1284"/>
                <a:gd name="T88" fmla="*/ 1679 w 2017"/>
                <a:gd name="T89" fmla="*/ 1148 h 1284"/>
                <a:gd name="T90" fmla="*/ 1770 w 2017"/>
                <a:gd name="T91" fmla="*/ 1128 h 1284"/>
                <a:gd name="T92" fmla="*/ 1851 w 2017"/>
                <a:gd name="T93" fmla="*/ 1086 h 1284"/>
                <a:gd name="T94" fmla="*/ 1918 w 2017"/>
                <a:gd name="T95" fmla="*/ 1028 h 1284"/>
                <a:gd name="T96" fmla="*/ 1971 w 2017"/>
                <a:gd name="T97" fmla="*/ 954 h 1284"/>
                <a:gd name="T98" fmla="*/ 2005 w 2017"/>
                <a:gd name="T99" fmla="*/ 869 h 1284"/>
                <a:gd name="T100" fmla="*/ 2017 w 2017"/>
                <a:gd name="T101" fmla="*/ 775 h 1284"/>
                <a:gd name="T102" fmla="*/ 2005 w 2017"/>
                <a:gd name="T103" fmla="*/ 681 h 1284"/>
                <a:gd name="T104" fmla="*/ 1971 w 2017"/>
                <a:gd name="T105" fmla="*/ 596 h 1284"/>
                <a:gd name="T106" fmla="*/ 1918 w 2017"/>
                <a:gd name="T107" fmla="*/ 523 h 1284"/>
                <a:gd name="T108" fmla="*/ 1851 w 2017"/>
                <a:gd name="T109" fmla="*/ 464 h 1284"/>
                <a:gd name="T110" fmla="*/ 1770 w 2017"/>
                <a:gd name="T111" fmla="*/ 423 h 1284"/>
                <a:gd name="T112" fmla="*/ 1679 w 2017"/>
                <a:gd name="T113" fmla="*/ 40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17" h="1284">
                  <a:moveTo>
                    <a:pt x="1641" y="399"/>
                  </a:moveTo>
                  <a:lnTo>
                    <a:pt x="1636" y="401"/>
                  </a:lnTo>
                  <a:lnTo>
                    <a:pt x="1630" y="401"/>
                  </a:lnTo>
                  <a:lnTo>
                    <a:pt x="1627" y="380"/>
                  </a:lnTo>
                  <a:lnTo>
                    <a:pt x="1622" y="359"/>
                  </a:lnTo>
                  <a:lnTo>
                    <a:pt x="1617" y="339"/>
                  </a:lnTo>
                  <a:lnTo>
                    <a:pt x="1610" y="319"/>
                  </a:lnTo>
                  <a:lnTo>
                    <a:pt x="1603" y="299"/>
                  </a:lnTo>
                  <a:lnTo>
                    <a:pt x="1595" y="280"/>
                  </a:lnTo>
                  <a:lnTo>
                    <a:pt x="1586" y="262"/>
                  </a:lnTo>
                  <a:lnTo>
                    <a:pt x="1577" y="243"/>
                  </a:lnTo>
                  <a:lnTo>
                    <a:pt x="1566" y="225"/>
                  </a:lnTo>
                  <a:lnTo>
                    <a:pt x="1555" y="207"/>
                  </a:lnTo>
                  <a:lnTo>
                    <a:pt x="1543" y="191"/>
                  </a:lnTo>
                  <a:lnTo>
                    <a:pt x="1531" y="174"/>
                  </a:lnTo>
                  <a:lnTo>
                    <a:pt x="1518" y="159"/>
                  </a:lnTo>
                  <a:lnTo>
                    <a:pt x="1504" y="143"/>
                  </a:lnTo>
                  <a:lnTo>
                    <a:pt x="1489" y="129"/>
                  </a:lnTo>
                  <a:lnTo>
                    <a:pt x="1474" y="116"/>
                  </a:lnTo>
                  <a:lnTo>
                    <a:pt x="1458" y="103"/>
                  </a:lnTo>
                  <a:lnTo>
                    <a:pt x="1442" y="90"/>
                  </a:lnTo>
                  <a:lnTo>
                    <a:pt x="1426" y="78"/>
                  </a:lnTo>
                  <a:lnTo>
                    <a:pt x="1408" y="67"/>
                  </a:lnTo>
                  <a:lnTo>
                    <a:pt x="1391" y="57"/>
                  </a:lnTo>
                  <a:lnTo>
                    <a:pt x="1372" y="47"/>
                  </a:lnTo>
                  <a:lnTo>
                    <a:pt x="1353" y="39"/>
                  </a:lnTo>
                  <a:lnTo>
                    <a:pt x="1334" y="31"/>
                  </a:lnTo>
                  <a:lnTo>
                    <a:pt x="1314" y="24"/>
                  </a:lnTo>
                  <a:lnTo>
                    <a:pt x="1294" y="18"/>
                  </a:lnTo>
                  <a:lnTo>
                    <a:pt x="1273" y="12"/>
                  </a:lnTo>
                  <a:lnTo>
                    <a:pt x="1253" y="9"/>
                  </a:lnTo>
                  <a:lnTo>
                    <a:pt x="1232" y="4"/>
                  </a:lnTo>
                  <a:lnTo>
                    <a:pt x="1211" y="2"/>
                  </a:lnTo>
                  <a:lnTo>
                    <a:pt x="1188" y="1"/>
                  </a:lnTo>
                  <a:lnTo>
                    <a:pt x="1166" y="0"/>
                  </a:lnTo>
                  <a:lnTo>
                    <a:pt x="1146" y="1"/>
                  </a:lnTo>
                  <a:lnTo>
                    <a:pt x="1127" y="2"/>
                  </a:lnTo>
                  <a:lnTo>
                    <a:pt x="1107" y="4"/>
                  </a:lnTo>
                  <a:lnTo>
                    <a:pt x="1087" y="6"/>
                  </a:lnTo>
                  <a:lnTo>
                    <a:pt x="1068" y="11"/>
                  </a:lnTo>
                  <a:lnTo>
                    <a:pt x="1049" y="15"/>
                  </a:lnTo>
                  <a:lnTo>
                    <a:pt x="1031" y="21"/>
                  </a:lnTo>
                  <a:lnTo>
                    <a:pt x="1013" y="26"/>
                  </a:lnTo>
                  <a:lnTo>
                    <a:pt x="994" y="33"/>
                  </a:lnTo>
                  <a:lnTo>
                    <a:pt x="978" y="41"/>
                  </a:lnTo>
                  <a:lnTo>
                    <a:pt x="960" y="48"/>
                  </a:lnTo>
                  <a:lnTo>
                    <a:pt x="943" y="57"/>
                  </a:lnTo>
                  <a:lnTo>
                    <a:pt x="927" y="66"/>
                  </a:lnTo>
                  <a:lnTo>
                    <a:pt x="911" y="76"/>
                  </a:lnTo>
                  <a:lnTo>
                    <a:pt x="895" y="87"/>
                  </a:lnTo>
                  <a:lnTo>
                    <a:pt x="880" y="98"/>
                  </a:lnTo>
                  <a:lnTo>
                    <a:pt x="866" y="110"/>
                  </a:lnTo>
                  <a:lnTo>
                    <a:pt x="852" y="122"/>
                  </a:lnTo>
                  <a:lnTo>
                    <a:pt x="838" y="136"/>
                  </a:lnTo>
                  <a:lnTo>
                    <a:pt x="825" y="149"/>
                  </a:lnTo>
                  <a:lnTo>
                    <a:pt x="812" y="163"/>
                  </a:lnTo>
                  <a:lnTo>
                    <a:pt x="801" y="178"/>
                  </a:lnTo>
                  <a:lnTo>
                    <a:pt x="789" y="192"/>
                  </a:lnTo>
                  <a:lnTo>
                    <a:pt x="778" y="207"/>
                  </a:lnTo>
                  <a:lnTo>
                    <a:pt x="768" y="224"/>
                  </a:lnTo>
                  <a:lnTo>
                    <a:pt x="759" y="241"/>
                  </a:lnTo>
                  <a:lnTo>
                    <a:pt x="749" y="257"/>
                  </a:lnTo>
                  <a:lnTo>
                    <a:pt x="741" y="274"/>
                  </a:lnTo>
                  <a:lnTo>
                    <a:pt x="733" y="291"/>
                  </a:lnTo>
                  <a:lnTo>
                    <a:pt x="727" y="309"/>
                  </a:lnTo>
                  <a:lnTo>
                    <a:pt x="720" y="328"/>
                  </a:lnTo>
                  <a:lnTo>
                    <a:pt x="715" y="345"/>
                  </a:lnTo>
                  <a:lnTo>
                    <a:pt x="699" y="338"/>
                  </a:lnTo>
                  <a:lnTo>
                    <a:pt x="684" y="331"/>
                  </a:lnTo>
                  <a:lnTo>
                    <a:pt x="668" y="324"/>
                  </a:lnTo>
                  <a:lnTo>
                    <a:pt x="652" y="319"/>
                  </a:lnTo>
                  <a:lnTo>
                    <a:pt x="634" y="316"/>
                  </a:lnTo>
                  <a:lnTo>
                    <a:pt x="616" y="312"/>
                  </a:lnTo>
                  <a:lnTo>
                    <a:pt x="599" y="310"/>
                  </a:lnTo>
                  <a:lnTo>
                    <a:pt x="581" y="309"/>
                  </a:lnTo>
                  <a:lnTo>
                    <a:pt x="567" y="310"/>
                  </a:lnTo>
                  <a:lnTo>
                    <a:pt x="552" y="311"/>
                  </a:lnTo>
                  <a:lnTo>
                    <a:pt x="539" y="312"/>
                  </a:lnTo>
                  <a:lnTo>
                    <a:pt x="526" y="316"/>
                  </a:lnTo>
                  <a:lnTo>
                    <a:pt x="513" y="318"/>
                  </a:lnTo>
                  <a:lnTo>
                    <a:pt x="499" y="322"/>
                  </a:lnTo>
                  <a:lnTo>
                    <a:pt x="486" y="327"/>
                  </a:lnTo>
                  <a:lnTo>
                    <a:pt x="474" y="331"/>
                  </a:lnTo>
                  <a:lnTo>
                    <a:pt x="462" y="337"/>
                  </a:lnTo>
                  <a:lnTo>
                    <a:pt x="450" y="342"/>
                  </a:lnTo>
                  <a:lnTo>
                    <a:pt x="439" y="349"/>
                  </a:lnTo>
                  <a:lnTo>
                    <a:pt x="428" y="356"/>
                  </a:lnTo>
                  <a:lnTo>
                    <a:pt x="416" y="364"/>
                  </a:lnTo>
                  <a:lnTo>
                    <a:pt x="407" y="372"/>
                  </a:lnTo>
                  <a:lnTo>
                    <a:pt x="397" y="381"/>
                  </a:lnTo>
                  <a:lnTo>
                    <a:pt x="387" y="390"/>
                  </a:lnTo>
                  <a:lnTo>
                    <a:pt x="378" y="399"/>
                  </a:lnTo>
                  <a:lnTo>
                    <a:pt x="369" y="409"/>
                  </a:lnTo>
                  <a:lnTo>
                    <a:pt x="361" y="419"/>
                  </a:lnTo>
                  <a:lnTo>
                    <a:pt x="354" y="430"/>
                  </a:lnTo>
                  <a:lnTo>
                    <a:pt x="346" y="441"/>
                  </a:lnTo>
                  <a:lnTo>
                    <a:pt x="339" y="454"/>
                  </a:lnTo>
                  <a:lnTo>
                    <a:pt x="334" y="465"/>
                  </a:lnTo>
                  <a:lnTo>
                    <a:pt x="328" y="477"/>
                  </a:lnTo>
                  <a:lnTo>
                    <a:pt x="323" y="490"/>
                  </a:lnTo>
                  <a:lnTo>
                    <a:pt x="318" y="502"/>
                  </a:lnTo>
                  <a:lnTo>
                    <a:pt x="315" y="515"/>
                  </a:lnTo>
                  <a:lnTo>
                    <a:pt x="312" y="529"/>
                  </a:lnTo>
                  <a:lnTo>
                    <a:pt x="309" y="542"/>
                  </a:lnTo>
                  <a:lnTo>
                    <a:pt x="307" y="556"/>
                  </a:lnTo>
                  <a:lnTo>
                    <a:pt x="307" y="570"/>
                  </a:lnTo>
                  <a:lnTo>
                    <a:pt x="306" y="584"/>
                  </a:lnTo>
                  <a:lnTo>
                    <a:pt x="307" y="596"/>
                  </a:lnTo>
                  <a:lnTo>
                    <a:pt x="307" y="609"/>
                  </a:lnTo>
                  <a:lnTo>
                    <a:pt x="309" y="620"/>
                  </a:lnTo>
                  <a:lnTo>
                    <a:pt x="312" y="632"/>
                  </a:lnTo>
                  <a:lnTo>
                    <a:pt x="303" y="631"/>
                  </a:lnTo>
                  <a:lnTo>
                    <a:pt x="293" y="630"/>
                  </a:lnTo>
                  <a:lnTo>
                    <a:pt x="284" y="629"/>
                  </a:lnTo>
                  <a:lnTo>
                    <a:pt x="275" y="629"/>
                  </a:lnTo>
                  <a:lnTo>
                    <a:pt x="261" y="629"/>
                  </a:lnTo>
                  <a:lnTo>
                    <a:pt x="246" y="630"/>
                  </a:lnTo>
                  <a:lnTo>
                    <a:pt x="233" y="632"/>
                  </a:lnTo>
                  <a:lnTo>
                    <a:pt x="220" y="635"/>
                  </a:lnTo>
                  <a:lnTo>
                    <a:pt x="207" y="638"/>
                  </a:lnTo>
                  <a:lnTo>
                    <a:pt x="193" y="641"/>
                  </a:lnTo>
                  <a:lnTo>
                    <a:pt x="180" y="646"/>
                  </a:lnTo>
                  <a:lnTo>
                    <a:pt x="168" y="651"/>
                  </a:lnTo>
                  <a:lnTo>
                    <a:pt x="156" y="657"/>
                  </a:lnTo>
                  <a:lnTo>
                    <a:pt x="144" y="662"/>
                  </a:lnTo>
                  <a:lnTo>
                    <a:pt x="133" y="669"/>
                  </a:lnTo>
                  <a:lnTo>
                    <a:pt x="122" y="677"/>
                  </a:lnTo>
                  <a:lnTo>
                    <a:pt x="111" y="683"/>
                  </a:lnTo>
                  <a:lnTo>
                    <a:pt x="101" y="692"/>
                  </a:lnTo>
                  <a:lnTo>
                    <a:pt x="91" y="701"/>
                  </a:lnTo>
                  <a:lnTo>
                    <a:pt x="81" y="710"/>
                  </a:lnTo>
                  <a:lnTo>
                    <a:pt x="72" y="720"/>
                  </a:lnTo>
                  <a:lnTo>
                    <a:pt x="63" y="730"/>
                  </a:lnTo>
                  <a:lnTo>
                    <a:pt x="55" y="740"/>
                  </a:lnTo>
                  <a:lnTo>
                    <a:pt x="48" y="751"/>
                  </a:lnTo>
                  <a:lnTo>
                    <a:pt x="40" y="762"/>
                  </a:lnTo>
                  <a:lnTo>
                    <a:pt x="33" y="773"/>
                  </a:lnTo>
                  <a:lnTo>
                    <a:pt x="28" y="785"/>
                  </a:lnTo>
                  <a:lnTo>
                    <a:pt x="22" y="797"/>
                  </a:lnTo>
                  <a:lnTo>
                    <a:pt x="17" y="809"/>
                  </a:lnTo>
                  <a:lnTo>
                    <a:pt x="12" y="822"/>
                  </a:lnTo>
                  <a:lnTo>
                    <a:pt x="9" y="836"/>
                  </a:lnTo>
                  <a:lnTo>
                    <a:pt x="6" y="849"/>
                  </a:lnTo>
                  <a:lnTo>
                    <a:pt x="3" y="862"/>
                  </a:lnTo>
                  <a:lnTo>
                    <a:pt x="2" y="875"/>
                  </a:lnTo>
                  <a:lnTo>
                    <a:pt x="1" y="890"/>
                  </a:lnTo>
                  <a:lnTo>
                    <a:pt x="0" y="904"/>
                  </a:lnTo>
                  <a:lnTo>
                    <a:pt x="1" y="917"/>
                  </a:lnTo>
                  <a:lnTo>
                    <a:pt x="2" y="932"/>
                  </a:lnTo>
                  <a:lnTo>
                    <a:pt x="3" y="946"/>
                  </a:lnTo>
                  <a:lnTo>
                    <a:pt x="6" y="959"/>
                  </a:lnTo>
                  <a:lnTo>
                    <a:pt x="9" y="972"/>
                  </a:lnTo>
                  <a:lnTo>
                    <a:pt x="12" y="986"/>
                  </a:lnTo>
                  <a:lnTo>
                    <a:pt x="17" y="998"/>
                  </a:lnTo>
                  <a:lnTo>
                    <a:pt x="22" y="1010"/>
                  </a:lnTo>
                  <a:lnTo>
                    <a:pt x="28" y="1022"/>
                  </a:lnTo>
                  <a:lnTo>
                    <a:pt x="33" y="1034"/>
                  </a:lnTo>
                  <a:lnTo>
                    <a:pt x="40" y="1046"/>
                  </a:lnTo>
                  <a:lnTo>
                    <a:pt x="48" y="1057"/>
                  </a:lnTo>
                  <a:lnTo>
                    <a:pt x="55" y="1067"/>
                  </a:lnTo>
                  <a:lnTo>
                    <a:pt x="63" y="1078"/>
                  </a:lnTo>
                  <a:lnTo>
                    <a:pt x="72" y="1088"/>
                  </a:lnTo>
                  <a:lnTo>
                    <a:pt x="81" y="1097"/>
                  </a:lnTo>
                  <a:lnTo>
                    <a:pt x="91" y="1107"/>
                  </a:lnTo>
                  <a:lnTo>
                    <a:pt x="101" y="1116"/>
                  </a:lnTo>
                  <a:lnTo>
                    <a:pt x="111" y="1124"/>
                  </a:lnTo>
                  <a:lnTo>
                    <a:pt x="122" y="1131"/>
                  </a:lnTo>
                  <a:lnTo>
                    <a:pt x="133" y="1138"/>
                  </a:lnTo>
                  <a:lnTo>
                    <a:pt x="144" y="1145"/>
                  </a:lnTo>
                  <a:lnTo>
                    <a:pt x="156" y="1151"/>
                  </a:lnTo>
                  <a:lnTo>
                    <a:pt x="168" y="1157"/>
                  </a:lnTo>
                  <a:lnTo>
                    <a:pt x="180" y="1161"/>
                  </a:lnTo>
                  <a:lnTo>
                    <a:pt x="193" y="1166"/>
                  </a:lnTo>
                  <a:lnTo>
                    <a:pt x="207" y="1169"/>
                  </a:lnTo>
                  <a:lnTo>
                    <a:pt x="220" y="1172"/>
                  </a:lnTo>
                  <a:lnTo>
                    <a:pt x="233" y="1174"/>
                  </a:lnTo>
                  <a:lnTo>
                    <a:pt x="246" y="1177"/>
                  </a:lnTo>
                  <a:lnTo>
                    <a:pt x="261" y="1178"/>
                  </a:lnTo>
                  <a:lnTo>
                    <a:pt x="275" y="1178"/>
                  </a:lnTo>
                  <a:lnTo>
                    <a:pt x="294" y="1178"/>
                  </a:lnTo>
                  <a:lnTo>
                    <a:pt x="314" y="1176"/>
                  </a:lnTo>
                  <a:lnTo>
                    <a:pt x="331" y="1172"/>
                  </a:lnTo>
                  <a:lnTo>
                    <a:pt x="350" y="1168"/>
                  </a:lnTo>
                  <a:lnTo>
                    <a:pt x="368" y="1161"/>
                  </a:lnTo>
                  <a:lnTo>
                    <a:pt x="384" y="1155"/>
                  </a:lnTo>
                  <a:lnTo>
                    <a:pt x="401" y="1147"/>
                  </a:lnTo>
                  <a:lnTo>
                    <a:pt x="416" y="1138"/>
                  </a:lnTo>
                  <a:lnTo>
                    <a:pt x="450" y="1158"/>
                  </a:lnTo>
                  <a:lnTo>
                    <a:pt x="485" y="1178"/>
                  </a:lnTo>
                  <a:lnTo>
                    <a:pt x="523" y="1194"/>
                  </a:lnTo>
                  <a:lnTo>
                    <a:pt x="561" y="1210"/>
                  </a:lnTo>
                  <a:lnTo>
                    <a:pt x="602" y="1224"/>
                  </a:lnTo>
                  <a:lnTo>
                    <a:pt x="644" y="1236"/>
                  </a:lnTo>
                  <a:lnTo>
                    <a:pt x="687" y="1247"/>
                  </a:lnTo>
                  <a:lnTo>
                    <a:pt x="731" y="1256"/>
                  </a:lnTo>
                  <a:lnTo>
                    <a:pt x="777" y="1265"/>
                  </a:lnTo>
                  <a:lnTo>
                    <a:pt x="822" y="1271"/>
                  </a:lnTo>
                  <a:lnTo>
                    <a:pt x="868" y="1276"/>
                  </a:lnTo>
                  <a:lnTo>
                    <a:pt x="913" y="1280"/>
                  </a:lnTo>
                  <a:lnTo>
                    <a:pt x="960" y="1283"/>
                  </a:lnTo>
                  <a:lnTo>
                    <a:pt x="1005" y="1284"/>
                  </a:lnTo>
                  <a:lnTo>
                    <a:pt x="1050" y="1284"/>
                  </a:lnTo>
                  <a:lnTo>
                    <a:pt x="1096" y="1283"/>
                  </a:lnTo>
                  <a:lnTo>
                    <a:pt x="1140" y="1280"/>
                  </a:lnTo>
                  <a:lnTo>
                    <a:pt x="1182" y="1277"/>
                  </a:lnTo>
                  <a:lnTo>
                    <a:pt x="1224" y="1273"/>
                  </a:lnTo>
                  <a:lnTo>
                    <a:pt x="1264" y="1267"/>
                  </a:lnTo>
                  <a:lnTo>
                    <a:pt x="1302" y="1261"/>
                  </a:lnTo>
                  <a:lnTo>
                    <a:pt x="1339" y="1254"/>
                  </a:lnTo>
                  <a:lnTo>
                    <a:pt x="1373" y="1245"/>
                  </a:lnTo>
                  <a:lnTo>
                    <a:pt x="1405" y="1236"/>
                  </a:lnTo>
                  <a:lnTo>
                    <a:pt x="1435" y="1226"/>
                  </a:lnTo>
                  <a:lnTo>
                    <a:pt x="1461" y="1216"/>
                  </a:lnTo>
                  <a:lnTo>
                    <a:pt x="1486" y="1205"/>
                  </a:lnTo>
                  <a:lnTo>
                    <a:pt x="1505" y="1193"/>
                  </a:lnTo>
                  <a:lnTo>
                    <a:pt x="1523" y="1180"/>
                  </a:lnTo>
                  <a:lnTo>
                    <a:pt x="1537" y="1167"/>
                  </a:lnTo>
                  <a:lnTo>
                    <a:pt x="1547" y="1153"/>
                  </a:lnTo>
                  <a:lnTo>
                    <a:pt x="1554" y="1139"/>
                  </a:lnTo>
                  <a:lnTo>
                    <a:pt x="1575" y="1144"/>
                  </a:lnTo>
                  <a:lnTo>
                    <a:pt x="1597" y="1147"/>
                  </a:lnTo>
                  <a:lnTo>
                    <a:pt x="1619" y="1149"/>
                  </a:lnTo>
                  <a:lnTo>
                    <a:pt x="1641" y="1150"/>
                  </a:lnTo>
                  <a:lnTo>
                    <a:pt x="1660" y="1150"/>
                  </a:lnTo>
                  <a:lnTo>
                    <a:pt x="1679" y="1148"/>
                  </a:lnTo>
                  <a:lnTo>
                    <a:pt x="1698" y="1146"/>
                  </a:lnTo>
                  <a:lnTo>
                    <a:pt x="1716" y="1142"/>
                  </a:lnTo>
                  <a:lnTo>
                    <a:pt x="1735" y="1138"/>
                  </a:lnTo>
                  <a:lnTo>
                    <a:pt x="1753" y="1134"/>
                  </a:lnTo>
                  <a:lnTo>
                    <a:pt x="1770" y="1128"/>
                  </a:lnTo>
                  <a:lnTo>
                    <a:pt x="1787" y="1120"/>
                  </a:lnTo>
                  <a:lnTo>
                    <a:pt x="1804" y="1114"/>
                  </a:lnTo>
                  <a:lnTo>
                    <a:pt x="1820" y="1105"/>
                  </a:lnTo>
                  <a:lnTo>
                    <a:pt x="1836" y="1096"/>
                  </a:lnTo>
                  <a:lnTo>
                    <a:pt x="1851" y="1086"/>
                  </a:lnTo>
                  <a:lnTo>
                    <a:pt x="1865" y="1076"/>
                  </a:lnTo>
                  <a:lnTo>
                    <a:pt x="1880" y="1065"/>
                  </a:lnTo>
                  <a:lnTo>
                    <a:pt x="1893" y="1053"/>
                  </a:lnTo>
                  <a:lnTo>
                    <a:pt x="1906" y="1041"/>
                  </a:lnTo>
                  <a:lnTo>
                    <a:pt x="1918" y="1028"/>
                  </a:lnTo>
                  <a:lnTo>
                    <a:pt x="1931" y="1013"/>
                  </a:lnTo>
                  <a:lnTo>
                    <a:pt x="1942" y="1000"/>
                  </a:lnTo>
                  <a:lnTo>
                    <a:pt x="1953" y="985"/>
                  </a:lnTo>
                  <a:lnTo>
                    <a:pt x="1962" y="969"/>
                  </a:lnTo>
                  <a:lnTo>
                    <a:pt x="1971" y="954"/>
                  </a:lnTo>
                  <a:lnTo>
                    <a:pt x="1979" y="938"/>
                  </a:lnTo>
                  <a:lnTo>
                    <a:pt x="1987" y="922"/>
                  </a:lnTo>
                  <a:lnTo>
                    <a:pt x="1994" y="904"/>
                  </a:lnTo>
                  <a:lnTo>
                    <a:pt x="1999" y="886"/>
                  </a:lnTo>
                  <a:lnTo>
                    <a:pt x="2005" y="869"/>
                  </a:lnTo>
                  <a:lnTo>
                    <a:pt x="2009" y="851"/>
                  </a:lnTo>
                  <a:lnTo>
                    <a:pt x="2012" y="832"/>
                  </a:lnTo>
                  <a:lnTo>
                    <a:pt x="2015" y="813"/>
                  </a:lnTo>
                  <a:lnTo>
                    <a:pt x="2016" y="795"/>
                  </a:lnTo>
                  <a:lnTo>
                    <a:pt x="2017" y="775"/>
                  </a:lnTo>
                  <a:lnTo>
                    <a:pt x="2016" y="756"/>
                  </a:lnTo>
                  <a:lnTo>
                    <a:pt x="2015" y="736"/>
                  </a:lnTo>
                  <a:lnTo>
                    <a:pt x="2012" y="717"/>
                  </a:lnTo>
                  <a:lnTo>
                    <a:pt x="2009" y="700"/>
                  </a:lnTo>
                  <a:lnTo>
                    <a:pt x="2005" y="681"/>
                  </a:lnTo>
                  <a:lnTo>
                    <a:pt x="1999" y="663"/>
                  </a:lnTo>
                  <a:lnTo>
                    <a:pt x="1994" y="646"/>
                  </a:lnTo>
                  <a:lnTo>
                    <a:pt x="1987" y="629"/>
                  </a:lnTo>
                  <a:lnTo>
                    <a:pt x="1979" y="613"/>
                  </a:lnTo>
                  <a:lnTo>
                    <a:pt x="1971" y="596"/>
                  </a:lnTo>
                  <a:lnTo>
                    <a:pt x="1962" y="581"/>
                  </a:lnTo>
                  <a:lnTo>
                    <a:pt x="1953" y="565"/>
                  </a:lnTo>
                  <a:lnTo>
                    <a:pt x="1942" y="551"/>
                  </a:lnTo>
                  <a:lnTo>
                    <a:pt x="1931" y="536"/>
                  </a:lnTo>
                  <a:lnTo>
                    <a:pt x="1918" y="523"/>
                  </a:lnTo>
                  <a:lnTo>
                    <a:pt x="1906" y="510"/>
                  </a:lnTo>
                  <a:lnTo>
                    <a:pt x="1893" y="498"/>
                  </a:lnTo>
                  <a:lnTo>
                    <a:pt x="1880" y="486"/>
                  </a:lnTo>
                  <a:lnTo>
                    <a:pt x="1865" y="475"/>
                  </a:lnTo>
                  <a:lnTo>
                    <a:pt x="1851" y="464"/>
                  </a:lnTo>
                  <a:lnTo>
                    <a:pt x="1836" y="455"/>
                  </a:lnTo>
                  <a:lnTo>
                    <a:pt x="1820" y="445"/>
                  </a:lnTo>
                  <a:lnTo>
                    <a:pt x="1804" y="437"/>
                  </a:lnTo>
                  <a:lnTo>
                    <a:pt x="1787" y="429"/>
                  </a:lnTo>
                  <a:lnTo>
                    <a:pt x="1770" y="423"/>
                  </a:lnTo>
                  <a:lnTo>
                    <a:pt x="1753" y="417"/>
                  </a:lnTo>
                  <a:lnTo>
                    <a:pt x="1735" y="412"/>
                  </a:lnTo>
                  <a:lnTo>
                    <a:pt x="1716" y="407"/>
                  </a:lnTo>
                  <a:lnTo>
                    <a:pt x="1698" y="404"/>
                  </a:lnTo>
                  <a:lnTo>
                    <a:pt x="1679" y="402"/>
                  </a:lnTo>
                  <a:lnTo>
                    <a:pt x="1660" y="401"/>
                  </a:lnTo>
                  <a:lnTo>
                    <a:pt x="1641" y="3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8" name="Freeform 290">
              <a:extLst>
                <a:ext uri="{FF2B5EF4-FFF2-40B4-BE49-F238E27FC236}">
                  <a16:creationId xmlns:a16="http://schemas.microsoft.com/office/drawing/2014/main" id="{ACA79B3D-6493-3DAD-9FAA-29C2823A993C}"/>
                </a:ext>
              </a:extLst>
            </p:cNvPr>
            <p:cNvSpPr>
              <a:spLocks/>
            </p:cNvSpPr>
            <p:nvPr/>
          </p:nvSpPr>
          <p:spPr bwMode="auto">
            <a:xfrm>
              <a:off x="10436121" y="947887"/>
              <a:ext cx="780932" cy="535365"/>
            </a:xfrm>
            <a:custGeom>
              <a:avLst/>
              <a:gdLst>
                <a:gd name="T0" fmla="*/ 2251 w 2799"/>
                <a:gd name="T1" fmla="*/ 498 h 1783"/>
                <a:gd name="T2" fmla="*/ 2202 w 2799"/>
                <a:gd name="T3" fmla="*/ 362 h 1783"/>
                <a:gd name="T4" fmla="*/ 2125 w 2799"/>
                <a:gd name="T5" fmla="*/ 242 h 1783"/>
                <a:gd name="T6" fmla="*/ 2025 w 2799"/>
                <a:gd name="T7" fmla="*/ 141 h 1783"/>
                <a:gd name="T8" fmla="*/ 1905 w 2799"/>
                <a:gd name="T9" fmla="*/ 65 h 1783"/>
                <a:gd name="T10" fmla="*/ 1768 w 2799"/>
                <a:gd name="T11" fmla="*/ 16 h 1783"/>
                <a:gd name="T12" fmla="*/ 1619 w 2799"/>
                <a:gd name="T13" fmla="*/ 0 h 1783"/>
                <a:gd name="T14" fmla="*/ 1483 w 2799"/>
                <a:gd name="T15" fmla="*/ 14 h 1783"/>
                <a:gd name="T16" fmla="*/ 1356 w 2799"/>
                <a:gd name="T17" fmla="*/ 55 h 1783"/>
                <a:gd name="T18" fmla="*/ 1242 w 2799"/>
                <a:gd name="T19" fmla="*/ 120 h 1783"/>
                <a:gd name="T20" fmla="*/ 1145 w 2799"/>
                <a:gd name="T21" fmla="*/ 206 h 1783"/>
                <a:gd name="T22" fmla="*/ 1065 w 2799"/>
                <a:gd name="T23" fmla="*/ 310 h 1783"/>
                <a:gd name="T24" fmla="*/ 1008 w 2799"/>
                <a:gd name="T25" fmla="*/ 428 h 1783"/>
                <a:gd name="T26" fmla="*/ 926 w 2799"/>
                <a:gd name="T27" fmla="*/ 450 h 1783"/>
                <a:gd name="T28" fmla="*/ 806 w 2799"/>
                <a:gd name="T29" fmla="*/ 429 h 1783"/>
                <a:gd name="T30" fmla="*/ 710 w 2799"/>
                <a:gd name="T31" fmla="*/ 441 h 1783"/>
                <a:gd name="T32" fmla="*/ 623 w 2799"/>
                <a:gd name="T33" fmla="*/ 476 h 1783"/>
                <a:gd name="T34" fmla="*/ 549 w 2799"/>
                <a:gd name="T35" fmla="*/ 529 h 1783"/>
                <a:gd name="T36" fmla="*/ 489 w 2799"/>
                <a:gd name="T37" fmla="*/ 597 h 1783"/>
                <a:gd name="T38" fmla="*/ 447 w 2799"/>
                <a:gd name="T39" fmla="*/ 679 h 1783"/>
                <a:gd name="T40" fmla="*/ 426 w 2799"/>
                <a:gd name="T41" fmla="*/ 772 h 1783"/>
                <a:gd name="T42" fmla="*/ 428 w 2799"/>
                <a:gd name="T43" fmla="*/ 862 h 1783"/>
                <a:gd name="T44" fmla="*/ 381 w 2799"/>
                <a:gd name="T45" fmla="*/ 873 h 1783"/>
                <a:gd name="T46" fmla="*/ 286 w 2799"/>
                <a:gd name="T47" fmla="*/ 885 h 1783"/>
                <a:gd name="T48" fmla="*/ 198 w 2799"/>
                <a:gd name="T49" fmla="*/ 919 h 1783"/>
                <a:gd name="T50" fmla="*/ 124 w 2799"/>
                <a:gd name="T51" fmla="*/ 972 h 1783"/>
                <a:gd name="T52" fmla="*/ 65 w 2799"/>
                <a:gd name="T53" fmla="*/ 1041 h 1783"/>
                <a:gd name="T54" fmla="*/ 23 w 2799"/>
                <a:gd name="T55" fmla="*/ 1124 h 1783"/>
                <a:gd name="T56" fmla="*/ 1 w 2799"/>
                <a:gd name="T57" fmla="*/ 1215 h 1783"/>
                <a:gd name="T58" fmla="*/ 4 w 2799"/>
                <a:gd name="T59" fmla="*/ 1312 h 1783"/>
                <a:gd name="T60" fmla="*/ 29 w 2799"/>
                <a:gd name="T61" fmla="*/ 1403 h 1783"/>
                <a:gd name="T62" fmla="*/ 75 w 2799"/>
                <a:gd name="T63" fmla="*/ 1482 h 1783"/>
                <a:gd name="T64" fmla="*/ 138 w 2799"/>
                <a:gd name="T65" fmla="*/ 1549 h 1783"/>
                <a:gd name="T66" fmla="*/ 215 w 2799"/>
                <a:gd name="T67" fmla="*/ 1598 h 1783"/>
                <a:gd name="T68" fmla="*/ 303 w 2799"/>
                <a:gd name="T69" fmla="*/ 1628 h 1783"/>
                <a:gd name="T70" fmla="*/ 407 w 2799"/>
                <a:gd name="T71" fmla="*/ 1635 h 1783"/>
                <a:gd name="T72" fmla="*/ 533 w 2799"/>
                <a:gd name="T73" fmla="*/ 1603 h 1783"/>
                <a:gd name="T74" fmla="*/ 724 w 2799"/>
                <a:gd name="T75" fmla="*/ 1658 h 1783"/>
                <a:gd name="T76" fmla="*/ 1014 w 2799"/>
                <a:gd name="T77" fmla="*/ 1745 h 1783"/>
                <a:gd name="T78" fmla="*/ 1331 w 2799"/>
                <a:gd name="T79" fmla="*/ 1781 h 1783"/>
                <a:gd name="T80" fmla="*/ 1641 w 2799"/>
                <a:gd name="T81" fmla="*/ 1773 h 1783"/>
                <a:gd name="T82" fmla="*/ 1905 w 2799"/>
                <a:gd name="T83" fmla="*/ 1730 h 1783"/>
                <a:gd name="T84" fmla="*/ 2090 w 2799"/>
                <a:gd name="T85" fmla="*/ 1656 h 1783"/>
                <a:gd name="T86" fmla="*/ 2186 w 2799"/>
                <a:gd name="T87" fmla="*/ 1588 h 1783"/>
                <a:gd name="T88" fmla="*/ 2331 w 2799"/>
                <a:gd name="T89" fmla="*/ 1594 h 1783"/>
                <a:gd name="T90" fmla="*/ 2457 w 2799"/>
                <a:gd name="T91" fmla="*/ 1565 h 1783"/>
                <a:gd name="T92" fmla="*/ 2569 w 2799"/>
                <a:gd name="T93" fmla="*/ 1508 h 1783"/>
                <a:gd name="T94" fmla="*/ 2663 w 2799"/>
                <a:gd name="T95" fmla="*/ 1426 h 1783"/>
                <a:gd name="T96" fmla="*/ 2736 w 2799"/>
                <a:gd name="T97" fmla="*/ 1325 h 1783"/>
                <a:gd name="T98" fmla="*/ 2783 w 2799"/>
                <a:gd name="T99" fmla="*/ 1207 h 1783"/>
                <a:gd name="T100" fmla="*/ 2799 w 2799"/>
                <a:gd name="T101" fmla="*/ 1076 h 1783"/>
                <a:gd name="T102" fmla="*/ 2783 w 2799"/>
                <a:gd name="T103" fmla="*/ 946 h 1783"/>
                <a:gd name="T104" fmla="*/ 2736 w 2799"/>
                <a:gd name="T105" fmla="*/ 828 h 1783"/>
                <a:gd name="T106" fmla="*/ 2663 w 2799"/>
                <a:gd name="T107" fmla="*/ 725 h 1783"/>
                <a:gd name="T108" fmla="*/ 2569 w 2799"/>
                <a:gd name="T109" fmla="*/ 643 h 1783"/>
                <a:gd name="T110" fmla="*/ 2457 w 2799"/>
                <a:gd name="T111" fmla="*/ 586 h 1783"/>
                <a:gd name="T112" fmla="*/ 2331 w 2799"/>
                <a:gd name="T113" fmla="*/ 557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9" h="1783">
                  <a:moveTo>
                    <a:pt x="2278" y="554"/>
                  </a:moveTo>
                  <a:lnTo>
                    <a:pt x="2270" y="555"/>
                  </a:lnTo>
                  <a:lnTo>
                    <a:pt x="2263" y="556"/>
                  </a:lnTo>
                  <a:lnTo>
                    <a:pt x="2258" y="526"/>
                  </a:lnTo>
                  <a:lnTo>
                    <a:pt x="2251" y="498"/>
                  </a:lnTo>
                  <a:lnTo>
                    <a:pt x="2245" y="470"/>
                  </a:lnTo>
                  <a:lnTo>
                    <a:pt x="2236" y="441"/>
                  </a:lnTo>
                  <a:lnTo>
                    <a:pt x="2225" y="415"/>
                  </a:lnTo>
                  <a:lnTo>
                    <a:pt x="2214" y="388"/>
                  </a:lnTo>
                  <a:lnTo>
                    <a:pt x="2202" y="362"/>
                  </a:lnTo>
                  <a:lnTo>
                    <a:pt x="2188" y="337"/>
                  </a:lnTo>
                  <a:lnTo>
                    <a:pt x="2174" y="311"/>
                  </a:lnTo>
                  <a:lnTo>
                    <a:pt x="2159" y="288"/>
                  </a:lnTo>
                  <a:lnTo>
                    <a:pt x="2142" y="265"/>
                  </a:lnTo>
                  <a:lnTo>
                    <a:pt x="2125" y="242"/>
                  </a:lnTo>
                  <a:lnTo>
                    <a:pt x="2107" y="220"/>
                  </a:lnTo>
                  <a:lnTo>
                    <a:pt x="2088" y="199"/>
                  </a:lnTo>
                  <a:lnTo>
                    <a:pt x="2067" y="179"/>
                  </a:lnTo>
                  <a:lnTo>
                    <a:pt x="2046" y="160"/>
                  </a:lnTo>
                  <a:lnTo>
                    <a:pt x="2025" y="141"/>
                  </a:lnTo>
                  <a:lnTo>
                    <a:pt x="2002" y="125"/>
                  </a:lnTo>
                  <a:lnTo>
                    <a:pt x="1979" y="108"/>
                  </a:lnTo>
                  <a:lnTo>
                    <a:pt x="1954" y="93"/>
                  </a:lnTo>
                  <a:lnTo>
                    <a:pt x="1930" y="78"/>
                  </a:lnTo>
                  <a:lnTo>
                    <a:pt x="1905" y="65"/>
                  </a:lnTo>
                  <a:lnTo>
                    <a:pt x="1878" y="53"/>
                  </a:lnTo>
                  <a:lnTo>
                    <a:pt x="1852" y="42"/>
                  </a:lnTo>
                  <a:lnTo>
                    <a:pt x="1824" y="33"/>
                  </a:lnTo>
                  <a:lnTo>
                    <a:pt x="1796" y="24"/>
                  </a:lnTo>
                  <a:lnTo>
                    <a:pt x="1768" y="16"/>
                  </a:lnTo>
                  <a:lnTo>
                    <a:pt x="1739" y="11"/>
                  </a:lnTo>
                  <a:lnTo>
                    <a:pt x="1709" y="5"/>
                  </a:lnTo>
                  <a:lnTo>
                    <a:pt x="1679" y="2"/>
                  </a:lnTo>
                  <a:lnTo>
                    <a:pt x="1649" y="0"/>
                  </a:lnTo>
                  <a:lnTo>
                    <a:pt x="1619" y="0"/>
                  </a:lnTo>
                  <a:lnTo>
                    <a:pt x="1591" y="0"/>
                  </a:lnTo>
                  <a:lnTo>
                    <a:pt x="1563" y="2"/>
                  </a:lnTo>
                  <a:lnTo>
                    <a:pt x="1536" y="4"/>
                  </a:lnTo>
                  <a:lnTo>
                    <a:pt x="1509" y="9"/>
                  </a:lnTo>
                  <a:lnTo>
                    <a:pt x="1483" y="14"/>
                  </a:lnTo>
                  <a:lnTo>
                    <a:pt x="1456" y="20"/>
                  </a:lnTo>
                  <a:lnTo>
                    <a:pt x="1430" y="27"/>
                  </a:lnTo>
                  <a:lnTo>
                    <a:pt x="1404" y="35"/>
                  </a:lnTo>
                  <a:lnTo>
                    <a:pt x="1380" y="45"/>
                  </a:lnTo>
                  <a:lnTo>
                    <a:pt x="1356" y="55"/>
                  </a:lnTo>
                  <a:lnTo>
                    <a:pt x="1331" y="66"/>
                  </a:lnTo>
                  <a:lnTo>
                    <a:pt x="1308" y="78"/>
                  </a:lnTo>
                  <a:lnTo>
                    <a:pt x="1286" y="92"/>
                  </a:lnTo>
                  <a:lnTo>
                    <a:pt x="1264" y="106"/>
                  </a:lnTo>
                  <a:lnTo>
                    <a:pt x="1242" y="120"/>
                  </a:lnTo>
                  <a:lnTo>
                    <a:pt x="1221" y="136"/>
                  </a:lnTo>
                  <a:lnTo>
                    <a:pt x="1201" y="152"/>
                  </a:lnTo>
                  <a:lnTo>
                    <a:pt x="1181" y="170"/>
                  </a:lnTo>
                  <a:lnTo>
                    <a:pt x="1162" y="188"/>
                  </a:lnTo>
                  <a:lnTo>
                    <a:pt x="1145" y="206"/>
                  </a:lnTo>
                  <a:lnTo>
                    <a:pt x="1127" y="226"/>
                  </a:lnTo>
                  <a:lnTo>
                    <a:pt x="1111" y="246"/>
                  </a:lnTo>
                  <a:lnTo>
                    <a:pt x="1094" y="267"/>
                  </a:lnTo>
                  <a:lnTo>
                    <a:pt x="1080" y="288"/>
                  </a:lnTo>
                  <a:lnTo>
                    <a:pt x="1065" y="310"/>
                  </a:lnTo>
                  <a:lnTo>
                    <a:pt x="1052" y="332"/>
                  </a:lnTo>
                  <a:lnTo>
                    <a:pt x="1040" y="355"/>
                  </a:lnTo>
                  <a:lnTo>
                    <a:pt x="1028" y="380"/>
                  </a:lnTo>
                  <a:lnTo>
                    <a:pt x="1018" y="404"/>
                  </a:lnTo>
                  <a:lnTo>
                    <a:pt x="1008" y="428"/>
                  </a:lnTo>
                  <a:lnTo>
                    <a:pt x="999" y="454"/>
                  </a:lnTo>
                  <a:lnTo>
                    <a:pt x="991" y="479"/>
                  </a:lnTo>
                  <a:lnTo>
                    <a:pt x="970" y="468"/>
                  </a:lnTo>
                  <a:lnTo>
                    <a:pt x="948" y="458"/>
                  </a:lnTo>
                  <a:lnTo>
                    <a:pt x="926" y="450"/>
                  </a:lnTo>
                  <a:lnTo>
                    <a:pt x="903" y="443"/>
                  </a:lnTo>
                  <a:lnTo>
                    <a:pt x="880" y="437"/>
                  </a:lnTo>
                  <a:lnTo>
                    <a:pt x="855" y="433"/>
                  </a:lnTo>
                  <a:lnTo>
                    <a:pt x="831" y="430"/>
                  </a:lnTo>
                  <a:lnTo>
                    <a:pt x="806" y="429"/>
                  </a:lnTo>
                  <a:lnTo>
                    <a:pt x="786" y="429"/>
                  </a:lnTo>
                  <a:lnTo>
                    <a:pt x="766" y="432"/>
                  </a:lnTo>
                  <a:lnTo>
                    <a:pt x="747" y="434"/>
                  </a:lnTo>
                  <a:lnTo>
                    <a:pt x="728" y="437"/>
                  </a:lnTo>
                  <a:lnTo>
                    <a:pt x="710" y="441"/>
                  </a:lnTo>
                  <a:lnTo>
                    <a:pt x="692" y="446"/>
                  </a:lnTo>
                  <a:lnTo>
                    <a:pt x="674" y="452"/>
                  </a:lnTo>
                  <a:lnTo>
                    <a:pt x="657" y="459"/>
                  </a:lnTo>
                  <a:lnTo>
                    <a:pt x="640" y="467"/>
                  </a:lnTo>
                  <a:lnTo>
                    <a:pt x="623" y="476"/>
                  </a:lnTo>
                  <a:lnTo>
                    <a:pt x="608" y="485"/>
                  </a:lnTo>
                  <a:lnTo>
                    <a:pt x="593" y="494"/>
                  </a:lnTo>
                  <a:lnTo>
                    <a:pt x="577" y="504"/>
                  </a:lnTo>
                  <a:lnTo>
                    <a:pt x="563" y="517"/>
                  </a:lnTo>
                  <a:lnTo>
                    <a:pt x="549" y="529"/>
                  </a:lnTo>
                  <a:lnTo>
                    <a:pt x="536" y="541"/>
                  </a:lnTo>
                  <a:lnTo>
                    <a:pt x="523" y="554"/>
                  </a:lnTo>
                  <a:lnTo>
                    <a:pt x="511" y="568"/>
                  </a:lnTo>
                  <a:lnTo>
                    <a:pt x="500" y="583"/>
                  </a:lnTo>
                  <a:lnTo>
                    <a:pt x="489" y="597"/>
                  </a:lnTo>
                  <a:lnTo>
                    <a:pt x="479" y="613"/>
                  </a:lnTo>
                  <a:lnTo>
                    <a:pt x="470" y="629"/>
                  </a:lnTo>
                  <a:lnTo>
                    <a:pt x="461" y="645"/>
                  </a:lnTo>
                  <a:lnTo>
                    <a:pt x="455" y="662"/>
                  </a:lnTo>
                  <a:lnTo>
                    <a:pt x="447" y="679"/>
                  </a:lnTo>
                  <a:lnTo>
                    <a:pt x="441" y="696"/>
                  </a:lnTo>
                  <a:lnTo>
                    <a:pt x="436" y="715"/>
                  </a:lnTo>
                  <a:lnTo>
                    <a:pt x="431" y="734"/>
                  </a:lnTo>
                  <a:lnTo>
                    <a:pt x="428" y="753"/>
                  </a:lnTo>
                  <a:lnTo>
                    <a:pt x="426" y="772"/>
                  </a:lnTo>
                  <a:lnTo>
                    <a:pt x="425" y="790"/>
                  </a:lnTo>
                  <a:lnTo>
                    <a:pt x="424" y="810"/>
                  </a:lnTo>
                  <a:lnTo>
                    <a:pt x="425" y="828"/>
                  </a:lnTo>
                  <a:lnTo>
                    <a:pt x="426" y="844"/>
                  </a:lnTo>
                  <a:lnTo>
                    <a:pt x="428" y="862"/>
                  </a:lnTo>
                  <a:lnTo>
                    <a:pt x="431" y="879"/>
                  </a:lnTo>
                  <a:lnTo>
                    <a:pt x="418" y="876"/>
                  </a:lnTo>
                  <a:lnTo>
                    <a:pt x="406" y="875"/>
                  </a:lnTo>
                  <a:lnTo>
                    <a:pt x="394" y="873"/>
                  </a:lnTo>
                  <a:lnTo>
                    <a:pt x="381" y="873"/>
                  </a:lnTo>
                  <a:lnTo>
                    <a:pt x="361" y="873"/>
                  </a:lnTo>
                  <a:lnTo>
                    <a:pt x="342" y="875"/>
                  </a:lnTo>
                  <a:lnTo>
                    <a:pt x="322" y="878"/>
                  </a:lnTo>
                  <a:lnTo>
                    <a:pt x="303" y="881"/>
                  </a:lnTo>
                  <a:lnTo>
                    <a:pt x="286" y="885"/>
                  </a:lnTo>
                  <a:lnTo>
                    <a:pt x="267" y="891"/>
                  </a:lnTo>
                  <a:lnTo>
                    <a:pt x="249" y="896"/>
                  </a:lnTo>
                  <a:lnTo>
                    <a:pt x="233" y="903"/>
                  </a:lnTo>
                  <a:lnTo>
                    <a:pt x="215" y="911"/>
                  </a:lnTo>
                  <a:lnTo>
                    <a:pt x="198" y="919"/>
                  </a:lnTo>
                  <a:lnTo>
                    <a:pt x="183" y="928"/>
                  </a:lnTo>
                  <a:lnTo>
                    <a:pt x="167" y="938"/>
                  </a:lnTo>
                  <a:lnTo>
                    <a:pt x="152" y="949"/>
                  </a:lnTo>
                  <a:lnTo>
                    <a:pt x="138" y="960"/>
                  </a:lnTo>
                  <a:lnTo>
                    <a:pt x="124" y="972"/>
                  </a:lnTo>
                  <a:lnTo>
                    <a:pt x="111" y="985"/>
                  </a:lnTo>
                  <a:lnTo>
                    <a:pt x="98" y="998"/>
                  </a:lnTo>
                  <a:lnTo>
                    <a:pt x="87" y="1012"/>
                  </a:lnTo>
                  <a:lnTo>
                    <a:pt x="75" y="1027"/>
                  </a:lnTo>
                  <a:lnTo>
                    <a:pt x="65" y="1041"/>
                  </a:lnTo>
                  <a:lnTo>
                    <a:pt x="55" y="1056"/>
                  </a:lnTo>
                  <a:lnTo>
                    <a:pt x="45" y="1073"/>
                  </a:lnTo>
                  <a:lnTo>
                    <a:pt x="37" y="1089"/>
                  </a:lnTo>
                  <a:lnTo>
                    <a:pt x="29" y="1106"/>
                  </a:lnTo>
                  <a:lnTo>
                    <a:pt x="23" y="1124"/>
                  </a:lnTo>
                  <a:lnTo>
                    <a:pt x="16" y="1141"/>
                  </a:lnTo>
                  <a:lnTo>
                    <a:pt x="12" y="1159"/>
                  </a:lnTo>
                  <a:lnTo>
                    <a:pt x="7" y="1178"/>
                  </a:lnTo>
                  <a:lnTo>
                    <a:pt x="4" y="1197"/>
                  </a:lnTo>
                  <a:lnTo>
                    <a:pt x="1" y="1215"/>
                  </a:lnTo>
                  <a:lnTo>
                    <a:pt x="0" y="1235"/>
                  </a:lnTo>
                  <a:lnTo>
                    <a:pt x="0" y="1254"/>
                  </a:lnTo>
                  <a:lnTo>
                    <a:pt x="0" y="1274"/>
                  </a:lnTo>
                  <a:lnTo>
                    <a:pt x="1" y="1294"/>
                  </a:lnTo>
                  <a:lnTo>
                    <a:pt x="4" y="1312"/>
                  </a:lnTo>
                  <a:lnTo>
                    <a:pt x="7" y="1331"/>
                  </a:lnTo>
                  <a:lnTo>
                    <a:pt x="12" y="1350"/>
                  </a:lnTo>
                  <a:lnTo>
                    <a:pt x="16" y="1368"/>
                  </a:lnTo>
                  <a:lnTo>
                    <a:pt x="23" y="1385"/>
                  </a:lnTo>
                  <a:lnTo>
                    <a:pt x="29" y="1403"/>
                  </a:lnTo>
                  <a:lnTo>
                    <a:pt x="37" y="1420"/>
                  </a:lnTo>
                  <a:lnTo>
                    <a:pt x="45" y="1436"/>
                  </a:lnTo>
                  <a:lnTo>
                    <a:pt x="55" y="1452"/>
                  </a:lnTo>
                  <a:lnTo>
                    <a:pt x="65" y="1467"/>
                  </a:lnTo>
                  <a:lnTo>
                    <a:pt x="75" y="1482"/>
                  </a:lnTo>
                  <a:lnTo>
                    <a:pt x="87" y="1497"/>
                  </a:lnTo>
                  <a:lnTo>
                    <a:pt x="98" y="1511"/>
                  </a:lnTo>
                  <a:lnTo>
                    <a:pt x="111" y="1524"/>
                  </a:lnTo>
                  <a:lnTo>
                    <a:pt x="124" y="1537"/>
                  </a:lnTo>
                  <a:lnTo>
                    <a:pt x="138" y="1549"/>
                  </a:lnTo>
                  <a:lnTo>
                    <a:pt x="152" y="1560"/>
                  </a:lnTo>
                  <a:lnTo>
                    <a:pt x="167" y="1571"/>
                  </a:lnTo>
                  <a:lnTo>
                    <a:pt x="183" y="1581"/>
                  </a:lnTo>
                  <a:lnTo>
                    <a:pt x="198" y="1590"/>
                  </a:lnTo>
                  <a:lnTo>
                    <a:pt x="215" y="1598"/>
                  </a:lnTo>
                  <a:lnTo>
                    <a:pt x="233" y="1606"/>
                  </a:lnTo>
                  <a:lnTo>
                    <a:pt x="249" y="1613"/>
                  </a:lnTo>
                  <a:lnTo>
                    <a:pt x="267" y="1618"/>
                  </a:lnTo>
                  <a:lnTo>
                    <a:pt x="286" y="1624"/>
                  </a:lnTo>
                  <a:lnTo>
                    <a:pt x="303" y="1628"/>
                  </a:lnTo>
                  <a:lnTo>
                    <a:pt x="322" y="1632"/>
                  </a:lnTo>
                  <a:lnTo>
                    <a:pt x="342" y="1634"/>
                  </a:lnTo>
                  <a:lnTo>
                    <a:pt x="361" y="1635"/>
                  </a:lnTo>
                  <a:lnTo>
                    <a:pt x="381" y="1636"/>
                  </a:lnTo>
                  <a:lnTo>
                    <a:pt x="407" y="1635"/>
                  </a:lnTo>
                  <a:lnTo>
                    <a:pt x="434" y="1632"/>
                  </a:lnTo>
                  <a:lnTo>
                    <a:pt x="459" y="1627"/>
                  </a:lnTo>
                  <a:lnTo>
                    <a:pt x="484" y="1620"/>
                  </a:lnTo>
                  <a:lnTo>
                    <a:pt x="509" y="1613"/>
                  </a:lnTo>
                  <a:lnTo>
                    <a:pt x="533" y="1603"/>
                  </a:lnTo>
                  <a:lnTo>
                    <a:pt x="555" y="1592"/>
                  </a:lnTo>
                  <a:lnTo>
                    <a:pt x="577" y="1580"/>
                  </a:lnTo>
                  <a:lnTo>
                    <a:pt x="623" y="1608"/>
                  </a:lnTo>
                  <a:lnTo>
                    <a:pt x="672" y="1635"/>
                  </a:lnTo>
                  <a:lnTo>
                    <a:pt x="724" y="1658"/>
                  </a:lnTo>
                  <a:lnTo>
                    <a:pt x="778" y="1680"/>
                  </a:lnTo>
                  <a:lnTo>
                    <a:pt x="834" y="1700"/>
                  </a:lnTo>
                  <a:lnTo>
                    <a:pt x="893" y="1717"/>
                  </a:lnTo>
                  <a:lnTo>
                    <a:pt x="954" y="1732"/>
                  </a:lnTo>
                  <a:lnTo>
                    <a:pt x="1014" y="1745"/>
                  </a:lnTo>
                  <a:lnTo>
                    <a:pt x="1077" y="1756"/>
                  </a:lnTo>
                  <a:lnTo>
                    <a:pt x="1140" y="1765"/>
                  </a:lnTo>
                  <a:lnTo>
                    <a:pt x="1204" y="1772"/>
                  </a:lnTo>
                  <a:lnTo>
                    <a:pt x="1267" y="1777"/>
                  </a:lnTo>
                  <a:lnTo>
                    <a:pt x="1331" y="1781"/>
                  </a:lnTo>
                  <a:lnTo>
                    <a:pt x="1395" y="1783"/>
                  </a:lnTo>
                  <a:lnTo>
                    <a:pt x="1458" y="1783"/>
                  </a:lnTo>
                  <a:lnTo>
                    <a:pt x="1520" y="1781"/>
                  </a:lnTo>
                  <a:lnTo>
                    <a:pt x="1581" y="1777"/>
                  </a:lnTo>
                  <a:lnTo>
                    <a:pt x="1641" y="1773"/>
                  </a:lnTo>
                  <a:lnTo>
                    <a:pt x="1698" y="1767"/>
                  </a:lnTo>
                  <a:lnTo>
                    <a:pt x="1753" y="1760"/>
                  </a:lnTo>
                  <a:lnTo>
                    <a:pt x="1806" y="1751"/>
                  </a:lnTo>
                  <a:lnTo>
                    <a:pt x="1857" y="1741"/>
                  </a:lnTo>
                  <a:lnTo>
                    <a:pt x="1905" y="1730"/>
                  </a:lnTo>
                  <a:lnTo>
                    <a:pt x="1950" y="1717"/>
                  </a:lnTo>
                  <a:lnTo>
                    <a:pt x="1991" y="1703"/>
                  </a:lnTo>
                  <a:lnTo>
                    <a:pt x="2028" y="1689"/>
                  </a:lnTo>
                  <a:lnTo>
                    <a:pt x="2061" y="1673"/>
                  </a:lnTo>
                  <a:lnTo>
                    <a:pt x="2090" y="1656"/>
                  </a:lnTo>
                  <a:lnTo>
                    <a:pt x="2114" y="1639"/>
                  </a:lnTo>
                  <a:lnTo>
                    <a:pt x="2134" y="1620"/>
                  </a:lnTo>
                  <a:lnTo>
                    <a:pt x="2149" y="1602"/>
                  </a:lnTo>
                  <a:lnTo>
                    <a:pt x="2157" y="1582"/>
                  </a:lnTo>
                  <a:lnTo>
                    <a:pt x="2186" y="1588"/>
                  </a:lnTo>
                  <a:lnTo>
                    <a:pt x="2216" y="1593"/>
                  </a:lnTo>
                  <a:lnTo>
                    <a:pt x="2247" y="1596"/>
                  </a:lnTo>
                  <a:lnTo>
                    <a:pt x="2278" y="1597"/>
                  </a:lnTo>
                  <a:lnTo>
                    <a:pt x="2304" y="1596"/>
                  </a:lnTo>
                  <a:lnTo>
                    <a:pt x="2331" y="1594"/>
                  </a:lnTo>
                  <a:lnTo>
                    <a:pt x="2357" y="1591"/>
                  </a:lnTo>
                  <a:lnTo>
                    <a:pt x="2383" y="1586"/>
                  </a:lnTo>
                  <a:lnTo>
                    <a:pt x="2408" y="1581"/>
                  </a:lnTo>
                  <a:lnTo>
                    <a:pt x="2432" y="1574"/>
                  </a:lnTo>
                  <a:lnTo>
                    <a:pt x="2457" y="1565"/>
                  </a:lnTo>
                  <a:lnTo>
                    <a:pt x="2481" y="1556"/>
                  </a:lnTo>
                  <a:lnTo>
                    <a:pt x="2504" y="1545"/>
                  </a:lnTo>
                  <a:lnTo>
                    <a:pt x="2526" y="1534"/>
                  </a:lnTo>
                  <a:lnTo>
                    <a:pt x="2548" y="1521"/>
                  </a:lnTo>
                  <a:lnTo>
                    <a:pt x="2569" y="1508"/>
                  </a:lnTo>
                  <a:lnTo>
                    <a:pt x="2589" y="1494"/>
                  </a:lnTo>
                  <a:lnTo>
                    <a:pt x="2609" y="1478"/>
                  </a:lnTo>
                  <a:lnTo>
                    <a:pt x="2628" y="1462"/>
                  </a:lnTo>
                  <a:lnTo>
                    <a:pt x="2647" y="1444"/>
                  </a:lnTo>
                  <a:lnTo>
                    <a:pt x="2663" y="1426"/>
                  </a:lnTo>
                  <a:lnTo>
                    <a:pt x="2680" y="1407"/>
                  </a:lnTo>
                  <a:lnTo>
                    <a:pt x="2695" y="1388"/>
                  </a:lnTo>
                  <a:lnTo>
                    <a:pt x="2711" y="1368"/>
                  </a:lnTo>
                  <a:lnTo>
                    <a:pt x="2724" y="1346"/>
                  </a:lnTo>
                  <a:lnTo>
                    <a:pt x="2736" y="1325"/>
                  </a:lnTo>
                  <a:lnTo>
                    <a:pt x="2748" y="1301"/>
                  </a:lnTo>
                  <a:lnTo>
                    <a:pt x="2758" y="1278"/>
                  </a:lnTo>
                  <a:lnTo>
                    <a:pt x="2768" y="1255"/>
                  </a:lnTo>
                  <a:lnTo>
                    <a:pt x="2776" y="1231"/>
                  </a:lnTo>
                  <a:lnTo>
                    <a:pt x="2783" y="1207"/>
                  </a:lnTo>
                  <a:lnTo>
                    <a:pt x="2789" y="1181"/>
                  </a:lnTo>
                  <a:lnTo>
                    <a:pt x="2794" y="1156"/>
                  </a:lnTo>
                  <a:lnTo>
                    <a:pt x="2797" y="1129"/>
                  </a:lnTo>
                  <a:lnTo>
                    <a:pt x="2799" y="1103"/>
                  </a:lnTo>
                  <a:lnTo>
                    <a:pt x="2799" y="1076"/>
                  </a:lnTo>
                  <a:lnTo>
                    <a:pt x="2799" y="1049"/>
                  </a:lnTo>
                  <a:lnTo>
                    <a:pt x="2797" y="1022"/>
                  </a:lnTo>
                  <a:lnTo>
                    <a:pt x="2794" y="997"/>
                  </a:lnTo>
                  <a:lnTo>
                    <a:pt x="2789" y="971"/>
                  </a:lnTo>
                  <a:lnTo>
                    <a:pt x="2783" y="946"/>
                  </a:lnTo>
                  <a:lnTo>
                    <a:pt x="2776" y="921"/>
                  </a:lnTo>
                  <a:lnTo>
                    <a:pt x="2768" y="896"/>
                  </a:lnTo>
                  <a:lnTo>
                    <a:pt x="2758" y="873"/>
                  </a:lnTo>
                  <a:lnTo>
                    <a:pt x="2748" y="850"/>
                  </a:lnTo>
                  <a:lnTo>
                    <a:pt x="2736" y="828"/>
                  </a:lnTo>
                  <a:lnTo>
                    <a:pt x="2724" y="806"/>
                  </a:lnTo>
                  <a:lnTo>
                    <a:pt x="2711" y="785"/>
                  </a:lnTo>
                  <a:lnTo>
                    <a:pt x="2695" y="764"/>
                  </a:lnTo>
                  <a:lnTo>
                    <a:pt x="2680" y="744"/>
                  </a:lnTo>
                  <a:lnTo>
                    <a:pt x="2663" y="725"/>
                  </a:lnTo>
                  <a:lnTo>
                    <a:pt x="2647" y="708"/>
                  </a:lnTo>
                  <a:lnTo>
                    <a:pt x="2628" y="690"/>
                  </a:lnTo>
                  <a:lnTo>
                    <a:pt x="2609" y="673"/>
                  </a:lnTo>
                  <a:lnTo>
                    <a:pt x="2589" y="658"/>
                  </a:lnTo>
                  <a:lnTo>
                    <a:pt x="2569" y="643"/>
                  </a:lnTo>
                  <a:lnTo>
                    <a:pt x="2548" y="630"/>
                  </a:lnTo>
                  <a:lnTo>
                    <a:pt x="2526" y="617"/>
                  </a:lnTo>
                  <a:lnTo>
                    <a:pt x="2504" y="606"/>
                  </a:lnTo>
                  <a:lnTo>
                    <a:pt x="2481" y="596"/>
                  </a:lnTo>
                  <a:lnTo>
                    <a:pt x="2457" y="586"/>
                  </a:lnTo>
                  <a:lnTo>
                    <a:pt x="2432" y="578"/>
                  </a:lnTo>
                  <a:lnTo>
                    <a:pt x="2408" y="571"/>
                  </a:lnTo>
                  <a:lnTo>
                    <a:pt x="2383" y="565"/>
                  </a:lnTo>
                  <a:lnTo>
                    <a:pt x="2357" y="561"/>
                  </a:lnTo>
                  <a:lnTo>
                    <a:pt x="2331" y="557"/>
                  </a:lnTo>
                  <a:lnTo>
                    <a:pt x="2304" y="555"/>
                  </a:lnTo>
                  <a:lnTo>
                    <a:pt x="2278" y="554"/>
                  </a:lnTo>
                  <a:close/>
                </a:path>
              </a:pathLst>
            </a:custGeom>
            <a:solidFill>
              <a:srgbClr val="C8E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9" name="Freeform 291">
              <a:extLst>
                <a:ext uri="{FF2B5EF4-FFF2-40B4-BE49-F238E27FC236}">
                  <a16:creationId xmlns:a16="http://schemas.microsoft.com/office/drawing/2014/main" id="{916A6CC5-6C20-4C39-74A4-C2E928EEA3E7}"/>
                </a:ext>
              </a:extLst>
            </p:cNvPr>
            <p:cNvSpPr>
              <a:spLocks/>
            </p:cNvSpPr>
            <p:nvPr/>
          </p:nvSpPr>
          <p:spPr bwMode="auto">
            <a:xfrm>
              <a:off x="7305419" y="1800562"/>
              <a:ext cx="373732" cy="257155"/>
            </a:xfrm>
            <a:custGeom>
              <a:avLst/>
              <a:gdLst>
                <a:gd name="T0" fmla="*/ 1080 w 1339"/>
                <a:gd name="T1" fmla="*/ 253 h 852"/>
                <a:gd name="T2" fmla="*/ 1064 w 1339"/>
                <a:gd name="T3" fmla="*/ 199 h 852"/>
                <a:gd name="T4" fmla="*/ 1040 w 1339"/>
                <a:gd name="T5" fmla="*/ 149 h 852"/>
                <a:gd name="T6" fmla="*/ 1008 w 1339"/>
                <a:gd name="T7" fmla="*/ 106 h 852"/>
                <a:gd name="T8" fmla="*/ 968 w 1339"/>
                <a:gd name="T9" fmla="*/ 69 h 852"/>
                <a:gd name="T10" fmla="*/ 923 w 1339"/>
                <a:gd name="T11" fmla="*/ 38 h 852"/>
                <a:gd name="T12" fmla="*/ 872 w 1339"/>
                <a:gd name="T13" fmla="*/ 16 h 852"/>
                <a:gd name="T14" fmla="*/ 818 w 1339"/>
                <a:gd name="T15" fmla="*/ 3 h 852"/>
                <a:gd name="T16" fmla="*/ 762 w 1339"/>
                <a:gd name="T17" fmla="*/ 0 h 852"/>
                <a:gd name="T18" fmla="*/ 697 w 1339"/>
                <a:gd name="T19" fmla="*/ 10 h 852"/>
                <a:gd name="T20" fmla="*/ 605 w 1339"/>
                <a:gd name="T21" fmla="*/ 51 h 852"/>
                <a:gd name="T22" fmla="*/ 531 w 1339"/>
                <a:gd name="T23" fmla="*/ 118 h 852"/>
                <a:gd name="T24" fmla="*/ 482 w 1339"/>
                <a:gd name="T25" fmla="*/ 205 h 852"/>
                <a:gd name="T26" fmla="*/ 444 w 1339"/>
                <a:gd name="T27" fmla="*/ 215 h 852"/>
                <a:gd name="T28" fmla="*/ 397 w 1339"/>
                <a:gd name="T29" fmla="*/ 207 h 852"/>
                <a:gd name="T30" fmla="*/ 331 w 1339"/>
                <a:gd name="T31" fmla="*/ 214 h 852"/>
                <a:gd name="T32" fmla="*/ 269 w 1339"/>
                <a:gd name="T33" fmla="*/ 247 h 852"/>
                <a:gd name="T34" fmla="*/ 225 w 1339"/>
                <a:gd name="T35" fmla="*/ 302 h 852"/>
                <a:gd name="T36" fmla="*/ 204 w 1339"/>
                <a:gd name="T37" fmla="*/ 369 h 852"/>
                <a:gd name="T38" fmla="*/ 194 w 1339"/>
                <a:gd name="T39" fmla="*/ 419 h 852"/>
                <a:gd name="T40" fmla="*/ 128 w 1339"/>
                <a:gd name="T41" fmla="*/ 426 h 852"/>
                <a:gd name="T42" fmla="*/ 66 w 1339"/>
                <a:gd name="T43" fmla="*/ 459 h 852"/>
                <a:gd name="T44" fmla="*/ 22 w 1339"/>
                <a:gd name="T45" fmla="*/ 513 h 852"/>
                <a:gd name="T46" fmla="*/ 1 w 1339"/>
                <a:gd name="T47" fmla="*/ 582 h 852"/>
                <a:gd name="T48" fmla="*/ 8 w 1339"/>
                <a:gd name="T49" fmla="*/ 655 h 852"/>
                <a:gd name="T50" fmla="*/ 42 w 1339"/>
                <a:gd name="T51" fmla="*/ 717 h 852"/>
                <a:gd name="T52" fmla="*/ 96 w 1339"/>
                <a:gd name="T53" fmla="*/ 761 h 852"/>
                <a:gd name="T54" fmla="*/ 164 w 1339"/>
                <a:gd name="T55" fmla="*/ 782 h 852"/>
                <a:gd name="T56" fmla="*/ 221 w 1339"/>
                <a:gd name="T57" fmla="*/ 778 h 852"/>
                <a:gd name="T58" fmla="*/ 266 w 1339"/>
                <a:gd name="T59" fmla="*/ 762 h 852"/>
                <a:gd name="T60" fmla="*/ 346 w 1339"/>
                <a:gd name="T61" fmla="*/ 794 h 852"/>
                <a:gd name="T62" fmla="*/ 456 w 1339"/>
                <a:gd name="T63" fmla="*/ 828 h 852"/>
                <a:gd name="T64" fmla="*/ 576 w 1339"/>
                <a:gd name="T65" fmla="*/ 848 h 852"/>
                <a:gd name="T66" fmla="*/ 698 w 1339"/>
                <a:gd name="T67" fmla="*/ 852 h 852"/>
                <a:gd name="T68" fmla="*/ 812 w 1339"/>
                <a:gd name="T69" fmla="*/ 846 h 852"/>
                <a:gd name="T70" fmla="*/ 912 w 1339"/>
                <a:gd name="T71" fmla="*/ 827 h 852"/>
                <a:gd name="T72" fmla="*/ 986 w 1339"/>
                <a:gd name="T73" fmla="*/ 801 h 852"/>
                <a:gd name="T74" fmla="*/ 1028 w 1339"/>
                <a:gd name="T75" fmla="*/ 766 h 852"/>
                <a:gd name="T76" fmla="*/ 1075 w 1339"/>
                <a:gd name="T77" fmla="*/ 764 h 852"/>
                <a:gd name="T78" fmla="*/ 1127 w 1339"/>
                <a:gd name="T79" fmla="*/ 761 h 852"/>
                <a:gd name="T80" fmla="*/ 1176 w 1339"/>
                <a:gd name="T81" fmla="*/ 749 h 852"/>
                <a:gd name="T82" fmla="*/ 1219 w 1339"/>
                <a:gd name="T83" fmla="*/ 728 h 852"/>
                <a:gd name="T84" fmla="*/ 1258 w 1339"/>
                <a:gd name="T85" fmla="*/ 699 h 852"/>
                <a:gd name="T86" fmla="*/ 1290 w 1339"/>
                <a:gd name="T87" fmla="*/ 664 h 852"/>
                <a:gd name="T88" fmla="*/ 1314 w 1339"/>
                <a:gd name="T89" fmla="*/ 623 h 852"/>
                <a:gd name="T90" fmla="*/ 1332 w 1339"/>
                <a:gd name="T91" fmla="*/ 578 h 852"/>
                <a:gd name="T92" fmla="*/ 1338 w 1339"/>
                <a:gd name="T93" fmla="*/ 528 h 852"/>
                <a:gd name="T94" fmla="*/ 1336 w 1339"/>
                <a:gd name="T95" fmla="*/ 477 h 852"/>
                <a:gd name="T96" fmla="*/ 1324 w 1339"/>
                <a:gd name="T97" fmla="*/ 430 h 852"/>
                <a:gd name="T98" fmla="*/ 1303 w 1339"/>
                <a:gd name="T99" fmla="*/ 385 h 852"/>
                <a:gd name="T100" fmla="*/ 1274 w 1339"/>
                <a:gd name="T101" fmla="*/ 348 h 852"/>
                <a:gd name="T102" fmla="*/ 1239 w 1339"/>
                <a:gd name="T103" fmla="*/ 315 h 852"/>
                <a:gd name="T104" fmla="*/ 1198 w 1339"/>
                <a:gd name="T105" fmla="*/ 290 h 852"/>
                <a:gd name="T106" fmla="*/ 1152 w 1339"/>
                <a:gd name="T107" fmla="*/ 274 h 852"/>
                <a:gd name="T108" fmla="*/ 1103 w 1339"/>
                <a:gd name="T109" fmla="*/ 266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9" h="852">
                  <a:moveTo>
                    <a:pt x="1090" y="266"/>
                  </a:moveTo>
                  <a:lnTo>
                    <a:pt x="1086" y="266"/>
                  </a:lnTo>
                  <a:lnTo>
                    <a:pt x="1083" y="266"/>
                  </a:lnTo>
                  <a:lnTo>
                    <a:pt x="1080" y="253"/>
                  </a:lnTo>
                  <a:lnTo>
                    <a:pt x="1078" y="239"/>
                  </a:lnTo>
                  <a:lnTo>
                    <a:pt x="1073" y="225"/>
                  </a:lnTo>
                  <a:lnTo>
                    <a:pt x="1070" y="212"/>
                  </a:lnTo>
                  <a:lnTo>
                    <a:pt x="1064" y="199"/>
                  </a:lnTo>
                  <a:lnTo>
                    <a:pt x="1059" y="186"/>
                  </a:lnTo>
                  <a:lnTo>
                    <a:pt x="1053" y="173"/>
                  </a:lnTo>
                  <a:lnTo>
                    <a:pt x="1047" y="161"/>
                  </a:lnTo>
                  <a:lnTo>
                    <a:pt x="1040" y="149"/>
                  </a:lnTo>
                  <a:lnTo>
                    <a:pt x="1032" y="138"/>
                  </a:lnTo>
                  <a:lnTo>
                    <a:pt x="1025" y="127"/>
                  </a:lnTo>
                  <a:lnTo>
                    <a:pt x="1017" y="116"/>
                  </a:lnTo>
                  <a:lnTo>
                    <a:pt x="1008" y="106"/>
                  </a:lnTo>
                  <a:lnTo>
                    <a:pt x="999" y="96"/>
                  </a:lnTo>
                  <a:lnTo>
                    <a:pt x="989" y="86"/>
                  </a:lnTo>
                  <a:lnTo>
                    <a:pt x="979" y="77"/>
                  </a:lnTo>
                  <a:lnTo>
                    <a:pt x="968" y="69"/>
                  </a:lnTo>
                  <a:lnTo>
                    <a:pt x="957" y="60"/>
                  </a:lnTo>
                  <a:lnTo>
                    <a:pt x="946" y="52"/>
                  </a:lnTo>
                  <a:lnTo>
                    <a:pt x="935" y="45"/>
                  </a:lnTo>
                  <a:lnTo>
                    <a:pt x="923" y="38"/>
                  </a:lnTo>
                  <a:lnTo>
                    <a:pt x="911" y="32"/>
                  </a:lnTo>
                  <a:lnTo>
                    <a:pt x="899" y="26"/>
                  </a:lnTo>
                  <a:lnTo>
                    <a:pt x="885" y="21"/>
                  </a:lnTo>
                  <a:lnTo>
                    <a:pt x="872" y="16"/>
                  </a:lnTo>
                  <a:lnTo>
                    <a:pt x="859" y="12"/>
                  </a:lnTo>
                  <a:lnTo>
                    <a:pt x="846" y="9"/>
                  </a:lnTo>
                  <a:lnTo>
                    <a:pt x="832" y="6"/>
                  </a:lnTo>
                  <a:lnTo>
                    <a:pt x="818" y="3"/>
                  </a:lnTo>
                  <a:lnTo>
                    <a:pt x="804" y="1"/>
                  </a:lnTo>
                  <a:lnTo>
                    <a:pt x="789" y="0"/>
                  </a:lnTo>
                  <a:lnTo>
                    <a:pt x="775" y="0"/>
                  </a:lnTo>
                  <a:lnTo>
                    <a:pt x="762" y="0"/>
                  </a:lnTo>
                  <a:lnTo>
                    <a:pt x="748" y="1"/>
                  </a:lnTo>
                  <a:lnTo>
                    <a:pt x="735" y="2"/>
                  </a:lnTo>
                  <a:lnTo>
                    <a:pt x="722" y="5"/>
                  </a:lnTo>
                  <a:lnTo>
                    <a:pt x="697" y="10"/>
                  </a:lnTo>
                  <a:lnTo>
                    <a:pt x="672" y="18"/>
                  </a:lnTo>
                  <a:lnTo>
                    <a:pt x="649" y="27"/>
                  </a:lnTo>
                  <a:lnTo>
                    <a:pt x="626" y="38"/>
                  </a:lnTo>
                  <a:lnTo>
                    <a:pt x="605" y="51"/>
                  </a:lnTo>
                  <a:lnTo>
                    <a:pt x="584" y="65"/>
                  </a:lnTo>
                  <a:lnTo>
                    <a:pt x="565" y="82"/>
                  </a:lnTo>
                  <a:lnTo>
                    <a:pt x="547" y="100"/>
                  </a:lnTo>
                  <a:lnTo>
                    <a:pt x="531" y="118"/>
                  </a:lnTo>
                  <a:lnTo>
                    <a:pt x="516" y="138"/>
                  </a:lnTo>
                  <a:lnTo>
                    <a:pt x="503" y="159"/>
                  </a:lnTo>
                  <a:lnTo>
                    <a:pt x="492" y="182"/>
                  </a:lnTo>
                  <a:lnTo>
                    <a:pt x="482" y="205"/>
                  </a:lnTo>
                  <a:lnTo>
                    <a:pt x="475" y="230"/>
                  </a:lnTo>
                  <a:lnTo>
                    <a:pt x="465" y="224"/>
                  </a:lnTo>
                  <a:lnTo>
                    <a:pt x="454" y="220"/>
                  </a:lnTo>
                  <a:lnTo>
                    <a:pt x="444" y="215"/>
                  </a:lnTo>
                  <a:lnTo>
                    <a:pt x="433" y="212"/>
                  </a:lnTo>
                  <a:lnTo>
                    <a:pt x="422" y="210"/>
                  </a:lnTo>
                  <a:lnTo>
                    <a:pt x="409" y="208"/>
                  </a:lnTo>
                  <a:lnTo>
                    <a:pt x="397" y="207"/>
                  </a:lnTo>
                  <a:lnTo>
                    <a:pt x="385" y="205"/>
                  </a:lnTo>
                  <a:lnTo>
                    <a:pt x="367" y="207"/>
                  </a:lnTo>
                  <a:lnTo>
                    <a:pt x="349" y="210"/>
                  </a:lnTo>
                  <a:lnTo>
                    <a:pt x="331" y="214"/>
                  </a:lnTo>
                  <a:lnTo>
                    <a:pt x="314" y="220"/>
                  </a:lnTo>
                  <a:lnTo>
                    <a:pt x="299" y="228"/>
                  </a:lnTo>
                  <a:lnTo>
                    <a:pt x="283" y="236"/>
                  </a:lnTo>
                  <a:lnTo>
                    <a:pt x="269" y="247"/>
                  </a:lnTo>
                  <a:lnTo>
                    <a:pt x="257" y="260"/>
                  </a:lnTo>
                  <a:lnTo>
                    <a:pt x="245" y="272"/>
                  </a:lnTo>
                  <a:lnTo>
                    <a:pt x="235" y="286"/>
                  </a:lnTo>
                  <a:lnTo>
                    <a:pt x="225" y="302"/>
                  </a:lnTo>
                  <a:lnTo>
                    <a:pt x="217" y="317"/>
                  </a:lnTo>
                  <a:lnTo>
                    <a:pt x="212" y="334"/>
                  </a:lnTo>
                  <a:lnTo>
                    <a:pt x="207" y="351"/>
                  </a:lnTo>
                  <a:lnTo>
                    <a:pt x="204" y="369"/>
                  </a:lnTo>
                  <a:lnTo>
                    <a:pt x="203" y="388"/>
                  </a:lnTo>
                  <a:lnTo>
                    <a:pt x="204" y="404"/>
                  </a:lnTo>
                  <a:lnTo>
                    <a:pt x="206" y="421"/>
                  </a:lnTo>
                  <a:lnTo>
                    <a:pt x="194" y="419"/>
                  </a:lnTo>
                  <a:lnTo>
                    <a:pt x="183" y="419"/>
                  </a:lnTo>
                  <a:lnTo>
                    <a:pt x="164" y="419"/>
                  </a:lnTo>
                  <a:lnTo>
                    <a:pt x="145" y="422"/>
                  </a:lnTo>
                  <a:lnTo>
                    <a:pt x="128" y="426"/>
                  </a:lnTo>
                  <a:lnTo>
                    <a:pt x="111" y="433"/>
                  </a:lnTo>
                  <a:lnTo>
                    <a:pt x="96" y="440"/>
                  </a:lnTo>
                  <a:lnTo>
                    <a:pt x="80" y="449"/>
                  </a:lnTo>
                  <a:lnTo>
                    <a:pt x="66" y="459"/>
                  </a:lnTo>
                  <a:lnTo>
                    <a:pt x="54" y="472"/>
                  </a:lnTo>
                  <a:lnTo>
                    <a:pt x="42" y="485"/>
                  </a:lnTo>
                  <a:lnTo>
                    <a:pt x="32" y="498"/>
                  </a:lnTo>
                  <a:lnTo>
                    <a:pt x="22" y="513"/>
                  </a:lnTo>
                  <a:lnTo>
                    <a:pt x="14" y="529"/>
                  </a:lnTo>
                  <a:lnTo>
                    <a:pt x="8" y="547"/>
                  </a:lnTo>
                  <a:lnTo>
                    <a:pt x="4" y="563"/>
                  </a:lnTo>
                  <a:lnTo>
                    <a:pt x="1" y="582"/>
                  </a:lnTo>
                  <a:lnTo>
                    <a:pt x="0" y="601"/>
                  </a:lnTo>
                  <a:lnTo>
                    <a:pt x="1" y="619"/>
                  </a:lnTo>
                  <a:lnTo>
                    <a:pt x="4" y="637"/>
                  </a:lnTo>
                  <a:lnTo>
                    <a:pt x="8" y="655"/>
                  </a:lnTo>
                  <a:lnTo>
                    <a:pt x="14" y="671"/>
                  </a:lnTo>
                  <a:lnTo>
                    <a:pt x="22" y="687"/>
                  </a:lnTo>
                  <a:lnTo>
                    <a:pt x="32" y="702"/>
                  </a:lnTo>
                  <a:lnTo>
                    <a:pt x="42" y="717"/>
                  </a:lnTo>
                  <a:lnTo>
                    <a:pt x="54" y="729"/>
                  </a:lnTo>
                  <a:lnTo>
                    <a:pt x="66" y="741"/>
                  </a:lnTo>
                  <a:lnTo>
                    <a:pt x="80" y="752"/>
                  </a:lnTo>
                  <a:lnTo>
                    <a:pt x="96" y="761"/>
                  </a:lnTo>
                  <a:lnTo>
                    <a:pt x="111" y="769"/>
                  </a:lnTo>
                  <a:lnTo>
                    <a:pt x="128" y="774"/>
                  </a:lnTo>
                  <a:lnTo>
                    <a:pt x="145" y="778"/>
                  </a:lnTo>
                  <a:lnTo>
                    <a:pt x="164" y="782"/>
                  </a:lnTo>
                  <a:lnTo>
                    <a:pt x="183" y="783"/>
                  </a:lnTo>
                  <a:lnTo>
                    <a:pt x="195" y="782"/>
                  </a:lnTo>
                  <a:lnTo>
                    <a:pt x="208" y="781"/>
                  </a:lnTo>
                  <a:lnTo>
                    <a:pt x="221" y="778"/>
                  </a:lnTo>
                  <a:lnTo>
                    <a:pt x="233" y="775"/>
                  </a:lnTo>
                  <a:lnTo>
                    <a:pt x="244" y="772"/>
                  </a:lnTo>
                  <a:lnTo>
                    <a:pt x="255" y="767"/>
                  </a:lnTo>
                  <a:lnTo>
                    <a:pt x="266" y="762"/>
                  </a:lnTo>
                  <a:lnTo>
                    <a:pt x="277" y="755"/>
                  </a:lnTo>
                  <a:lnTo>
                    <a:pt x="299" y="770"/>
                  </a:lnTo>
                  <a:lnTo>
                    <a:pt x="322" y="782"/>
                  </a:lnTo>
                  <a:lnTo>
                    <a:pt x="346" y="794"/>
                  </a:lnTo>
                  <a:lnTo>
                    <a:pt x="373" y="804"/>
                  </a:lnTo>
                  <a:lnTo>
                    <a:pt x="399" y="813"/>
                  </a:lnTo>
                  <a:lnTo>
                    <a:pt x="427" y="821"/>
                  </a:lnTo>
                  <a:lnTo>
                    <a:pt x="456" y="828"/>
                  </a:lnTo>
                  <a:lnTo>
                    <a:pt x="486" y="835"/>
                  </a:lnTo>
                  <a:lnTo>
                    <a:pt x="515" y="840"/>
                  </a:lnTo>
                  <a:lnTo>
                    <a:pt x="545" y="845"/>
                  </a:lnTo>
                  <a:lnTo>
                    <a:pt x="576" y="848"/>
                  </a:lnTo>
                  <a:lnTo>
                    <a:pt x="607" y="850"/>
                  </a:lnTo>
                  <a:lnTo>
                    <a:pt x="637" y="852"/>
                  </a:lnTo>
                  <a:lnTo>
                    <a:pt x="668" y="852"/>
                  </a:lnTo>
                  <a:lnTo>
                    <a:pt x="698" y="852"/>
                  </a:lnTo>
                  <a:lnTo>
                    <a:pt x="727" y="852"/>
                  </a:lnTo>
                  <a:lnTo>
                    <a:pt x="756" y="850"/>
                  </a:lnTo>
                  <a:lnTo>
                    <a:pt x="785" y="848"/>
                  </a:lnTo>
                  <a:lnTo>
                    <a:pt x="812" y="846"/>
                  </a:lnTo>
                  <a:lnTo>
                    <a:pt x="839" y="841"/>
                  </a:lnTo>
                  <a:lnTo>
                    <a:pt x="864" y="838"/>
                  </a:lnTo>
                  <a:lnTo>
                    <a:pt x="889" y="833"/>
                  </a:lnTo>
                  <a:lnTo>
                    <a:pt x="912" y="827"/>
                  </a:lnTo>
                  <a:lnTo>
                    <a:pt x="933" y="821"/>
                  </a:lnTo>
                  <a:lnTo>
                    <a:pt x="953" y="815"/>
                  </a:lnTo>
                  <a:lnTo>
                    <a:pt x="970" y="808"/>
                  </a:lnTo>
                  <a:lnTo>
                    <a:pt x="986" y="801"/>
                  </a:lnTo>
                  <a:lnTo>
                    <a:pt x="1000" y="793"/>
                  </a:lnTo>
                  <a:lnTo>
                    <a:pt x="1011" y="784"/>
                  </a:lnTo>
                  <a:lnTo>
                    <a:pt x="1021" y="775"/>
                  </a:lnTo>
                  <a:lnTo>
                    <a:pt x="1028" y="766"/>
                  </a:lnTo>
                  <a:lnTo>
                    <a:pt x="1032" y="756"/>
                  </a:lnTo>
                  <a:lnTo>
                    <a:pt x="1045" y="760"/>
                  </a:lnTo>
                  <a:lnTo>
                    <a:pt x="1060" y="762"/>
                  </a:lnTo>
                  <a:lnTo>
                    <a:pt x="1075" y="764"/>
                  </a:lnTo>
                  <a:lnTo>
                    <a:pt x="1090" y="764"/>
                  </a:lnTo>
                  <a:lnTo>
                    <a:pt x="1103" y="764"/>
                  </a:lnTo>
                  <a:lnTo>
                    <a:pt x="1115" y="763"/>
                  </a:lnTo>
                  <a:lnTo>
                    <a:pt x="1127" y="761"/>
                  </a:lnTo>
                  <a:lnTo>
                    <a:pt x="1140" y="760"/>
                  </a:lnTo>
                  <a:lnTo>
                    <a:pt x="1152" y="756"/>
                  </a:lnTo>
                  <a:lnTo>
                    <a:pt x="1164" y="753"/>
                  </a:lnTo>
                  <a:lnTo>
                    <a:pt x="1176" y="749"/>
                  </a:lnTo>
                  <a:lnTo>
                    <a:pt x="1187" y="744"/>
                  </a:lnTo>
                  <a:lnTo>
                    <a:pt x="1198" y="740"/>
                  </a:lnTo>
                  <a:lnTo>
                    <a:pt x="1209" y="734"/>
                  </a:lnTo>
                  <a:lnTo>
                    <a:pt x="1219" y="728"/>
                  </a:lnTo>
                  <a:lnTo>
                    <a:pt x="1229" y="722"/>
                  </a:lnTo>
                  <a:lnTo>
                    <a:pt x="1239" y="714"/>
                  </a:lnTo>
                  <a:lnTo>
                    <a:pt x="1249" y="708"/>
                  </a:lnTo>
                  <a:lnTo>
                    <a:pt x="1258" y="699"/>
                  </a:lnTo>
                  <a:lnTo>
                    <a:pt x="1266" y="691"/>
                  </a:lnTo>
                  <a:lnTo>
                    <a:pt x="1274" y="682"/>
                  </a:lnTo>
                  <a:lnTo>
                    <a:pt x="1282" y="674"/>
                  </a:lnTo>
                  <a:lnTo>
                    <a:pt x="1290" y="664"/>
                  </a:lnTo>
                  <a:lnTo>
                    <a:pt x="1296" y="655"/>
                  </a:lnTo>
                  <a:lnTo>
                    <a:pt x="1303" y="644"/>
                  </a:lnTo>
                  <a:lnTo>
                    <a:pt x="1309" y="634"/>
                  </a:lnTo>
                  <a:lnTo>
                    <a:pt x="1314" y="623"/>
                  </a:lnTo>
                  <a:lnTo>
                    <a:pt x="1319" y="612"/>
                  </a:lnTo>
                  <a:lnTo>
                    <a:pt x="1324" y="601"/>
                  </a:lnTo>
                  <a:lnTo>
                    <a:pt x="1328" y="589"/>
                  </a:lnTo>
                  <a:lnTo>
                    <a:pt x="1332" y="578"/>
                  </a:lnTo>
                  <a:lnTo>
                    <a:pt x="1334" y="565"/>
                  </a:lnTo>
                  <a:lnTo>
                    <a:pt x="1336" y="553"/>
                  </a:lnTo>
                  <a:lnTo>
                    <a:pt x="1338" y="540"/>
                  </a:lnTo>
                  <a:lnTo>
                    <a:pt x="1338" y="528"/>
                  </a:lnTo>
                  <a:lnTo>
                    <a:pt x="1339" y="515"/>
                  </a:lnTo>
                  <a:lnTo>
                    <a:pt x="1338" y="502"/>
                  </a:lnTo>
                  <a:lnTo>
                    <a:pt x="1338" y="489"/>
                  </a:lnTo>
                  <a:lnTo>
                    <a:pt x="1336" y="477"/>
                  </a:lnTo>
                  <a:lnTo>
                    <a:pt x="1334" y="465"/>
                  </a:lnTo>
                  <a:lnTo>
                    <a:pt x="1332" y="453"/>
                  </a:lnTo>
                  <a:lnTo>
                    <a:pt x="1328" y="441"/>
                  </a:lnTo>
                  <a:lnTo>
                    <a:pt x="1324" y="430"/>
                  </a:lnTo>
                  <a:lnTo>
                    <a:pt x="1319" y="417"/>
                  </a:lnTo>
                  <a:lnTo>
                    <a:pt x="1314" y="406"/>
                  </a:lnTo>
                  <a:lnTo>
                    <a:pt x="1309" y="396"/>
                  </a:lnTo>
                  <a:lnTo>
                    <a:pt x="1303" y="385"/>
                  </a:lnTo>
                  <a:lnTo>
                    <a:pt x="1296" y="375"/>
                  </a:lnTo>
                  <a:lnTo>
                    <a:pt x="1290" y="366"/>
                  </a:lnTo>
                  <a:lnTo>
                    <a:pt x="1282" y="357"/>
                  </a:lnTo>
                  <a:lnTo>
                    <a:pt x="1274" y="348"/>
                  </a:lnTo>
                  <a:lnTo>
                    <a:pt x="1266" y="339"/>
                  </a:lnTo>
                  <a:lnTo>
                    <a:pt x="1258" y="330"/>
                  </a:lnTo>
                  <a:lnTo>
                    <a:pt x="1249" y="323"/>
                  </a:lnTo>
                  <a:lnTo>
                    <a:pt x="1239" y="315"/>
                  </a:lnTo>
                  <a:lnTo>
                    <a:pt x="1229" y="308"/>
                  </a:lnTo>
                  <a:lnTo>
                    <a:pt x="1219" y="302"/>
                  </a:lnTo>
                  <a:lnTo>
                    <a:pt x="1209" y="296"/>
                  </a:lnTo>
                  <a:lnTo>
                    <a:pt x="1198" y="290"/>
                  </a:lnTo>
                  <a:lnTo>
                    <a:pt x="1187" y="285"/>
                  </a:lnTo>
                  <a:lnTo>
                    <a:pt x="1176" y="281"/>
                  </a:lnTo>
                  <a:lnTo>
                    <a:pt x="1164" y="277"/>
                  </a:lnTo>
                  <a:lnTo>
                    <a:pt x="1152" y="274"/>
                  </a:lnTo>
                  <a:lnTo>
                    <a:pt x="1140" y="271"/>
                  </a:lnTo>
                  <a:lnTo>
                    <a:pt x="1127" y="268"/>
                  </a:lnTo>
                  <a:lnTo>
                    <a:pt x="1115" y="267"/>
                  </a:lnTo>
                  <a:lnTo>
                    <a:pt x="1103" y="266"/>
                  </a:lnTo>
                  <a:lnTo>
                    <a:pt x="1090" y="2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0" name="Freeform 292">
              <a:extLst>
                <a:ext uri="{FF2B5EF4-FFF2-40B4-BE49-F238E27FC236}">
                  <a16:creationId xmlns:a16="http://schemas.microsoft.com/office/drawing/2014/main" id="{415D86C8-551D-A678-37FF-88331BB4A826}"/>
                </a:ext>
              </a:extLst>
            </p:cNvPr>
            <p:cNvSpPr>
              <a:spLocks/>
            </p:cNvSpPr>
            <p:nvPr/>
          </p:nvSpPr>
          <p:spPr bwMode="auto">
            <a:xfrm>
              <a:off x="8047304" y="848634"/>
              <a:ext cx="633113" cy="434608"/>
            </a:xfrm>
            <a:custGeom>
              <a:avLst/>
              <a:gdLst>
                <a:gd name="T0" fmla="*/ 1828 w 2273"/>
                <a:gd name="T1" fmla="*/ 405 h 1447"/>
                <a:gd name="T2" fmla="*/ 1788 w 2273"/>
                <a:gd name="T3" fmla="*/ 294 h 1447"/>
                <a:gd name="T4" fmla="*/ 1725 w 2273"/>
                <a:gd name="T5" fmla="*/ 197 h 1447"/>
                <a:gd name="T6" fmla="*/ 1643 w 2273"/>
                <a:gd name="T7" fmla="*/ 115 h 1447"/>
                <a:gd name="T8" fmla="*/ 1546 w 2273"/>
                <a:gd name="T9" fmla="*/ 53 h 1447"/>
                <a:gd name="T10" fmla="*/ 1435 w 2273"/>
                <a:gd name="T11" fmla="*/ 14 h 1447"/>
                <a:gd name="T12" fmla="*/ 1314 w 2273"/>
                <a:gd name="T13" fmla="*/ 0 h 1447"/>
                <a:gd name="T14" fmla="*/ 1204 w 2273"/>
                <a:gd name="T15" fmla="*/ 12 h 1447"/>
                <a:gd name="T16" fmla="*/ 1101 w 2273"/>
                <a:gd name="T17" fmla="*/ 45 h 1447"/>
                <a:gd name="T18" fmla="*/ 1008 w 2273"/>
                <a:gd name="T19" fmla="*/ 98 h 1447"/>
                <a:gd name="T20" fmla="*/ 929 w 2273"/>
                <a:gd name="T21" fmla="*/ 168 h 1447"/>
                <a:gd name="T22" fmla="*/ 865 w 2273"/>
                <a:gd name="T23" fmla="*/ 252 h 1447"/>
                <a:gd name="T24" fmla="*/ 818 w 2273"/>
                <a:gd name="T25" fmla="*/ 348 h 1447"/>
                <a:gd name="T26" fmla="*/ 752 w 2273"/>
                <a:gd name="T27" fmla="*/ 365 h 1447"/>
                <a:gd name="T28" fmla="*/ 654 w 2273"/>
                <a:gd name="T29" fmla="*/ 349 h 1447"/>
                <a:gd name="T30" fmla="*/ 576 w 2273"/>
                <a:gd name="T31" fmla="*/ 359 h 1447"/>
                <a:gd name="T32" fmla="*/ 507 w 2273"/>
                <a:gd name="T33" fmla="*/ 386 h 1447"/>
                <a:gd name="T34" fmla="*/ 446 w 2273"/>
                <a:gd name="T35" fmla="*/ 429 h 1447"/>
                <a:gd name="T36" fmla="*/ 398 w 2273"/>
                <a:gd name="T37" fmla="*/ 485 h 1447"/>
                <a:gd name="T38" fmla="*/ 363 w 2273"/>
                <a:gd name="T39" fmla="*/ 552 h 1447"/>
                <a:gd name="T40" fmla="*/ 346 w 2273"/>
                <a:gd name="T41" fmla="*/ 627 h 1447"/>
                <a:gd name="T42" fmla="*/ 348 w 2273"/>
                <a:gd name="T43" fmla="*/ 700 h 1447"/>
                <a:gd name="T44" fmla="*/ 309 w 2273"/>
                <a:gd name="T45" fmla="*/ 709 h 1447"/>
                <a:gd name="T46" fmla="*/ 232 w 2273"/>
                <a:gd name="T47" fmla="*/ 719 h 1447"/>
                <a:gd name="T48" fmla="*/ 161 w 2273"/>
                <a:gd name="T49" fmla="*/ 746 h 1447"/>
                <a:gd name="T50" fmla="*/ 100 w 2273"/>
                <a:gd name="T51" fmla="*/ 789 h 1447"/>
                <a:gd name="T52" fmla="*/ 52 w 2273"/>
                <a:gd name="T53" fmla="*/ 846 h 1447"/>
                <a:gd name="T54" fmla="*/ 19 w 2273"/>
                <a:gd name="T55" fmla="*/ 912 h 1447"/>
                <a:gd name="T56" fmla="*/ 1 w 2273"/>
                <a:gd name="T57" fmla="*/ 987 h 1447"/>
                <a:gd name="T58" fmla="*/ 3 w 2273"/>
                <a:gd name="T59" fmla="*/ 1065 h 1447"/>
                <a:gd name="T60" fmla="*/ 24 w 2273"/>
                <a:gd name="T61" fmla="*/ 1139 h 1447"/>
                <a:gd name="T62" fmla="*/ 61 w 2273"/>
                <a:gd name="T63" fmla="*/ 1203 h 1447"/>
                <a:gd name="T64" fmla="*/ 113 w 2273"/>
                <a:gd name="T65" fmla="*/ 1257 h 1447"/>
                <a:gd name="T66" fmla="*/ 174 w 2273"/>
                <a:gd name="T67" fmla="*/ 1297 h 1447"/>
                <a:gd name="T68" fmla="*/ 246 w 2273"/>
                <a:gd name="T69" fmla="*/ 1321 h 1447"/>
                <a:gd name="T70" fmla="*/ 331 w 2273"/>
                <a:gd name="T71" fmla="*/ 1327 h 1447"/>
                <a:gd name="T72" fmla="*/ 433 w 2273"/>
                <a:gd name="T73" fmla="*/ 1302 h 1447"/>
                <a:gd name="T74" fmla="*/ 588 w 2273"/>
                <a:gd name="T75" fmla="*/ 1347 h 1447"/>
                <a:gd name="T76" fmla="*/ 824 w 2273"/>
                <a:gd name="T77" fmla="*/ 1416 h 1447"/>
                <a:gd name="T78" fmla="*/ 1081 w 2273"/>
                <a:gd name="T79" fmla="*/ 1446 h 1447"/>
                <a:gd name="T80" fmla="*/ 1332 w 2273"/>
                <a:gd name="T81" fmla="*/ 1440 h 1447"/>
                <a:gd name="T82" fmla="*/ 1547 w 2273"/>
                <a:gd name="T83" fmla="*/ 1404 h 1447"/>
                <a:gd name="T84" fmla="*/ 1697 w 2273"/>
                <a:gd name="T85" fmla="*/ 1345 h 1447"/>
                <a:gd name="T86" fmla="*/ 1775 w 2273"/>
                <a:gd name="T87" fmla="*/ 1289 h 1447"/>
                <a:gd name="T88" fmla="*/ 1893 w 2273"/>
                <a:gd name="T89" fmla="*/ 1295 h 1447"/>
                <a:gd name="T90" fmla="*/ 1994 w 2273"/>
                <a:gd name="T91" fmla="*/ 1271 h 1447"/>
                <a:gd name="T92" fmla="*/ 2086 w 2273"/>
                <a:gd name="T93" fmla="*/ 1224 h 1447"/>
                <a:gd name="T94" fmla="*/ 2162 w 2273"/>
                <a:gd name="T95" fmla="*/ 1158 h 1447"/>
                <a:gd name="T96" fmla="*/ 2222 w 2273"/>
                <a:gd name="T97" fmla="*/ 1075 h 1447"/>
                <a:gd name="T98" fmla="*/ 2260 w 2273"/>
                <a:gd name="T99" fmla="*/ 979 h 1447"/>
                <a:gd name="T100" fmla="*/ 2273 w 2273"/>
                <a:gd name="T101" fmla="*/ 873 h 1447"/>
                <a:gd name="T102" fmla="*/ 2260 w 2273"/>
                <a:gd name="T103" fmla="*/ 768 h 1447"/>
                <a:gd name="T104" fmla="*/ 2222 w 2273"/>
                <a:gd name="T105" fmla="*/ 672 h 1447"/>
                <a:gd name="T106" fmla="*/ 2162 w 2273"/>
                <a:gd name="T107" fmla="*/ 590 h 1447"/>
                <a:gd name="T108" fmla="*/ 2086 w 2273"/>
                <a:gd name="T109" fmla="*/ 523 h 1447"/>
                <a:gd name="T110" fmla="*/ 1994 w 2273"/>
                <a:gd name="T111" fmla="*/ 476 h 1447"/>
                <a:gd name="T112" fmla="*/ 1893 w 2273"/>
                <a:gd name="T113" fmla="*/ 453 h 1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3" h="1447">
                  <a:moveTo>
                    <a:pt x="1850" y="450"/>
                  </a:moveTo>
                  <a:lnTo>
                    <a:pt x="1843" y="452"/>
                  </a:lnTo>
                  <a:lnTo>
                    <a:pt x="1838" y="452"/>
                  </a:lnTo>
                  <a:lnTo>
                    <a:pt x="1833" y="428"/>
                  </a:lnTo>
                  <a:lnTo>
                    <a:pt x="1828" y="405"/>
                  </a:lnTo>
                  <a:lnTo>
                    <a:pt x="1822" y="382"/>
                  </a:lnTo>
                  <a:lnTo>
                    <a:pt x="1814" y="359"/>
                  </a:lnTo>
                  <a:lnTo>
                    <a:pt x="1807" y="337"/>
                  </a:lnTo>
                  <a:lnTo>
                    <a:pt x="1798" y="316"/>
                  </a:lnTo>
                  <a:lnTo>
                    <a:pt x="1788" y="294"/>
                  </a:lnTo>
                  <a:lnTo>
                    <a:pt x="1777" y="274"/>
                  </a:lnTo>
                  <a:lnTo>
                    <a:pt x="1765" y="254"/>
                  </a:lnTo>
                  <a:lnTo>
                    <a:pt x="1753" y="234"/>
                  </a:lnTo>
                  <a:lnTo>
                    <a:pt x="1739" y="215"/>
                  </a:lnTo>
                  <a:lnTo>
                    <a:pt x="1725" y="197"/>
                  </a:lnTo>
                  <a:lnTo>
                    <a:pt x="1711" y="179"/>
                  </a:lnTo>
                  <a:lnTo>
                    <a:pt x="1694" y="162"/>
                  </a:lnTo>
                  <a:lnTo>
                    <a:pt x="1679" y="146"/>
                  </a:lnTo>
                  <a:lnTo>
                    <a:pt x="1661" y="130"/>
                  </a:lnTo>
                  <a:lnTo>
                    <a:pt x="1643" y="115"/>
                  </a:lnTo>
                  <a:lnTo>
                    <a:pt x="1626" y="102"/>
                  </a:lnTo>
                  <a:lnTo>
                    <a:pt x="1606" y="88"/>
                  </a:lnTo>
                  <a:lnTo>
                    <a:pt x="1587" y="75"/>
                  </a:lnTo>
                  <a:lnTo>
                    <a:pt x="1566" y="64"/>
                  </a:lnTo>
                  <a:lnTo>
                    <a:pt x="1546" y="53"/>
                  </a:lnTo>
                  <a:lnTo>
                    <a:pt x="1525" y="43"/>
                  </a:lnTo>
                  <a:lnTo>
                    <a:pt x="1503" y="34"/>
                  </a:lnTo>
                  <a:lnTo>
                    <a:pt x="1481" y="26"/>
                  </a:lnTo>
                  <a:lnTo>
                    <a:pt x="1458" y="20"/>
                  </a:lnTo>
                  <a:lnTo>
                    <a:pt x="1435" y="14"/>
                  </a:lnTo>
                  <a:lnTo>
                    <a:pt x="1411" y="9"/>
                  </a:lnTo>
                  <a:lnTo>
                    <a:pt x="1388" y="6"/>
                  </a:lnTo>
                  <a:lnTo>
                    <a:pt x="1364" y="2"/>
                  </a:lnTo>
                  <a:lnTo>
                    <a:pt x="1340" y="1"/>
                  </a:lnTo>
                  <a:lnTo>
                    <a:pt x="1314" y="0"/>
                  </a:lnTo>
                  <a:lnTo>
                    <a:pt x="1292" y="0"/>
                  </a:lnTo>
                  <a:lnTo>
                    <a:pt x="1269" y="2"/>
                  </a:lnTo>
                  <a:lnTo>
                    <a:pt x="1247" y="4"/>
                  </a:lnTo>
                  <a:lnTo>
                    <a:pt x="1225" y="8"/>
                  </a:lnTo>
                  <a:lnTo>
                    <a:pt x="1204" y="12"/>
                  </a:lnTo>
                  <a:lnTo>
                    <a:pt x="1182" y="17"/>
                  </a:lnTo>
                  <a:lnTo>
                    <a:pt x="1161" y="22"/>
                  </a:lnTo>
                  <a:lnTo>
                    <a:pt x="1141" y="30"/>
                  </a:lnTo>
                  <a:lnTo>
                    <a:pt x="1121" y="36"/>
                  </a:lnTo>
                  <a:lnTo>
                    <a:pt x="1101" y="45"/>
                  </a:lnTo>
                  <a:lnTo>
                    <a:pt x="1081" y="54"/>
                  </a:lnTo>
                  <a:lnTo>
                    <a:pt x="1062" y="64"/>
                  </a:lnTo>
                  <a:lnTo>
                    <a:pt x="1044" y="75"/>
                  </a:lnTo>
                  <a:lnTo>
                    <a:pt x="1026" y="86"/>
                  </a:lnTo>
                  <a:lnTo>
                    <a:pt x="1008" y="98"/>
                  </a:lnTo>
                  <a:lnTo>
                    <a:pt x="992" y="110"/>
                  </a:lnTo>
                  <a:lnTo>
                    <a:pt x="975" y="124"/>
                  </a:lnTo>
                  <a:lnTo>
                    <a:pt x="960" y="138"/>
                  </a:lnTo>
                  <a:lnTo>
                    <a:pt x="944" y="152"/>
                  </a:lnTo>
                  <a:lnTo>
                    <a:pt x="929" y="168"/>
                  </a:lnTo>
                  <a:lnTo>
                    <a:pt x="914" y="183"/>
                  </a:lnTo>
                  <a:lnTo>
                    <a:pt x="901" y="200"/>
                  </a:lnTo>
                  <a:lnTo>
                    <a:pt x="889" y="216"/>
                  </a:lnTo>
                  <a:lnTo>
                    <a:pt x="877" y="234"/>
                  </a:lnTo>
                  <a:lnTo>
                    <a:pt x="865" y="252"/>
                  </a:lnTo>
                  <a:lnTo>
                    <a:pt x="854" y="270"/>
                  </a:lnTo>
                  <a:lnTo>
                    <a:pt x="844" y="289"/>
                  </a:lnTo>
                  <a:lnTo>
                    <a:pt x="835" y="308"/>
                  </a:lnTo>
                  <a:lnTo>
                    <a:pt x="826" y="328"/>
                  </a:lnTo>
                  <a:lnTo>
                    <a:pt x="818" y="348"/>
                  </a:lnTo>
                  <a:lnTo>
                    <a:pt x="811" y="369"/>
                  </a:lnTo>
                  <a:lnTo>
                    <a:pt x="805" y="390"/>
                  </a:lnTo>
                  <a:lnTo>
                    <a:pt x="787" y="381"/>
                  </a:lnTo>
                  <a:lnTo>
                    <a:pt x="770" y="372"/>
                  </a:lnTo>
                  <a:lnTo>
                    <a:pt x="752" y="365"/>
                  </a:lnTo>
                  <a:lnTo>
                    <a:pt x="733" y="360"/>
                  </a:lnTo>
                  <a:lnTo>
                    <a:pt x="715" y="355"/>
                  </a:lnTo>
                  <a:lnTo>
                    <a:pt x="695" y="351"/>
                  </a:lnTo>
                  <a:lnTo>
                    <a:pt x="675" y="350"/>
                  </a:lnTo>
                  <a:lnTo>
                    <a:pt x="654" y="349"/>
                  </a:lnTo>
                  <a:lnTo>
                    <a:pt x="638" y="349"/>
                  </a:lnTo>
                  <a:lnTo>
                    <a:pt x="623" y="350"/>
                  </a:lnTo>
                  <a:lnTo>
                    <a:pt x="606" y="352"/>
                  </a:lnTo>
                  <a:lnTo>
                    <a:pt x="592" y="355"/>
                  </a:lnTo>
                  <a:lnTo>
                    <a:pt x="576" y="359"/>
                  </a:lnTo>
                  <a:lnTo>
                    <a:pt x="562" y="362"/>
                  </a:lnTo>
                  <a:lnTo>
                    <a:pt x="548" y="368"/>
                  </a:lnTo>
                  <a:lnTo>
                    <a:pt x="533" y="373"/>
                  </a:lnTo>
                  <a:lnTo>
                    <a:pt x="520" y="380"/>
                  </a:lnTo>
                  <a:lnTo>
                    <a:pt x="507" y="386"/>
                  </a:lnTo>
                  <a:lnTo>
                    <a:pt x="494" y="393"/>
                  </a:lnTo>
                  <a:lnTo>
                    <a:pt x="480" y="402"/>
                  </a:lnTo>
                  <a:lnTo>
                    <a:pt x="468" y="411"/>
                  </a:lnTo>
                  <a:lnTo>
                    <a:pt x="457" y="420"/>
                  </a:lnTo>
                  <a:lnTo>
                    <a:pt x="446" y="429"/>
                  </a:lnTo>
                  <a:lnTo>
                    <a:pt x="435" y="439"/>
                  </a:lnTo>
                  <a:lnTo>
                    <a:pt x="425" y="450"/>
                  </a:lnTo>
                  <a:lnTo>
                    <a:pt x="415" y="461"/>
                  </a:lnTo>
                  <a:lnTo>
                    <a:pt x="406" y="472"/>
                  </a:lnTo>
                  <a:lnTo>
                    <a:pt x="398" y="485"/>
                  </a:lnTo>
                  <a:lnTo>
                    <a:pt x="389" y="498"/>
                  </a:lnTo>
                  <a:lnTo>
                    <a:pt x="382" y="511"/>
                  </a:lnTo>
                  <a:lnTo>
                    <a:pt x="374" y="524"/>
                  </a:lnTo>
                  <a:lnTo>
                    <a:pt x="369" y="538"/>
                  </a:lnTo>
                  <a:lnTo>
                    <a:pt x="363" y="552"/>
                  </a:lnTo>
                  <a:lnTo>
                    <a:pt x="358" y="566"/>
                  </a:lnTo>
                  <a:lnTo>
                    <a:pt x="354" y="581"/>
                  </a:lnTo>
                  <a:lnTo>
                    <a:pt x="351" y="596"/>
                  </a:lnTo>
                  <a:lnTo>
                    <a:pt x="348" y="612"/>
                  </a:lnTo>
                  <a:lnTo>
                    <a:pt x="346" y="627"/>
                  </a:lnTo>
                  <a:lnTo>
                    <a:pt x="345" y="643"/>
                  </a:lnTo>
                  <a:lnTo>
                    <a:pt x="345" y="658"/>
                  </a:lnTo>
                  <a:lnTo>
                    <a:pt x="345" y="672"/>
                  </a:lnTo>
                  <a:lnTo>
                    <a:pt x="346" y="686"/>
                  </a:lnTo>
                  <a:lnTo>
                    <a:pt x="348" y="700"/>
                  </a:lnTo>
                  <a:lnTo>
                    <a:pt x="350" y="713"/>
                  </a:lnTo>
                  <a:lnTo>
                    <a:pt x="340" y="712"/>
                  </a:lnTo>
                  <a:lnTo>
                    <a:pt x="330" y="711"/>
                  </a:lnTo>
                  <a:lnTo>
                    <a:pt x="319" y="710"/>
                  </a:lnTo>
                  <a:lnTo>
                    <a:pt x="309" y="709"/>
                  </a:lnTo>
                  <a:lnTo>
                    <a:pt x="293" y="710"/>
                  </a:lnTo>
                  <a:lnTo>
                    <a:pt x="277" y="711"/>
                  </a:lnTo>
                  <a:lnTo>
                    <a:pt x="262" y="713"/>
                  </a:lnTo>
                  <a:lnTo>
                    <a:pt x="246" y="715"/>
                  </a:lnTo>
                  <a:lnTo>
                    <a:pt x="232" y="719"/>
                  </a:lnTo>
                  <a:lnTo>
                    <a:pt x="218" y="723"/>
                  </a:lnTo>
                  <a:lnTo>
                    <a:pt x="203" y="728"/>
                  </a:lnTo>
                  <a:lnTo>
                    <a:pt x="189" y="733"/>
                  </a:lnTo>
                  <a:lnTo>
                    <a:pt x="174" y="740"/>
                  </a:lnTo>
                  <a:lnTo>
                    <a:pt x="161" y="746"/>
                  </a:lnTo>
                  <a:lnTo>
                    <a:pt x="149" y="754"/>
                  </a:lnTo>
                  <a:lnTo>
                    <a:pt x="136" y="762"/>
                  </a:lnTo>
                  <a:lnTo>
                    <a:pt x="124" y="771"/>
                  </a:lnTo>
                  <a:lnTo>
                    <a:pt x="113" y="779"/>
                  </a:lnTo>
                  <a:lnTo>
                    <a:pt x="100" y="789"/>
                  </a:lnTo>
                  <a:lnTo>
                    <a:pt x="91" y="799"/>
                  </a:lnTo>
                  <a:lnTo>
                    <a:pt x="80" y="810"/>
                  </a:lnTo>
                  <a:lnTo>
                    <a:pt x="71" y="821"/>
                  </a:lnTo>
                  <a:lnTo>
                    <a:pt x="61" y="833"/>
                  </a:lnTo>
                  <a:lnTo>
                    <a:pt x="52" y="846"/>
                  </a:lnTo>
                  <a:lnTo>
                    <a:pt x="44" y="858"/>
                  </a:lnTo>
                  <a:lnTo>
                    <a:pt x="36" y="871"/>
                  </a:lnTo>
                  <a:lnTo>
                    <a:pt x="30" y="884"/>
                  </a:lnTo>
                  <a:lnTo>
                    <a:pt x="24" y="899"/>
                  </a:lnTo>
                  <a:lnTo>
                    <a:pt x="19" y="912"/>
                  </a:lnTo>
                  <a:lnTo>
                    <a:pt x="13" y="926"/>
                  </a:lnTo>
                  <a:lnTo>
                    <a:pt x="9" y="942"/>
                  </a:lnTo>
                  <a:lnTo>
                    <a:pt x="6" y="956"/>
                  </a:lnTo>
                  <a:lnTo>
                    <a:pt x="3" y="971"/>
                  </a:lnTo>
                  <a:lnTo>
                    <a:pt x="1" y="987"/>
                  </a:lnTo>
                  <a:lnTo>
                    <a:pt x="0" y="1002"/>
                  </a:lnTo>
                  <a:lnTo>
                    <a:pt x="0" y="1019"/>
                  </a:lnTo>
                  <a:lnTo>
                    <a:pt x="0" y="1034"/>
                  </a:lnTo>
                  <a:lnTo>
                    <a:pt x="1" y="1050"/>
                  </a:lnTo>
                  <a:lnTo>
                    <a:pt x="3" y="1065"/>
                  </a:lnTo>
                  <a:lnTo>
                    <a:pt x="6" y="1081"/>
                  </a:lnTo>
                  <a:lnTo>
                    <a:pt x="9" y="1096"/>
                  </a:lnTo>
                  <a:lnTo>
                    <a:pt x="13" y="1111"/>
                  </a:lnTo>
                  <a:lnTo>
                    <a:pt x="19" y="1125"/>
                  </a:lnTo>
                  <a:lnTo>
                    <a:pt x="24" y="1139"/>
                  </a:lnTo>
                  <a:lnTo>
                    <a:pt x="30" y="1153"/>
                  </a:lnTo>
                  <a:lnTo>
                    <a:pt x="36" y="1166"/>
                  </a:lnTo>
                  <a:lnTo>
                    <a:pt x="44" y="1179"/>
                  </a:lnTo>
                  <a:lnTo>
                    <a:pt x="52" y="1191"/>
                  </a:lnTo>
                  <a:lnTo>
                    <a:pt x="61" y="1203"/>
                  </a:lnTo>
                  <a:lnTo>
                    <a:pt x="71" y="1215"/>
                  </a:lnTo>
                  <a:lnTo>
                    <a:pt x="80" y="1226"/>
                  </a:lnTo>
                  <a:lnTo>
                    <a:pt x="91" y="1238"/>
                  </a:lnTo>
                  <a:lnTo>
                    <a:pt x="100" y="1247"/>
                  </a:lnTo>
                  <a:lnTo>
                    <a:pt x="113" y="1257"/>
                  </a:lnTo>
                  <a:lnTo>
                    <a:pt x="124" y="1266"/>
                  </a:lnTo>
                  <a:lnTo>
                    <a:pt x="136" y="1275"/>
                  </a:lnTo>
                  <a:lnTo>
                    <a:pt x="149" y="1283"/>
                  </a:lnTo>
                  <a:lnTo>
                    <a:pt x="161" y="1291"/>
                  </a:lnTo>
                  <a:lnTo>
                    <a:pt x="174" y="1297"/>
                  </a:lnTo>
                  <a:lnTo>
                    <a:pt x="189" y="1304"/>
                  </a:lnTo>
                  <a:lnTo>
                    <a:pt x="203" y="1309"/>
                  </a:lnTo>
                  <a:lnTo>
                    <a:pt x="218" y="1314"/>
                  </a:lnTo>
                  <a:lnTo>
                    <a:pt x="232" y="1318"/>
                  </a:lnTo>
                  <a:lnTo>
                    <a:pt x="246" y="1321"/>
                  </a:lnTo>
                  <a:lnTo>
                    <a:pt x="262" y="1325"/>
                  </a:lnTo>
                  <a:lnTo>
                    <a:pt x="277" y="1327"/>
                  </a:lnTo>
                  <a:lnTo>
                    <a:pt x="293" y="1328"/>
                  </a:lnTo>
                  <a:lnTo>
                    <a:pt x="309" y="1328"/>
                  </a:lnTo>
                  <a:lnTo>
                    <a:pt x="331" y="1327"/>
                  </a:lnTo>
                  <a:lnTo>
                    <a:pt x="352" y="1325"/>
                  </a:lnTo>
                  <a:lnTo>
                    <a:pt x="373" y="1321"/>
                  </a:lnTo>
                  <a:lnTo>
                    <a:pt x="393" y="1316"/>
                  </a:lnTo>
                  <a:lnTo>
                    <a:pt x="413" y="1309"/>
                  </a:lnTo>
                  <a:lnTo>
                    <a:pt x="433" y="1302"/>
                  </a:lnTo>
                  <a:lnTo>
                    <a:pt x="452" y="1293"/>
                  </a:lnTo>
                  <a:lnTo>
                    <a:pt x="469" y="1283"/>
                  </a:lnTo>
                  <a:lnTo>
                    <a:pt x="506" y="1306"/>
                  </a:lnTo>
                  <a:lnTo>
                    <a:pt x="546" y="1327"/>
                  </a:lnTo>
                  <a:lnTo>
                    <a:pt x="588" y="1347"/>
                  </a:lnTo>
                  <a:lnTo>
                    <a:pt x="632" y="1364"/>
                  </a:lnTo>
                  <a:lnTo>
                    <a:pt x="678" y="1380"/>
                  </a:lnTo>
                  <a:lnTo>
                    <a:pt x="726" y="1394"/>
                  </a:lnTo>
                  <a:lnTo>
                    <a:pt x="774" y="1406"/>
                  </a:lnTo>
                  <a:lnTo>
                    <a:pt x="824" y="1416"/>
                  </a:lnTo>
                  <a:lnTo>
                    <a:pt x="875" y="1425"/>
                  </a:lnTo>
                  <a:lnTo>
                    <a:pt x="925" y="1433"/>
                  </a:lnTo>
                  <a:lnTo>
                    <a:pt x="977" y="1438"/>
                  </a:lnTo>
                  <a:lnTo>
                    <a:pt x="1029" y="1443"/>
                  </a:lnTo>
                  <a:lnTo>
                    <a:pt x="1081" y="1446"/>
                  </a:lnTo>
                  <a:lnTo>
                    <a:pt x="1133" y="1447"/>
                  </a:lnTo>
                  <a:lnTo>
                    <a:pt x="1184" y="1447"/>
                  </a:lnTo>
                  <a:lnTo>
                    <a:pt x="1235" y="1446"/>
                  </a:lnTo>
                  <a:lnTo>
                    <a:pt x="1283" y="1444"/>
                  </a:lnTo>
                  <a:lnTo>
                    <a:pt x="1332" y="1440"/>
                  </a:lnTo>
                  <a:lnTo>
                    <a:pt x="1378" y="1435"/>
                  </a:lnTo>
                  <a:lnTo>
                    <a:pt x="1424" y="1429"/>
                  </a:lnTo>
                  <a:lnTo>
                    <a:pt x="1467" y="1422"/>
                  </a:lnTo>
                  <a:lnTo>
                    <a:pt x="1509" y="1413"/>
                  </a:lnTo>
                  <a:lnTo>
                    <a:pt x="1547" y="1404"/>
                  </a:lnTo>
                  <a:lnTo>
                    <a:pt x="1583" y="1394"/>
                  </a:lnTo>
                  <a:lnTo>
                    <a:pt x="1616" y="1383"/>
                  </a:lnTo>
                  <a:lnTo>
                    <a:pt x="1647" y="1371"/>
                  </a:lnTo>
                  <a:lnTo>
                    <a:pt x="1673" y="1358"/>
                  </a:lnTo>
                  <a:lnTo>
                    <a:pt x="1697" y="1345"/>
                  </a:lnTo>
                  <a:lnTo>
                    <a:pt x="1717" y="1330"/>
                  </a:lnTo>
                  <a:lnTo>
                    <a:pt x="1733" y="1316"/>
                  </a:lnTo>
                  <a:lnTo>
                    <a:pt x="1744" y="1300"/>
                  </a:lnTo>
                  <a:lnTo>
                    <a:pt x="1752" y="1284"/>
                  </a:lnTo>
                  <a:lnTo>
                    <a:pt x="1775" y="1289"/>
                  </a:lnTo>
                  <a:lnTo>
                    <a:pt x="1799" y="1294"/>
                  </a:lnTo>
                  <a:lnTo>
                    <a:pt x="1824" y="1296"/>
                  </a:lnTo>
                  <a:lnTo>
                    <a:pt x="1850" y="1297"/>
                  </a:lnTo>
                  <a:lnTo>
                    <a:pt x="1871" y="1296"/>
                  </a:lnTo>
                  <a:lnTo>
                    <a:pt x="1893" y="1295"/>
                  </a:lnTo>
                  <a:lnTo>
                    <a:pt x="1914" y="1292"/>
                  </a:lnTo>
                  <a:lnTo>
                    <a:pt x="1935" y="1288"/>
                  </a:lnTo>
                  <a:lnTo>
                    <a:pt x="1955" y="1284"/>
                  </a:lnTo>
                  <a:lnTo>
                    <a:pt x="1975" y="1277"/>
                  </a:lnTo>
                  <a:lnTo>
                    <a:pt x="1994" y="1271"/>
                  </a:lnTo>
                  <a:lnTo>
                    <a:pt x="2014" y="1264"/>
                  </a:lnTo>
                  <a:lnTo>
                    <a:pt x="2033" y="1255"/>
                  </a:lnTo>
                  <a:lnTo>
                    <a:pt x="2051" y="1245"/>
                  </a:lnTo>
                  <a:lnTo>
                    <a:pt x="2068" y="1235"/>
                  </a:lnTo>
                  <a:lnTo>
                    <a:pt x="2086" y="1224"/>
                  </a:lnTo>
                  <a:lnTo>
                    <a:pt x="2103" y="1213"/>
                  </a:lnTo>
                  <a:lnTo>
                    <a:pt x="2118" y="1200"/>
                  </a:lnTo>
                  <a:lnTo>
                    <a:pt x="2134" y="1187"/>
                  </a:lnTo>
                  <a:lnTo>
                    <a:pt x="2149" y="1172"/>
                  </a:lnTo>
                  <a:lnTo>
                    <a:pt x="2162" y="1158"/>
                  </a:lnTo>
                  <a:lnTo>
                    <a:pt x="2176" y="1143"/>
                  </a:lnTo>
                  <a:lnTo>
                    <a:pt x="2189" y="1127"/>
                  </a:lnTo>
                  <a:lnTo>
                    <a:pt x="2200" y="1111"/>
                  </a:lnTo>
                  <a:lnTo>
                    <a:pt x="2211" y="1093"/>
                  </a:lnTo>
                  <a:lnTo>
                    <a:pt x="2222" y="1075"/>
                  </a:lnTo>
                  <a:lnTo>
                    <a:pt x="2231" y="1058"/>
                  </a:lnTo>
                  <a:lnTo>
                    <a:pt x="2240" y="1039"/>
                  </a:lnTo>
                  <a:lnTo>
                    <a:pt x="2247" y="1019"/>
                  </a:lnTo>
                  <a:lnTo>
                    <a:pt x="2254" y="999"/>
                  </a:lnTo>
                  <a:lnTo>
                    <a:pt x="2260" y="979"/>
                  </a:lnTo>
                  <a:lnTo>
                    <a:pt x="2264" y="959"/>
                  </a:lnTo>
                  <a:lnTo>
                    <a:pt x="2267" y="938"/>
                  </a:lnTo>
                  <a:lnTo>
                    <a:pt x="2271" y="917"/>
                  </a:lnTo>
                  <a:lnTo>
                    <a:pt x="2272" y="895"/>
                  </a:lnTo>
                  <a:lnTo>
                    <a:pt x="2273" y="873"/>
                  </a:lnTo>
                  <a:lnTo>
                    <a:pt x="2272" y="852"/>
                  </a:lnTo>
                  <a:lnTo>
                    <a:pt x="2271" y="830"/>
                  </a:lnTo>
                  <a:lnTo>
                    <a:pt x="2267" y="809"/>
                  </a:lnTo>
                  <a:lnTo>
                    <a:pt x="2264" y="788"/>
                  </a:lnTo>
                  <a:lnTo>
                    <a:pt x="2260" y="768"/>
                  </a:lnTo>
                  <a:lnTo>
                    <a:pt x="2254" y="747"/>
                  </a:lnTo>
                  <a:lnTo>
                    <a:pt x="2247" y="729"/>
                  </a:lnTo>
                  <a:lnTo>
                    <a:pt x="2240" y="709"/>
                  </a:lnTo>
                  <a:lnTo>
                    <a:pt x="2231" y="690"/>
                  </a:lnTo>
                  <a:lnTo>
                    <a:pt x="2222" y="672"/>
                  </a:lnTo>
                  <a:lnTo>
                    <a:pt x="2211" y="655"/>
                  </a:lnTo>
                  <a:lnTo>
                    <a:pt x="2200" y="637"/>
                  </a:lnTo>
                  <a:lnTo>
                    <a:pt x="2189" y="620"/>
                  </a:lnTo>
                  <a:lnTo>
                    <a:pt x="2176" y="605"/>
                  </a:lnTo>
                  <a:lnTo>
                    <a:pt x="2162" y="590"/>
                  </a:lnTo>
                  <a:lnTo>
                    <a:pt x="2149" y="574"/>
                  </a:lnTo>
                  <a:lnTo>
                    <a:pt x="2134" y="561"/>
                  </a:lnTo>
                  <a:lnTo>
                    <a:pt x="2118" y="548"/>
                  </a:lnTo>
                  <a:lnTo>
                    <a:pt x="2103" y="534"/>
                  </a:lnTo>
                  <a:lnTo>
                    <a:pt x="2086" y="523"/>
                  </a:lnTo>
                  <a:lnTo>
                    <a:pt x="2068" y="512"/>
                  </a:lnTo>
                  <a:lnTo>
                    <a:pt x="2051" y="501"/>
                  </a:lnTo>
                  <a:lnTo>
                    <a:pt x="2033" y="492"/>
                  </a:lnTo>
                  <a:lnTo>
                    <a:pt x="2014" y="484"/>
                  </a:lnTo>
                  <a:lnTo>
                    <a:pt x="1994" y="476"/>
                  </a:lnTo>
                  <a:lnTo>
                    <a:pt x="1975" y="469"/>
                  </a:lnTo>
                  <a:lnTo>
                    <a:pt x="1955" y="464"/>
                  </a:lnTo>
                  <a:lnTo>
                    <a:pt x="1935" y="459"/>
                  </a:lnTo>
                  <a:lnTo>
                    <a:pt x="1914" y="456"/>
                  </a:lnTo>
                  <a:lnTo>
                    <a:pt x="1893" y="453"/>
                  </a:lnTo>
                  <a:lnTo>
                    <a:pt x="1871" y="452"/>
                  </a:lnTo>
                  <a:lnTo>
                    <a:pt x="1850" y="450"/>
                  </a:lnTo>
                  <a:close/>
                </a:path>
              </a:pathLst>
            </a:custGeom>
            <a:solidFill>
              <a:srgbClr val="C8E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1" name="Oval 329">
              <a:extLst>
                <a:ext uri="{FF2B5EF4-FFF2-40B4-BE49-F238E27FC236}">
                  <a16:creationId xmlns:a16="http://schemas.microsoft.com/office/drawing/2014/main" id="{91045308-15F8-DD20-2160-0E1F5AFAC70A}"/>
                </a:ext>
              </a:extLst>
            </p:cNvPr>
            <p:cNvSpPr/>
            <p:nvPr/>
          </p:nvSpPr>
          <p:spPr>
            <a:xfrm>
              <a:off x="9793246" y="3451773"/>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312" name="Freeform 268">
              <a:extLst>
                <a:ext uri="{FF2B5EF4-FFF2-40B4-BE49-F238E27FC236}">
                  <a16:creationId xmlns:a16="http://schemas.microsoft.com/office/drawing/2014/main" id="{F51A4523-39E8-BB99-E27D-71517C803959}"/>
                </a:ext>
              </a:extLst>
            </p:cNvPr>
            <p:cNvSpPr>
              <a:spLocks/>
            </p:cNvSpPr>
            <p:nvPr/>
          </p:nvSpPr>
          <p:spPr bwMode="auto">
            <a:xfrm>
              <a:off x="9868551" y="3203641"/>
              <a:ext cx="66937" cy="279714"/>
            </a:xfrm>
            <a:custGeom>
              <a:avLst/>
              <a:gdLst>
                <a:gd name="T0" fmla="*/ 228 w 243"/>
                <a:gd name="T1" fmla="*/ 488 h 931"/>
                <a:gd name="T2" fmla="*/ 216 w 243"/>
                <a:gd name="T3" fmla="*/ 493 h 931"/>
                <a:gd name="T4" fmla="*/ 196 w 243"/>
                <a:gd name="T5" fmla="*/ 504 h 931"/>
                <a:gd name="T6" fmla="*/ 169 w 243"/>
                <a:gd name="T7" fmla="*/ 519 h 931"/>
                <a:gd name="T8" fmla="*/ 140 w 243"/>
                <a:gd name="T9" fmla="*/ 537 h 931"/>
                <a:gd name="T10" fmla="*/ 106 w 243"/>
                <a:gd name="T11" fmla="*/ 0 h 931"/>
                <a:gd name="T12" fmla="*/ 15 w 243"/>
                <a:gd name="T13" fmla="*/ 0 h 931"/>
                <a:gd name="T14" fmla="*/ 0 w 243"/>
                <a:gd name="T15" fmla="*/ 931 h 931"/>
                <a:gd name="T16" fmla="*/ 166 w 243"/>
                <a:gd name="T17" fmla="*/ 931 h 931"/>
                <a:gd name="T18" fmla="*/ 146 w 243"/>
                <a:gd name="T19" fmla="*/ 613 h 931"/>
                <a:gd name="T20" fmla="*/ 175 w 243"/>
                <a:gd name="T21" fmla="*/ 583 h 931"/>
                <a:gd name="T22" fmla="*/ 201 w 243"/>
                <a:gd name="T23" fmla="*/ 557 h 931"/>
                <a:gd name="T24" fmla="*/ 222 w 243"/>
                <a:gd name="T25" fmla="*/ 538 h 931"/>
                <a:gd name="T26" fmla="*/ 234 w 243"/>
                <a:gd name="T27" fmla="*/ 528 h 931"/>
                <a:gd name="T28" fmla="*/ 239 w 243"/>
                <a:gd name="T29" fmla="*/ 522 h 931"/>
                <a:gd name="T30" fmla="*/ 242 w 243"/>
                <a:gd name="T31" fmla="*/ 517 h 931"/>
                <a:gd name="T32" fmla="*/ 243 w 243"/>
                <a:gd name="T33" fmla="*/ 510 h 931"/>
                <a:gd name="T34" fmla="*/ 243 w 243"/>
                <a:gd name="T35" fmla="*/ 504 h 931"/>
                <a:gd name="T36" fmla="*/ 242 w 243"/>
                <a:gd name="T37" fmla="*/ 497 h 931"/>
                <a:gd name="T38" fmla="*/ 239 w 243"/>
                <a:gd name="T39" fmla="*/ 493 h 931"/>
                <a:gd name="T40" fmla="*/ 236 w 243"/>
                <a:gd name="T41" fmla="*/ 490 h 931"/>
                <a:gd name="T42" fmla="*/ 234 w 243"/>
                <a:gd name="T43" fmla="*/ 489 h 931"/>
                <a:gd name="T44" fmla="*/ 231 w 243"/>
                <a:gd name="T45" fmla="*/ 488 h 931"/>
                <a:gd name="T46" fmla="*/ 228 w 243"/>
                <a:gd name="T47" fmla="*/ 488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931">
                  <a:moveTo>
                    <a:pt x="228" y="488"/>
                  </a:moveTo>
                  <a:lnTo>
                    <a:pt x="216" y="493"/>
                  </a:lnTo>
                  <a:lnTo>
                    <a:pt x="196" y="504"/>
                  </a:lnTo>
                  <a:lnTo>
                    <a:pt x="169" y="519"/>
                  </a:lnTo>
                  <a:lnTo>
                    <a:pt x="140" y="537"/>
                  </a:lnTo>
                  <a:lnTo>
                    <a:pt x="106" y="0"/>
                  </a:lnTo>
                  <a:lnTo>
                    <a:pt x="15" y="0"/>
                  </a:lnTo>
                  <a:lnTo>
                    <a:pt x="0" y="931"/>
                  </a:lnTo>
                  <a:lnTo>
                    <a:pt x="166" y="931"/>
                  </a:lnTo>
                  <a:lnTo>
                    <a:pt x="146" y="613"/>
                  </a:lnTo>
                  <a:lnTo>
                    <a:pt x="175" y="583"/>
                  </a:lnTo>
                  <a:lnTo>
                    <a:pt x="201" y="557"/>
                  </a:lnTo>
                  <a:lnTo>
                    <a:pt x="222" y="538"/>
                  </a:lnTo>
                  <a:lnTo>
                    <a:pt x="234" y="528"/>
                  </a:lnTo>
                  <a:lnTo>
                    <a:pt x="239" y="522"/>
                  </a:lnTo>
                  <a:lnTo>
                    <a:pt x="242" y="517"/>
                  </a:lnTo>
                  <a:lnTo>
                    <a:pt x="243" y="510"/>
                  </a:lnTo>
                  <a:lnTo>
                    <a:pt x="243" y="504"/>
                  </a:lnTo>
                  <a:lnTo>
                    <a:pt x="242" y="497"/>
                  </a:lnTo>
                  <a:lnTo>
                    <a:pt x="239" y="493"/>
                  </a:lnTo>
                  <a:lnTo>
                    <a:pt x="236" y="490"/>
                  </a:lnTo>
                  <a:lnTo>
                    <a:pt x="234" y="489"/>
                  </a:lnTo>
                  <a:lnTo>
                    <a:pt x="231" y="488"/>
                  </a:lnTo>
                  <a:lnTo>
                    <a:pt x="228" y="488"/>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3" name="Freeform 270">
              <a:extLst>
                <a:ext uri="{FF2B5EF4-FFF2-40B4-BE49-F238E27FC236}">
                  <a16:creationId xmlns:a16="http://schemas.microsoft.com/office/drawing/2014/main" id="{933EC1A7-5E21-1B93-F81E-3D9BA67CF26B}"/>
                </a:ext>
              </a:extLst>
            </p:cNvPr>
            <p:cNvSpPr>
              <a:spLocks/>
            </p:cNvSpPr>
            <p:nvPr/>
          </p:nvSpPr>
          <p:spPr bwMode="auto">
            <a:xfrm>
              <a:off x="9694235" y="2967539"/>
              <a:ext cx="382099" cy="363929"/>
            </a:xfrm>
            <a:custGeom>
              <a:avLst/>
              <a:gdLst>
                <a:gd name="T0" fmla="*/ 1366 w 1371"/>
                <a:gd name="T1" fmla="*/ 678 h 1211"/>
                <a:gd name="T2" fmla="*/ 1348 w 1371"/>
                <a:gd name="T3" fmla="*/ 621 h 1211"/>
                <a:gd name="T4" fmla="*/ 1300 w 1371"/>
                <a:gd name="T5" fmla="*/ 551 h 1211"/>
                <a:gd name="T6" fmla="*/ 1323 w 1371"/>
                <a:gd name="T7" fmla="*/ 481 h 1211"/>
                <a:gd name="T8" fmla="*/ 1326 w 1371"/>
                <a:gd name="T9" fmla="*/ 409 h 1211"/>
                <a:gd name="T10" fmla="*/ 1311 w 1371"/>
                <a:gd name="T11" fmla="*/ 346 h 1211"/>
                <a:gd name="T12" fmla="*/ 1282 w 1371"/>
                <a:gd name="T13" fmla="*/ 290 h 1211"/>
                <a:gd name="T14" fmla="*/ 1242 w 1371"/>
                <a:gd name="T15" fmla="*/ 243 h 1211"/>
                <a:gd name="T16" fmla="*/ 1191 w 1371"/>
                <a:gd name="T17" fmla="*/ 207 h 1211"/>
                <a:gd name="T18" fmla="*/ 1132 w 1371"/>
                <a:gd name="T19" fmla="*/ 184 h 1211"/>
                <a:gd name="T20" fmla="*/ 1067 w 1371"/>
                <a:gd name="T21" fmla="*/ 176 h 1211"/>
                <a:gd name="T22" fmla="*/ 985 w 1371"/>
                <a:gd name="T23" fmla="*/ 189 h 1211"/>
                <a:gd name="T24" fmla="*/ 928 w 1371"/>
                <a:gd name="T25" fmla="*/ 166 h 1211"/>
                <a:gd name="T26" fmla="*/ 867 w 1371"/>
                <a:gd name="T27" fmla="*/ 74 h 1211"/>
                <a:gd name="T28" fmla="*/ 776 w 1371"/>
                <a:gd name="T29" fmla="*/ 16 h 1211"/>
                <a:gd name="T30" fmla="*/ 662 w 1371"/>
                <a:gd name="T31" fmla="*/ 1 h 1211"/>
                <a:gd name="T32" fmla="*/ 556 w 1371"/>
                <a:gd name="T33" fmla="*/ 35 h 1211"/>
                <a:gd name="T34" fmla="*/ 475 w 1371"/>
                <a:gd name="T35" fmla="*/ 107 h 1211"/>
                <a:gd name="T36" fmla="*/ 431 w 1371"/>
                <a:gd name="T37" fmla="*/ 209 h 1211"/>
                <a:gd name="T38" fmla="*/ 355 w 1371"/>
                <a:gd name="T39" fmla="*/ 180 h 1211"/>
                <a:gd name="T40" fmla="*/ 277 w 1371"/>
                <a:gd name="T41" fmla="*/ 177 h 1211"/>
                <a:gd name="T42" fmla="*/ 215 w 1371"/>
                <a:gd name="T43" fmla="*/ 191 h 1211"/>
                <a:gd name="T44" fmla="*/ 158 w 1371"/>
                <a:gd name="T45" fmla="*/ 220 h 1211"/>
                <a:gd name="T46" fmla="*/ 112 w 1371"/>
                <a:gd name="T47" fmla="*/ 261 h 1211"/>
                <a:gd name="T48" fmla="*/ 75 w 1371"/>
                <a:gd name="T49" fmla="*/ 312 h 1211"/>
                <a:gd name="T50" fmla="*/ 52 w 1371"/>
                <a:gd name="T51" fmla="*/ 370 h 1211"/>
                <a:gd name="T52" fmla="*/ 44 w 1371"/>
                <a:gd name="T53" fmla="*/ 435 h 1211"/>
                <a:gd name="T54" fmla="*/ 56 w 1371"/>
                <a:gd name="T55" fmla="*/ 510 h 1211"/>
                <a:gd name="T56" fmla="*/ 41 w 1371"/>
                <a:gd name="T57" fmla="*/ 589 h 1211"/>
                <a:gd name="T58" fmla="*/ 15 w 1371"/>
                <a:gd name="T59" fmla="*/ 643 h 1211"/>
                <a:gd name="T60" fmla="*/ 1 w 1371"/>
                <a:gd name="T61" fmla="*/ 704 h 1211"/>
                <a:gd name="T62" fmla="*/ 10 w 1371"/>
                <a:gd name="T63" fmla="*/ 800 h 1211"/>
                <a:gd name="T64" fmla="*/ 63 w 1371"/>
                <a:gd name="T65" fmla="*/ 898 h 1211"/>
                <a:gd name="T66" fmla="*/ 153 w 1371"/>
                <a:gd name="T67" fmla="*/ 965 h 1211"/>
                <a:gd name="T68" fmla="*/ 229 w 1371"/>
                <a:gd name="T69" fmla="*/ 1031 h 1211"/>
                <a:gd name="T70" fmla="*/ 287 w 1371"/>
                <a:gd name="T71" fmla="*/ 1131 h 1211"/>
                <a:gd name="T72" fmla="*/ 382 w 1371"/>
                <a:gd name="T73" fmla="*/ 1195 h 1211"/>
                <a:gd name="T74" fmla="*/ 464 w 1371"/>
                <a:gd name="T75" fmla="*/ 1211 h 1211"/>
                <a:gd name="T76" fmla="*/ 538 w 1371"/>
                <a:gd name="T77" fmla="*/ 1205 h 1211"/>
                <a:gd name="T78" fmla="*/ 609 w 1371"/>
                <a:gd name="T79" fmla="*/ 1176 h 1211"/>
                <a:gd name="T80" fmla="*/ 666 w 1371"/>
                <a:gd name="T81" fmla="*/ 1129 h 1211"/>
                <a:gd name="T82" fmla="*/ 715 w 1371"/>
                <a:gd name="T83" fmla="*/ 1140 h 1211"/>
                <a:gd name="T84" fmla="*/ 776 w 1371"/>
                <a:gd name="T85" fmla="*/ 1183 h 1211"/>
                <a:gd name="T86" fmla="*/ 847 w 1371"/>
                <a:gd name="T87" fmla="*/ 1208 h 1211"/>
                <a:gd name="T88" fmla="*/ 919 w 1371"/>
                <a:gd name="T89" fmla="*/ 1210 h 1211"/>
                <a:gd name="T90" fmla="*/ 1010 w 1371"/>
                <a:gd name="T91" fmla="*/ 1185 h 1211"/>
                <a:gd name="T92" fmla="*/ 1099 w 1371"/>
                <a:gd name="T93" fmla="*/ 1113 h 1211"/>
                <a:gd name="T94" fmla="*/ 1149 w 1371"/>
                <a:gd name="T95" fmla="*/ 1009 h 1211"/>
                <a:gd name="T96" fmla="*/ 1239 w 1371"/>
                <a:gd name="T97" fmla="*/ 955 h 1211"/>
                <a:gd name="T98" fmla="*/ 1322 w 1371"/>
                <a:gd name="T99" fmla="*/ 880 h 1211"/>
                <a:gd name="T100" fmla="*/ 1366 w 1371"/>
                <a:gd name="T101" fmla="*/ 776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1" h="1211">
                  <a:moveTo>
                    <a:pt x="1371" y="729"/>
                  </a:moveTo>
                  <a:lnTo>
                    <a:pt x="1371" y="716"/>
                  </a:lnTo>
                  <a:lnTo>
                    <a:pt x="1370" y="704"/>
                  </a:lnTo>
                  <a:lnTo>
                    <a:pt x="1369" y="691"/>
                  </a:lnTo>
                  <a:lnTo>
                    <a:pt x="1366" y="678"/>
                  </a:lnTo>
                  <a:lnTo>
                    <a:pt x="1363" y="666"/>
                  </a:lnTo>
                  <a:lnTo>
                    <a:pt x="1360" y="655"/>
                  </a:lnTo>
                  <a:lnTo>
                    <a:pt x="1356" y="643"/>
                  </a:lnTo>
                  <a:lnTo>
                    <a:pt x="1352" y="632"/>
                  </a:lnTo>
                  <a:lnTo>
                    <a:pt x="1348" y="621"/>
                  </a:lnTo>
                  <a:lnTo>
                    <a:pt x="1342" y="610"/>
                  </a:lnTo>
                  <a:lnTo>
                    <a:pt x="1335" y="599"/>
                  </a:lnTo>
                  <a:lnTo>
                    <a:pt x="1330" y="589"/>
                  </a:lnTo>
                  <a:lnTo>
                    <a:pt x="1316" y="569"/>
                  </a:lnTo>
                  <a:lnTo>
                    <a:pt x="1300" y="551"/>
                  </a:lnTo>
                  <a:lnTo>
                    <a:pt x="1306" y="538"/>
                  </a:lnTo>
                  <a:lnTo>
                    <a:pt x="1311" y="524"/>
                  </a:lnTo>
                  <a:lnTo>
                    <a:pt x="1317" y="510"/>
                  </a:lnTo>
                  <a:lnTo>
                    <a:pt x="1320" y="496"/>
                  </a:lnTo>
                  <a:lnTo>
                    <a:pt x="1323" y="481"/>
                  </a:lnTo>
                  <a:lnTo>
                    <a:pt x="1326" y="466"/>
                  </a:lnTo>
                  <a:lnTo>
                    <a:pt x="1327" y="451"/>
                  </a:lnTo>
                  <a:lnTo>
                    <a:pt x="1328" y="435"/>
                  </a:lnTo>
                  <a:lnTo>
                    <a:pt x="1327" y="422"/>
                  </a:lnTo>
                  <a:lnTo>
                    <a:pt x="1326" y="409"/>
                  </a:lnTo>
                  <a:lnTo>
                    <a:pt x="1324" y="396"/>
                  </a:lnTo>
                  <a:lnTo>
                    <a:pt x="1322" y="383"/>
                  </a:lnTo>
                  <a:lnTo>
                    <a:pt x="1319" y="370"/>
                  </a:lnTo>
                  <a:lnTo>
                    <a:pt x="1316" y="358"/>
                  </a:lnTo>
                  <a:lnTo>
                    <a:pt x="1311" y="346"/>
                  </a:lnTo>
                  <a:lnTo>
                    <a:pt x="1307" y="334"/>
                  </a:lnTo>
                  <a:lnTo>
                    <a:pt x="1301" y="323"/>
                  </a:lnTo>
                  <a:lnTo>
                    <a:pt x="1296" y="312"/>
                  </a:lnTo>
                  <a:lnTo>
                    <a:pt x="1289" y="301"/>
                  </a:lnTo>
                  <a:lnTo>
                    <a:pt x="1282" y="290"/>
                  </a:lnTo>
                  <a:lnTo>
                    <a:pt x="1276" y="280"/>
                  </a:lnTo>
                  <a:lnTo>
                    <a:pt x="1268" y="270"/>
                  </a:lnTo>
                  <a:lnTo>
                    <a:pt x="1259" y="261"/>
                  </a:lnTo>
                  <a:lnTo>
                    <a:pt x="1252" y="252"/>
                  </a:lnTo>
                  <a:lnTo>
                    <a:pt x="1242" y="243"/>
                  </a:lnTo>
                  <a:lnTo>
                    <a:pt x="1233" y="234"/>
                  </a:lnTo>
                  <a:lnTo>
                    <a:pt x="1223" y="227"/>
                  </a:lnTo>
                  <a:lnTo>
                    <a:pt x="1213" y="220"/>
                  </a:lnTo>
                  <a:lnTo>
                    <a:pt x="1202" y="213"/>
                  </a:lnTo>
                  <a:lnTo>
                    <a:pt x="1191" y="207"/>
                  </a:lnTo>
                  <a:lnTo>
                    <a:pt x="1180" y="201"/>
                  </a:lnTo>
                  <a:lnTo>
                    <a:pt x="1169" y="196"/>
                  </a:lnTo>
                  <a:lnTo>
                    <a:pt x="1157" y="191"/>
                  </a:lnTo>
                  <a:lnTo>
                    <a:pt x="1144" y="187"/>
                  </a:lnTo>
                  <a:lnTo>
                    <a:pt x="1132" y="184"/>
                  </a:lnTo>
                  <a:lnTo>
                    <a:pt x="1120" y="180"/>
                  </a:lnTo>
                  <a:lnTo>
                    <a:pt x="1107" y="178"/>
                  </a:lnTo>
                  <a:lnTo>
                    <a:pt x="1094" y="177"/>
                  </a:lnTo>
                  <a:lnTo>
                    <a:pt x="1080" y="176"/>
                  </a:lnTo>
                  <a:lnTo>
                    <a:pt x="1067" y="176"/>
                  </a:lnTo>
                  <a:lnTo>
                    <a:pt x="1051" y="176"/>
                  </a:lnTo>
                  <a:lnTo>
                    <a:pt x="1033" y="178"/>
                  </a:lnTo>
                  <a:lnTo>
                    <a:pt x="1016" y="180"/>
                  </a:lnTo>
                  <a:lnTo>
                    <a:pt x="1001" y="185"/>
                  </a:lnTo>
                  <a:lnTo>
                    <a:pt x="985" y="189"/>
                  </a:lnTo>
                  <a:lnTo>
                    <a:pt x="970" y="195"/>
                  </a:lnTo>
                  <a:lnTo>
                    <a:pt x="954" y="201"/>
                  </a:lnTo>
                  <a:lnTo>
                    <a:pt x="940" y="209"/>
                  </a:lnTo>
                  <a:lnTo>
                    <a:pt x="935" y="187"/>
                  </a:lnTo>
                  <a:lnTo>
                    <a:pt x="928" y="166"/>
                  </a:lnTo>
                  <a:lnTo>
                    <a:pt x="919" y="145"/>
                  </a:lnTo>
                  <a:lnTo>
                    <a:pt x="908" y="126"/>
                  </a:lnTo>
                  <a:lnTo>
                    <a:pt x="896" y="107"/>
                  </a:lnTo>
                  <a:lnTo>
                    <a:pt x="883" y="90"/>
                  </a:lnTo>
                  <a:lnTo>
                    <a:pt x="867" y="74"/>
                  </a:lnTo>
                  <a:lnTo>
                    <a:pt x="852" y="60"/>
                  </a:lnTo>
                  <a:lnTo>
                    <a:pt x="834" y="47"/>
                  </a:lnTo>
                  <a:lnTo>
                    <a:pt x="815" y="35"/>
                  </a:lnTo>
                  <a:lnTo>
                    <a:pt x="795" y="25"/>
                  </a:lnTo>
                  <a:lnTo>
                    <a:pt x="776" y="16"/>
                  </a:lnTo>
                  <a:lnTo>
                    <a:pt x="753" y="9"/>
                  </a:lnTo>
                  <a:lnTo>
                    <a:pt x="731" y="4"/>
                  </a:lnTo>
                  <a:lnTo>
                    <a:pt x="709" y="1"/>
                  </a:lnTo>
                  <a:lnTo>
                    <a:pt x="686" y="0"/>
                  </a:lnTo>
                  <a:lnTo>
                    <a:pt x="662" y="1"/>
                  </a:lnTo>
                  <a:lnTo>
                    <a:pt x="640" y="4"/>
                  </a:lnTo>
                  <a:lnTo>
                    <a:pt x="618" y="9"/>
                  </a:lnTo>
                  <a:lnTo>
                    <a:pt x="596" y="16"/>
                  </a:lnTo>
                  <a:lnTo>
                    <a:pt x="576" y="25"/>
                  </a:lnTo>
                  <a:lnTo>
                    <a:pt x="556" y="35"/>
                  </a:lnTo>
                  <a:lnTo>
                    <a:pt x="537" y="47"/>
                  </a:lnTo>
                  <a:lnTo>
                    <a:pt x="519" y="60"/>
                  </a:lnTo>
                  <a:lnTo>
                    <a:pt x="504" y="74"/>
                  </a:lnTo>
                  <a:lnTo>
                    <a:pt x="488" y="90"/>
                  </a:lnTo>
                  <a:lnTo>
                    <a:pt x="475" y="107"/>
                  </a:lnTo>
                  <a:lnTo>
                    <a:pt x="463" y="126"/>
                  </a:lnTo>
                  <a:lnTo>
                    <a:pt x="452" y="145"/>
                  </a:lnTo>
                  <a:lnTo>
                    <a:pt x="443" y="166"/>
                  </a:lnTo>
                  <a:lnTo>
                    <a:pt x="437" y="187"/>
                  </a:lnTo>
                  <a:lnTo>
                    <a:pt x="431" y="209"/>
                  </a:lnTo>
                  <a:lnTo>
                    <a:pt x="417" y="201"/>
                  </a:lnTo>
                  <a:lnTo>
                    <a:pt x="401" y="195"/>
                  </a:lnTo>
                  <a:lnTo>
                    <a:pt x="387" y="189"/>
                  </a:lnTo>
                  <a:lnTo>
                    <a:pt x="370" y="185"/>
                  </a:lnTo>
                  <a:lnTo>
                    <a:pt x="355" y="180"/>
                  </a:lnTo>
                  <a:lnTo>
                    <a:pt x="338" y="178"/>
                  </a:lnTo>
                  <a:lnTo>
                    <a:pt x="322" y="176"/>
                  </a:lnTo>
                  <a:lnTo>
                    <a:pt x="304" y="176"/>
                  </a:lnTo>
                  <a:lnTo>
                    <a:pt x="291" y="176"/>
                  </a:lnTo>
                  <a:lnTo>
                    <a:pt x="277" y="177"/>
                  </a:lnTo>
                  <a:lnTo>
                    <a:pt x="264" y="178"/>
                  </a:lnTo>
                  <a:lnTo>
                    <a:pt x="252" y="180"/>
                  </a:lnTo>
                  <a:lnTo>
                    <a:pt x="239" y="184"/>
                  </a:lnTo>
                  <a:lnTo>
                    <a:pt x="227" y="187"/>
                  </a:lnTo>
                  <a:lnTo>
                    <a:pt x="215" y="191"/>
                  </a:lnTo>
                  <a:lnTo>
                    <a:pt x="202" y="196"/>
                  </a:lnTo>
                  <a:lnTo>
                    <a:pt x="191" y="201"/>
                  </a:lnTo>
                  <a:lnTo>
                    <a:pt x="180" y="207"/>
                  </a:lnTo>
                  <a:lnTo>
                    <a:pt x="169" y="213"/>
                  </a:lnTo>
                  <a:lnTo>
                    <a:pt x="158" y="220"/>
                  </a:lnTo>
                  <a:lnTo>
                    <a:pt x="148" y="227"/>
                  </a:lnTo>
                  <a:lnTo>
                    <a:pt x="138" y="234"/>
                  </a:lnTo>
                  <a:lnTo>
                    <a:pt x="130" y="243"/>
                  </a:lnTo>
                  <a:lnTo>
                    <a:pt x="121" y="252"/>
                  </a:lnTo>
                  <a:lnTo>
                    <a:pt x="112" y="261"/>
                  </a:lnTo>
                  <a:lnTo>
                    <a:pt x="103" y="270"/>
                  </a:lnTo>
                  <a:lnTo>
                    <a:pt x="95" y="280"/>
                  </a:lnTo>
                  <a:lnTo>
                    <a:pt x="89" y="290"/>
                  </a:lnTo>
                  <a:lnTo>
                    <a:pt x="82" y="301"/>
                  </a:lnTo>
                  <a:lnTo>
                    <a:pt x="75" y="312"/>
                  </a:lnTo>
                  <a:lnTo>
                    <a:pt x="70" y="323"/>
                  </a:lnTo>
                  <a:lnTo>
                    <a:pt x="64" y="334"/>
                  </a:lnTo>
                  <a:lnTo>
                    <a:pt x="60" y="346"/>
                  </a:lnTo>
                  <a:lnTo>
                    <a:pt x="56" y="358"/>
                  </a:lnTo>
                  <a:lnTo>
                    <a:pt x="52" y="370"/>
                  </a:lnTo>
                  <a:lnTo>
                    <a:pt x="49" y="383"/>
                  </a:lnTo>
                  <a:lnTo>
                    <a:pt x="47" y="396"/>
                  </a:lnTo>
                  <a:lnTo>
                    <a:pt x="46" y="409"/>
                  </a:lnTo>
                  <a:lnTo>
                    <a:pt x="44" y="422"/>
                  </a:lnTo>
                  <a:lnTo>
                    <a:pt x="44" y="435"/>
                  </a:lnTo>
                  <a:lnTo>
                    <a:pt x="44" y="451"/>
                  </a:lnTo>
                  <a:lnTo>
                    <a:pt x="46" y="466"/>
                  </a:lnTo>
                  <a:lnTo>
                    <a:pt x="48" y="481"/>
                  </a:lnTo>
                  <a:lnTo>
                    <a:pt x="51" y="496"/>
                  </a:lnTo>
                  <a:lnTo>
                    <a:pt x="56" y="510"/>
                  </a:lnTo>
                  <a:lnTo>
                    <a:pt x="60" y="524"/>
                  </a:lnTo>
                  <a:lnTo>
                    <a:pt x="65" y="538"/>
                  </a:lnTo>
                  <a:lnTo>
                    <a:pt x="71" y="551"/>
                  </a:lnTo>
                  <a:lnTo>
                    <a:pt x="56" y="569"/>
                  </a:lnTo>
                  <a:lnTo>
                    <a:pt x="41" y="589"/>
                  </a:lnTo>
                  <a:lnTo>
                    <a:pt x="36" y="599"/>
                  </a:lnTo>
                  <a:lnTo>
                    <a:pt x="29" y="610"/>
                  </a:lnTo>
                  <a:lnTo>
                    <a:pt x="25" y="621"/>
                  </a:lnTo>
                  <a:lnTo>
                    <a:pt x="19" y="632"/>
                  </a:lnTo>
                  <a:lnTo>
                    <a:pt x="15" y="643"/>
                  </a:lnTo>
                  <a:lnTo>
                    <a:pt x="11" y="655"/>
                  </a:lnTo>
                  <a:lnTo>
                    <a:pt x="8" y="666"/>
                  </a:lnTo>
                  <a:lnTo>
                    <a:pt x="5" y="678"/>
                  </a:lnTo>
                  <a:lnTo>
                    <a:pt x="2" y="691"/>
                  </a:lnTo>
                  <a:lnTo>
                    <a:pt x="1" y="704"/>
                  </a:lnTo>
                  <a:lnTo>
                    <a:pt x="0" y="716"/>
                  </a:lnTo>
                  <a:lnTo>
                    <a:pt x="0" y="729"/>
                  </a:lnTo>
                  <a:lnTo>
                    <a:pt x="1" y="753"/>
                  </a:lnTo>
                  <a:lnTo>
                    <a:pt x="5" y="776"/>
                  </a:lnTo>
                  <a:lnTo>
                    <a:pt x="10" y="800"/>
                  </a:lnTo>
                  <a:lnTo>
                    <a:pt x="17" y="821"/>
                  </a:lnTo>
                  <a:lnTo>
                    <a:pt x="26" y="842"/>
                  </a:lnTo>
                  <a:lnTo>
                    <a:pt x="37" y="861"/>
                  </a:lnTo>
                  <a:lnTo>
                    <a:pt x="49" y="880"/>
                  </a:lnTo>
                  <a:lnTo>
                    <a:pt x="63" y="898"/>
                  </a:lnTo>
                  <a:lnTo>
                    <a:pt x="79" y="914"/>
                  </a:lnTo>
                  <a:lnTo>
                    <a:pt x="95" y="930"/>
                  </a:lnTo>
                  <a:lnTo>
                    <a:pt x="113" y="943"/>
                  </a:lnTo>
                  <a:lnTo>
                    <a:pt x="132" y="955"/>
                  </a:lnTo>
                  <a:lnTo>
                    <a:pt x="153" y="965"/>
                  </a:lnTo>
                  <a:lnTo>
                    <a:pt x="174" y="974"/>
                  </a:lnTo>
                  <a:lnTo>
                    <a:pt x="196" y="981"/>
                  </a:lnTo>
                  <a:lnTo>
                    <a:pt x="219" y="985"/>
                  </a:lnTo>
                  <a:lnTo>
                    <a:pt x="222" y="1009"/>
                  </a:lnTo>
                  <a:lnTo>
                    <a:pt x="229" y="1031"/>
                  </a:lnTo>
                  <a:lnTo>
                    <a:pt x="238" y="1054"/>
                  </a:lnTo>
                  <a:lnTo>
                    <a:pt x="248" y="1075"/>
                  </a:lnTo>
                  <a:lnTo>
                    <a:pt x="259" y="1094"/>
                  </a:lnTo>
                  <a:lnTo>
                    <a:pt x="273" y="1113"/>
                  </a:lnTo>
                  <a:lnTo>
                    <a:pt x="287" y="1131"/>
                  </a:lnTo>
                  <a:lnTo>
                    <a:pt x="304" y="1146"/>
                  </a:lnTo>
                  <a:lnTo>
                    <a:pt x="322" y="1161"/>
                  </a:lnTo>
                  <a:lnTo>
                    <a:pt x="340" y="1174"/>
                  </a:lnTo>
                  <a:lnTo>
                    <a:pt x="361" y="1185"/>
                  </a:lnTo>
                  <a:lnTo>
                    <a:pt x="382" y="1195"/>
                  </a:lnTo>
                  <a:lnTo>
                    <a:pt x="404" y="1201"/>
                  </a:lnTo>
                  <a:lnTo>
                    <a:pt x="428" y="1207"/>
                  </a:lnTo>
                  <a:lnTo>
                    <a:pt x="440" y="1209"/>
                  </a:lnTo>
                  <a:lnTo>
                    <a:pt x="452" y="1210"/>
                  </a:lnTo>
                  <a:lnTo>
                    <a:pt x="464" y="1211"/>
                  </a:lnTo>
                  <a:lnTo>
                    <a:pt x="476" y="1211"/>
                  </a:lnTo>
                  <a:lnTo>
                    <a:pt x="492" y="1211"/>
                  </a:lnTo>
                  <a:lnTo>
                    <a:pt x="508" y="1210"/>
                  </a:lnTo>
                  <a:lnTo>
                    <a:pt x="524" y="1208"/>
                  </a:lnTo>
                  <a:lnTo>
                    <a:pt x="538" y="1205"/>
                  </a:lnTo>
                  <a:lnTo>
                    <a:pt x="554" y="1200"/>
                  </a:lnTo>
                  <a:lnTo>
                    <a:pt x="568" y="1195"/>
                  </a:lnTo>
                  <a:lnTo>
                    <a:pt x="582" y="1189"/>
                  </a:lnTo>
                  <a:lnTo>
                    <a:pt x="596" y="1183"/>
                  </a:lnTo>
                  <a:lnTo>
                    <a:pt x="609" y="1176"/>
                  </a:lnTo>
                  <a:lnTo>
                    <a:pt x="621" y="1167"/>
                  </a:lnTo>
                  <a:lnTo>
                    <a:pt x="633" y="1158"/>
                  </a:lnTo>
                  <a:lnTo>
                    <a:pt x="645" y="1150"/>
                  </a:lnTo>
                  <a:lnTo>
                    <a:pt x="656" y="1140"/>
                  </a:lnTo>
                  <a:lnTo>
                    <a:pt x="666" y="1129"/>
                  </a:lnTo>
                  <a:lnTo>
                    <a:pt x="676" y="1118"/>
                  </a:lnTo>
                  <a:lnTo>
                    <a:pt x="686" y="1105"/>
                  </a:lnTo>
                  <a:lnTo>
                    <a:pt x="695" y="1118"/>
                  </a:lnTo>
                  <a:lnTo>
                    <a:pt x="705" y="1129"/>
                  </a:lnTo>
                  <a:lnTo>
                    <a:pt x="715" y="1140"/>
                  </a:lnTo>
                  <a:lnTo>
                    <a:pt x="726" y="1150"/>
                  </a:lnTo>
                  <a:lnTo>
                    <a:pt x="738" y="1158"/>
                  </a:lnTo>
                  <a:lnTo>
                    <a:pt x="750" y="1167"/>
                  </a:lnTo>
                  <a:lnTo>
                    <a:pt x="762" y="1176"/>
                  </a:lnTo>
                  <a:lnTo>
                    <a:pt x="776" y="1183"/>
                  </a:lnTo>
                  <a:lnTo>
                    <a:pt x="790" y="1189"/>
                  </a:lnTo>
                  <a:lnTo>
                    <a:pt x="803" y="1195"/>
                  </a:lnTo>
                  <a:lnTo>
                    <a:pt x="818" y="1200"/>
                  </a:lnTo>
                  <a:lnTo>
                    <a:pt x="833" y="1205"/>
                  </a:lnTo>
                  <a:lnTo>
                    <a:pt x="847" y="1208"/>
                  </a:lnTo>
                  <a:lnTo>
                    <a:pt x="863" y="1210"/>
                  </a:lnTo>
                  <a:lnTo>
                    <a:pt x="879" y="1211"/>
                  </a:lnTo>
                  <a:lnTo>
                    <a:pt x="895" y="1211"/>
                  </a:lnTo>
                  <a:lnTo>
                    <a:pt x="907" y="1211"/>
                  </a:lnTo>
                  <a:lnTo>
                    <a:pt x="919" y="1210"/>
                  </a:lnTo>
                  <a:lnTo>
                    <a:pt x="931" y="1209"/>
                  </a:lnTo>
                  <a:lnTo>
                    <a:pt x="943" y="1207"/>
                  </a:lnTo>
                  <a:lnTo>
                    <a:pt x="967" y="1201"/>
                  </a:lnTo>
                  <a:lnTo>
                    <a:pt x="989" y="1195"/>
                  </a:lnTo>
                  <a:lnTo>
                    <a:pt x="1010" y="1185"/>
                  </a:lnTo>
                  <a:lnTo>
                    <a:pt x="1031" y="1174"/>
                  </a:lnTo>
                  <a:lnTo>
                    <a:pt x="1049" y="1161"/>
                  </a:lnTo>
                  <a:lnTo>
                    <a:pt x="1067" y="1146"/>
                  </a:lnTo>
                  <a:lnTo>
                    <a:pt x="1084" y="1131"/>
                  </a:lnTo>
                  <a:lnTo>
                    <a:pt x="1099" y="1113"/>
                  </a:lnTo>
                  <a:lnTo>
                    <a:pt x="1112" y="1094"/>
                  </a:lnTo>
                  <a:lnTo>
                    <a:pt x="1125" y="1075"/>
                  </a:lnTo>
                  <a:lnTo>
                    <a:pt x="1134" y="1054"/>
                  </a:lnTo>
                  <a:lnTo>
                    <a:pt x="1142" y="1031"/>
                  </a:lnTo>
                  <a:lnTo>
                    <a:pt x="1149" y="1009"/>
                  </a:lnTo>
                  <a:lnTo>
                    <a:pt x="1152" y="985"/>
                  </a:lnTo>
                  <a:lnTo>
                    <a:pt x="1175" y="981"/>
                  </a:lnTo>
                  <a:lnTo>
                    <a:pt x="1197" y="974"/>
                  </a:lnTo>
                  <a:lnTo>
                    <a:pt x="1218" y="965"/>
                  </a:lnTo>
                  <a:lnTo>
                    <a:pt x="1239" y="955"/>
                  </a:lnTo>
                  <a:lnTo>
                    <a:pt x="1258" y="943"/>
                  </a:lnTo>
                  <a:lnTo>
                    <a:pt x="1276" y="930"/>
                  </a:lnTo>
                  <a:lnTo>
                    <a:pt x="1292" y="914"/>
                  </a:lnTo>
                  <a:lnTo>
                    <a:pt x="1308" y="898"/>
                  </a:lnTo>
                  <a:lnTo>
                    <a:pt x="1322" y="880"/>
                  </a:lnTo>
                  <a:lnTo>
                    <a:pt x="1334" y="861"/>
                  </a:lnTo>
                  <a:lnTo>
                    <a:pt x="1345" y="842"/>
                  </a:lnTo>
                  <a:lnTo>
                    <a:pt x="1354" y="821"/>
                  </a:lnTo>
                  <a:lnTo>
                    <a:pt x="1362" y="800"/>
                  </a:lnTo>
                  <a:lnTo>
                    <a:pt x="1366" y="776"/>
                  </a:lnTo>
                  <a:lnTo>
                    <a:pt x="1370" y="753"/>
                  </a:lnTo>
                  <a:lnTo>
                    <a:pt x="1371" y="729"/>
                  </a:lnTo>
                  <a:close/>
                </a:path>
              </a:pathLst>
            </a:custGeom>
            <a:solidFill>
              <a:srgbClr val="00A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4" name="Freeform 271">
              <a:extLst>
                <a:ext uri="{FF2B5EF4-FFF2-40B4-BE49-F238E27FC236}">
                  <a16:creationId xmlns:a16="http://schemas.microsoft.com/office/drawing/2014/main" id="{B25B77A9-D38F-AB8E-CC49-6DBAAC1F2EB6}"/>
                </a:ext>
              </a:extLst>
            </p:cNvPr>
            <p:cNvSpPr>
              <a:spLocks/>
            </p:cNvSpPr>
            <p:nvPr/>
          </p:nvSpPr>
          <p:spPr bwMode="auto">
            <a:xfrm>
              <a:off x="9758383" y="3021676"/>
              <a:ext cx="317951" cy="309790"/>
            </a:xfrm>
            <a:custGeom>
              <a:avLst/>
              <a:gdLst>
                <a:gd name="T0" fmla="*/ 1087 w 1141"/>
                <a:gd name="T1" fmla="*/ 331 h 1032"/>
                <a:gd name="T2" fmla="*/ 1097 w 1141"/>
                <a:gd name="T3" fmla="*/ 272 h 1032"/>
                <a:gd name="T4" fmla="*/ 1088 w 1141"/>
                <a:gd name="T5" fmla="*/ 187 h 1032"/>
                <a:gd name="T6" fmla="*/ 1049 w 1141"/>
                <a:gd name="T7" fmla="*/ 105 h 1032"/>
                <a:gd name="T8" fmla="*/ 985 w 1141"/>
                <a:gd name="T9" fmla="*/ 43 h 1032"/>
                <a:gd name="T10" fmla="*/ 903 w 1141"/>
                <a:gd name="T11" fmla="*/ 6 h 1032"/>
                <a:gd name="T12" fmla="*/ 916 w 1141"/>
                <a:gd name="T13" fmla="*/ 28 h 1032"/>
                <a:gd name="T14" fmla="*/ 954 w 1141"/>
                <a:gd name="T15" fmla="*/ 74 h 1032"/>
                <a:gd name="T16" fmla="*/ 980 w 1141"/>
                <a:gd name="T17" fmla="*/ 129 h 1032"/>
                <a:gd name="T18" fmla="*/ 992 w 1141"/>
                <a:gd name="T19" fmla="*/ 190 h 1032"/>
                <a:gd name="T20" fmla="*/ 988 w 1141"/>
                <a:gd name="T21" fmla="*/ 250 h 1032"/>
                <a:gd name="T22" fmla="*/ 972 w 1141"/>
                <a:gd name="T23" fmla="*/ 303 h 1032"/>
                <a:gd name="T24" fmla="*/ 1006 w 1141"/>
                <a:gd name="T25" fmla="*/ 371 h 1032"/>
                <a:gd name="T26" fmla="*/ 1026 w 1141"/>
                <a:gd name="T27" fmla="*/ 425 h 1032"/>
                <a:gd name="T28" fmla="*/ 1034 w 1141"/>
                <a:gd name="T29" fmla="*/ 473 h 1032"/>
                <a:gd name="T30" fmla="*/ 1025 w 1141"/>
                <a:gd name="T31" fmla="*/ 551 h 1032"/>
                <a:gd name="T32" fmla="*/ 987 w 1141"/>
                <a:gd name="T33" fmla="*/ 628 h 1032"/>
                <a:gd name="T34" fmla="*/ 927 w 1141"/>
                <a:gd name="T35" fmla="*/ 687 h 1032"/>
                <a:gd name="T36" fmla="*/ 848 w 1141"/>
                <a:gd name="T37" fmla="*/ 722 h 1032"/>
                <a:gd name="T38" fmla="*/ 810 w 1141"/>
                <a:gd name="T39" fmla="*/ 792 h 1032"/>
                <a:gd name="T40" fmla="*/ 762 w 1141"/>
                <a:gd name="T41" fmla="*/ 865 h 1032"/>
                <a:gd name="T42" fmla="*/ 691 w 1141"/>
                <a:gd name="T43" fmla="*/ 916 h 1032"/>
                <a:gd name="T44" fmla="*/ 606 w 1141"/>
                <a:gd name="T45" fmla="*/ 941 h 1032"/>
                <a:gd name="T46" fmla="*/ 538 w 1141"/>
                <a:gd name="T47" fmla="*/ 937 h 1032"/>
                <a:gd name="T48" fmla="*/ 483 w 1141"/>
                <a:gd name="T49" fmla="*/ 920 h 1032"/>
                <a:gd name="T50" fmla="*/ 434 w 1141"/>
                <a:gd name="T51" fmla="*/ 891 h 1032"/>
                <a:gd name="T52" fmla="*/ 393 w 1141"/>
                <a:gd name="T53" fmla="*/ 852 h 1032"/>
                <a:gd name="T54" fmla="*/ 357 w 1141"/>
                <a:gd name="T55" fmla="*/ 872 h 1032"/>
                <a:gd name="T56" fmla="*/ 311 w 1141"/>
                <a:gd name="T57" fmla="*/ 907 h 1032"/>
                <a:gd name="T58" fmla="*/ 260 w 1141"/>
                <a:gd name="T59" fmla="*/ 931 h 1032"/>
                <a:gd name="T60" fmla="*/ 202 w 1141"/>
                <a:gd name="T61" fmla="*/ 941 h 1032"/>
                <a:gd name="T62" fmla="*/ 146 w 1141"/>
                <a:gd name="T63" fmla="*/ 939 h 1032"/>
                <a:gd name="T64" fmla="*/ 94 w 1141"/>
                <a:gd name="T65" fmla="*/ 923 h 1032"/>
                <a:gd name="T66" fmla="*/ 49 w 1141"/>
                <a:gd name="T67" fmla="*/ 899 h 1032"/>
                <a:gd name="T68" fmla="*/ 9 w 1141"/>
                <a:gd name="T69" fmla="*/ 865 h 1032"/>
                <a:gd name="T70" fmla="*/ 25 w 1141"/>
                <a:gd name="T71" fmla="*/ 910 h 1032"/>
                <a:gd name="T72" fmla="*/ 77 w 1141"/>
                <a:gd name="T73" fmla="*/ 971 h 1032"/>
                <a:gd name="T74" fmla="*/ 146 w 1141"/>
                <a:gd name="T75" fmla="*/ 1013 h 1032"/>
                <a:gd name="T76" fmla="*/ 225 w 1141"/>
                <a:gd name="T77" fmla="*/ 1032 h 1032"/>
                <a:gd name="T78" fmla="*/ 294 w 1141"/>
                <a:gd name="T79" fmla="*/ 1029 h 1032"/>
                <a:gd name="T80" fmla="*/ 352 w 1141"/>
                <a:gd name="T81" fmla="*/ 1010 h 1032"/>
                <a:gd name="T82" fmla="*/ 403 w 1141"/>
                <a:gd name="T83" fmla="*/ 979 h 1032"/>
                <a:gd name="T84" fmla="*/ 446 w 1141"/>
                <a:gd name="T85" fmla="*/ 939 h 1032"/>
                <a:gd name="T86" fmla="*/ 485 w 1141"/>
                <a:gd name="T87" fmla="*/ 961 h 1032"/>
                <a:gd name="T88" fmla="*/ 532 w 1141"/>
                <a:gd name="T89" fmla="*/ 997 h 1032"/>
                <a:gd name="T90" fmla="*/ 588 w 1141"/>
                <a:gd name="T91" fmla="*/ 1021 h 1032"/>
                <a:gd name="T92" fmla="*/ 649 w 1141"/>
                <a:gd name="T93" fmla="*/ 1032 h 1032"/>
                <a:gd name="T94" fmla="*/ 701 w 1141"/>
                <a:gd name="T95" fmla="*/ 1030 h 1032"/>
                <a:gd name="T96" fmla="*/ 780 w 1141"/>
                <a:gd name="T97" fmla="*/ 1006 h 1032"/>
                <a:gd name="T98" fmla="*/ 854 w 1141"/>
                <a:gd name="T99" fmla="*/ 952 h 1032"/>
                <a:gd name="T100" fmla="*/ 904 w 1141"/>
                <a:gd name="T101" fmla="*/ 875 h 1032"/>
                <a:gd name="T102" fmla="*/ 945 w 1141"/>
                <a:gd name="T103" fmla="*/ 802 h 1032"/>
                <a:gd name="T104" fmla="*/ 1028 w 1141"/>
                <a:gd name="T105" fmla="*/ 764 h 1032"/>
                <a:gd name="T106" fmla="*/ 1092 w 1141"/>
                <a:gd name="T107" fmla="*/ 701 h 1032"/>
                <a:gd name="T108" fmla="*/ 1132 w 1141"/>
                <a:gd name="T109" fmla="*/ 621 h 1032"/>
                <a:gd name="T110" fmla="*/ 1141 w 1141"/>
                <a:gd name="T111" fmla="*/ 537 h 1032"/>
                <a:gd name="T112" fmla="*/ 1133 w 1141"/>
                <a:gd name="T113" fmla="*/ 487 h 1032"/>
                <a:gd name="T114" fmla="*/ 1118 w 1141"/>
                <a:gd name="T115" fmla="*/ 442 h 1032"/>
                <a:gd name="T116" fmla="*/ 1086 w 1141"/>
                <a:gd name="T117" fmla="*/ 39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032">
                  <a:moveTo>
                    <a:pt x="1070" y="372"/>
                  </a:moveTo>
                  <a:lnTo>
                    <a:pt x="1076" y="359"/>
                  </a:lnTo>
                  <a:lnTo>
                    <a:pt x="1081" y="345"/>
                  </a:lnTo>
                  <a:lnTo>
                    <a:pt x="1087" y="331"/>
                  </a:lnTo>
                  <a:lnTo>
                    <a:pt x="1090" y="317"/>
                  </a:lnTo>
                  <a:lnTo>
                    <a:pt x="1093" y="302"/>
                  </a:lnTo>
                  <a:lnTo>
                    <a:pt x="1096" y="287"/>
                  </a:lnTo>
                  <a:lnTo>
                    <a:pt x="1097" y="272"/>
                  </a:lnTo>
                  <a:lnTo>
                    <a:pt x="1098" y="256"/>
                  </a:lnTo>
                  <a:lnTo>
                    <a:pt x="1097" y="233"/>
                  </a:lnTo>
                  <a:lnTo>
                    <a:pt x="1093" y="209"/>
                  </a:lnTo>
                  <a:lnTo>
                    <a:pt x="1088" y="187"/>
                  </a:lnTo>
                  <a:lnTo>
                    <a:pt x="1081" y="165"/>
                  </a:lnTo>
                  <a:lnTo>
                    <a:pt x="1071" y="144"/>
                  </a:lnTo>
                  <a:lnTo>
                    <a:pt x="1061" y="124"/>
                  </a:lnTo>
                  <a:lnTo>
                    <a:pt x="1049" y="105"/>
                  </a:lnTo>
                  <a:lnTo>
                    <a:pt x="1035" y="87"/>
                  </a:lnTo>
                  <a:lnTo>
                    <a:pt x="1019" y="72"/>
                  </a:lnTo>
                  <a:lnTo>
                    <a:pt x="1003" y="56"/>
                  </a:lnTo>
                  <a:lnTo>
                    <a:pt x="985" y="43"/>
                  </a:lnTo>
                  <a:lnTo>
                    <a:pt x="966" y="31"/>
                  </a:lnTo>
                  <a:lnTo>
                    <a:pt x="946" y="21"/>
                  </a:lnTo>
                  <a:lnTo>
                    <a:pt x="925" y="12"/>
                  </a:lnTo>
                  <a:lnTo>
                    <a:pt x="903" y="6"/>
                  </a:lnTo>
                  <a:lnTo>
                    <a:pt x="880" y="0"/>
                  </a:lnTo>
                  <a:lnTo>
                    <a:pt x="892" y="9"/>
                  </a:lnTo>
                  <a:lnTo>
                    <a:pt x="904" y="18"/>
                  </a:lnTo>
                  <a:lnTo>
                    <a:pt x="916" y="28"/>
                  </a:lnTo>
                  <a:lnTo>
                    <a:pt x="927" y="39"/>
                  </a:lnTo>
                  <a:lnTo>
                    <a:pt x="937" y="50"/>
                  </a:lnTo>
                  <a:lnTo>
                    <a:pt x="945" y="62"/>
                  </a:lnTo>
                  <a:lnTo>
                    <a:pt x="954" y="74"/>
                  </a:lnTo>
                  <a:lnTo>
                    <a:pt x="962" y="87"/>
                  </a:lnTo>
                  <a:lnTo>
                    <a:pt x="969" y="101"/>
                  </a:lnTo>
                  <a:lnTo>
                    <a:pt x="974" y="115"/>
                  </a:lnTo>
                  <a:lnTo>
                    <a:pt x="980" y="129"/>
                  </a:lnTo>
                  <a:lnTo>
                    <a:pt x="984" y="144"/>
                  </a:lnTo>
                  <a:lnTo>
                    <a:pt x="987" y="159"/>
                  </a:lnTo>
                  <a:lnTo>
                    <a:pt x="991" y="175"/>
                  </a:lnTo>
                  <a:lnTo>
                    <a:pt x="992" y="190"/>
                  </a:lnTo>
                  <a:lnTo>
                    <a:pt x="992" y="207"/>
                  </a:lnTo>
                  <a:lnTo>
                    <a:pt x="992" y="221"/>
                  </a:lnTo>
                  <a:lnTo>
                    <a:pt x="991" y="235"/>
                  </a:lnTo>
                  <a:lnTo>
                    <a:pt x="988" y="250"/>
                  </a:lnTo>
                  <a:lnTo>
                    <a:pt x="985" y="263"/>
                  </a:lnTo>
                  <a:lnTo>
                    <a:pt x="982" y="277"/>
                  </a:lnTo>
                  <a:lnTo>
                    <a:pt x="977" y="291"/>
                  </a:lnTo>
                  <a:lnTo>
                    <a:pt x="972" y="303"/>
                  </a:lnTo>
                  <a:lnTo>
                    <a:pt x="966" y="316"/>
                  </a:lnTo>
                  <a:lnTo>
                    <a:pt x="981" y="332"/>
                  </a:lnTo>
                  <a:lnTo>
                    <a:pt x="994" y="351"/>
                  </a:lnTo>
                  <a:lnTo>
                    <a:pt x="1006" y="371"/>
                  </a:lnTo>
                  <a:lnTo>
                    <a:pt x="1016" y="392"/>
                  </a:lnTo>
                  <a:lnTo>
                    <a:pt x="1019" y="403"/>
                  </a:lnTo>
                  <a:lnTo>
                    <a:pt x="1024" y="414"/>
                  </a:lnTo>
                  <a:lnTo>
                    <a:pt x="1026" y="425"/>
                  </a:lnTo>
                  <a:lnTo>
                    <a:pt x="1029" y="436"/>
                  </a:lnTo>
                  <a:lnTo>
                    <a:pt x="1031" y="448"/>
                  </a:lnTo>
                  <a:lnTo>
                    <a:pt x="1033" y="461"/>
                  </a:lnTo>
                  <a:lnTo>
                    <a:pt x="1034" y="473"/>
                  </a:lnTo>
                  <a:lnTo>
                    <a:pt x="1034" y="485"/>
                  </a:lnTo>
                  <a:lnTo>
                    <a:pt x="1033" y="507"/>
                  </a:lnTo>
                  <a:lnTo>
                    <a:pt x="1029" y="529"/>
                  </a:lnTo>
                  <a:lnTo>
                    <a:pt x="1025" y="551"/>
                  </a:lnTo>
                  <a:lnTo>
                    <a:pt x="1018" y="571"/>
                  </a:lnTo>
                  <a:lnTo>
                    <a:pt x="1009" y="591"/>
                  </a:lnTo>
                  <a:lnTo>
                    <a:pt x="999" y="611"/>
                  </a:lnTo>
                  <a:lnTo>
                    <a:pt x="987" y="628"/>
                  </a:lnTo>
                  <a:lnTo>
                    <a:pt x="974" y="645"/>
                  </a:lnTo>
                  <a:lnTo>
                    <a:pt x="960" y="660"/>
                  </a:lnTo>
                  <a:lnTo>
                    <a:pt x="944" y="675"/>
                  </a:lnTo>
                  <a:lnTo>
                    <a:pt x="927" y="687"/>
                  </a:lnTo>
                  <a:lnTo>
                    <a:pt x="909" y="699"/>
                  </a:lnTo>
                  <a:lnTo>
                    <a:pt x="889" y="708"/>
                  </a:lnTo>
                  <a:lnTo>
                    <a:pt x="869" y="717"/>
                  </a:lnTo>
                  <a:lnTo>
                    <a:pt x="848" y="722"/>
                  </a:lnTo>
                  <a:lnTo>
                    <a:pt x="827" y="727"/>
                  </a:lnTo>
                  <a:lnTo>
                    <a:pt x="823" y="750"/>
                  </a:lnTo>
                  <a:lnTo>
                    <a:pt x="817" y="771"/>
                  </a:lnTo>
                  <a:lnTo>
                    <a:pt x="810" y="792"/>
                  </a:lnTo>
                  <a:lnTo>
                    <a:pt x="800" y="812"/>
                  </a:lnTo>
                  <a:lnTo>
                    <a:pt x="789" y="830"/>
                  </a:lnTo>
                  <a:lnTo>
                    <a:pt x="775" y="848"/>
                  </a:lnTo>
                  <a:lnTo>
                    <a:pt x="762" y="865"/>
                  </a:lnTo>
                  <a:lnTo>
                    <a:pt x="745" y="880"/>
                  </a:lnTo>
                  <a:lnTo>
                    <a:pt x="729" y="893"/>
                  </a:lnTo>
                  <a:lnTo>
                    <a:pt x="711" y="905"/>
                  </a:lnTo>
                  <a:lnTo>
                    <a:pt x="691" y="916"/>
                  </a:lnTo>
                  <a:lnTo>
                    <a:pt x="671" y="925"/>
                  </a:lnTo>
                  <a:lnTo>
                    <a:pt x="650" y="932"/>
                  </a:lnTo>
                  <a:lnTo>
                    <a:pt x="628" y="937"/>
                  </a:lnTo>
                  <a:lnTo>
                    <a:pt x="606" y="941"/>
                  </a:lnTo>
                  <a:lnTo>
                    <a:pt x="583" y="942"/>
                  </a:lnTo>
                  <a:lnTo>
                    <a:pt x="568" y="941"/>
                  </a:lnTo>
                  <a:lnTo>
                    <a:pt x="553" y="940"/>
                  </a:lnTo>
                  <a:lnTo>
                    <a:pt x="538" y="937"/>
                  </a:lnTo>
                  <a:lnTo>
                    <a:pt x="523" y="934"/>
                  </a:lnTo>
                  <a:lnTo>
                    <a:pt x="510" y="931"/>
                  </a:lnTo>
                  <a:lnTo>
                    <a:pt x="496" y="925"/>
                  </a:lnTo>
                  <a:lnTo>
                    <a:pt x="483" y="920"/>
                  </a:lnTo>
                  <a:lnTo>
                    <a:pt x="470" y="914"/>
                  </a:lnTo>
                  <a:lnTo>
                    <a:pt x="457" y="907"/>
                  </a:lnTo>
                  <a:lnTo>
                    <a:pt x="446" y="900"/>
                  </a:lnTo>
                  <a:lnTo>
                    <a:pt x="434" y="891"/>
                  </a:lnTo>
                  <a:lnTo>
                    <a:pt x="423" y="882"/>
                  </a:lnTo>
                  <a:lnTo>
                    <a:pt x="413" y="872"/>
                  </a:lnTo>
                  <a:lnTo>
                    <a:pt x="403" y="862"/>
                  </a:lnTo>
                  <a:lnTo>
                    <a:pt x="393" y="852"/>
                  </a:lnTo>
                  <a:lnTo>
                    <a:pt x="384" y="841"/>
                  </a:lnTo>
                  <a:lnTo>
                    <a:pt x="375" y="852"/>
                  </a:lnTo>
                  <a:lnTo>
                    <a:pt x="367" y="862"/>
                  </a:lnTo>
                  <a:lnTo>
                    <a:pt x="357" y="872"/>
                  </a:lnTo>
                  <a:lnTo>
                    <a:pt x="347" y="882"/>
                  </a:lnTo>
                  <a:lnTo>
                    <a:pt x="336" y="891"/>
                  </a:lnTo>
                  <a:lnTo>
                    <a:pt x="324" y="900"/>
                  </a:lnTo>
                  <a:lnTo>
                    <a:pt x="311" y="907"/>
                  </a:lnTo>
                  <a:lnTo>
                    <a:pt x="299" y="914"/>
                  </a:lnTo>
                  <a:lnTo>
                    <a:pt x="286" y="920"/>
                  </a:lnTo>
                  <a:lnTo>
                    <a:pt x="273" y="925"/>
                  </a:lnTo>
                  <a:lnTo>
                    <a:pt x="260" y="931"/>
                  </a:lnTo>
                  <a:lnTo>
                    <a:pt x="245" y="934"/>
                  </a:lnTo>
                  <a:lnTo>
                    <a:pt x="231" y="937"/>
                  </a:lnTo>
                  <a:lnTo>
                    <a:pt x="216" y="940"/>
                  </a:lnTo>
                  <a:lnTo>
                    <a:pt x="202" y="941"/>
                  </a:lnTo>
                  <a:lnTo>
                    <a:pt x="187" y="942"/>
                  </a:lnTo>
                  <a:lnTo>
                    <a:pt x="172" y="941"/>
                  </a:lnTo>
                  <a:lnTo>
                    <a:pt x="159" y="940"/>
                  </a:lnTo>
                  <a:lnTo>
                    <a:pt x="146" y="939"/>
                  </a:lnTo>
                  <a:lnTo>
                    <a:pt x="133" y="935"/>
                  </a:lnTo>
                  <a:lnTo>
                    <a:pt x="119" y="932"/>
                  </a:lnTo>
                  <a:lnTo>
                    <a:pt x="106" y="929"/>
                  </a:lnTo>
                  <a:lnTo>
                    <a:pt x="94" y="923"/>
                  </a:lnTo>
                  <a:lnTo>
                    <a:pt x="82" y="919"/>
                  </a:lnTo>
                  <a:lnTo>
                    <a:pt x="71" y="912"/>
                  </a:lnTo>
                  <a:lnTo>
                    <a:pt x="60" y="905"/>
                  </a:lnTo>
                  <a:lnTo>
                    <a:pt x="49" y="899"/>
                  </a:lnTo>
                  <a:lnTo>
                    <a:pt x="38" y="891"/>
                  </a:lnTo>
                  <a:lnTo>
                    <a:pt x="28" y="883"/>
                  </a:lnTo>
                  <a:lnTo>
                    <a:pt x="18" y="875"/>
                  </a:lnTo>
                  <a:lnTo>
                    <a:pt x="9" y="865"/>
                  </a:lnTo>
                  <a:lnTo>
                    <a:pt x="0" y="856"/>
                  </a:lnTo>
                  <a:lnTo>
                    <a:pt x="8" y="875"/>
                  </a:lnTo>
                  <a:lnTo>
                    <a:pt x="15" y="892"/>
                  </a:lnTo>
                  <a:lnTo>
                    <a:pt x="25" y="910"/>
                  </a:lnTo>
                  <a:lnTo>
                    <a:pt x="36" y="926"/>
                  </a:lnTo>
                  <a:lnTo>
                    <a:pt x="50" y="942"/>
                  </a:lnTo>
                  <a:lnTo>
                    <a:pt x="63" y="957"/>
                  </a:lnTo>
                  <a:lnTo>
                    <a:pt x="77" y="971"/>
                  </a:lnTo>
                  <a:lnTo>
                    <a:pt x="93" y="983"/>
                  </a:lnTo>
                  <a:lnTo>
                    <a:pt x="109" y="994"/>
                  </a:lnTo>
                  <a:lnTo>
                    <a:pt x="127" y="1004"/>
                  </a:lnTo>
                  <a:lnTo>
                    <a:pt x="146" y="1013"/>
                  </a:lnTo>
                  <a:lnTo>
                    <a:pt x="165" y="1019"/>
                  </a:lnTo>
                  <a:lnTo>
                    <a:pt x="184" y="1026"/>
                  </a:lnTo>
                  <a:lnTo>
                    <a:pt x="204" y="1029"/>
                  </a:lnTo>
                  <a:lnTo>
                    <a:pt x="225" y="1032"/>
                  </a:lnTo>
                  <a:lnTo>
                    <a:pt x="246" y="1032"/>
                  </a:lnTo>
                  <a:lnTo>
                    <a:pt x="262" y="1032"/>
                  </a:lnTo>
                  <a:lnTo>
                    <a:pt x="278" y="1031"/>
                  </a:lnTo>
                  <a:lnTo>
                    <a:pt x="294" y="1029"/>
                  </a:lnTo>
                  <a:lnTo>
                    <a:pt x="308" y="1026"/>
                  </a:lnTo>
                  <a:lnTo>
                    <a:pt x="324" y="1021"/>
                  </a:lnTo>
                  <a:lnTo>
                    <a:pt x="338" y="1016"/>
                  </a:lnTo>
                  <a:lnTo>
                    <a:pt x="352" y="1010"/>
                  </a:lnTo>
                  <a:lnTo>
                    <a:pt x="366" y="1004"/>
                  </a:lnTo>
                  <a:lnTo>
                    <a:pt x="379" y="997"/>
                  </a:lnTo>
                  <a:lnTo>
                    <a:pt x="391" y="988"/>
                  </a:lnTo>
                  <a:lnTo>
                    <a:pt x="403" y="979"/>
                  </a:lnTo>
                  <a:lnTo>
                    <a:pt x="415" y="971"/>
                  </a:lnTo>
                  <a:lnTo>
                    <a:pt x="426" y="961"/>
                  </a:lnTo>
                  <a:lnTo>
                    <a:pt x="436" y="950"/>
                  </a:lnTo>
                  <a:lnTo>
                    <a:pt x="446" y="939"/>
                  </a:lnTo>
                  <a:lnTo>
                    <a:pt x="456" y="926"/>
                  </a:lnTo>
                  <a:lnTo>
                    <a:pt x="465" y="939"/>
                  </a:lnTo>
                  <a:lnTo>
                    <a:pt x="475" y="950"/>
                  </a:lnTo>
                  <a:lnTo>
                    <a:pt x="485" y="961"/>
                  </a:lnTo>
                  <a:lnTo>
                    <a:pt x="496" y="971"/>
                  </a:lnTo>
                  <a:lnTo>
                    <a:pt x="508" y="979"/>
                  </a:lnTo>
                  <a:lnTo>
                    <a:pt x="520" y="988"/>
                  </a:lnTo>
                  <a:lnTo>
                    <a:pt x="532" y="997"/>
                  </a:lnTo>
                  <a:lnTo>
                    <a:pt x="546" y="1004"/>
                  </a:lnTo>
                  <a:lnTo>
                    <a:pt x="560" y="1010"/>
                  </a:lnTo>
                  <a:lnTo>
                    <a:pt x="573" y="1016"/>
                  </a:lnTo>
                  <a:lnTo>
                    <a:pt x="588" y="1021"/>
                  </a:lnTo>
                  <a:lnTo>
                    <a:pt x="603" y="1026"/>
                  </a:lnTo>
                  <a:lnTo>
                    <a:pt x="617" y="1029"/>
                  </a:lnTo>
                  <a:lnTo>
                    <a:pt x="633" y="1031"/>
                  </a:lnTo>
                  <a:lnTo>
                    <a:pt x="649" y="1032"/>
                  </a:lnTo>
                  <a:lnTo>
                    <a:pt x="665" y="1032"/>
                  </a:lnTo>
                  <a:lnTo>
                    <a:pt x="677" y="1032"/>
                  </a:lnTo>
                  <a:lnTo>
                    <a:pt x="689" y="1031"/>
                  </a:lnTo>
                  <a:lnTo>
                    <a:pt x="701" y="1030"/>
                  </a:lnTo>
                  <a:lnTo>
                    <a:pt x="713" y="1028"/>
                  </a:lnTo>
                  <a:lnTo>
                    <a:pt x="737" y="1022"/>
                  </a:lnTo>
                  <a:lnTo>
                    <a:pt x="759" y="1016"/>
                  </a:lnTo>
                  <a:lnTo>
                    <a:pt x="780" y="1006"/>
                  </a:lnTo>
                  <a:lnTo>
                    <a:pt x="801" y="995"/>
                  </a:lnTo>
                  <a:lnTo>
                    <a:pt x="819" y="982"/>
                  </a:lnTo>
                  <a:lnTo>
                    <a:pt x="837" y="967"/>
                  </a:lnTo>
                  <a:lnTo>
                    <a:pt x="854" y="952"/>
                  </a:lnTo>
                  <a:lnTo>
                    <a:pt x="869" y="934"/>
                  </a:lnTo>
                  <a:lnTo>
                    <a:pt x="882" y="915"/>
                  </a:lnTo>
                  <a:lnTo>
                    <a:pt x="895" y="896"/>
                  </a:lnTo>
                  <a:lnTo>
                    <a:pt x="904" y="875"/>
                  </a:lnTo>
                  <a:lnTo>
                    <a:pt x="912" y="852"/>
                  </a:lnTo>
                  <a:lnTo>
                    <a:pt x="919" y="830"/>
                  </a:lnTo>
                  <a:lnTo>
                    <a:pt x="922" y="806"/>
                  </a:lnTo>
                  <a:lnTo>
                    <a:pt x="945" y="802"/>
                  </a:lnTo>
                  <a:lnTo>
                    <a:pt x="967" y="795"/>
                  </a:lnTo>
                  <a:lnTo>
                    <a:pt x="988" y="786"/>
                  </a:lnTo>
                  <a:lnTo>
                    <a:pt x="1009" y="776"/>
                  </a:lnTo>
                  <a:lnTo>
                    <a:pt x="1028" y="764"/>
                  </a:lnTo>
                  <a:lnTo>
                    <a:pt x="1046" y="751"/>
                  </a:lnTo>
                  <a:lnTo>
                    <a:pt x="1062" y="735"/>
                  </a:lnTo>
                  <a:lnTo>
                    <a:pt x="1078" y="719"/>
                  </a:lnTo>
                  <a:lnTo>
                    <a:pt x="1092" y="701"/>
                  </a:lnTo>
                  <a:lnTo>
                    <a:pt x="1104" y="682"/>
                  </a:lnTo>
                  <a:lnTo>
                    <a:pt x="1115" y="663"/>
                  </a:lnTo>
                  <a:lnTo>
                    <a:pt x="1124" y="642"/>
                  </a:lnTo>
                  <a:lnTo>
                    <a:pt x="1132" y="621"/>
                  </a:lnTo>
                  <a:lnTo>
                    <a:pt x="1136" y="597"/>
                  </a:lnTo>
                  <a:lnTo>
                    <a:pt x="1140" y="574"/>
                  </a:lnTo>
                  <a:lnTo>
                    <a:pt x="1141" y="550"/>
                  </a:lnTo>
                  <a:lnTo>
                    <a:pt x="1141" y="537"/>
                  </a:lnTo>
                  <a:lnTo>
                    <a:pt x="1140" y="525"/>
                  </a:lnTo>
                  <a:lnTo>
                    <a:pt x="1139" y="512"/>
                  </a:lnTo>
                  <a:lnTo>
                    <a:pt x="1136" y="499"/>
                  </a:lnTo>
                  <a:lnTo>
                    <a:pt x="1133" y="487"/>
                  </a:lnTo>
                  <a:lnTo>
                    <a:pt x="1130" y="476"/>
                  </a:lnTo>
                  <a:lnTo>
                    <a:pt x="1126" y="464"/>
                  </a:lnTo>
                  <a:lnTo>
                    <a:pt x="1122" y="453"/>
                  </a:lnTo>
                  <a:lnTo>
                    <a:pt x="1118" y="442"/>
                  </a:lnTo>
                  <a:lnTo>
                    <a:pt x="1112" y="431"/>
                  </a:lnTo>
                  <a:lnTo>
                    <a:pt x="1105" y="420"/>
                  </a:lnTo>
                  <a:lnTo>
                    <a:pt x="1100" y="410"/>
                  </a:lnTo>
                  <a:lnTo>
                    <a:pt x="1086" y="390"/>
                  </a:lnTo>
                  <a:lnTo>
                    <a:pt x="1070" y="372"/>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5" name="Freeform 273">
              <a:extLst>
                <a:ext uri="{FF2B5EF4-FFF2-40B4-BE49-F238E27FC236}">
                  <a16:creationId xmlns:a16="http://schemas.microsoft.com/office/drawing/2014/main" id="{1FEAD4C3-D4F4-21B5-D5C9-3B7A55ADF796}"/>
                </a:ext>
              </a:extLst>
            </p:cNvPr>
            <p:cNvSpPr>
              <a:spLocks/>
            </p:cNvSpPr>
            <p:nvPr/>
          </p:nvSpPr>
          <p:spPr bwMode="auto">
            <a:xfrm>
              <a:off x="9698419" y="3209657"/>
              <a:ext cx="57176" cy="54138"/>
            </a:xfrm>
            <a:custGeom>
              <a:avLst/>
              <a:gdLst>
                <a:gd name="T0" fmla="*/ 188 w 207"/>
                <a:gd name="T1" fmla="*/ 103 h 178"/>
                <a:gd name="T2" fmla="*/ 176 w 207"/>
                <a:gd name="T3" fmla="*/ 101 h 178"/>
                <a:gd name="T4" fmla="*/ 163 w 207"/>
                <a:gd name="T5" fmla="*/ 97 h 178"/>
                <a:gd name="T6" fmla="*/ 150 w 207"/>
                <a:gd name="T7" fmla="*/ 94 h 178"/>
                <a:gd name="T8" fmla="*/ 136 w 207"/>
                <a:gd name="T9" fmla="*/ 90 h 178"/>
                <a:gd name="T10" fmla="*/ 110 w 207"/>
                <a:gd name="T11" fmla="*/ 80 h 178"/>
                <a:gd name="T12" fmla="*/ 84 w 207"/>
                <a:gd name="T13" fmla="*/ 68 h 178"/>
                <a:gd name="T14" fmla="*/ 71 w 207"/>
                <a:gd name="T15" fmla="*/ 60 h 178"/>
                <a:gd name="T16" fmla="*/ 59 w 207"/>
                <a:gd name="T17" fmla="*/ 53 h 178"/>
                <a:gd name="T18" fmla="*/ 48 w 207"/>
                <a:gd name="T19" fmla="*/ 45 h 178"/>
                <a:gd name="T20" fmla="*/ 37 w 207"/>
                <a:gd name="T21" fmla="*/ 37 h 178"/>
                <a:gd name="T22" fmla="*/ 26 w 207"/>
                <a:gd name="T23" fmla="*/ 28 h 178"/>
                <a:gd name="T24" fmla="*/ 17 w 207"/>
                <a:gd name="T25" fmla="*/ 19 h 178"/>
                <a:gd name="T26" fmla="*/ 8 w 207"/>
                <a:gd name="T27" fmla="*/ 10 h 178"/>
                <a:gd name="T28" fmla="*/ 0 w 207"/>
                <a:gd name="T29" fmla="*/ 0 h 178"/>
                <a:gd name="T30" fmla="*/ 6 w 207"/>
                <a:gd name="T31" fmla="*/ 16 h 178"/>
                <a:gd name="T32" fmla="*/ 13 w 207"/>
                <a:gd name="T33" fmla="*/ 31 h 178"/>
                <a:gd name="T34" fmla="*/ 20 w 207"/>
                <a:gd name="T35" fmla="*/ 47 h 178"/>
                <a:gd name="T36" fmla="*/ 29 w 207"/>
                <a:gd name="T37" fmla="*/ 61 h 178"/>
                <a:gd name="T38" fmla="*/ 39 w 207"/>
                <a:gd name="T39" fmla="*/ 75 h 178"/>
                <a:gd name="T40" fmla="*/ 50 w 207"/>
                <a:gd name="T41" fmla="*/ 89 h 178"/>
                <a:gd name="T42" fmla="*/ 61 w 207"/>
                <a:gd name="T43" fmla="*/ 102 h 178"/>
                <a:gd name="T44" fmla="*/ 74 w 207"/>
                <a:gd name="T45" fmla="*/ 114 h 178"/>
                <a:gd name="T46" fmla="*/ 88 w 207"/>
                <a:gd name="T47" fmla="*/ 126 h 178"/>
                <a:gd name="T48" fmla="*/ 102 w 207"/>
                <a:gd name="T49" fmla="*/ 136 h 178"/>
                <a:gd name="T50" fmla="*/ 118 w 207"/>
                <a:gd name="T51" fmla="*/ 146 h 178"/>
                <a:gd name="T52" fmla="*/ 134 w 207"/>
                <a:gd name="T53" fmla="*/ 155 h 178"/>
                <a:gd name="T54" fmla="*/ 151 w 207"/>
                <a:gd name="T55" fmla="*/ 163 h 178"/>
                <a:gd name="T56" fmla="*/ 168 w 207"/>
                <a:gd name="T57" fmla="*/ 169 h 178"/>
                <a:gd name="T58" fmla="*/ 187 w 207"/>
                <a:gd name="T59" fmla="*/ 175 h 178"/>
                <a:gd name="T60" fmla="*/ 207 w 207"/>
                <a:gd name="T61" fmla="*/ 178 h 178"/>
                <a:gd name="T62" fmla="*/ 203 w 207"/>
                <a:gd name="T63" fmla="*/ 169 h 178"/>
                <a:gd name="T64" fmla="*/ 199 w 207"/>
                <a:gd name="T65" fmla="*/ 160 h 178"/>
                <a:gd name="T66" fmla="*/ 197 w 207"/>
                <a:gd name="T67" fmla="*/ 152 h 178"/>
                <a:gd name="T68" fmla="*/ 195 w 207"/>
                <a:gd name="T69" fmla="*/ 142 h 178"/>
                <a:gd name="T70" fmla="*/ 191 w 207"/>
                <a:gd name="T71" fmla="*/ 123 h 178"/>
                <a:gd name="T72" fmla="*/ 188 w 207"/>
                <a:gd name="T73" fmla="*/ 10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 h="178">
                  <a:moveTo>
                    <a:pt x="188" y="103"/>
                  </a:moveTo>
                  <a:lnTo>
                    <a:pt x="176" y="101"/>
                  </a:lnTo>
                  <a:lnTo>
                    <a:pt x="163" y="97"/>
                  </a:lnTo>
                  <a:lnTo>
                    <a:pt x="150" y="94"/>
                  </a:lnTo>
                  <a:lnTo>
                    <a:pt x="136" y="90"/>
                  </a:lnTo>
                  <a:lnTo>
                    <a:pt x="110" y="80"/>
                  </a:lnTo>
                  <a:lnTo>
                    <a:pt x="84" y="68"/>
                  </a:lnTo>
                  <a:lnTo>
                    <a:pt x="71" y="60"/>
                  </a:lnTo>
                  <a:lnTo>
                    <a:pt x="59" y="53"/>
                  </a:lnTo>
                  <a:lnTo>
                    <a:pt x="48" y="45"/>
                  </a:lnTo>
                  <a:lnTo>
                    <a:pt x="37" y="37"/>
                  </a:lnTo>
                  <a:lnTo>
                    <a:pt x="26" y="28"/>
                  </a:lnTo>
                  <a:lnTo>
                    <a:pt x="17" y="19"/>
                  </a:lnTo>
                  <a:lnTo>
                    <a:pt x="8" y="10"/>
                  </a:lnTo>
                  <a:lnTo>
                    <a:pt x="0" y="0"/>
                  </a:lnTo>
                  <a:lnTo>
                    <a:pt x="6" y="16"/>
                  </a:lnTo>
                  <a:lnTo>
                    <a:pt x="13" y="31"/>
                  </a:lnTo>
                  <a:lnTo>
                    <a:pt x="20" y="47"/>
                  </a:lnTo>
                  <a:lnTo>
                    <a:pt x="29" y="61"/>
                  </a:lnTo>
                  <a:lnTo>
                    <a:pt x="39" y="75"/>
                  </a:lnTo>
                  <a:lnTo>
                    <a:pt x="50" y="89"/>
                  </a:lnTo>
                  <a:lnTo>
                    <a:pt x="61" y="102"/>
                  </a:lnTo>
                  <a:lnTo>
                    <a:pt x="74" y="114"/>
                  </a:lnTo>
                  <a:lnTo>
                    <a:pt x="88" y="126"/>
                  </a:lnTo>
                  <a:lnTo>
                    <a:pt x="102" y="136"/>
                  </a:lnTo>
                  <a:lnTo>
                    <a:pt x="118" y="146"/>
                  </a:lnTo>
                  <a:lnTo>
                    <a:pt x="134" y="155"/>
                  </a:lnTo>
                  <a:lnTo>
                    <a:pt x="151" y="163"/>
                  </a:lnTo>
                  <a:lnTo>
                    <a:pt x="168" y="169"/>
                  </a:lnTo>
                  <a:lnTo>
                    <a:pt x="187" y="175"/>
                  </a:lnTo>
                  <a:lnTo>
                    <a:pt x="207" y="178"/>
                  </a:lnTo>
                  <a:lnTo>
                    <a:pt x="203" y="169"/>
                  </a:lnTo>
                  <a:lnTo>
                    <a:pt x="199" y="160"/>
                  </a:lnTo>
                  <a:lnTo>
                    <a:pt x="197" y="152"/>
                  </a:lnTo>
                  <a:lnTo>
                    <a:pt x="195" y="142"/>
                  </a:lnTo>
                  <a:lnTo>
                    <a:pt x="191" y="123"/>
                  </a:lnTo>
                  <a:lnTo>
                    <a:pt x="188" y="103"/>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6" name="Oval 334">
              <a:extLst>
                <a:ext uri="{FF2B5EF4-FFF2-40B4-BE49-F238E27FC236}">
                  <a16:creationId xmlns:a16="http://schemas.microsoft.com/office/drawing/2014/main" id="{40B6CE8F-F670-BB72-5F1E-87B958C5B32E}"/>
                </a:ext>
              </a:extLst>
            </p:cNvPr>
            <p:cNvSpPr/>
            <p:nvPr/>
          </p:nvSpPr>
          <p:spPr>
            <a:xfrm>
              <a:off x="10631354" y="3523957"/>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317" name="Freeform 275">
              <a:extLst>
                <a:ext uri="{FF2B5EF4-FFF2-40B4-BE49-F238E27FC236}">
                  <a16:creationId xmlns:a16="http://schemas.microsoft.com/office/drawing/2014/main" id="{73D19844-7E70-748B-8E34-39DB8A606021}"/>
                </a:ext>
              </a:extLst>
            </p:cNvPr>
            <p:cNvSpPr>
              <a:spLocks/>
            </p:cNvSpPr>
            <p:nvPr/>
          </p:nvSpPr>
          <p:spPr bwMode="auto">
            <a:xfrm>
              <a:off x="10709447" y="3275825"/>
              <a:ext cx="47414" cy="281217"/>
            </a:xfrm>
            <a:custGeom>
              <a:avLst/>
              <a:gdLst>
                <a:gd name="T0" fmla="*/ 106 w 167"/>
                <a:gd name="T1" fmla="*/ 0 h 931"/>
                <a:gd name="T2" fmla="*/ 15 w 167"/>
                <a:gd name="T3" fmla="*/ 0 h 931"/>
                <a:gd name="T4" fmla="*/ 0 w 167"/>
                <a:gd name="T5" fmla="*/ 931 h 931"/>
                <a:gd name="T6" fmla="*/ 167 w 167"/>
                <a:gd name="T7" fmla="*/ 931 h 931"/>
                <a:gd name="T8" fmla="*/ 106 w 167"/>
                <a:gd name="T9" fmla="*/ 0 h 931"/>
              </a:gdLst>
              <a:ahLst/>
              <a:cxnLst>
                <a:cxn ang="0">
                  <a:pos x="T0" y="T1"/>
                </a:cxn>
                <a:cxn ang="0">
                  <a:pos x="T2" y="T3"/>
                </a:cxn>
                <a:cxn ang="0">
                  <a:pos x="T4" y="T5"/>
                </a:cxn>
                <a:cxn ang="0">
                  <a:pos x="T6" y="T7"/>
                </a:cxn>
                <a:cxn ang="0">
                  <a:pos x="T8" y="T9"/>
                </a:cxn>
              </a:cxnLst>
              <a:rect l="0" t="0" r="r" b="b"/>
              <a:pathLst>
                <a:path w="167" h="931">
                  <a:moveTo>
                    <a:pt x="106" y="0"/>
                  </a:moveTo>
                  <a:lnTo>
                    <a:pt x="15" y="0"/>
                  </a:lnTo>
                  <a:lnTo>
                    <a:pt x="0" y="931"/>
                  </a:lnTo>
                  <a:lnTo>
                    <a:pt x="167" y="931"/>
                  </a:lnTo>
                  <a:lnTo>
                    <a:pt x="106" y="0"/>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8" name="Freeform 277">
              <a:extLst>
                <a:ext uri="{FF2B5EF4-FFF2-40B4-BE49-F238E27FC236}">
                  <a16:creationId xmlns:a16="http://schemas.microsoft.com/office/drawing/2014/main" id="{B427423A-B51A-A6E1-F5EC-94B9DA7FE70A}"/>
                </a:ext>
              </a:extLst>
            </p:cNvPr>
            <p:cNvSpPr>
              <a:spLocks/>
            </p:cNvSpPr>
            <p:nvPr/>
          </p:nvSpPr>
          <p:spPr bwMode="auto">
            <a:xfrm>
              <a:off x="10572784" y="2890843"/>
              <a:ext cx="320740" cy="449646"/>
            </a:xfrm>
            <a:custGeom>
              <a:avLst/>
              <a:gdLst>
                <a:gd name="T0" fmla="*/ 1138 w 1154"/>
                <a:gd name="T1" fmla="*/ 580 h 1496"/>
                <a:gd name="T2" fmla="*/ 1153 w 1154"/>
                <a:gd name="T3" fmla="*/ 711 h 1496"/>
                <a:gd name="T4" fmla="*/ 1150 w 1154"/>
                <a:gd name="T5" fmla="*/ 842 h 1496"/>
                <a:gd name="T6" fmla="*/ 1131 w 1154"/>
                <a:gd name="T7" fmla="*/ 969 h 1496"/>
                <a:gd name="T8" fmla="*/ 1096 w 1154"/>
                <a:gd name="T9" fmla="*/ 1089 h 1496"/>
                <a:gd name="T10" fmla="*/ 1045 w 1154"/>
                <a:gd name="T11" fmla="*/ 1199 h 1496"/>
                <a:gd name="T12" fmla="*/ 979 w 1154"/>
                <a:gd name="T13" fmla="*/ 1298 h 1496"/>
                <a:gd name="T14" fmla="*/ 900 w 1154"/>
                <a:gd name="T15" fmla="*/ 1379 h 1496"/>
                <a:gd name="T16" fmla="*/ 806 w 1154"/>
                <a:gd name="T17" fmla="*/ 1442 h 1496"/>
                <a:gd name="T18" fmla="*/ 698 w 1154"/>
                <a:gd name="T19" fmla="*/ 1482 h 1496"/>
                <a:gd name="T20" fmla="*/ 577 w 1154"/>
                <a:gd name="T21" fmla="*/ 1496 h 1496"/>
                <a:gd name="T22" fmla="*/ 456 w 1154"/>
                <a:gd name="T23" fmla="*/ 1482 h 1496"/>
                <a:gd name="T24" fmla="*/ 349 w 1154"/>
                <a:gd name="T25" fmla="*/ 1442 h 1496"/>
                <a:gd name="T26" fmla="*/ 254 w 1154"/>
                <a:gd name="T27" fmla="*/ 1379 h 1496"/>
                <a:gd name="T28" fmla="*/ 174 w 1154"/>
                <a:gd name="T29" fmla="*/ 1298 h 1496"/>
                <a:gd name="T30" fmla="*/ 108 w 1154"/>
                <a:gd name="T31" fmla="*/ 1199 h 1496"/>
                <a:gd name="T32" fmla="*/ 58 w 1154"/>
                <a:gd name="T33" fmla="*/ 1089 h 1496"/>
                <a:gd name="T34" fmla="*/ 23 w 1154"/>
                <a:gd name="T35" fmla="*/ 969 h 1496"/>
                <a:gd name="T36" fmla="*/ 4 w 1154"/>
                <a:gd name="T37" fmla="*/ 842 h 1496"/>
                <a:gd name="T38" fmla="*/ 1 w 1154"/>
                <a:gd name="T39" fmla="*/ 711 h 1496"/>
                <a:gd name="T40" fmla="*/ 16 w 1154"/>
                <a:gd name="T41" fmla="*/ 580 h 1496"/>
                <a:gd name="T42" fmla="*/ 44 w 1154"/>
                <a:gd name="T43" fmla="*/ 466 h 1496"/>
                <a:gd name="T44" fmla="*/ 74 w 1154"/>
                <a:gd name="T45" fmla="*/ 386 h 1496"/>
                <a:gd name="T46" fmla="*/ 111 w 1154"/>
                <a:gd name="T47" fmla="*/ 311 h 1496"/>
                <a:gd name="T48" fmla="*/ 153 w 1154"/>
                <a:gd name="T49" fmla="*/ 243 h 1496"/>
                <a:gd name="T50" fmla="*/ 202 w 1154"/>
                <a:gd name="T51" fmla="*/ 184 h 1496"/>
                <a:gd name="T52" fmla="*/ 254 w 1154"/>
                <a:gd name="T53" fmla="*/ 132 h 1496"/>
                <a:gd name="T54" fmla="*/ 310 w 1154"/>
                <a:gd name="T55" fmla="*/ 89 h 1496"/>
                <a:gd name="T56" fmla="*/ 370 w 1154"/>
                <a:gd name="T57" fmla="*/ 53 h 1496"/>
                <a:gd name="T58" fmla="*/ 430 w 1154"/>
                <a:gd name="T59" fmla="*/ 26 h 1496"/>
                <a:gd name="T60" fmla="*/ 493 w 1154"/>
                <a:gd name="T61" fmla="*/ 9 h 1496"/>
                <a:gd name="T62" fmla="*/ 556 w 1154"/>
                <a:gd name="T63" fmla="*/ 0 h 1496"/>
                <a:gd name="T64" fmla="*/ 619 w 1154"/>
                <a:gd name="T65" fmla="*/ 3 h 1496"/>
                <a:gd name="T66" fmla="*/ 682 w 1154"/>
                <a:gd name="T67" fmla="*/ 14 h 1496"/>
                <a:gd name="T68" fmla="*/ 744 w 1154"/>
                <a:gd name="T69" fmla="*/ 35 h 1496"/>
                <a:gd name="T70" fmla="*/ 805 w 1154"/>
                <a:gd name="T71" fmla="*/ 63 h 1496"/>
                <a:gd name="T72" fmla="*/ 862 w 1154"/>
                <a:gd name="T73" fmla="*/ 102 h 1496"/>
                <a:gd name="T74" fmla="*/ 917 w 1154"/>
                <a:gd name="T75" fmla="*/ 148 h 1496"/>
                <a:gd name="T76" fmla="*/ 968 w 1154"/>
                <a:gd name="T77" fmla="*/ 204 h 1496"/>
                <a:gd name="T78" fmla="*/ 1015 w 1154"/>
                <a:gd name="T79" fmla="*/ 265 h 1496"/>
                <a:gd name="T80" fmla="*/ 1057 w 1154"/>
                <a:gd name="T81" fmla="*/ 335 h 1496"/>
                <a:gd name="T82" fmla="*/ 1091 w 1154"/>
                <a:gd name="T83" fmla="*/ 411 h 1496"/>
                <a:gd name="T84" fmla="*/ 1118 w 1154"/>
                <a:gd name="T85" fmla="*/ 495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496">
                  <a:moveTo>
                    <a:pt x="1118" y="495"/>
                  </a:moveTo>
                  <a:lnTo>
                    <a:pt x="1129" y="537"/>
                  </a:lnTo>
                  <a:lnTo>
                    <a:pt x="1138" y="580"/>
                  </a:lnTo>
                  <a:lnTo>
                    <a:pt x="1145" y="624"/>
                  </a:lnTo>
                  <a:lnTo>
                    <a:pt x="1149" y="667"/>
                  </a:lnTo>
                  <a:lnTo>
                    <a:pt x="1153" y="711"/>
                  </a:lnTo>
                  <a:lnTo>
                    <a:pt x="1154" y="754"/>
                  </a:lnTo>
                  <a:lnTo>
                    <a:pt x="1153" y="797"/>
                  </a:lnTo>
                  <a:lnTo>
                    <a:pt x="1150" y="842"/>
                  </a:lnTo>
                  <a:lnTo>
                    <a:pt x="1146" y="884"/>
                  </a:lnTo>
                  <a:lnTo>
                    <a:pt x="1139" y="927"/>
                  </a:lnTo>
                  <a:lnTo>
                    <a:pt x="1131" y="969"/>
                  </a:lnTo>
                  <a:lnTo>
                    <a:pt x="1121" y="1009"/>
                  </a:lnTo>
                  <a:lnTo>
                    <a:pt x="1110" y="1049"/>
                  </a:lnTo>
                  <a:lnTo>
                    <a:pt x="1096" y="1089"/>
                  </a:lnTo>
                  <a:lnTo>
                    <a:pt x="1081" y="1128"/>
                  </a:lnTo>
                  <a:lnTo>
                    <a:pt x="1064" y="1164"/>
                  </a:lnTo>
                  <a:lnTo>
                    <a:pt x="1045" y="1199"/>
                  </a:lnTo>
                  <a:lnTo>
                    <a:pt x="1026" y="1234"/>
                  </a:lnTo>
                  <a:lnTo>
                    <a:pt x="1004" y="1267"/>
                  </a:lnTo>
                  <a:lnTo>
                    <a:pt x="979" y="1298"/>
                  </a:lnTo>
                  <a:lnTo>
                    <a:pt x="955" y="1327"/>
                  </a:lnTo>
                  <a:lnTo>
                    <a:pt x="927" y="1354"/>
                  </a:lnTo>
                  <a:lnTo>
                    <a:pt x="900" y="1379"/>
                  </a:lnTo>
                  <a:lnTo>
                    <a:pt x="870" y="1402"/>
                  </a:lnTo>
                  <a:lnTo>
                    <a:pt x="838" y="1423"/>
                  </a:lnTo>
                  <a:lnTo>
                    <a:pt x="806" y="1442"/>
                  </a:lnTo>
                  <a:lnTo>
                    <a:pt x="771" y="1458"/>
                  </a:lnTo>
                  <a:lnTo>
                    <a:pt x="735" y="1471"/>
                  </a:lnTo>
                  <a:lnTo>
                    <a:pt x="698" y="1482"/>
                  </a:lnTo>
                  <a:lnTo>
                    <a:pt x="659" y="1490"/>
                  </a:lnTo>
                  <a:lnTo>
                    <a:pt x="618" y="1494"/>
                  </a:lnTo>
                  <a:lnTo>
                    <a:pt x="577" y="1496"/>
                  </a:lnTo>
                  <a:lnTo>
                    <a:pt x="535" y="1494"/>
                  </a:lnTo>
                  <a:lnTo>
                    <a:pt x="496" y="1490"/>
                  </a:lnTo>
                  <a:lnTo>
                    <a:pt x="456" y="1482"/>
                  </a:lnTo>
                  <a:lnTo>
                    <a:pt x="418" y="1471"/>
                  </a:lnTo>
                  <a:lnTo>
                    <a:pt x="383" y="1458"/>
                  </a:lnTo>
                  <a:lnTo>
                    <a:pt x="349" y="1442"/>
                  </a:lnTo>
                  <a:lnTo>
                    <a:pt x="316" y="1423"/>
                  </a:lnTo>
                  <a:lnTo>
                    <a:pt x="285" y="1402"/>
                  </a:lnTo>
                  <a:lnTo>
                    <a:pt x="254" y="1379"/>
                  </a:lnTo>
                  <a:lnTo>
                    <a:pt x="226" y="1354"/>
                  </a:lnTo>
                  <a:lnTo>
                    <a:pt x="200" y="1327"/>
                  </a:lnTo>
                  <a:lnTo>
                    <a:pt x="174" y="1298"/>
                  </a:lnTo>
                  <a:lnTo>
                    <a:pt x="151" y="1267"/>
                  </a:lnTo>
                  <a:lnTo>
                    <a:pt x="129" y="1234"/>
                  </a:lnTo>
                  <a:lnTo>
                    <a:pt x="108" y="1199"/>
                  </a:lnTo>
                  <a:lnTo>
                    <a:pt x="90" y="1164"/>
                  </a:lnTo>
                  <a:lnTo>
                    <a:pt x="73" y="1128"/>
                  </a:lnTo>
                  <a:lnTo>
                    <a:pt x="58" y="1089"/>
                  </a:lnTo>
                  <a:lnTo>
                    <a:pt x="45" y="1049"/>
                  </a:lnTo>
                  <a:lnTo>
                    <a:pt x="33" y="1009"/>
                  </a:lnTo>
                  <a:lnTo>
                    <a:pt x="23" y="969"/>
                  </a:lnTo>
                  <a:lnTo>
                    <a:pt x="15" y="927"/>
                  </a:lnTo>
                  <a:lnTo>
                    <a:pt x="8" y="884"/>
                  </a:lnTo>
                  <a:lnTo>
                    <a:pt x="4" y="842"/>
                  </a:lnTo>
                  <a:lnTo>
                    <a:pt x="1" y="797"/>
                  </a:lnTo>
                  <a:lnTo>
                    <a:pt x="0" y="754"/>
                  </a:lnTo>
                  <a:lnTo>
                    <a:pt x="1" y="711"/>
                  </a:lnTo>
                  <a:lnTo>
                    <a:pt x="4" y="667"/>
                  </a:lnTo>
                  <a:lnTo>
                    <a:pt x="8" y="624"/>
                  </a:lnTo>
                  <a:lnTo>
                    <a:pt x="16" y="580"/>
                  </a:lnTo>
                  <a:lnTo>
                    <a:pt x="24" y="537"/>
                  </a:lnTo>
                  <a:lnTo>
                    <a:pt x="35" y="495"/>
                  </a:lnTo>
                  <a:lnTo>
                    <a:pt x="44" y="466"/>
                  </a:lnTo>
                  <a:lnTo>
                    <a:pt x="53" y="439"/>
                  </a:lnTo>
                  <a:lnTo>
                    <a:pt x="63" y="411"/>
                  </a:lnTo>
                  <a:lnTo>
                    <a:pt x="74" y="386"/>
                  </a:lnTo>
                  <a:lnTo>
                    <a:pt x="86" y="359"/>
                  </a:lnTo>
                  <a:lnTo>
                    <a:pt x="98" y="335"/>
                  </a:lnTo>
                  <a:lnTo>
                    <a:pt x="111" y="311"/>
                  </a:lnTo>
                  <a:lnTo>
                    <a:pt x="124" y="287"/>
                  </a:lnTo>
                  <a:lnTo>
                    <a:pt x="139" y="265"/>
                  </a:lnTo>
                  <a:lnTo>
                    <a:pt x="153" y="243"/>
                  </a:lnTo>
                  <a:lnTo>
                    <a:pt x="169" y="223"/>
                  </a:lnTo>
                  <a:lnTo>
                    <a:pt x="185" y="204"/>
                  </a:lnTo>
                  <a:lnTo>
                    <a:pt x="202" y="184"/>
                  </a:lnTo>
                  <a:lnTo>
                    <a:pt x="218" y="166"/>
                  </a:lnTo>
                  <a:lnTo>
                    <a:pt x="236" y="148"/>
                  </a:lnTo>
                  <a:lnTo>
                    <a:pt x="254" y="132"/>
                  </a:lnTo>
                  <a:lnTo>
                    <a:pt x="272" y="116"/>
                  </a:lnTo>
                  <a:lnTo>
                    <a:pt x="291" y="102"/>
                  </a:lnTo>
                  <a:lnTo>
                    <a:pt x="310" y="89"/>
                  </a:lnTo>
                  <a:lnTo>
                    <a:pt x="330" y="76"/>
                  </a:lnTo>
                  <a:lnTo>
                    <a:pt x="350" y="63"/>
                  </a:lnTo>
                  <a:lnTo>
                    <a:pt x="370" y="53"/>
                  </a:lnTo>
                  <a:lnTo>
                    <a:pt x="389" y="43"/>
                  </a:lnTo>
                  <a:lnTo>
                    <a:pt x="409" y="35"/>
                  </a:lnTo>
                  <a:lnTo>
                    <a:pt x="430" y="26"/>
                  </a:lnTo>
                  <a:lnTo>
                    <a:pt x="451" y="19"/>
                  </a:lnTo>
                  <a:lnTo>
                    <a:pt x="472" y="14"/>
                  </a:lnTo>
                  <a:lnTo>
                    <a:pt x="493" y="9"/>
                  </a:lnTo>
                  <a:lnTo>
                    <a:pt x="514" y="5"/>
                  </a:lnTo>
                  <a:lnTo>
                    <a:pt x="535" y="3"/>
                  </a:lnTo>
                  <a:lnTo>
                    <a:pt x="556" y="0"/>
                  </a:lnTo>
                  <a:lnTo>
                    <a:pt x="577" y="0"/>
                  </a:lnTo>
                  <a:lnTo>
                    <a:pt x="598" y="0"/>
                  </a:lnTo>
                  <a:lnTo>
                    <a:pt x="619" y="3"/>
                  </a:lnTo>
                  <a:lnTo>
                    <a:pt x="640" y="5"/>
                  </a:lnTo>
                  <a:lnTo>
                    <a:pt x="661" y="9"/>
                  </a:lnTo>
                  <a:lnTo>
                    <a:pt x="682" y="14"/>
                  </a:lnTo>
                  <a:lnTo>
                    <a:pt x="702" y="19"/>
                  </a:lnTo>
                  <a:lnTo>
                    <a:pt x="723" y="26"/>
                  </a:lnTo>
                  <a:lnTo>
                    <a:pt x="744" y="35"/>
                  </a:lnTo>
                  <a:lnTo>
                    <a:pt x="764" y="43"/>
                  </a:lnTo>
                  <a:lnTo>
                    <a:pt x="785" y="53"/>
                  </a:lnTo>
                  <a:lnTo>
                    <a:pt x="805" y="63"/>
                  </a:lnTo>
                  <a:lnTo>
                    <a:pt x="824" y="76"/>
                  </a:lnTo>
                  <a:lnTo>
                    <a:pt x="843" y="89"/>
                  </a:lnTo>
                  <a:lnTo>
                    <a:pt x="862" y="102"/>
                  </a:lnTo>
                  <a:lnTo>
                    <a:pt x="881" y="116"/>
                  </a:lnTo>
                  <a:lnTo>
                    <a:pt x="900" y="132"/>
                  </a:lnTo>
                  <a:lnTo>
                    <a:pt x="917" y="148"/>
                  </a:lnTo>
                  <a:lnTo>
                    <a:pt x="935" y="166"/>
                  </a:lnTo>
                  <a:lnTo>
                    <a:pt x="952" y="184"/>
                  </a:lnTo>
                  <a:lnTo>
                    <a:pt x="968" y="204"/>
                  </a:lnTo>
                  <a:lnTo>
                    <a:pt x="985" y="223"/>
                  </a:lnTo>
                  <a:lnTo>
                    <a:pt x="1000" y="243"/>
                  </a:lnTo>
                  <a:lnTo>
                    <a:pt x="1015" y="265"/>
                  </a:lnTo>
                  <a:lnTo>
                    <a:pt x="1029" y="287"/>
                  </a:lnTo>
                  <a:lnTo>
                    <a:pt x="1043" y="311"/>
                  </a:lnTo>
                  <a:lnTo>
                    <a:pt x="1057" y="335"/>
                  </a:lnTo>
                  <a:lnTo>
                    <a:pt x="1069" y="359"/>
                  </a:lnTo>
                  <a:lnTo>
                    <a:pt x="1080" y="386"/>
                  </a:lnTo>
                  <a:lnTo>
                    <a:pt x="1091" y="411"/>
                  </a:lnTo>
                  <a:lnTo>
                    <a:pt x="1101" y="439"/>
                  </a:lnTo>
                  <a:lnTo>
                    <a:pt x="1111" y="466"/>
                  </a:lnTo>
                  <a:lnTo>
                    <a:pt x="1118" y="495"/>
                  </a:lnTo>
                  <a:close/>
                </a:path>
              </a:pathLst>
            </a:custGeom>
            <a:solidFill>
              <a:srgbClr val="54B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9" name="Freeform 278">
              <a:extLst>
                <a:ext uri="{FF2B5EF4-FFF2-40B4-BE49-F238E27FC236}">
                  <a16:creationId xmlns:a16="http://schemas.microsoft.com/office/drawing/2014/main" id="{827284BF-75DA-C74E-EAE6-51D0562E8A6C}"/>
                </a:ext>
              </a:extLst>
            </p:cNvPr>
            <p:cNvSpPr>
              <a:spLocks/>
            </p:cNvSpPr>
            <p:nvPr/>
          </p:nvSpPr>
          <p:spPr bwMode="auto">
            <a:xfrm>
              <a:off x="10578362" y="2890843"/>
              <a:ext cx="315162" cy="449646"/>
            </a:xfrm>
            <a:custGeom>
              <a:avLst/>
              <a:gdLst>
                <a:gd name="T0" fmla="*/ 539 w 1131"/>
                <a:gd name="T1" fmla="*/ 0 h 1496"/>
                <a:gd name="T2" fmla="*/ 588 w 1131"/>
                <a:gd name="T3" fmla="*/ 11 h 1496"/>
                <a:gd name="T4" fmla="*/ 638 w 1131"/>
                <a:gd name="T5" fmla="*/ 30 h 1496"/>
                <a:gd name="T6" fmla="*/ 686 w 1131"/>
                <a:gd name="T7" fmla="*/ 55 h 1496"/>
                <a:gd name="T8" fmla="*/ 731 w 1131"/>
                <a:gd name="T9" fmla="*/ 84 h 1496"/>
                <a:gd name="T10" fmla="*/ 773 w 1131"/>
                <a:gd name="T11" fmla="*/ 122 h 1496"/>
                <a:gd name="T12" fmla="*/ 813 w 1131"/>
                <a:gd name="T13" fmla="*/ 165 h 1496"/>
                <a:gd name="T14" fmla="*/ 848 w 1131"/>
                <a:gd name="T15" fmla="*/ 212 h 1496"/>
                <a:gd name="T16" fmla="*/ 879 w 1131"/>
                <a:gd name="T17" fmla="*/ 266 h 1496"/>
                <a:gd name="T18" fmla="*/ 905 w 1131"/>
                <a:gd name="T19" fmla="*/ 325 h 1496"/>
                <a:gd name="T20" fmla="*/ 926 w 1131"/>
                <a:gd name="T21" fmla="*/ 389 h 1496"/>
                <a:gd name="T22" fmla="*/ 944 w 1131"/>
                <a:gd name="T23" fmla="*/ 470 h 1496"/>
                <a:gd name="T24" fmla="*/ 953 w 1131"/>
                <a:gd name="T25" fmla="*/ 578 h 1496"/>
                <a:gd name="T26" fmla="*/ 946 w 1131"/>
                <a:gd name="T27" fmla="*/ 686 h 1496"/>
                <a:gd name="T28" fmla="*/ 926 w 1131"/>
                <a:gd name="T29" fmla="*/ 791 h 1496"/>
                <a:gd name="T30" fmla="*/ 893 w 1131"/>
                <a:gd name="T31" fmla="*/ 890 h 1496"/>
                <a:gd name="T32" fmla="*/ 847 w 1131"/>
                <a:gd name="T33" fmla="*/ 983 h 1496"/>
                <a:gd name="T34" fmla="*/ 789 w 1131"/>
                <a:gd name="T35" fmla="*/ 1066 h 1496"/>
                <a:gd name="T36" fmla="*/ 720 w 1131"/>
                <a:gd name="T37" fmla="*/ 1136 h 1496"/>
                <a:gd name="T38" fmla="*/ 639 w 1131"/>
                <a:gd name="T39" fmla="*/ 1192 h 1496"/>
                <a:gd name="T40" fmla="*/ 550 w 1131"/>
                <a:gd name="T41" fmla="*/ 1229 h 1496"/>
                <a:gd name="T42" fmla="*/ 449 w 1131"/>
                <a:gd name="T43" fmla="*/ 1248 h 1496"/>
                <a:gd name="T44" fmla="*/ 380 w 1131"/>
                <a:gd name="T45" fmla="*/ 1248 h 1496"/>
                <a:gd name="T46" fmla="*/ 329 w 1131"/>
                <a:gd name="T47" fmla="*/ 1240 h 1496"/>
                <a:gd name="T48" fmla="*/ 281 w 1131"/>
                <a:gd name="T49" fmla="*/ 1227 h 1496"/>
                <a:gd name="T50" fmla="*/ 235 w 1131"/>
                <a:gd name="T51" fmla="*/ 1208 h 1496"/>
                <a:gd name="T52" fmla="*/ 193 w 1131"/>
                <a:gd name="T53" fmla="*/ 1184 h 1496"/>
                <a:gd name="T54" fmla="*/ 152 w 1131"/>
                <a:gd name="T55" fmla="*/ 1155 h 1496"/>
                <a:gd name="T56" fmla="*/ 116 w 1131"/>
                <a:gd name="T57" fmla="*/ 1122 h 1496"/>
                <a:gd name="T58" fmla="*/ 82 w 1131"/>
                <a:gd name="T59" fmla="*/ 1085 h 1496"/>
                <a:gd name="T60" fmla="*/ 32 w 1131"/>
                <a:gd name="T61" fmla="*/ 1013 h 1496"/>
                <a:gd name="T62" fmla="*/ 6 w 1131"/>
                <a:gd name="T63" fmla="*/ 977 h 1496"/>
                <a:gd name="T64" fmla="*/ 31 w 1131"/>
                <a:gd name="T65" fmla="*/ 1059 h 1496"/>
                <a:gd name="T66" fmla="*/ 62 w 1131"/>
                <a:gd name="T67" fmla="*/ 1138 h 1496"/>
                <a:gd name="T68" fmla="*/ 100 w 1131"/>
                <a:gd name="T69" fmla="*/ 1210 h 1496"/>
                <a:gd name="T70" fmla="*/ 145 w 1131"/>
                <a:gd name="T71" fmla="*/ 1277 h 1496"/>
                <a:gd name="T72" fmla="*/ 195 w 1131"/>
                <a:gd name="T73" fmla="*/ 1336 h 1496"/>
                <a:gd name="T74" fmla="*/ 252 w 1131"/>
                <a:gd name="T75" fmla="*/ 1387 h 1496"/>
                <a:gd name="T76" fmla="*/ 313 w 1131"/>
                <a:gd name="T77" fmla="*/ 1430 h 1496"/>
                <a:gd name="T78" fmla="*/ 380 w 1131"/>
                <a:gd name="T79" fmla="*/ 1463 h 1496"/>
                <a:gd name="T80" fmla="*/ 452 w 1131"/>
                <a:gd name="T81" fmla="*/ 1485 h 1496"/>
                <a:gd name="T82" fmla="*/ 528 w 1131"/>
                <a:gd name="T83" fmla="*/ 1495 h 1496"/>
                <a:gd name="T84" fmla="*/ 636 w 1131"/>
                <a:gd name="T85" fmla="*/ 1490 h 1496"/>
                <a:gd name="T86" fmla="*/ 748 w 1131"/>
                <a:gd name="T87" fmla="*/ 1458 h 1496"/>
                <a:gd name="T88" fmla="*/ 847 w 1131"/>
                <a:gd name="T89" fmla="*/ 1402 h 1496"/>
                <a:gd name="T90" fmla="*/ 932 w 1131"/>
                <a:gd name="T91" fmla="*/ 1327 h 1496"/>
                <a:gd name="T92" fmla="*/ 1003 w 1131"/>
                <a:gd name="T93" fmla="*/ 1234 h 1496"/>
                <a:gd name="T94" fmla="*/ 1058 w 1131"/>
                <a:gd name="T95" fmla="*/ 1128 h 1496"/>
                <a:gd name="T96" fmla="*/ 1098 w 1131"/>
                <a:gd name="T97" fmla="*/ 1009 h 1496"/>
                <a:gd name="T98" fmla="*/ 1123 w 1131"/>
                <a:gd name="T99" fmla="*/ 884 h 1496"/>
                <a:gd name="T100" fmla="*/ 1131 w 1131"/>
                <a:gd name="T101" fmla="*/ 754 h 1496"/>
                <a:gd name="T102" fmla="*/ 1122 w 1131"/>
                <a:gd name="T103" fmla="*/ 624 h 1496"/>
                <a:gd name="T104" fmla="*/ 1095 w 1131"/>
                <a:gd name="T105" fmla="*/ 495 h 1496"/>
                <a:gd name="T106" fmla="*/ 1068 w 1131"/>
                <a:gd name="T107" fmla="*/ 411 h 1496"/>
                <a:gd name="T108" fmla="*/ 1034 w 1131"/>
                <a:gd name="T109" fmla="*/ 335 h 1496"/>
                <a:gd name="T110" fmla="*/ 992 w 1131"/>
                <a:gd name="T111" fmla="*/ 265 h 1496"/>
                <a:gd name="T112" fmla="*/ 945 w 1131"/>
                <a:gd name="T113" fmla="*/ 204 h 1496"/>
                <a:gd name="T114" fmla="*/ 894 w 1131"/>
                <a:gd name="T115" fmla="*/ 148 h 1496"/>
                <a:gd name="T116" fmla="*/ 839 w 1131"/>
                <a:gd name="T117" fmla="*/ 102 h 1496"/>
                <a:gd name="T118" fmla="*/ 782 w 1131"/>
                <a:gd name="T119" fmla="*/ 63 h 1496"/>
                <a:gd name="T120" fmla="*/ 721 w 1131"/>
                <a:gd name="T121" fmla="*/ 35 h 1496"/>
                <a:gd name="T122" fmla="*/ 659 w 1131"/>
                <a:gd name="T123" fmla="*/ 14 h 1496"/>
                <a:gd name="T124" fmla="*/ 596 w 1131"/>
                <a:gd name="T125" fmla="*/ 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1" h="1496">
                  <a:moveTo>
                    <a:pt x="554" y="0"/>
                  </a:moveTo>
                  <a:lnTo>
                    <a:pt x="547" y="0"/>
                  </a:lnTo>
                  <a:lnTo>
                    <a:pt x="539" y="0"/>
                  </a:lnTo>
                  <a:lnTo>
                    <a:pt x="555" y="4"/>
                  </a:lnTo>
                  <a:lnTo>
                    <a:pt x="572" y="7"/>
                  </a:lnTo>
                  <a:lnTo>
                    <a:pt x="588" y="11"/>
                  </a:lnTo>
                  <a:lnTo>
                    <a:pt x="605" y="17"/>
                  </a:lnTo>
                  <a:lnTo>
                    <a:pt x="622" y="24"/>
                  </a:lnTo>
                  <a:lnTo>
                    <a:pt x="638" y="30"/>
                  </a:lnTo>
                  <a:lnTo>
                    <a:pt x="654" y="37"/>
                  </a:lnTo>
                  <a:lnTo>
                    <a:pt x="670" y="46"/>
                  </a:lnTo>
                  <a:lnTo>
                    <a:pt x="686" y="55"/>
                  </a:lnTo>
                  <a:lnTo>
                    <a:pt x="701" y="63"/>
                  </a:lnTo>
                  <a:lnTo>
                    <a:pt x="715" y="74"/>
                  </a:lnTo>
                  <a:lnTo>
                    <a:pt x="731" y="84"/>
                  </a:lnTo>
                  <a:lnTo>
                    <a:pt x="745" y="96"/>
                  </a:lnTo>
                  <a:lnTo>
                    <a:pt x="760" y="109"/>
                  </a:lnTo>
                  <a:lnTo>
                    <a:pt x="773" y="122"/>
                  </a:lnTo>
                  <a:lnTo>
                    <a:pt x="787" y="135"/>
                  </a:lnTo>
                  <a:lnTo>
                    <a:pt x="799" y="149"/>
                  </a:lnTo>
                  <a:lnTo>
                    <a:pt x="813" y="165"/>
                  </a:lnTo>
                  <a:lnTo>
                    <a:pt x="825" y="180"/>
                  </a:lnTo>
                  <a:lnTo>
                    <a:pt x="837" y="196"/>
                  </a:lnTo>
                  <a:lnTo>
                    <a:pt x="848" y="212"/>
                  </a:lnTo>
                  <a:lnTo>
                    <a:pt x="859" y="230"/>
                  </a:lnTo>
                  <a:lnTo>
                    <a:pt x="869" y="248"/>
                  </a:lnTo>
                  <a:lnTo>
                    <a:pt x="879" y="266"/>
                  </a:lnTo>
                  <a:lnTo>
                    <a:pt x="889" y="285"/>
                  </a:lnTo>
                  <a:lnTo>
                    <a:pt x="898" y="305"/>
                  </a:lnTo>
                  <a:lnTo>
                    <a:pt x="905" y="325"/>
                  </a:lnTo>
                  <a:lnTo>
                    <a:pt x="913" y="346"/>
                  </a:lnTo>
                  <a:lnTo>
                    <a:pt x="921" y="367"/>
                  </a:lnTo>
                  <a:lnTo>
                    <a:pt x="926" y="389"/>
                  </a:lnTo>
                  <a:lnTo>
                    <a:pt x="933" y="411"/>
                  </a:lnTo>
                  <a:lnTo>
                    <a:pt x="937" y="434"/>
                  </a:lnTo>
                  <a:lnTo>
                    <a:pt x="944" y="470"/>
                  </a:lnTo>
                  <a:lnTo>
                    <a:pt x="949" y="506"/>
                  </a:lnTo>
                  <a:lnTo>
                    <a:pt x="952" y="541"/>
                  </a:lnTo>
                  <a:lnTo>
                    <a:pt x="953" y="578"/>
                  </a:lnTo>
                  <a:lnTo>
                    <a:pt x="952" y="614"/>
                  </a:lnTo>
                  <a:lnTo>
                    <a:pt x="950" y="650"/>
                  </a:lnTo>
                  <a:lnTo>
                    <a:pt x="946" y="686"/>
                  </a:lnTo>
                  <a:lnTo>
                    <a:pt x="942" y="721"/>
                  </a:lnTo>
                  <a:lnTo>
                    <a:pt x="935" y="756"/>
                  </a:lnTo>
                  <a:lnTo>
                    <a:pt x="926" y="791"/>
                  </a:lnTo>
                  <a:lnTo>
                    <a:pt x="916" y="825"/>
                  </a:lnTo>
                  <a:lnTo>
                    <a:pt x="905" y="858"/>
                  </a:lnTo>
                  <a:lnTo>
                    <a:pt x="893" y="890"/>
                  </a:lnTo>
                  <a:lnTo>
                    <a:pt x="879" y="922"/>
                  </a:lnTo>
                  <a:lnTo>
                    <a:pt x="863" y="953"/>
                  </a:lnTo>
                  <a:lnTo>
                    <a:pt x="847" y="983"/>
                  </a:lnTo>
                  <a:lnTo>
                    <a:pt x="829" y="1012"/>
                  </a:lnTo>
                  <a:lnTo>
                    <a:pt x="809" y="1039"/>
                  </a:lnTo>
                  <a:lnTo>
                    <a:pt x="789" y="1066"/>
                  </a:lnTo>
                  <a:lnTo>
                    <a:pt x="767" y="1091"/>
                  </a:lnTo>
                  <a:lnTo>
                    <a:pt x="744" y="1114"/>
                  </a:lnTo>
                  <a:lnTo>
                    <a:pt x="720" y="1136"/>
                  </a:lnTo>
                  <a:lnTo>
                    <a:pt x="694" y="1156"/>
                  </a:lnTo>
                  <a:lnTo>
                    <a:pt x="667" y="1175"/>
                  </a:lnTo>
                  <a:lnTo>
                    <a:pt x="639" y="1192"/>
                  </a:lnTo>
                  <a:lnTo>
                    <a:pt x="611" y="1206"/>
                  </a:lnTo>
                  <a:lnTo>
                    <a:pt x="581" y="1219"/>
                  </a:lnTo>
                  <a:lnTo>
                    <a:pt x="550" y="1229"/>
                  </a:lnTo>
                  <a:lnTo>
                    <a:pt x="517" y="1238"/>
                  </a:lnTo>
                  <a:lnTo>
                    <a:pt x="484" y="1245"/>
                  </a:lnTo>
                  <a:lnTo>
                    <a:pt x="449" y="1248"/>
                  </a:lnTo>
                  <a:lnTo>
                    <a:pt x="415" y="1249"/>
                  </a:lnTo>
                  <a:lnTo>
                    <a:pt x="397" y="1249"/>
                  </a:lnTo>
                  <a:lnTo>
                    <a:pt x="380" y="1248"/>
                  </a:lnTo>
                  <a:lnTo>
                    <a:pt x="363" y="1246"/>
                  </a:lnTo>
                  <a:lnTo>
                    <a:pt x="346" y="1243"/>
                  </a:lnTo>
                  <a:lnTo>
                    <a:pt x="329" y="1240"/>
                  </a:lnTo>
                  <a:lnTo>
                    <a:pt x="313" y="1237"/>
                  </a:lnTo>
                  <a:lnTo>
                    <a:pt x="297" y="1232"/>
                  </a:lnTo>
                  <a:lnTo>
                    <a:pt x="281" y="1227"/>
                  </a:lnTo>
                  <a:lnTo>
                    <a:pt x="266" y="1221"/>
                  </a:lnTo>
                  <a:lnTo>
                    <a:pt x="251" y="1215"/>
                  </a:lnTo>
                  <a:lnTo>
                    <a:pt x="235" y="1208"/>
                  </a:lnTo>
                  <a:lnTo>
                    <a:pt x="221" y="1200"/>
                  </a:lnTo>
                  <a:lnTo>
                    <a:pt x="206" y="1193"/>
                  </a:lnTo>
                  <a:lnTo>
                    <a:pt x="193" y="1184"/>
                  </a:lnTo>
                  <a:lnTo>
                    <a:pt x="179" y="1175"/>
                  </a:lnTo>
                  <a:lnTo>
                    <a:pt x="166" y="1165"/>
                  </a:lnTo>
                  <a:lnTo>
                    <a:pt x="152" y="1155"/>
                  </a:lnTo>
                  <a:lnTo>
                    <a:pt x="140" y="1145"/>
                  </a:lnTo>
                  <a:lnTo>
                    <a:pt x="128" y="1133"/>
                  </a:lnTo>
                  <a:lnTo>
                    <a:pt x="116" y="1122"/>
                  </a:lnTo>
                  <a:lnTo>
                    <a:pt x="104" y="1110"/>
                  </a:lnTo>
                  <a:lnTo>
                    <a:pt x="93" y="1098"/>
                  </a:lnTo>
                  <a:lnTo>
                    <a:pt x="82" y="1085"/>
                  </a:lnTo>
                  <a:lnTo>
                    <a:pt x="71" y="1071"/>
                  </a:lnTo>
                  <a:lnTo>
                    <a:pt x="51" y="1043"/>
                  </a:lnTo>
                  <a:lnTo>
                    <a:pt x="32" y="1013"/>
                  </a:lnTo>
                  <a:lnTo>
                    <a:pt x="15" y="982"/>
                  </a:lnTo>
                  <a:lnTo>
                    <a:pt x="0" y="949"/>
                  </a:lnTo>
                  <a:lnTo>
                    <a:pt x="6" y="977"/>
                  </a:lnTo>
                  <a:lnTo>
                    <a:pt x="13" y="1005"/>
                  </a:lnTo>
                  <a:lnTo>
                    <a:pt x="22" y="1033"/>
                  </a:lnTo>
                  <a:lnTo>
                    <a:pt x="31" y="1059"/>
                  </a:lnTo>
                  <a:lnTo>
                    <a:pt x="41" y="1086"/>
                  </a:lnTo>
                  <a:lnTo>
                    <a:pt x="51" y="1112"/>
                  </a:lnTo>
                  <a:lnTo>
                    <a:pt x="62" y="1138"/>
                  </a:lnTo>
                  <a:lnTo>
                    <a:pt x="74" y="1162"/>
                  </a:lnTo>
                  <a:lnTo>
                    <a:pt x="87" y="1186"/>
                  </a:lnTo>
                  <a:lnTo>
                    <a:pt x="100" y="1210"/>
                  </a:lnTo>
                  <a:lnTo>
                    <a:pt x="115" y="1232"/>
                  </a:lnTo>
                  <a:lnTo>
                    <a:pt x="129" y="1256"/>
                  </a:lnTo>
                  <a:lnTo>
                    <a:pt x="145" y="1277"/>
                  </a:lnTo>
                  <a:lnTo>
                    <a:pt x="161" y="1298"/>
                  </a:lnTo>
                  <a:lnTo>
                    <a:pt x="178" y="1317"/>
                  </a:lnTo>
                  <a:lnTo>
                    <a:pt x="195" y="1336"/>
                  </a:lnTo>
                  <a:lnTo>
                    <a:pt x="213" y="1354"/>
                  </a:lnTo>
                  <a:lnTo>
                    <a:pt x="232" y="1372"/>
                  </a:lnTo>
                  <a:lnTo>
                    <a:pt x="252" y="1387"/>
                  </a:lnTo>
                  <a:lnTo>
                    <a:pt x="272" y="1402"/>
                  </a:lnTo>
                  <a:lnTo>
                    <a:pt x="291" y="1417"/>
                  </a:lnTo>
                  <a:lnTo>
                    <a:pt x="313" y="1430"/>
                  </a:lnTo>
                  <a:lnTo>
                    <a:pt x="334" y="1442"/>
                  </a:lnTo>
                  <a:lnTo>
                    <a:pt x="357" y="1453"/>
                  </a:lnTo>
                  <a:lnTo>
                    <a:pt x="380" y="1463"/>
                  </a:lnTo>
                  <a:lnTo>
                    <a:pt x="403" y="1471"/>
                  </a:lnTo>
                  <a:lnTo>
                    <a:pt x="427" y="1479"/>
                  </a:lnTo>
                  <a:lnTo>
                    <a:pt x="452" y="1485"/>
                  </a:lnTo>
                  <a:lnTo>
                    <a:pt x="476" y="1490"/>
                  </a:lnTo>
                  <a:lnTo>
                    <a:pt x="501" y="1493"/>
                  </a:lnTo>
                  <a:lnTo>
                    <a:pt x="528" y="1495"/>
                  </a:lnTo>
                  <a:lnTo>
                    <a:pt x="554" y="1496"/>
                  </a:lnTo>
                  <a:lnTo>
                    <a:pt x="595" y="1494"/>
                  </a:lnTo>
                  <a:lnTo>
                    <a:pt x="636" y="1490"/>
                  </a:lnTo>
                  <a:lnTo>
                    <a:pt x="675" y="1482"/>
                  </a:lnTo>
                  <a:lnTo>
                    <a:pt x="712" y="1471"/>
                  </a:lnTo>
                  <a:lnTo>
                    <a:pt x="748" y="1458"/>
                  </a:lnTo>
                  <a:lnTo>
                    <a:pt x="783" y="1442"/>
                  </a:lnTo>
                  <a:lnTo>
                    <a:pt x="815" y="1423"/>
                  </a:lnTo>
                  <a:lnTo>
                    <a:pt x="847" y="1402"/>
                  </a:lnTo>
                  <a:lnTo>
                    <a:pt x="877" y="1379"/>
                  </a:lnTo>
                  <a:lnTo>
                    <a:pt x="904" y="1354"/>
                  </a:lnTo>
                  <a:lnTo>
                    <a:pt x="932" y="1327"/>
                  </a:lnTo>
                  <a:lnTo>
                    <a:pt x="956" y="1298"/>
                  </a:lnTo>
                  <a:lnTo>
                    <a:pt x="981" y="1267"/>
                  </a:lnTo>
                  <a:lnTo>
                    <a:pt x="1003" y="1234"/>
                  </a:lnTo>
                  <a:lnTo>
                    <a:pt x="1022" y="1199"/>
                  </a:lnTo>
                  <a:lnTo>
                    <a:pt x="1041" y="1164"/>
                  </a:lnTo>
                  <a:lnTo>
                    <a:pt x="1058" y="1128"/>
                  </a:lnTo>
                  <a:lnTo>
                    <a:pt x="1073" y="1089"/>
                  </a:lnTo>
                  <a:lnTo>
                    <a:pt x="1087" y="1049"/>
                  </a:lnTo>
                  <a:lnTo>
                    <a:pt x="1098" y="1009"/>
                  </a:lnTo>
                  <a:lnTo>
                    <a:pt x="1108" y="969"/>
                  </a:lnTo>
                  <a:lnTo>
                    <a:pt x="1116" y="927"/>
                  </a:lnTo>
                  <a:lnTo>
                    <a:pt x="1123" y="884"/>
                  </a:lnTo>
                  <a:lnTo>
                    <a:pt x="1127" y="842"/>
                  </a:lnTo>
                  <a:lnTo>
                    <a:pt x="1130" y="797"/>
                  </a:lnTo>
                  <a:lnTo>
                    <a:pt x="1131" y="754"/>
                  </a:lnTo>
                  <a:lnTo>
                    <a:pt x="1130" y="711"/>
                  </a:lnTo>
                  <a:lnTo>
                    <a:pt x="1126" y="667"/>
                  </a:lnTo>
                  <a:lnTo>
                    <a:pt x="1122" y="624"/>
                  </a:lnTo>
                  <a:lnTo>
                    <a:pt x="1115" y="580"/>
                  </a:lnTo>
                  <a:lnTo>
                    <a:pt x="1106" y="537"/>
                  </a:lnTo>
                  <a:lnTo>
                    <a:pt x="1095" y="495"/>
                  </a:lnTo>
                  <a:lnTo>
                    <a:pt x="1088" y="466"/>
                  </a:lnTo>
                  <a:lnTo>
                    <a:pt x="1078" y="439"/>
                  </a:lnTo>
                  <a:lnTo>
                    <a:pt x="1068" y="411"/>
                  </a:lnTo>
                  <a:lnTo>
                    <a:pt x="1057" y="386"/>
                  </a:lnTo>
                  <a:lnTo>
                    <a:pt x="1046" y="359"/>
                  </a:lnTo>
                  <a:lnTo>
                    <a:pt x="1034" y="335"/>
                  </a:lnTo>
                  <a:lnTo>
                    <a:pt x="1020" y="311"/>
                  </a:lnTo>
                  <a:lnTo>
                    <a:pt x="1006" y="287"/>
                  </a:lnTo>
                  <a:lnTo>
                    <a:pt x="992" y="265"/>
                  </a:lnTo>
                  <a:lnTo>
                    <a:pt x="977" y="243"/>
                  </a:lnTo>
                  <a:lnTo>
                    <a:pt x="962" y="223"/>
                  </a:lnTo>
                  <a:lnTo>
                    <a:pt x="945" y="204"/>
                  </a:lnTo>
                  <a:lnTo>
                    <a:pt x="929" y="184"/>
                  </a:lnTo>
                  <a:lnTo>
                    <a:pt x="912" y="166"/>
                  </a:lnTo>
                  <a:lnTo>
                    <a:pt x="894" y="148"/>
                  </a:lnTo>
                  <a:lnTo>
                    <a:pt x="877" y="132"/>
                  </a:lnTo>
                  <a:lnTo>
                    <a:pt x="858" y="116"/>
                  </a:lnTo>
                  <a:lnTo>
                    <a:pt x="839" y="102"/>
                  </a:lnTo>
                  <a:lnTo>
                    <a:pt x="820" y="89"/>
                  </a:lnTo>
                  <a:lnTo>
                    <a:pt x="801" y="76"/>
                  </a:lnTo>
                  <a:lnTo>
                    <a:pt x="782" y="63"/>
                  </a:lnTo>
                  <a:lnTo>
                    <a:pt x="762" y="53"/>
                  </a:lnTo>
                  <a:lnTo>
                    <a:pt x="741" y="43"/>
                  </a:lnTo>
                  <a:lnTo>
                    <a:pt x="721" y="35"/>
                  </a:lnTo>
                  <a:lnTo>
                    <a:pt x="700" y="26"/>
                  </a:lnTo>
                  <a:lnTo>
                    <a:pt x="679" y="19"/>
                  </a:lnTo>
                  <a:lnTo>
                    <a:pt x="659" y="14"/>
                  </a:lnTo>
                  <a:lnTo>
                    <a:pt x="638" y="9"/>
                  </a:lnTo>
                  <a:lnTo>
                    <a:pt x="617" y="5"/>
                  </a:lnTo>
                  <a:lnTo>
                    <a:pt x="596" y="3"/>
                  </a:lnTo>
                  <a:lnTo>
                    <a:pt x="575" y="0"/>
                  </a:lnTo>
                  <a:lnTo>
                    <a:pt x="554" y="0"/>
                  </a:lnTo>
                  <a:close/>
                </a:path>
              </a:pathLst>
            </a:custGeom>
            <a:solidFill>
              <a:srgbClr val="49A8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0" name="Oval 336">
              <a:extLst>
                <a:ext uri="{FF2B5EF4-FFF2-40B4-BE49-F238E27FC236}">
                  <a16:creationId xmlns:a16="http://schemas.microsoft.com/office/drawing/2014/main" id="{B24DEE0A-2589-C479-EEDC-FCC9803B112C}"/>
                </a:ext>
              </a:extLst>
            </p:cNvPr>
            <p:cNvSpPr/>
            <p:nvPr/>
          </p:nvSpPr>
          <p:spPr>
            <a:xfrm>
              <a:off x="11394855" y="3415683"/>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321" name="Freeform 254">
              <a:extLst>
                <a:ext uri="{FF2B5EF4-FFF2-40B4-BE49-F238E27FC236}">
                  <a16:creationId xmlns:a16="http://schemas.microsoft.com/office/drawing/2014/main" id="{1E07C737-407E-0B72-5AC1-039D058EC78C}"/>
                </a:ext>
              </a:extLst>
            </p:cNvPr>
            <p:cNvSpPr>
              <a:spLocks/>
            </p:cNvSpPr>
            <p:nvPr/>
          </p:nvSpPr>
          <p:spPr bwMode="auto">
            <a:xfrm>
              <a:off x="11472251" y="3167549"/>
              <a:ext cx="68332" cy="279714"/>
            </a:xfrm>
            <a:custGeom>
              <a:avLst/>
              <a:gdLst>
                <a:gd name="T0" fmla="*/ 227 w 244"/>
                <a:gd name="T1" fmla="*/ 489 h 930"/>
                <a:gd name="T2" fmla="*/ 216 w 244"/>
                <a:gd name="T3" fmla="*/ 493 h 930"/>
                <a:gd name="T4" fmla="*/ 196 w 244"/>
                <a:gd name="T5" fmla="*/ 504 h 930"/>
                <a:gd name="T6" fmla="*/ 170 w 244"/>
                <a:gd name="T7" fmla="*/ 520 h 930"/>
                <a:gd name="T8" fmla="*/ 141 w 244"/>
                <a:gd name="T9" fmla="*/ 537 h 930"/>
                <a:gd name="T10" fmla="*/ 107 w 244"/>
                <a:gd name="T11" fmla="*/ 0 h 930"/>
                <a:gd name="T12" fmla="*/ 15 w 244"/>
                <a:gd name="T13" fmla="*/ 0 h 930"/>
                <a:gd name="T14" fmla="*/ 0 w 244"/>
                <a:gd name="T15" fmla="*/ 930 h 930"/>
                <a:gd name="T16" fmla="*/ 167 w 244"/>
                <a:gd name="T17" fmla="*/ 930 h 930"/>
                <a:gd name="T18" fmla="*/ 146 w 244"/>
                <a:gd name="T19" fmla="*/ 613 h 930"/>
                <a:gd name="T20" fmla="*/ 175 w 244"/>
                <a:gd name="T21" fmla="*/ 584 h 930"/>
                <a:gd name="T22" fmla="*/ 202 w 244"/>
                <a:gd name="T23" fmla="*/ 557 h 930"/>
                <a:gd name="T24" fmla="*/ 223 w 244"/>
                <a:gd name="T25" fmla="*/ 537 h 930"/>
                <a:gd name="T26" fmla="*/ 234 w 244"/>
                <a:gd name="T27" fmla="*/ 528 h 930"/>
                <a:gd name="T28" fmla="*/ 238 w 244"/>
                <a:gd name="T29" fmla="*/ 523 h 930"/>
                <a:gd name="T30" fmla="*/ 242 w 244"/>
                <a:gd name="T31" fmla="*/ 518 h 930"/>
                <a:gd name="T32" fmla="*/ 244 w 244"/>
                <a:gd name="T33" fmla="*/ 510 h 930"/>
                <a:gd name="T34" fmla="*/ 244 w 244"/>
                <a:gd name="T35" fmla="*/ 503 h 930"/>
                <a:gd name="T36" fmla="*/ 242 w 244"/>
                <a:gd name="T37" fmla="*/ 498 h 930"/>
                <a:gd name="T38" fmla="*/ 238 w 244"/>
                <a:gd name="T39" fmla="*/ 492 h 930"/>
                <a:gd name="T40" fmla="*/ 236 w 244"/>
                <a:gd name="T41" fmla="*/ 491 h 930"/>
                <a:gd name="T42" fmla="*/ 234 w 244"/>
                <a:gd name="T43" fmla="*/ 490 h 930"/>
                <a:gd name="T44" fmla="*/ 231 w 244"/>
                <a:gd name="T45" fmla="*/ 489 h 930"/>
                <a:gd name="T46" fmla="*/ 227 w 244"/>
                <a:gd name="T47" fmla="*/ 48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930">
                  <a:moveTo>
                    <a:pt x="227" y="489"/>
                  </a:moveTo>
                  <a:lnTo>
                    <a:pt x="216" y="493"/>
                  </a:lnTo>
                  <a:lnTo>
                    <a:pt x="196" y="504"/>
                  </a:lnTo>
                  <a:lnTo>
                    <a:pt x="170" y="520"/>
                  </a:lnTo>
                  <a:lnTo>
                    <a:pt x="141" y="537"/>
                  </a:lnTo>
                  <a:lnTo>
                    <a:pt x="107" y="0"/>
                  </a:lnTo>
                  <a:lnTo>
                    <a:pt x="15" y="0"/>
                  </a:lnTo>
                  <a:lnTo>
                    <a:pt x="0" y="930"/>
                  </a:lnTo>
                  <a:lnTo>
                    <a:pt x="167" y="930"/>
                  </a:lnTo>
                  <a:lnTo>
                    <a:pt x="146" y="613"/>
                  </a:lnTo>
                  <a:lnTo>
                    <a:pt x="175" y="584"/>
                  </a:lnTo>
                  <a:lnTo>
                    <a:pt x="202" y="557"/>
                  </a:lnTo>
                  <a:lnTo>
                    <a:pt x="223" y="537"/>
                  </a:lnTo>
                  <a:lnTo>
                    <a:pt x="234" y="528"/>
                  </a:lnTo>
                  <a:lnTo>
                    <a:pt x="238" y="523"/>
                  </a:lnTo>
                  <a:lnTo>
                    <a:pt x="242" y="518"/>
                  </a:lnTo>
                  <a:lnTo>
                    <a:pt x="244" y="510"/>
                  </a:lnTo>
                  <a:lnTo>
                    <a:pt x="244" y="503"/>
                  </a:lnTo>
                  <a:lnTo>
                    <a:pt x="242" y="498"/>
                  </a:lnTo>
                  <a:lnTo>
                    <a:pt x="238" y="492"/>
                  </a:lnTo>
                  <a:lnTo>
                    <a:pt x="236" y="491"/>
                  </a:lnTo>
                  <a:lnTo>
                    <a:pt x="234" y="490"/>
                  </a:lnTo>
                  <a:lnTo>
                    <a:pt x="231" y="489"/>
                  </a:lnTo>
                  <a:lnTo>
                    <a:pt x="227" y="489"/>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2" name="Freeform 256">
              <a:extLst>
                <a:ext uri="{FF2B5EF4-FFF2-40B4-BE49-F238E27FC236}">
                  <a16:creationId xmlns:a16="http://schemas.microsoft.com/office/drawing/2014/main" id="{3AF59E30-D820-328B-5DEE-8218E03BE490}"/>
                </a:ext>
              </a:extLst>
            </p:cNvPr>
            <p:cNvSpPr>
              <a:spLocks/>
            </p:cNvSpPr>
            <p:nvPr/>
          </p:nvSpPr>
          <p:spPr bwMode="auto">
            <a:xfrm>
              <a:off x="11299330" y="2931447"/>
              <a:ext cx="382099" cy="363929"/>
            </a:xfrm>
            <a:custGeom>
              <a:avLst/>
              <a:gdLst>
                <a:gd name="T0" fmla="*/ 1366 w 1372"/>
                <a:gd name="T1" fmla="*/ 679 h 1212"/>
                <a:gd name="T2" fmla="*/ 1347 w 1372"/>
                <a:gd name="T3" fmla="*/ 620 h 1212"/>
                <a:gd name="T4" fmla="*/ 1300 w 1372"/>
                <a:gd name="T5" fmla="*/ 551 h 1212"/>
                <a:gd name="T6" fmla="*/ 1323 w 1372"/>
                <a:gd name="T7" fmla="*/ 481 h 1212"/>
                <a:gd name="T8" fmla="*/ 1326 w 1372"/>
                <a:gd name="T9" fmla="*/ 410 h 1212"/>
                <a:gd name="T10" fmla="*/ 1312 w 1372"/>
                <a:gd name="T11" fmla="*/ 347 h 1212"/>
                <a:gd name="T12" fmla="*/ 1283 w 1372"/>
                <a:gd name="T13" fmla="*/ 290 h 1212"/>
                <a:gd name="T14" fmla="*/ 1242 w 1372"/>
                <a:gd name="T15" fmla="*/ 243 h 1212"/>
                <a:gd name="T16" fmla="*/ 1191 w 1372"/>
                <a:gd name="T17" fmla="*/ 208 h 1212"/>
                <a:gd name="T18" fmla="*/ 1133 w 1372"/>
                <a:gd name="T19" fmla="*/ 184 h 1212"/>
                <a:gd name="T20" fmla="*/ 1068 w 1372"/>
                <a:gd name="T21" fmla="*/ 176 h 1212"/>
                <a:gd name="T22" fmla="*/ 985 w 1372"/>
                <a:gd name="T23" fmla="*/ 189 h 1212"/>
                <a:gd name="T24" fmla="*/ 929 w 1372"/>
                <a:gd name="T25" fmla="*/ 166 h 1212"/>
                <a:gd name="T26" fmla="*/ 868 w 1372"/>
                <a:gd name="T27" fmla="*/ 75 h 1212"/>
                <a:gd name="T28" fmla="*/ 775 w 1372"/>
                <a:gd name="T29" fmla="*/ 17 h 1212"/>
                <a:gd name="T30" fmla="*/ 662 w 1372"/>
                <a:gd name="T31" fmla="*/ 1 h 1212"/>
                <a:gd name="T32" fmla="*/ 556 w 1372"/>
                <a:gd name="T33" fmla="*/ 35 h 1212"/>
                <a:gd name="T34" fmla="*/ 475 w 1372"/>
                <a:gd name="T35" fmla="*/ 108 h 1212"/>
                <a:gd name="T36" fmla="*/ 431 w 1372"/>
                <a:gd name="T37" fmla="*/ 209 h 1212"/>
                <a:gd name="T38" fmla="*/ 354 w 1372"/>
                <a:gd name="T39" fmla="*/ 181 h 1212"/>
                <a:gd name="T40" fmla="*/ 278 w 1372"/>
                <a:gd name="T41" fmla="*/ 177 h 1212"/>
                <a:gd name="T42" fmla="*/ 215 w 1372"/>
                <a:gd name="T43" fmla="*/ 192 h 1212"/>
                <a:gd name="T44" fmla="*/ 159 w 1372"/>
                <a:gd name="T45" fmla="*/ 221 h 1212"/>
                <a:gd name="T46" fmla="*/ 111 w 1372"/>
                <a:gd name="T47" fmla="*/ 261 h 1212"/>
                <a:gd name="T48" fmla="*/ 76 w 1372"/>
                <a:gd name="T49" fmla="*/ 312 h 1212"/>
                <a:gd name="T50" fmla="*/ 53 w 1372"/>
                <a:gd name="T51" fmla="*/ 371 h 1212"/>
                <a:gd name="T52" fmla="*/ 44 w 1372"/>
                <a:gd name="T53" fmla="*/ 436 h 1212"/>
                <a:gd name="T54" fmla="*/ 55 w 1372"/>
                <a:gd name="T55" fmla="*/ 510 h 1212"/>
                <a:gd name="T56" fmla="*/ 42 w 1372"/>
                <a:gd name="T57" fmla="*/ 588 h 1212"/>
                <a:gd name="T58" fmla="*/ 15 w 1372"/>
                <a:gd name="T59" fmla="*/ 644 h 1212"/>
                <a:gd name="T60" fmla="*/ 2 w 1372"/>
                <a:gd name="T61" fmla="*/ 704 h 1212"/>
                <a:gd name="T62" fmla="*/ 10 w 1372"/>
                <a:gd name="T63" fmla="*/ 799 h 1212"/>
                <a:gd name="T64" fmla="*/ 63 w 1372"/>
                <a:gd name="T65" fmla="*/ 899 h 1212"/>
                <a:gd name="T66" fmla="*/ 152 w 1372"/>
                <a:gd name="T67" fmla="*/ 966 h 1212"/>
                <a:gd name="T68" fmla="*/ 230 w 1372"/>
                <a:gd name="T69" fmla="*/ 1032 h 1212"/>
                <a:gd name="T70" fmla="*/ 288 w 1372"/>
                <a:gd name="T71" fmla="*/ 1130 h 1212"/>
                <a:gd name="T72" fmla="*/ 383 w 1372"/>
                <a:gd name="T73" fmla="*/ 1195 h 1212"/>
                <a:gd name="T74" fmla="*/ 464 w 1372"/>
                <a:gd name="T75" fmla="*/ 1212 h 1212"/>
                <a:gd name="T76" fmla="*/ 539 w 1372"/>
                <a:gd name="T77" fmla="*/ 1204 h 1212"/>
                <a:gd name="T78" fmla="*/ 608 w 1372"/>
                <a:gd name="T79" fmla="*/ 1176 h 1212"/>
                <a:gd name="T80" fmla="*/ 667 w 1372"/>
                <a:gd name="T81" fmla="*/ 1129 h 1212"/>
                <a:gd name="T82" fmla="*/ 716 w 1372"/>
                <a:gd name="T83" fmla="*/ 1139 h 1212"/>
                <a:gd name="T84" fmla="*/ 776 w 1372"/>
                <a:gd name="T85" fmla="*/ 1183 h 1212"/>
                <a:gd name="T86" fmla="*/ 848 w 1372"/>
                <a:gd name="T87" fmla="*/ 1208 h 1212"/>
                <a:gd name="T88" fmla="*/ 920 w 1372"/>
                <a:gd name="T89" fmla="*/ 1211 h 1212"/>
                <a:gd name="T90" fmla="*/ 1010 w 1372"/>
                <a:gd name="T91" fmla="*/ 1186 h 1212"/>
                <a:gd name="T92" fmla="*/ 1099 w 1372"/>
                <a:gd name="T93" fmla="*/ 1114 h 1212"/>
                <a:gd name="T94" fmla="*/ 1148 w 1372"/>
                <a:gd name="T95" fmla="*/ 1009 h 1212"/>
                <a:gd name="T96" fmla="*/ 1239 w 1372"/>
                <a:gd name="T97" fmla="*/ 956 h 1212"/>
                <a:gd name="T98" fmla="*/ 1323 w 1372"/>
                <a:gd name="T99" fmla="*/ 881 h 1212"/>
                <a:gd name="T100" fmla="*/ 1367 w 1372"/>
                <a:gd name="T101" fmla="*/ 777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2" h="1212">
                  <a:moveTo>
                    <a:pt x="1372" y="730"/>
                  </a:moveTo>
                  <a:lnTo>
                    <a:pt x="1372" y="716"/>
                  </a:lnTo>
                  <a:lnTo>
                    <a:pt x="1370" y="704"/>
                  </a:lnTo>
                  <a:lnTo>
                    <a:pt x="1368" y="691"/>
                  </a:lnTo>
                  <a:lnTo>
                    <a:pt x="1366" y="679"/>
                  </a:lnTo>
                  <a:lnTo>
                    <a:pt x="1364" y="667"/>
                  </a:lnTo>
                  <a:lnTo>
                    <a:pt x="1360" y="655"/>
                  </a:lnTo>
                  <a:lnTo>
                    <a:pt x="1357" y="644"/>
                  </a:lnTo>
                  <a:lnTo>
                    <a:pt x="1353" y="631"/>
                  </a:lnTo>
                  <a:lnTo>
                    <a:pt x="1347" y="620"/>
                  </a:lnTo>
                  <a:lnTo>
                    <a:pt x="1342" y="609"/>
                  </a:lnTo>
                  <a:lnTo>
                    <a:pt x="1336" y="599"/>
                  </a:lnTo>
                  <a:lnTo>
                    <a:pt x="1330" y="588"/>
                  </a:lnTo>
                  <a:lnTo>
                    <a:pt x="1316" y="570"/>
                  </a:lnTo>
                  <a:lnTo>
                    <a:pt x="1300" y="551"/>
                  </a:lnTo>
                  <a:lnTo>
                    <a:pt x="1306" y="538"/>
                  </a:lnTo>
                  <a:lnTo>
                    <a:pt x="1312" y="524"/>
                  </a:lnTo>
                  <a:lnTo>
                    <a:pt x="1316" y="510"/>
                  </a:lnTo>
                  <a:lnTo>
                    <a:pt x="1321" y="496"/>
                  </a:lnTo>
                  <a:lnTo>
                    <a:pt x="1323" y="481"/>
                  </a:lnTo>
                  <a:lnTo>
                    <a:pt x="1325" y="466"/>
                  </a:lnTo>
                  <a:lnTo>
                    <a:pt x="1327" y="452"/>
                  </a:lnTo>
                  <a:lnTo>
                    <a:pt x="1327" y="436"/>
                  </a:lnTo>
                  <a:lnTo>
                    <a:pt x="1327" y="423"/>
                  </a:lnTo>
                  <a:lnTo>
                    <a:pt x="1326" y="410"/>
                  </a:lnTo>
                  <a:lnTo>
                    <a:pt x="1324" y="396"/>
                  </a:lnTo>
                  <a:lnTo>
                    <a:pt x="1322" y="383"/>
                  </a:lnTo>
                  <a:lnTo>
                    <a:pt x="1320" y="371"/>
                  </a:lnTo>
                  <a:lnTo>
                    <a:pt x="1316" y="359"/>
                  </a:lnTo>
                  <a:lnTo>
                    <a:pt x="1312" y="347"/>
                  </a:lnTo>
                  <a:lnTo>
                    <a:pt x="1307" y="335"/>
                  </a:lnTo>
                  <a:lnTo>
                    <a:pt x="1302" y="323"/>
                  </a:lnTo>
                  <a:lnTo>
                    <a:pt x="1296" y="312"/>
                  </a:lnTo>
                  <a:lnTo>
                    <a:pt x="1290" y="301"/>
                  </a:lnTo>
                  <a:lnTo>
                    <a:pt x="1283" y="290"/>
                  </a:lnTo>
                  <a:lnTo>
                    <a:pt x="1275" y="280"/>
                  </a:lnTo>
                  <a:lnTo>
                    <a:pt x="1268" y="270"/>
                  </a:lnTo>
                  <a:lnTo>
                    <a:pt x="1260" y="261"/>
                  </a:lnTo>
                  <a:lnTo>
                    <a:pt x="1251" y="252"/>
                  </a:lnTo>
                  <a:lnTo>
                    <a:pt x="1242" y="243"/>
                  </a:lnTo>
                  <a:lnTo>
                    <a:pt x="1232" y="235"/>
                  </a:lnTo>
                  <a:lnTo>
                    <a:pt x="1224" y="227"/>
                  </a:lnTo>
                  <a:lnTo>
                    <a:pt x="1212" y="221"/>
                  </a:lnTo>
                  <a:lnTo>
                    <a:pt x="1203" y="213"/>
                  </a:lnTo>
                  <a:lnTo>
                    <a:pt x="1191" y="208"/>
                  </a:lnTo>
                  <a:lnTo>
                    <a:pt x="1180" y="201"/>
                  </a:lnTo>
                  <a:lnTo>
                    <a:pt x="1168" y="197"/>
                  </a:lnTo>
                  <a:lnTo>
                    <a:pt x="1157" y="192"/>
                  </a:lnTo>
                  <a:lnTo>
                    <a:pt x="1145" y="188"/>
                  </a:lnTo>
                  <a:lnTo>
                    <a:pt x="1133" y="184"/>
                  </a:lnTo>
                  <a:lnTo>
                    <a:pt x="1120" y="181"/>
                  </a:lnTo>
                  <a:lnTo>
                    <a:pt x="1108" y="179"/>
                  </a:lnTo>
                  <a:lnTo>
                    <a:pt x="1094" y="177"/>
                  </a:lnTo>
                  <a:lnTo>
                    <a:pt x="1081" y="177"/>
                  </a:lnTo>
                  <a:lnTo>
                    <a:pt x="1068" y="176"/>
                  </a:lnTo>
                  <a:lnTo>
                    <a:pt x="1050" y="177"/>
                  </a:lnTo>
                  <a:lnTo>
                    <a:pt x="1034" y="178"/>
                  </a:lnTo>
                  <a:lnTo>
                    <a:pt x="1017" y="181"/>
                  </a:lnTo>
                  <a:lnTo>
                    <a:pt x="1000" y="184"/>
                  </a:lnTo>
                  <a:lnTo>
                    <a:pt x="985" y="189"/>
                  </a:lnTo>
                  <a:lnTo>
                    <a:pt x="970" y="194"/>
                  </a:lnTo>
                  <a:lnTo>
                    <a:pt x="955" y="201"/>
                  </a:lnTo>
                  <a:lnTo>
                    <a:pt x="941" y="209"/>
                  </a:lnTo>
                  <a:lnTo>
                    <a:pt x="935" y="187"/>
                  </a:lnTo>
                  <a:lnTo>
                    <a:pt x="929" y="166"/>
                  </a:lnTo>
                  <a:lnTo>
                    <a:pt x="919" y="146"/>
                  </a:lnTo>
                  <a:lnTo>
                    <a:pt x="909" y="126"/>
                  </a:lnTo>
                  <a:lnTo>
                    <a:pt x="897" y="108"/>
                  </a:lnTo>
                  <a:lnTo>
                    <a:pt x="883" y="91"/>
                  </a:lnTo>
                  <a:lnTo>
                    <a:pt x="868" y="75"/>
                  </a:lnTo>
                  <a:lnTo>
                    <a:pt x="851" y="60"/>
                  </a:lnTo>
                  <a:lnTo>
                    <a:pt x="834" y="46"/>
                  </a:lnTo>
                  <a:lnTo>
                    <a:pt x="816" y="35"/>
                  </a:lnTo>
                  <a:lnTo>
                    <a:pt x="796" y="24"/>
                  </a:lnTo>
                  <a:lnTo>
                    <a:pt x="775" y="17"/>
                  </a:lnTo>
                  <a:lnTo>
                    <a:pt x="754" y="9"/>
                  </a:lnTo>
                  <a:lnTo>
                    <a:pt x="732" y="4"/>
                  </a:lnTo>
                  <a:lnTo>
                    <a:pt x="709" y="1"/>
                  </a:lnTo>
                  <a:lnTo>
                    <a:pt x="686" y="0"/>
                  </a:lnTo>
                  <a:lnTo>
                    <a:pt x="662" y="1"/>
                  </a:lnTo>
                  <a:lnTo>
                    <a:pt x="639" y="4"/>
                  </a:lnTo>
                  <a:lnTo>
                    <a:pt x="617" y="9"/>
                  </a:lnTo>
                  <a:lnTo>
                    <a:pt x="596" y="17"/>
                  </a:lnTo>
                  <a:lnTo>
                    <a:pt x="575" y="24"/>
                  </a:lnTo>
                  <a:lnTo>
                    <a:pt x="556" y="35"/>
                  </a:lnTo>
                  <a:lnTo>
                    <a:pt x="538" y="46"/>
                  </a:lnTo>
                  <a:lnTo>
                    <a:pt x="520" y="60"/>
                  </a:lnTo>
                  <a:lnTo>
                    <a:pt x="503" y="75"/>
                  </a:lnTo>
                  <a:lnTo>
                    <a:pt x="489" y="91"/>
                  </a:lnTo>
                  <a:lnTo>
                    <a:pt x="475" y="108"/>
                  </a:lnTo>
                  <a:lnTo>
                    <a:pt x="463" y="126"/>
                  </a:lnTo>
                  <a:lnTo>
                    <a:pt x="453" y="146"/>
                  </a:lnTo>
                  <a:lnTo>
                    <a:pt x="444" y="166"/>
                  </a:lnTo>
                  <a:lnTo>
                    <a:pt x="436" y="187"/>
                  </a:lnTo>
                  <a:lnTo>
                    <a:pt x="431" y="209"/>
                  </a:lnTo>
                  <a:lnTo>
                    <a:pt x="416" y="201"/>
                  </a:lnTo>
                  <a:lnTo>
                    <a:pt x="402" y="194"/>
                  </a:lnTo>
                  <a:lnTo>
                    <a:pt x="386" y="189"/>
                  </a:lnTo>
                  <a:lnTo>
                    <a:pt x="371" y="184"/>
                  </a:lnTo>
                  <a:lnTo>
                    <a:pt x="354" y="181"/>
                  </a:lnTo>
                  <a:lnTo>
                    <a:pt x="338" y="178"/>
                  </a:lnTo>
                  <a:lnTo>
                    <a:pt x="321" y="177"/>
                  </a:lnTo>
                  <a:lnTo>
                    <a:pt x="305" y="176"/>
                  </a:lnTo>
                  <a:lnTo>
                    <a:pt x="291" y="177"/>
                  </a:lnTo>
                  <a:lnTo>
                    <a:pt x="278" y="177"/>
                  </a:lnTo>
                  <a:lnTo>
                    <a:pt x="265" y="179"/>
                  </a:lnTo>
                  <a:lnTo>
                    <a:pt x="252" y="181"/>
                  </a:lnTo>
                  <a:lnTo>
                    <a:pt x="240" y="184"/>
                  </a:lnTo>
                  <a:lnTo>
                    <a:pt x="227" y="188"/>
                  </a:lnTo>
                  <a:lnTo>
                    <a:pt x="215" y="192"/>
                  </a:lnTo>
                  <a:lnTo>
                    <a:pt x="203" y="197"/>
                  </a:lnTo>
                  <a:lnTo>
                    <a:pt x="192" y="201"/>
                  </a:lnTo>
                  <a:lnTo>
                    <a:pt x="180" y="208"/>
                  </a:lnTo>
                  <a:lnTo>
                    <a:pt x="170" y="213"/>
                  </a:lnTo>
                  <a:lnTo>
                    <a:pt x="159" y="221"/>
                  </a:lnTo>
                  <a:lnTo>
                    <a:pt x="149" y="227"/>
                  </a:lnTo>
                  <a:lnTo>
                    <a:pt x="139" y="235"/>
                  </a:lnTo>
                  <a:lnTo>
                    <a:pt x="129" y="243"/>
                  </a:lnTo>
                  <a:lnTo>
                    <a:pt x="120" y="252"/>
                  </a:lnTo>
                  <a:lnTo>
                    <a:pt x="111" y="261"/>
                  </a:lnTo>
                  <a:lnTo>
                    <a:pt x="104" y="270"/>
                  </a:lnTo>
                  <a:lnTo>
                    <a:pt x="96" y="280"/>
                  </a:lnTo>
                  <a:lnTo>
                    <a:pt x="88" y="290"/>
                  </a:lnTo>
                  <a:lnTo>
                    <a:pt x="82" y="301"/>
                  </a:lnTo>
                  <a:lnTo>
                    <a:pt x="76" y="312"/>
                  </a:lnTo>
                  <a:lnTo>
                    <a:pt x="69" y="323"/>
                  </a:lnTo>
                  <a:lnTo>
                    <a:pt x="65" y="335"/>
                  </a:lnTo>
                  <a:lnTo>
                    <a:pt x="60" y="347"/>
                  </a:lnTo>
                  <a:lnTo>
                    <a:pt x="56" y="359"/>
                  </a:lnTo>
                  <a:lnTo>
                    <a:pt x="53" y="371"/>
                  </a:lnTo>
                  <a:lnTo>
                    <a:pt x="50" y="383"/>
                  </a:lnTo>
                  <a:lnTo>
                    <a:pt x="47" y="396"/>
                  </a:lnTo>
                  <a:lnTo>
                    <a:pt x="45" y="410"/>
                  </a:lnTo>
                  <a:lnTo>
                    <a:pt x="45" y="423"/>
                  </a:lnTo>
                  <a:lnTo>
                    <a:pt x="44" y="436"/>
                  </a:lnTo>
                  <a:lnTo>
                    <a:pt x="45" y="452"/>
                  </a:lnTo>
                  <a:lnTo>
                    <a:pt x="46" y="466"/>
                  </a:lnTo>
                  <a:lnTo>
                    <a:pt x="48" y="481"/>
                  </a:lnTo>
                  <a:lnTo>
                    <a:pt x="52" y="496"/>
                  </a:lnTo>
                  <a:lnTo>
                    <a:pt x="55" y="510"/>
                  </a:lnTo>
                  <a:lnTo>
                    <a:pt x="60" y="524"/>
                  </a:lnTo>
                  <a:lnTo>
                    <a:pt x="65" y="538"/>
                  </a:lnTo>
                  <a:lnTo>
                    <a:pt x="72" y="551"/>
                  </a:lnTo>
                  <a:lnTo>
                    <a:pt x="56" y="570"/>
                  </a:lnTo>
                  <a:lnTo>
                    <a:pt x="42" y="588"/>
                  </a:lnTo>
                  <a:lnTo>
                    <a:pt x="35" y="599"/>
                  </a:lnTo>
                  <a:lnTo>
                    <a:pt x="30" y="609"/>
                  </a:lnTo>
                  <a:lnTo>
                    <a:pt x="24" y="620"/>
                  </a:lnTo>
                  <a:lnTo>
                    <a:pt x="20" y="631"/>
                  </a:lnTo>
                  <a:lnTo>
                    <a:pt x="15" y="644"/>
                  </a:lnTo>
                  <a:lnTo>
                    <a:pt x="11" y="655"/>
                  </a:lnTo>
                  <a:lnTo>
                    <a:pt x="8" y="667"/>
                  </a:lnTo>
                  <a:lnTo>
                    <a:pt x="5" y="679"/>
                  </a:lnTo>
                  <a:lnTo>
                    <a:pt x="3" y="691"/>
                  </a:lnTo>
                  <a:lnTo>
                    <a:pt x="2" y="704"/>
                  </a:lnTo>
                  <a:lnTo>
                    <a:pt x="1" y="716"/>
                  </a:lnTo>
                  <a:lnTo>
                    <a:pt x="0" y="730"/>
                  </a:lnTo>
                  <a:lnTo>
                    <a:pt x="1" y="753"/>
                  </a:lnTo>
                  <a:lnTo>
                    <a:pt x="4" y="777"/>
                  </a:lnTo>
                  <a:lnTo>
                    <a:pt x="10" y="799"/>
                  </a:lnTo>
                  <a:lnTo>
                    <a:pt x="18" y="821"/>
                  </a:lnTo>
                  <a:lnTo>
                    <a:pt x="26" y="842"/>
                  </a:lnTo>
                  <a:lnTo>
                    <a:pt x="36" y="862"/>
                  </a:lnTo>
                  <a:lnTo>
                    <a:pt x="50" y="881"/>
                  </a:lnTo>
                  <a:lnTo>
                    <a:pt x="63" y="899"/>
                  </a:lnTo>
                  <a:lnTo>
                    <a:pt x="78" y="915"/>
                  </a:lnTo>
                  <a:lnTo>
                    <a:pt x="95" y="930"/>
                  </a:lnTo>
                  <a:lnTo>
                    <a:pt x="114" y="944"/>
                  </a:lnTo>
                  <a:lnTo>
                    <a:pt x="132" y="956"/>
                  </a:lnTo>
                  <a:lnTo>
                    <a:pt x="152" y="966"/>
                  </a:lnTo>
                  <a:lnTo>
                    <a:pt x="174" y="975"/>
                  </a:lnTo>
                  <a:lnTo>
                    <a:pt x="196" y="981"/>
                  </a:lnTo>
                  <a:lnTo>
                    <a:pt x="219" y="986"/>
                  </a:lnTo>
                  <a:lnTo>
                    <a:pt x="223" y="1009"/>
                  </a:lnTo>
                  <a:lnTo>
                    <a:pt x="230" y="1032"/>
                  </a:lnTo>
                  <a:lnTo>
                    <a:pt x="237" y="1054"/>
                  </a:lnTo>
                  <a:lnTo>
                    <a:pt x="247" y="1075"/>
                  </a:lnTo>
                  <a:lnTo>
                    <a:pt x="259" y="1095"/>
                  </a:lnTo>
                  <a:lnTo>
                    <a:pt x="273" y="1114"/>
                  </a:lnTo>
                  <a:lnTo>
                    <a:pt x="288" y="1130"/>
                  </a:lnTo>
                  <a:lnTo>
                    <a:pt x="305" y="1147"/>
                  </a:lnTo>
                  <a:lnTo>
                    <a:pt x="322" y="1161"/>
                  </a:lnTo>
                  <a:lnTo>
                    <a:pt x="341" y="1175"/>
                  </a:lnTo>
                  <a:lnTo>
                    <a:pt x="361" y="1186"/>
                  </a:lnTo>
                  <a:lnTo>
                    <a:pt x="383" y="1195"/>
                  </a:lnTo>
                  <a:lnTo>
                    <a:pt x="405" y="1202"/>
                  </a:lnTo>
                  <a:lnTo>
                    <a:pt x="428" y="1208"/>
                  </a:lnTo>
                  <a:lnTo>
                    <a:pt x="441" y="1210"/>
                  </a:lnTo>
                  <a:lnTo>
                    <a:pt x="452" y="1211"/>
                  </a:lnTo>
                  <a:lnTo>
                    <a:pt x="464" y="1212"/>
                  </a:lnTo>
                  <a:lnTo>
                    <a:pt x="477" y="1212"/>
                  </a:lnTo>
                  <a:lnTo>
                    <a:pt x="492" y="1212"/>
                  </a:lnTo>
                  <a:lnTo>
                    <a:pt x="508" y="1210"/>
                  </a:lnTo>
                  <a:lnTo>
                    <a:pt x="523" y="1208"/>
                  </a:lnTo>
                  <a:lnTo>
                    <a:pt x="539" y="1204"/>
                  </a:lnTo>
                  <a:lnTo>
                    <a:pt x="553" y="1200"/>
                  </a:lnTo>
                  <a:lnTo>
                    <a:pt x="568" y="1196"/>
                  </a:lnTo>
                  <a:lnTo>
                    <a:pt x="582" y="1190"/>
                  </a:lnTo>
                  <a:lnTo>
                    <a:pt x="595" y="1183"/>
                  </a:lnTo>
                  <a:lnTo>
                    <a:pt x="608" y="1176"/>
                  </a:lnTo>
                  <a:lnTo>
                    <a:pt x="622" y="1168"/>
                  </a:lnTo>
                  <a:lnTo>
                    <a:pt x="634" y="1159"/>
                  </a:lnTo>
                  <a:lnTo>
                    <a:pt x="645" y="1149"/>
                  </a:lnTo>
                  <a:lnTo>
                    <a:pt x="656" y="1139"/>
                  </a:lnTo>
                  <a:lnTo>
                    <a:pt x="667" y="1129"/>
                  </a:lnTo>
                  <a:lnTo>
                    <a:pt x="677" y="1117"/>
                  </a:lnTo>
                  <a:lnTo>
                    <a:pt x="686" y="1106"/>
                  </a:lnTo>
                  <a:lnTo>
                    <a:pt x="695" y="1117"/>
                  </a:lnTo>
                  <a:lnTo>
                    <a:pt x="704" y="1129"/>
                  </a:lnTo>
                  <a:lnTo>
                    <a:pt x="716" y="1139"/>
                  </a:lnTo>
                  <a:lnTo>
                    <a:pt x="727" y="1149"/>
                  </a:lnTo>
                  <a:lnTo>
                    <a:pt x="738" y="1159"/>
                  </a:lnTo>
                  <a:lnTo>
                    <a:pt x="750" y="1168"/>
                  </a:lnTo>
                  <a:lnTo>
                    <a:pt x="763" y="1176"/>
                  </a:lnTo>
                  <a:lnTo>
                    <a:pt x="776" y="1183"/>
                  </a:lnTo>
                  <a:lnTo>
                    <a:pt x="790" y="1190"/>
                  </a:lnTo>
                  <a:lnTo>
                    <a:pt x="804" y="1196"/>
                  </a:lnTo>
                  <a:lnTo>
                    <a:pt x="818" y="1200"/>
                  </a:lnTo>
                  <a:lnTo>
                    <a:pt x="833" y="1204"/>
                  </a:lnTo>
                  <a:lnTo>
                    <a:pt x="848" y="1208"/>
                  </a:lnTo>
                  <a:lnTo>
                    <a:pt x="863" y="1210"/>
                  </a:lnTo>
                  <a:lnTo>
                    <a:pt x="879" y="1212"/>
                  </a:lnTo>
                  <a:lnTo>
                    <a:pt x="896" y="1212"/>
                  </a:lnTo>
                  <a:lnTo>
                    <a:pt x="908" y="1212"/>
                  </a:lnTo>
                  <a:lnTo>
                    <a:pt x="920" y="1211"/>
                  </a:lnTo>
                  <a:lnTo>
                    <a:pt x="932" y="1210"/>
                  </a:lnTo>
                  <a:lnTo>
                    <a:pt x="944" y="1208"/>
                  </a:lnTo>
                  <a:lnTo>
                    <a:pt x="966" y="1202"/>
                  </a:lnTo>
                  <a:lnTo>
                    <a:pt x="989" y="1195"/>
                  </a:lnTo>
                  <a:lnTo>
                    <a:pt x="1010" y="1186"/>
                  </a:lnTo>
                  <a:lnTo>
                    <a:pt x="1030" y="1175"/>
                  </a:lnTo>
                  <a:lnTo>
                    <a:pt x="1050" y="1161"/>
                  </a:lnTo>
                  <a:lnTo>
                    <a:pt x="1068" y="1147"/>
                  </a:lnTo>
                  <a:lnTo>
                    <a:pt x="1084" y="1130"/>
                  </a:lnTo>
                  <a:lnTo>
                    <a:pt x="1099" y="1114"/>
                  </a:lnTo>
                  <a:lnTo>
                    <a:pt x="1112" y="1095"/>
                  </a:lnTo>
                  <a:lnTo>
                    <a:pt x="1124" y="1075"/>
                  </a:lnTo>
                  <a:lnTo>
                    <a:pt x="1134" y="1054"/>
                  </a:lnTo>
                  <a:lnTo>
                    <a:pt x="1143" y="1032"/>
                  </a:lnTo>
                  <a:lnTo>
                    <a:pt x="1148" y="1009"/>
                  </a:lnTo>
                  <a:lnTo>
                    <a:pt x="1153" y="986"/>
                  </a:lnTo>
                  <a:lnTo>
                    <a:pt x="1176" y="981"/>
                  </a:lnTo>
                  <a:lnTo>
                    <a:pt x="1198" y="975"/>
                  </a:lnTo>
                  <a:lnTo>
                    <a:pt x="1219" y="966"/>
                  </a:lnTo>
                  <a:lnTo>
                    <a:pt x="1239" y="956"/>
                  </a:lnTo>
                  <a:lnTo>
                    <a:pt x="1259" y="944"/>
                  </a:lnTo>
                  <a:lnTo>
                    <a:pt x="1277" y="930"/>
                  </a:lnTo>
                  <a:lnTo>
                    <a:pt x="1293" y="915"/>
                  </a:lnTo>
                  <a:lnTo>
                    <a:pt x="1309" y="899"/>
                  </a:lnTo>
                  <a:lnTo>
                    <a:pt x="1323" y="881"/>
                  </a:lnTo>
                  <a:lnTo>
                    <a:pt x="1335" y="862"/>
                  </a:lnTo>
                  <a:lnTo>
                    <a:pt x="1346" y="842"/>
                  </a:lnTo>
                  <a:lnTo>
                    <a:pt x="1355" y="821"/>
                  </a:lnTo>
                  <a:lnTo>
                    <a:pt x="1362" y="799"/>
                  </a:lnTo>
                  <a:lnTo>
                    <a:pt x="1367" y="777"/>
                  </a:lnTo>
                  <a:lnTo>
                    <a:pt x="1370" y="753"/>
                  </a:lnTo>
                  <a:lnTo>
                    <a:pt x="1372" y="730"/>
                  </a:lnTo>
                  <a:close/>
                </a:path>
              </a:pathLst>
            </a:custGeom>
            <a:solidFill>
              <a:srgbClr val="00A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3" name="Freeform 257">
              <a:extLst>
                <a:ext uri="{FF2B5EF4-FFF2-40B4-BE49-F238E27FC236}">
                  <a16:creationId xmlns:a16="http://schemas.microsoft.com/office/drawing/2014/main" id="{B4E102BA-EAF3-FD3A-0B3C-0DE1D398BA73}"/>
                </a:ext>
              </a:extLst>
            </p:cNvPr>
            <p:cNvSpPr>
              <a:spLocks/>
            </p:cNvSpPr>
            <p:nvPr/>
          </p:nvSpPr>
          <p:spPr bwMode="auto">
            <a:xfrm>
              <a:off x="11363479" y="2985584"/>
              <a:ext cx="317951" cy="309790"/>
            </a:xfrm>
            <a:custGeom>
              <a:avLst/>
              <a:gdLst>
                <a:gd name="T0" fmla="*/ 1085 w 1141"/>
                <a:gd name="T1" fmla="*/ 330 h 1032"/>
                <a:gd name="T2" fmla="*/ 1096 w 1141"/>
                <a:gd name="T3" fmla="*/ 272 h 1032"/>
                <a:gd name="T4" fmla="*/ 1087 w 1141"/>
                <a:gd name="T5" fmla="*/ 187 h 1032"/>
                <a:gd name="T6" fmla="*/ 1048 w 1141"/>
                <a:gd name="T7" fmla="*/ 105 h 1032"/>
                <a:gd name="T8" fmla="*/ 985 w 1141"/>
                <a:gd name="T9" fmla="*/ 42 h 1032"/>
                <a:gd name="T10" fmla="*/ 902 w 1141"/>
                <a:gd name="T11" fmla="*/ 4 h 1032"/>
                <a:gd name="T12" fmla="*/ 915 w 1141"/>
                <a:gd name="T13" fmla="*/ 28 h 1032"/>
                <a:gd name="T14" fmla="*/ 953 w 1141"/>
                <a:gd name="T15" fmla="*/ 74 h 1032"/>
                <a:gd name="T16" fmla="*/ 979 w 1141"/>
                <a:gd name="T17" fmla="*/ 129 h 1032"/>
                <a:gd name="T18" fmla="*/ 990 w 1141"/>
                <a:gd name="T19" fmla="*/ 190 h 1032"/>
                <a:gd name="T20" fmla="*/ 987 w 1141"/>
                <a:gd name="T21" fmla="*/ 248 h 1032"/>
                <a:gd name="T22" fmla="*/ 972 w 1141"/>
                <a:gd name="T23" fmla="*/ 302 h 1032"/>
                <a:gd name="T24" fmla="*/ 1005 w 1141"/>
                <a:gd name="T25" fmla="*/ 371 h 1032"/>
                <a:gd name="T26" fmla="*/ 1026 w 1141"/>
                <a:gd name="T27" fmla="*/ 425 h 1032"/>
                <a:gd name="T28" fmla="*/ 1032 w 1141"/>
                <a:gd name="T29" fmla="*/ 471 h 1032"/>
                <a:gd name="T30" fmla="*/ 1023 w 1141"/>
                <a:gd name="T31" fmla="*/ 550 h 1032"/>
                <a:gd name="T32" fmla="*/ 987 w 1141"/>
                <a:gd name="T33" fmla="*/ 627 h 1032"/>
                <a:gd name="T34" fmla="*/ 926 w 1141"/>
                <a:gd name="T35" fmla="*/ 687 h 1032"/>
                <a:gd name="T36" fmla="*/ 848 w 1141"/>
                <a:gd name="T37" fmla="*/ 722 h 1032"/>
                <a:gd name="T38" fmla="*/ 808 w 1141"/>
                <a:gd name="T39" fmla="*/ 792 h 1032"/>
                <a:gd name="T40" fmla="*/ 761 w 1141"/>
                <a:gd name="T41" fmla="*/ 864 h 1032"/>
                <a:gd name="T42" fmla="*/ 691 w 1141"/>
                <a:gd name="T43" fmla="*/ 915 h 1032"/>
                <a:gd name="T44" fmla="*/ 605 w 1141"/>
                <a:gd name="T45" fmla="*/ 939 h 1032"/>
                <a:gd name="T46" fmla="*/ 538 w 1141"/>
                <a:gd name="T47" fmla="*/ 937 h 1032"/>
                <a:gd name="T48" fmla="*/ 482 w 1141"/>
                <a:gd name="T49" fmla="*/ 920 h 1032"/>
                <a:gd name="T50" fmla="*/ 434 w 1141"/>
                <a:gd name="T51" fmla="*/ 891 h 1032"/>
                <a:gd name="T52" fmla="*/ 393 w 1141"/>
                <a:gd name="T53" fmla="*/ 851 h 1032"/>
                <a:gd name="T54" fmla="*/ 356 w 1141"/>
                <a:gd name="T55" fmla="*/ 872 h 1032"/>
                <a:gd name="T56" fmla="*/ 311 w 1141"/>
                <a:gd name="T57" fmla="*/ 906 h 1032"/>
                <a:gd name="T58" fmla="*/ 259 w 1141"/>
                <a:gd name="T59" fmla="*/ 929 h 1032"/>
                <a:gd name="T60" fmla="*/ 201 w 1141"/>
                <a:gd name="T61" fmla="*/ 941 h 1032"/>
                <a:gd name="T62" fmla="*/ 144 w 1141"/>
                <a:gd name="T63" fmla="*/ 937 h 1032"/>
                <a:gd name="T64" fmla="*/ 94 w 1141"/>
                <a:gd name="T65" fmla="*/ 923 h 1032"/>
                <a:gd name="T66" fmla="*/ 47 w 1141"/>
                <a:gd name="T67" fmla="*/ 899 h 1032"/>
                <a:gd name="T68" fmla="*/ 7 w 1141"/>
                <a:gd name="T69" fmla="*/ 864 h 1032"/>
                <a:gd name="T70" fmla="*/ 25 w 1141"/>
                <a:gd name="T71" fmla="*/ 910 h 1032"/>
                <a:gd name="T72" fmla="*/ 77 w 1141"/>
                <a:gd name="T73" fmla="*/ 969 h 1032"/>
                <a:gd name="T74" fmla="*/ 144 w 1141"/>
                <a:gd name="T75" fmla="*/ 1012 h 1032"/>
                <a:gd name="T76" fmla="*/ 224 w 1141"/>
                <a:gd name="T77" fmla="*/ 1031 h 1032"/>
                <a:gd name="T78" fmla="*/ 292 w 1141"/>
                <a:gd name="T79" fmla="*/ 1028 h 1032"/>
                <a:gd name="T80" fmla="*/ 351 w 1141"/>
                <a:gd name="T81" fmla="*/ 1010 h 1032"/>
                <a:gd name="T82" fmla="*/ 403 w 1141"/>
                <a:gd name="T83" fmla="*/ 979 h 1032"/>
                <a:gd name="T84" fmla="*/ 446 w 1141"/>
                <a:gd name="T85" fmla="*/ 937 h 1032"/>
                <a:gd name="T86" fmla="*/ 485 w 1141"/>
                <a:gd name="T87" fmla="*/ 959 h 1032"/>
                <a:gd name="T88" fmla="*/ 532 w 1141"/>
                <a:gd name="T89" fmla="*/ 996 h 1032"/>
                <a:gd name="T90" fmla="*/ 587 w 1141"/>
                <a:gd name="T91" fmla="*/ 1020 h 1032"/>
                <a:gd name="T92" fmla="*/ 648 w 1141"/>
                <a:gd name="T93" fmla="*/ 1032 h 1032"/>
                <a:gd name="T94" fmla="*/ 701 w 1141"/>
                <a:gd name="T95" fmla="*/ 1030 h 1032"/>
                <a:gd name="T96" fmla="*/ 779 w 1141"/>
                <a:gd name="T97" fmla="*/ 1006 h 1032"/>
                <a:gd name="T98" fmla="*/ 853 w 1141"/>
                <a:gd name="T99" fmla="*/ 950 h 1032"/>
                <a:gd name="T100" fmla="*/ 903 w 1141"/>
                <a:gd name="T101" fmla="*/ 874 h 1032"/>
                <a:gd name="T102" fmla="*/ 945 w 1141"/>
                <a:gd name="T103" fmla="*/ 801 h 1032"/>
                <a:gd name="T104" fmla="*/ 1028 w 1141"/>
                <a:gd name="T105" fmla="*/ 764 h 1032"/>
                <a:gd name="T106" fmla="*/ 1092 w 1141"/>
                <a:gd name="T107" fmla="*/ 701 h 1032"/>
                <a:gd name="T108" fmla="*/ 1131 w 1141"/>
                <a:gd name="T109" fmla="*/ 619 h 1032"/>
                <a:gd name="T110" fmla="*/ 1141 w 1141"/>
                <a:gd name="T111" fmla="*/ 536 h 1032"/>
                <a:gd name="T112" fmla="*/ 1133 w 1141"/>
                <a:gd name="T113" fmla="*/ 487 h 1032"/>
                <a:gd name="T114" fmla="*/ 1116 w 1141"/>
                <a:gd name="T115" fmla="*/ 440 h 1032"/>
                <a:gd name="T116" fmla="*/ 1085 w 1141"/>
                <a:gd name="T117" fmla="*/ 39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032">
                  <a:moveTo>
                    <a:pt x="1069" y="371"/>
                  </a:moveTo>
                  <a:lnTo>
                    <a:pt x="1075" y="358"/>
                  </a:lnTo>
                  <a:lnTo>
                    <a:pt x="1081" y="344"/>
                  </a:lnTo>
                  <a:lnTo>
                    <a:pt x="1085" y="330"/>
                  </a:lnTo>
                  <a:lnTo>
                    <a:pt x="1090" y="316"/>
                  </a:lnTo>
                  <a:lnTo>
                    <a:pt x="1092" y="301"/>
                  </a:lnTo>
                  <a:lnTo>
                    <a:pt x="1094" y="286"/>
                  </a:lnTo>
                  <a:lnTo>
                    <a:pt x="1096" y="272"/>
                  </a:lnTo>
                  <a:lnTo>
                    <a:pt x="1096" y="256"/>
                  </a:lnTo>
                  <a:lnTo>
                    <a:pt x="1095" y="232"/>
                  </a:lnTo>
                  <a:lnTo>
                    <a:pt x="1092" y="209"/>
                  </a:lnTo>
                  <a:lnTo>
                    <a:pt x="1087" y="187"/>
                  </a:lnTo>
                  <a:lnTo>
                    <a:pt x="1080" y="164"/>
                  </a:lnTo>
                  <a:lnTo>
                    <a:pt x="1071" y="143"/>
                  </a:lnTo>
                  <a:lnTo>
                    <a:pt x="1060" y="124"/>
                  </a:lnTo>
                  <a:lnTo>
                    <a:pt x="1048" y="105"/>
                  </a:lnTo>
                  <a:lnTo>
                    <a:pt x="1034" y="87"/>
                  </a:lnTo>
                  <a:lnTo>
                    <a:pt x="1019" y="71"/>
                  </a:lnTo>
                  <a:lnTo>
                    <a:pt x="1002" y="56"/>
                  </a:lnTo>
                  <a:lnTo>
                    <a:pt x="985" y="42"/>
                  </a:lnTo>
                  <a:lnTo>
                    <a:pt x="965" y="30"/>
                  </a:lnTo>
                  <a:lnTo>
                    <a:pt x="945" y="20"/>
                  </a:lnTo>
                  <a:lnTo>
                    <a:pt x="924" y="11"/>
                  </a:lnTo>
                  <a:lnTo>
                    <a:pt x="902" y="4"/>
                  </a:lnTo>
                  <a:lnTo>
                    <a:pt x="880" y="0"/>
                  </a:lnTo>
                  <a:lnTo>
                    <a:pt x="892" y="9"/>
                  </a:lnTo>
                  <a:lnTo>
                    <a:pt x="904" y="18"/>
                  </a:lnTo>
                  <a:lnTo>
                    <a:pt x="915" y="28"/>
                  </a:lnTo>
                  <a:lnTo>
                    <a:pt x="925" y="39"/>
                  </a:lnTo>
                  <a:lnTo>
                    <a:pt x="935" y="50"/>
                  </a:lnTo>
                  <a:lnTo>
                    <a:pt x="945" y="62"/>
                  </a:lnTo>
                  <a:lnTo>
                    <a:pt x="953" y="74"/>
                  </a:lnTo>
                  <a:lnTo>
                    <a:pt x="960" y="87"/>
                  </a:lnTo>
                  <a:lnTo>
                    <a:pt x="967" y="100"/>
                  </a:lnTo>
                  <a:lnTo>
                    <a:pt x="974" y="114"/>
                  </a:lnTo>
                  <a:lnTo>
                    <a:pt x="979" y="129"/>
                  </a:lnTo>
                  <a:lnTo>
                    <a:pt x="984" y="143"/>
                  </a:lnTo>
                  <a:lnTo>
                    <a:pt x="987" y="159"/>
                  </a:lnTo>
                  <a:lnTo>
                    <a:pt x="989" y="174"/>
                  </a:lnTo>
                  <a:lnTo>
                    <a:pt x="990" y="190"/>
                  </a:lnTo>
                  <a:lnTo>
                    <a:pt x="991" y="205"/>
                  </a:lnTo>
                  <a:lnTo>
                    <a:pt x="991" y="221"/>
                  </a:lnTo>
                  <a:lnTo>
                    <a:pt x="989" y="235"/>
                  </a:lnTo>
                  <a:lnTo>
                    <a:pt x="987" y="248"/>
                  </a:lnTo>
                  <a:lnTo>
                    <a:pt x="985" y="263"/>
                  </a:lnTo>
                  <a:lnTo>
                    <a:pt x="981" y="276"/>
                  </a:lnTo>
                  <a:lnTo>
                    <a:pt x="977" y="289"/>
                  </a:lnTo>
                  <a:lnTo>
                    <a:pt x="972" y="302"/>
                  </a:lnTo>
                  <a:lnTo>
                    <a:pt x="966" y="315"/>
                  </a:lnTo>
                  <a:lnTo>
                    <a:pt x="980" y="332"/>
                  </a:lnTo>
                  <a:lnTo>
                    <a:pt x="994" y="351"/>
                  </a:lnTo>
                  <a:lnTo>
                    <a:pt x="1005" y="371"/>
                  </a:lnTo>
                  <a:lnTo>
                    <a:pt x="1015" y="392"/>
                  </a:lnTo>
                  <a:lnTo>
                    <a:pt x="1019" y="402"/>
                  </a:lnTo>
                  <a:lnTo>
                    <a:pt x="1022" y="413"/>
                  </a:lnTo>
                  <a:lnTo>
                    <a:pt x="1026" y="425"/>
                  </a:lnTo>
                  <a:lnTo>
                    <a:pt x="1028" y="436"/>
                  </a:lnTo>
                  <a:lnTo>
                    <a:pt x="1030" y="448"/>
                  </a:lnTo>
                  <a:lnTo>
                    <a:pt x="1032" y="459"/>
                  </a:lnTo>
                  <a:lnTo>
                    <a:pt x="1032" y="471"/>
                  </a:lnTo>
                  <a:lnTo>
                    <a:pt x="1033" y="483"/>
                  </a:lnTo>
                  <a:lnTo>
                    <a:pt x="1032" y="507"/>
                  </a:lnTo>
                  <a:lnTo>
                    <a:pt x="1029" y="529"/>
                  </a:lnTo>
                  <a:lnTo>
                    <a:pt x="1023" y="550"/>
                  </a:lnTo>
                  <a:lnTo>
                    <a:pt x="1017" y="571"/>
                  </a:lnTo>
                  <a:lnTo>
                    <a:pt x="1009" y="591"/>
                  </a:lnTo>
                  <a:lnTo>
                    <a:pt x="998" y="609"/>
                  </a:lnTo>
                  <a:lnTo>
                    <a:pt x="987" y="627"/>
                  </a:lnTo>
                  <a:lnTo>
                    <a:pt x="974" y="644"/>
                  </a:lnTo>
                  <a:lnTo>
                    <a:pt x="959" y="659"/>
                  </a:lnTo>
                  <a:lnTo>
                    <a:pt x="943" y="673"/>
                  </a:lnTo>
                  <a:lnTo>
                    <a:pt x="926" y="687"/>
                  </a:lnTo>
                  <a:lnTo>
                    <a:pt x="907" y="698"/>
                  </a:lnTo>
                  <a:lnTo>
                    <a:pt x="889" y="708"/>
                  </a:lnTo>
                  <a:lnTo>
                    <a:pt x="869" y="715"/>
                  </a:lnTo>
                  <a:lnTo>
                    <a:pt x="848" y="722"/>
                  </a:lnTo>
                  <a:lnTo>
                    <a:pt x="826" y="726"/>
                  </a:lnTo>
                  <a:lnTo>
                    <a:pt x="822" y="748"/>
                  </a:lnTo>
                  <a:lnTo>
                    <a:pt x="816" y="771"/>
                  </a:lnTo>
                  <a:lnTo>
                    <a:pt x="808" y="792"/>
                  </a:lnTo>
                  <a:lnTo>
                    <a:pt x="799" y="811"/>
                  </a:lnTo>
                  <a:lnTo>
                    <a:pt x="788" y="830"/>
                  </a:lnTo>
                  <a:lnTo>
                    <a:pt x="775" y="848"/>
                  </a:lnTo>
                  <a:lnTo>
                    <a:pt x="761" y="864"/>
                  </a:lnTo>
                  <a:lnTo>
                    <a:pt x="745" y="879"/>
                  </a:lnTo>
                  <a:lnTo>
                    <a:pt x="729" y="893"/>
                  </a:lnTo>
                  <a:lnTo>
                    <a:pt x="710" y="905"/>
                  </a:lnTo>
                  <a:lnTo>
                    <a:pt x="691" y="915"/>
                  </a:lnTo>
                  <a:lnTo>
                    <a:pt x="671" y="924"/>
                  </a:lnTo>
                  <a:lnTo>
                    <a:pt x="650" y="932"/>
                  </a:lnTo>
                  <a:lnTo>
                    <a:pt x="628" y="936"/>
                  </a:lnTo>
                  <a:lnTo>
                    <a:pt x="605" y="939"/>
                  </a:lnTo>
                  <a:lnTo>
                    <a:pt x="582" y="941"/>
                  </a:lnTo>
                  <a:lnTo>
                    <a:pt x="567" y="941"/>
                  </a:lnTo>
                  <a:lnTo>
                    <a:pt x="552" y="939"/>
                  </a:lnTo>
                  <a:lnTo>
                    <a:pt x="538" y="937"/>
                  </a:lnTo>
                  <a:lnTo>
                    <a:pt x="523" y="934"/>
                  </a:lnTo>
                  <a:lnTo>
                    <a:pt x="509" y="929"/>
                  </a:lnTo>
                  <a:lnTo>
                    <a:pt x="496" y="925"/>
                  </a:lnTo>
                  <a:lnTo>
                    <a:pt x="482" y="920"/>
                  </a:lnTo>
                  <a:lnTo>
                    <a:pt x="469" y="913"/>
                  </a:lnTo>
                  <a:lnTo>
                    <a:pt x="457" y="906"/>
                  </a:lnTo>
                  <a:lnTo>
                    <a:pt x="445" y="899"/>
                  </a:lnTo>
                  <a:lnTo>
                    <a:pt x="434" y="891"/>
                  </a:lnTo>
                  <a:lnTo>
                    <a:pt x="423" y="882"/>
                  </a:lnTo>
                  <a:lnTo>
                    <a:pt x="412" y="872"/>
                  </a:lnTo>
                  <a:lnTo>
                    <a:pt x="402" y="862"/>
                  </a:lnTo>
                  <a:lnTo>
                    <a:pt x="393" y="851"/>
                  </a:lnTo>
                  <a:lnTo>
                    <a:pt x="384" y="840"/>
                  </a:lnTo>
                  <a:lnTo>
                    <a:pt x="375" y="851"/>
                  </a:lnTo>
                  <a:lnTo>
                    <a:pt x="366" y="862"/>
                  </a:lnTo>
                  <a:lnTo>
                    <a:pt x="356" y="872"/>
                  </a:lnTo>
                  <a:lnTo>
                    <a:pt x="345" y="882"/>
                  </a:lnTo>
                  <a:lnTo>
                    <a:pt x="334" y="891"/>
                  </a:lnTo>
                  <a:lnTo>
                    <a:pt x="323" y="899"/>
                  </a:lnTo>
                  <a:lnTo>
                    <a:pt x="311" y="906"/>
                  </a:lnTo>
                  <a:lnTo>
                    <a:pt x="299" y="913"/>
                  </a:lnTo>
                  <a:lnTo>
                    <a:pt x="286" y="920"/>
                  </a:lnTo>
                  <a:lnTo>
                    <a:pt x="272" y="925"/>
                  </a:lnTo>
                  <a:lnTo>
                    <a:pt x="259" y="929"/>
                  </a:lnTo>
                  <a:lnTo>
                    <a:pt x="245" y="934"/>
                  </a:lnTo>
                  <a:lnTo>
                    <a:pt x="231" y="937"/>
                  </a:lnTo>
                  <a:lnTo>
                    <a:pt x="216" y="939"/>
                  </a:lnTo>
                  <a:lnTo>
                    <a:pt x="201" y="941"/>
                  </a:lnTo>
                  <a:lnTo>
                    <a:pt x="185" y="941"/>
                  </a:lnTo>
                  <a:lnTo>
                    <a:pt x="172" y="941"/>
                  </a:lnTo>
                  <a:lnTo>
                    <a:pt x="158" y="939"/>
                  </a:lnTo>
                  <a:lnTo>
                    <a:pt x="144" y="937"/>
                  </a:lnTo>
                  <a:lnTo>
                    <a:pt x="131" y="935"/>
                  </a:lnTo>
                  <a:lnTo>
                    <a:pt x="119" y="932"/>
                  </a:lnTo>
                  <a:lnTo>
                    <a:pt x="106" y="927"/>
                  </a:lnTo>
                  <a:lnTo>
                    <a:pt x="94" y="923"/>
                  </a:lnTo>
                  <a:lnTo>
                    <a:pt x="81" y="917"/>
                  </a:lnTo>
                  <a:lnTo>
                    <a:pt x="69" y="912"/>
                  </a:lnTo>
                  <a:lnTo>
                    <a:pt x="58" y="905"/>
                  </a:lnTo>
                  <a:lnTo>
                    <a:pt x="47" y="899"/>
                  </a:lnTo>
                  <a:lnTo>
                    <a:pt x="37" y="891"/>
                  </a:lnTo>
                  <a:lnTo>
                    <a:pt x="27" y="882"/>
                  </a:lnTo>
                  <a:lnTo>
                    <a:pt x="17" y="873"/>
                  </a:lnTo>
                  <a:lnTo>
                    <a:pt x="7" y="864"/>
                  </a:lnTo>
                  <a:lnTo>
                    <a:pt x="0" y="854"/>
                  </a:lnTo>
                  <a:lnTo>
                    <a:pt x="6" y="874"/>
                  </a:lnTo>
                  <a:lnTo>
                    <a:pt x="15" y="892"/>
                  </a:lnTo>
                  <a:lnTo>
                    <a:pt x="25" y="910"/>
                  </a:lnTo>
                  <a:lnTo>
                    <a:pt x="36" y="926"/>
                  </a:lnTo>
                  <a:lnTo>
                    <a:pt x="48" y="942"/>
                  </a:lnTo>
                  <a:lnTo>
                    <a:pt x="62" y="956"/>
                  </a:lnTo>
                  <a:lnTo>
                    <a:pt x="77" y="969"/>
                  </a:lnTo>
                  <a:lnTo>
                    <a:pt x="92" y="982"/>
                  </a:lnTo>
                  <a:lnTo>
                    <a:pt x="109" y="994"/>
                  </a:lnTo>
                  <a:lnTo>
                    <a:pt x="127" y="1003"/>
                  </a:lnTo>
                  <a:lnTo>
                    <a:pt x="144" y="1012"/>
                  </a:lnTo>
                  <a:lnTo>
                    <a:pt x="163" y="1019"/>
                  </a:lnTo>
                  <a:lnTo>
                    <a:pt x="183" y="1024"/>
                  </a:lnTo>
                  <a:lnTo>
                    <a:pt x="203" y="1029"/>
                  </a:lnTo>
                  <a:lnTo>
                    <a:pt x="224" y="1031"/>
                  </a:lnTo>
                  <a:lnTo>
                    <a:pt x="246" y="1032"/>
                  </a:lnTo>
                  <a:lnTo>
                    <a:pt x="261" y="1032"/>
                  </a:lnTo>
                  <a:lnTo>
                    <a:pt x="277" y="1030"/>
                  </a:lnTo>
                  <a:lnTo>
                    <a:pt x="292" y="1028"/>
                  </a:lnTo>
                  <a:lnTo>
                    <a:pt x="308" y="1024"/>
                  </a:lnTo>
                  <a:lnTo>
                    <a:pt x="322" y="1020"/>
                  </a:lnTo>
                  <a:lnTo>
                    <a:pt x="337" y="1016"/>
                  </a:lnTo>
                  <a:lnTo>
                    <a:pt x="351" y="1010"/>
                  </a:lnTo>
                  <a:lnTo>
                    <a:pt x="364" y="1003"/>
                  </a:lnTo>
                  <a:lnTo>
                    <a:pt x="377" y="996"/>
                  </a:lnTo>
                  <a:lnTo>
                    <a:pt x="391" y="988"/>
                  </a:lnTo>
                  <a:lnTo>
                    <a:pt x="403" y="979"/>
                  </a:lnTo>
                  <a:lnTo>
                    <a:pt x="414" y="969"/>
                  </a:lnTo>
                  <a:lnTo>
                    <a:pt x="425" y="959"/>
                  </a:lnTo>
                  <a:lnTo>
                    <a:pt x="436" y="949"/>
                  </a:lnTo>
                  <a:lnTo>
                    <a:pt x="446" y="937"/>
                  </a:lnTo>
                  <a:lnTo>
                    <a:pt x="455" y="926"/>
                  </a:lnTo>
                  <a:lnTo>
                    <a:pt x="464" y="937"/>
                  </a:lnTo>
                  <a:lnTo>
                    <a:pt x="473" y="949"/>
                  </a:lnTo>
                  <a:lnTo>
                    <a:pt x="485" y="959"/>
                  </a:lnTo>
                  <a:lnTo>
                    <a:pt x="496" y="969"/>
                  </a:lnTo>
                  <a:lnTo>
                    <a:pt x="507" y="979"/>
                  </a:lnTo>
                  <a:lnTo>
                    <a:pt x="519" y="988"/>
                  </a:lnTo>
                  <a:lnTo>
                    <a:pt x="532" y="996"/>
                  </a:lnTo>
                  <a:lnTo>
                    <a:pt x="545" y="1003"/>
                  </a:lnTo>
                  <a:lnTo>
                    <a:pt x="559" y="1010"/>
                  </a:lnTo>
                  <a:lnTo>
                    <a:pt x="573" y="1016"/>
                  </a:lnTo>
                  <a:lnTo>
                    <a:pt x="587" y="1020"/>
                  </a:lnTo>
                  <a:lnTo>
                    <a:pt x="602" y="1024"/>
                  </a:lnTo>
                  <a:lnTo>
                    <a:pt x="617" y="1028"/>
                  </a:lnTo>
                  <a:lnTo>
                    <a:pt x="632" y="1030"/>
                  </a:lnTo>
                  <a:lnTo>
                    <a:pt x="648" y="1032"/>
                  </a:lnTo>
                  <a:lnTo>
                    <a:pt x="665" y="1032"/>
                  </a:lnTo>
                  <a:lnTo>
                    <a:pt x="677" y="1032"/>
                  </a:lnTo>
                  <a:lnTo>
                    <a:pt x="689" y="1031"/>
                  </a:lnTo>
                  <a:lnTo>
                    <a:pt x="701" y="1030"/>
                  </a:lnTo>
                  <a:lnTo>
                    <a:pt x="713" y="1028"/>
                  </a:lnTo>
                  <a:lnTo>
                    <a:pt x="735" y="1022"/>
                  </a:lnTo>
                  <a:lnTo>
                    <a:pt x="758" y="1015"/>
                  </a:lnTo>
                  <a:lnTo>
                    <a:pt x="779" y="1006"/>
                  </a:lnTo>
                  <a:lnTo>
                    <a:pt x="799" y="995"/>
                  </a:lnTo>
                  <a:lnTo>
                    <a:pt x="819" y="981"/>
                  </a:lnTo>
                  <a:lnTo>
                    <a:pt x="837" y="967"/>
                  </a:lnTo>
                  <a:lnTo>
                    <a:pt x="853" y="950"/>
                  </a:lnTo>
                  <a:lnTo>
                    <a:pt x="868" y="934"/>
                  </a:lnTo>
                  <a:lnTo>
                    <a:pt x="881" y="915"/>
                  </a:lnTo>
                  <a:lnTo>
                    <a:pt x="893" y="895"/>
                  </a:lnTo>
                  <a:lnTo>
                    <a:pt x="903" y="874"/>
                  </a:lnTo>
                  <a:lnTo>
                    <a:pt x="912" y="852"/>
                  </a:lnTo>
                  <a:lnTo>
                    <a:pt x="917" y="829"/>
                  </a:lnTo>
                  <a:lnTo>
                    <a:pt x="922" y="806"/>
                  </a:lnTo>
                  <a:lnTo>
                    <a:pt x="945" y="801"/>
                  </a:lnTo>
                  <a:lnTo>
                    <a:pt x="967" y="795"/>
                  </a:lnTo>
                  <a:lnTo>
                    <a:pt x="988" y="786"/>
                  </a:lnTo>
                  <a:lnTo>
                    <a:pt x="1008" y="776"/>
                  </a:lnTo>
                  <a:lnTo>
                    <a:pt x="1028" y="764"/>
                  </a:lnTo>
                  <a:lnTo>
                    <a:pt x="1046" y="750"/>
                  </a:lnTo>
                  <a:lnTo>
                    <a:pt x="1062" y="735"/>
                  </a:lnTo>
                  <a:lnTo>
                    <a:pt x="1078" y="719"/>
                  </a:lnTo>
                  <a:lnTo>
                    <a:pt x="1092" y="701"/>
                  </a:lnTo>
                  <a:lnTo>
                    <a:pt x="1104" y="682"/>
                  </a:lnTo>
                  <a:lnTo>
                    <a:pt x="1115" y="662"/>
                  </a:lnTo>
                  <a:lnTo>
                    <a:pt x="1124" y="641"/>
                  </a:lnTo>
                  <a:lnTo>
                    <a:pt x="1131" y="619"/>
                  </a:lnTo>
                  <a:lnTo>
                    <a:pt x="1136" y="597"/>
                  </a:lnTo>
                  <a:lnTo>
                    <a:pt x="1139" y="573"/>
                  </a:lnTo>
                  <a:lnTo>
                    <a:pt x="1141" y="550"/>
                  </a:lnTo>
                  <a:lnTo>
                    <a:pt x="1141" y="536"/>
                  </a:lnTo>
                  <a:lnTo>
                    <a:pt x="1139" y="524"/>
                  </a:lnTo>
                  <a:lnTo>
                    <a:pt x="1137" y="511"/>
                  </a:lnTo>
                  <a:lnTo>
                    <a:pt x="1135" y="499"/>
                  </a:lnTo>
                  <a:lnTo>
                    <a:pt x="1133" y="487"/>
                  </a:lnTo>
                  <a:lnTo>
                    <a:pt x="1129" y="475"/>
                  </a:lnTo>
                  <a:lnTo>
                    <a:pt x="1126" y="464"/>
                  </a:lnTo>
                  <a:lnTo>
                    <a:pt x="1122" y="451"/>
                  </a:lnTo>
                  <a:lnTo>
                    <a:pt x="1116" y="440"/>
                  </a:lnTo>
                  <a:lnTo>
                    <a:pt x="1111" y="429"/>
                  </a:lnTo>
                  <a:lnTo>
                    <a:pt x="1105" y="419"/>
                  </a:lnTo>
                  <a:lnTo>
                    <a:pt x="1099" y="408"/>
                  </a:lnTo>
                  <a:lnTo>
                    <a:pt x="1085" y="390"/>
                  </a:lnTo>
                  <a:lnTo>
                    <a:pt x="1069" y="371"/>
                  </a:lnTo>
                  <a:close/>
                </a:path>
              </a:pathLst>
            </a:custGeom>
            <a:solidFill>
              <a:srgbClr val="009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4" name="Oval 325">
              <a:extLst>
                <a:ext uri="{FF2B5EF4-FFF2-40B4-BE49-F238E27FC236}">
                  <a16:creationId xmlns:a16="http://schemas.microsoft.com/office/drawing/2014/main" id="{E60E2AA0-0D63-22A9-6652-2DDA2CC53696}"/>
                </a:ext>
              </a:extLst>
            </p:cNvPr>
            <p:cNvSpPr/>
            <p:nvPr/>
          </p:nvSpPr>
          <p:spPr>
            <a:xfrm>
              <a:off x="8839394" y="3461548"/>
              <a:ext cx="195233" cy="57146"/>
            </a:xfrm>
            <a:prstGeom prst="ellipse">
              <a:avLst/>
            </a:prstGeom>
            <a:solidFill>
              <a:schemeClr val="tx1">
                <a:lumMod val="85000"/>
                <a:lumOff val="1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325" name="Freeform 285">
              <a:extLst>
                <a:ext uri="{FF2B5EF4-FFF2-40B4-BE49-F238E27FC236}">
                  <a16:creationId xmlns:a16="http://schemas.microsoft.com/office/drawing/2014/main" id="{50C85806-5A99-8708-0B2D-3D02838CD818}"/>
                </a:ext>
              </a:extLst>
            </p:cNvPr>
            <p:cNvSpPr>
              <a:spLocks/>
            </p:cNvSpPr>
            <p:nvPr/>
          </p:nvSpPr>
          <p:spPr bwMode="auto">
            <a:xfrm>
              <a:off x="8916091" y="3213416"/>
              <a:ext cx="47414" cy="281217"/>
            </a:xfrm>
            <a:custGeom>
              <a:avLst/>
              <a:gdLst>
                <a:gd name="T0" fmla="*/ 107 w 167"/>
                <a:gd name="T1" fmla="*/ 0 h 931"/>
                <a:gd name="T2" fmla="*/ 16 w 167"/>
                <a:gd name="T3" fmla="*/ 0 h 931"/>
                <a:gd name="T4" fmla="*/ 0 w 167"/>
                <a:gd name="T5" fmla="*/ 931 h 931"/>
                <a:gd name="T6" fmla="*/ 167 w 167"/>
                <a:gd name="T7" fmla="*/ 931 h 931"/>
                <a:gd name="T8" fmla="*/ 107 w 167"/>
                <a:gd name="T9" fmla="*/ 0 h 931"/>
              </a:gdLst>
              <a:ahLst/>
              <a:cxnLst>
                <a:cxn ang="0">
                  <a:pos x="T0" y="T1"/>
                </a:cxn>
                <a:cxn ang="0">
                  <a:pos x="T2" y="T3"/>
                </a:cxn>
                <a:cxn ang="0">
                  <a:pos x="T4" y="T5"/>
                </a:cxn>
                <a:cxn ang="0">
                  <a:pos x="T6" y="T7"/>
                </a:cxn>
                <a:cxn ang="0">
                  <a:pos x="T8" y="T9"/>
                </a:cxn>
              </a:cxnLst>
              <a:rect l="0" t="0" r="r" b="b"/>
              <a:pathLst>
                <a:path w="167" h="931">
                  <a:moveTo>
                    <a:pt x="107" y="0"/>
                  </a:moveTo>
                  <a:lnTo>
                    <a:pt x="16" y="0"/>
                  </a:lnTo>
                  <a:lnTo>
                    <a:pt x="0" y="931"/>
                  </a:lnTo>
                  <a:lnTo>
                    <a:pt x="167" y="931"/>
                  </a:lnTo>
                  <a:lnTo>
                    <a:pt x="107" y="0"/>
                  </a:lnTo>
                  <a:close/>
                </a:path>
              </a:pathLst>
            </a:custGeom>
            <a:solidFill>
              <a:srgbClr val="9A5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6" name="Freeform 287">
              <a:extLst>
                <a:ext uri="{FF2B5EF4-FFF2-40B4-BE49-F238E27FC236}">
                  <a16:creationId xmlns:a16="http://schemas.microsoft.com/office/drawing/2014/main" id="{CDDF0EDD-E0AF-FFB8-0F15-E6952A44879B}"/>
                </a:ext>
              </a:extLst>
            </p:cNvPr>
            <p:cNvSpPr>
              <a:spLocks/>
            </p:cNvSpPr>
            <p:nvPr/>
          </p:nvSpPr>
          <p:spPr bwMode="auto">
            <a:xfrm>
              <a:off x="8779428" y="2828434"/>
              <a:ext cx="322135" cy="449646"/>
            </a:xfrm>
            <a:custGeom>
              <a:avLst/>
              <a:gdLst>
                <a:gd name="T0" fmla="*/ 1137 w 1154"/>
                <a:gd name="T1" fmla="*/ 580 h 1496"/>
                <a:gd name="T2" fmla="*/ 1153 w 1154"/>
                <a:gd name="T3" fmla="*/ 711 h 1496"/>
                <a:gd name="T4" fmla="*/ 1149 w 1154"/>
                <a:gd name="T5" fmla="*/ 842 h 1496"/>
                <a:gd name="T6" fmla="*/ 1130 w 1154"/>
                <a:gd name="T7" fmla="*/ 969 h 1496"/>
                <a:gd name="T8" fmla="*/ 1095 w 1154"/>
                <a:gd name="T9" fmla="*/ 1089 h 1496"/>
                <a:gd name="T10" fmla="*/ 1045 w 1154"/>
                <a:gd name="T11" fmla="*/ 1199 h 1496"/>
                <a:gd name="T12" fmla="*/ 979 w 1154"/>
                <a:gd name="T13" fmla="*/ 1298 h 1496"/>
                <a:gd name="T14" fmla="*/ 900 w 1154"/>
                <a:gd name="T15" fmla="*/ 1379 h 1496"/>
                <a:gd name="T16" fmla="*/ 805 w 1154"/>
                <a:gd name="T17" fmla="*/ 1442 h 1496"/>
                <a:gd name="T18" fmla="*/ 698 w 1154"/>
                <a:gd name="T19" fmla="*/ 1482 h 1496"/>
                <a:gd name="T20" fmla="*/ 576 w 1154"/>
                <a:gd name="T21" fmla="*/ 1496 h 1496"/>
                <a:gd name="T22" fmla="*/ 456 w 1154"/>
                <a:gd name="T23" fmla="*/ 1482 h 1496"/>
                <a:gd name="T24" fmla="*/ 349 w 1154"/>
                <a:gd name="T25" fmla="*/ 1442 h 1496"/>
                <a:gd name="T26" fmla="*/ 254 w 1154"/>
                <a:gd name="T27" fmla="*/ 1379 h 1496"/>
                <a:gd name="T28" fmla="*/ 174 w 1154"/>
                <a:gd name="T29" fmla="*/ 1298 h 1496"/>
                <a:gd name="T30" fmla="*/ 108 w 1154"/>
                <a:gd name="T31" fmla="*/ 1199 h 1496"/>
                <a:gd name="T32" fmla="*/ 57 w 1154"/>
                <a:gd name="T33" fmla="*/ 1089 h 1496"/>
                <a:gd name="T34" fmla="*/ 23 w 1154"/>
                <a:gd name="T35" fmla="*/ 969 h 1496"/>
                <a:gd name="T36" fmla="*/ 3 w 1154"/>
                <a:gd name="T37" fmla="*/ 842 h 1496"/>
                <a:gd name="T38" fmla="*/ 1 w 1154"/>
                <a:gd name="T39" fmla="*/ 711 h 1496"/>
                <a:gd name="T40" fmla="*/ 15 w 1154"/>
                <a:gd name="T41" fmla="*/ 580 h 1496"/>
                <a:gd name="T42" fmla="*/ 43 w 1154"/>
                <a:gd name="T43" fmla="*/ 466 h 1496"/>
                <a:gd name="T44" fmla="*/ 74 w 1154"/>
                <a:gd name="T45" fmla="*/ 386 h 1496"/>
                <a:gd name="T46" fmla="*/ 110 w 1154"/>
                <a:gd name="T47" fmla="*/ 311 h 1496"/>
                <a:gd name="T48" fmla="*/ 153 w 1154"/>
                <a:gd name="T49" fmla="*/ 243 h 1496"/>
                <a:gd name="T50" fmla="*/ 202 w 1154"/>
                <a:gd name="T51" fmla="*/ 184 h 1496"/>
                <a:gd name="T52" fmla="*/ 254 w 1154"/>
                <a:gd name="T53" fmla="*/ 132 h 1496"/>
                <a:gd name="T54" fmla="*/ 310 w 1154"/>
                <a:gd name="T55" fmla="*/ 89 h 1496"/>
                <a:gd name="T56" fmla="*/ 368 w 1154"/>
                <a:gd name="T57" fmla="*/ 53 h 1496"/>
                <a:gd name="T58" fmla="*/ 430 w 1154"/>
                <a:gd name="T59" fmla="*/ 26 h 1496"/>
                <a:gd name="T60" fmla="*/ 492 w 1154"/>
                <a:gd name="T61" fmla="*/ 9 h 1496"/>
                <a:gd name="T62" fmla="*/ 555 w 1154"/>
                <a:gd name="T63" fmla="*/ 0 h 1496"/>
                <a:gd name="T64" fmla="*/ 618 w 1154"/>
                <a:gd name="T65" fmla="*/ 3 h 1496"/>
                <a:gd name="T66" fmla="*/ 681 w 1154"/>
                <a:gd name="T67" fmla="*/ 14 h 1496"/>
                <a:gd name="T68" fmla="*/ 744 w 1154"/>
                <a:gd name="T69" fmla="*/ 35 h 1496"/>
                <a:gd name="T70" fmla="*/ 804 w 1154"/>
                <a:gd name="T71" fmla="*/ 63 h 1496"/>
                <a:gd name="T72" fmla="*/ 862 w 1154"/>
                <a:gd name="T73" fmla="*/ 102 h 1496"/>
                <a:gd name="T74" fmla="*/ 917 w 1154"/>
                <a:gd name="T75" fmla="*/ 148 h 1496"/>
                <a:gd name="T76" fmla="*/ 968 w 1154"/>
                <a:gd name="T77" fmla="*/ 204 h 1496"/>
                <a:gd name="T78" fmla="*/ 1015 w 1154"/>
                <a:gd name="T79" fmla="*/ 265 h 1496"/>
                <a:gd name="T80" fmla="*/ 1055 w 1154"/>
                <a:gd name="T81" fmla="*/ 335 h 1496"/>
                <a:gd name="T82" fmla="*/ 1091 w 1154"/>
                <a:gd name="T83" fmla="*/ 411 h 1496"/>
                <a:gd name="T84" fmla="*/ 1118 w 1154"/>
                <a:gd name="T85" fmla="*/ 495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496">
                  <a:moveTo>
                    <a:pt x="1118" y="495"/>
                  </a:moveTo>
                  <a:lnTo>
                    <a:pt x="1129" y="537"/>
                  </a:lnTo>
                  <a:lnTo>
                    <a:pt x="1137" y="580"/>
                  </a:lnTo>
                  <a:lnTo>
                    <a:pt x="1145" y="624"/>
                  </a:lnTo>
                  <a:lnTo>
                    <a:pt x="1149" y="667"/>
                  </a:lnTo>
                  <a:lnTo>
                    <a:pt x="1153" y="711"/>
                  </a:lnTo>
                  <a:lnTo>
                    <a:pt x="1154" y="754"/>
                  </a:lnTo>
                  <a:lnTo>
                    <a:pt x="1153" y="797"/>
                  </a:lnTo>
                  <a:lnTo>
                    <a:pt x="1149" y="842"/>
                  </a:lnTo>
                  <a:lnTo>
                    <a:pt x="1145" y="884"/>
                  </a:lnTo>
                  <a:lnTo>
                    <a:pt x="1138" y="927"/>
                  </a:lnTo>
                  <a:lnTo>
                    <a:pt x="1130" y="969"/>
                  </a:lnTo>
                  <a:lnTo>
                    <a:pt x="1121" y="1009"/>
                  </a:lnTo>
                  <a:lnTo>
                    <a:pt x="1110" y="1049"/>
                  </a:lnTo>
                  <a:lnTo>
                    <a:pt x="1095" y="1089"/>
                  </a:lnTo>
                  <a:lnTo>
                    <a:pt x="1081" y="1128"/>
                  </a:lnTo>
                  <a:lnTo>
                    <a:pt x="1063" y="1164"/>
                  </a:lnTo>
                  <a:lnTo>
                    <a:pt x="1045" y="1199"/>
                  </a:lnTo>
                  <a:lnTo>
                    <a:pt x="1024" y="1234"/>
                  </a:lnTo>
                  <a:lnTo>
                    <a:pt x="1002" y="1267"/>
                  </a:lnTo>
                  <a:lnTo>
                    <a:pt x="979" y="1298"/>
                  </a:lnTo>
                  <a:lnTo>
                    <a:pt x="954" y="1327"/>
                  </a:lnTo>
                  <a:lnTo>
                    <a:pt x="927" y="1354"/>
                  </a:lnTo>
                  <a:lnTo>
                    <a:pt x="900" y="1379"/>
                  </a:lnTo>
                  <a:lnTo>
                    <a:pt x="870" y="1402"/>
                  </a:lnTo>
                  <a:lnTo>
                    <a:pt x="838" y="1423"/>
                  </a:lnTo>
                  <a:lnTo>
                    <a:pt x="805" y="1442"/>
                  </a:lnTo>
                  <a:lnTo>
                    <a:pt x="770" y="1458"/>
                  </a:lnTo>
                  <a:lnTo>
                    <a:pt x="735" y="1471"/>
                  </a:lnTo>
                  <a:lnTo>
                    <a:pt x="698" y="1482"/>
                  </a:lnTo>
                  <a:lnTo>
                    <a:pt x="659" y="1490"/>
                  </a:lnTo>
                  <a:lnTo>
                    <a:pt x="618" y="1494"/>
                  </a:lnTo>
                  <a:lnTo>
                    <a:pt x="576" y="1496"/>
                  </a:lnTo>
                  <a:lnTo>
                    <a:pt x="535" y="1494"/>
                  </a:lnTo>
                  <a:lnTo>
                    <a:pt x="494" y="1490"/>
                  </a:lnTo>
                  <a:lnTo>
                    <a:pt x="456" y="1482"/>
                  </a:lnTo>
                  <a:lnTo>
                    <a:pt x="418" y="1471"/>
                  </a:lnTo>
                  <a:lnTo>
                    <a:pt x="383" y="1458"/>
                  </a:lnTo>
                  <a:lnTo>
                    <a:pt x="349" y="1442"/>
                  </a:lnTo>
                  <a:lnTo>
                    <a:pt x="315" y="1423"/>
                  </a:lnTo>
                  <a:lnTo>
                    <a:pt x="283" y="1402"/>
                  </a:lnTo>
                  <a:lnTo>
                    <a:pt x="254" y="1379"/>
                  </a:lnTo>
                  <a:lnTo>
                    <a:pt x="226" y="1354"/>
                  </a:lnTo>
                  <a:lnTo>
                    <a:pt x="198" y="1327"/>
                  </a:lnTo>
                  <a:lnTo>
                    <a:pt x="174" y="1298"/>
                  </a:lnTo>
                  <a:lnTo>
                    <a:pt x="150" y="1267"/>
                  </a:lnTo>
                  <a:lnTo>
                    <a:pt x="129" y="1234"/>
                  </a:lnTo>
                  <a:lnTo>
                    <a:pt x="108" y="1199"/>
                  </a:lnTo>
                  <a:lnTo>
                    <a:pt x="89" y="1164"/>
                  </a:lnTo>
                  <a:lnTo>
                    <a:pt x="73" y="1128"/>
                  </a:lnTo>
                  <a:lnTo>
                    <a:pt x="57" y="1089"/>
                  </a:lnTo>
                  <a:lnTo>
                    <a:pt x="44" y="1049"/>
                  </a:lnTo>
                  <a:lnTo>
                    <a:pt x="33" y="1009"/>
                  </a:lnTo>
                  <a:lnTo>
                    <a:pt x="23" y="969"/>
                  </a:lnTo>
                  <a:lnTo>
                    <a:pt x="14" y="927"/>
                  </a:lnTo>
                  <a:lnTo>
                    <a:pt x="8" y="884"/>
                  </a:lnTo>
                  <a:lnTo>
                    <a:pt x="3" y="842"/>
                  </a:lnTo>
                  <a:lnTo>
                    <a:pt x="1" y="797"/>
                  </a:lnTo>
                  <a:lnTo>
                    <a:pt x="0" y="754"/>
                  </a:lnTo>
                  <a:lnTo>
                    <a:pt x="1" y="711"/>
                  </a:lnTo>
                  <a:lnTo>
                    <a:pt x="4" y="667"/>
                  </a:lnTo>
                  <a:lnTo>
                    <a:pt x="8" y="624"/>
                  </a:lnTo>
                  <a:lnTo>
                    <a:pt x="15" y="580"/>
                  </a:lnTo>
                  <a:lnTo>
                    <a:pt x="24" y="537"/>
                  </a:lnTo>
                  <a:lnTo>
                    <a:pt x="35" y="495"/>
                  </a:lnTo>
                  <a:lnTo>
                    <a:pt x="43" y="466"/>
                  </a:lnTo>
                  <a:lnTo>
                    <a:pt x="53" y="439"/>
                  </a:lnTo>
                  <a:lnTo>
                    <a:pt x="63" y="411"/>
                  </a:lnTo>
                  <a:lnTo>
                    <a:pt x="74" y="386"/>
                  </a:lnTo>
                  <a:lnTo>
                    <a:pt x="85" y="359"/>
                  </a:lnTo>
                  <a:lnTo>
                    <a:pt x="97" y="335"/>
                  </a:lnTo>
                  <a:lnTo>
                    <a:pt x="110" y="311"/>
                  </a:lnTo>
                  <a:lnTo>
                    <a:pt x="124" y="287"/>
                  </a:lnTo>
                  <a:lnTo>
                    <a:pt x="139" y="265"/>
                  </a:lnTo>
                  <a:lnTo>
                    <a:pt x="153" y="243"/>
                  </a:lnTo>
                  <a:lnTo>
                    <a:pt x="169" y="223"/>
                  </a:lnTo>
                  <a:lnTo>
                    <a:pt x="185" y="204"/>
                  </a:lnTo>
                  <a:lnTo>
                    <a:pt x="202" y="184"/>
                  </a:lnTo>
                  <a:lnTo>
                    <a:pt x="218" y="166"/>
                  </a:lnTo>
                  <a:lnTo>
                    <a:pt x="236" y="148"/>
                  </a:lnTo>
                  <a:lnTo>
                    <a:pt x="254" y="132"/>
                  </a:lnTo>
                  <a:lnTo>
                    <a:pt x="272" y="116"/>
                  </a:lnTo>
                  <a:lnTo>
                    <a:pt x="291" y="102"/>
                  </a:lnTo>
                  <a:lnTo>
                    <a:pt x="310" y="89"/>
                  </a:lnTo>
                  <a:lnTo>
                    <a:pt x="330" y="76"/>
                  </a:lnTo>
                  <a:lnTo>
                    <a:pt x="349" y="63"/>
                  </a:lnTo>
                  <a:lnTo>
                    <a:pt x="368" y="53"/>
                  </a:lnTo>
                  <a:lnTo>
                    <a:pt x="389" y="43"/>
                  </a:lnTo>
                  <a:lnTo>
                    <a:pt x="409" y="35"/>
                  </a:lnTo>
                  <a:lnTo>
                    <a:pt x="430" y="26"/>
                  </a:lnTo>
                  <a:lnTo>
                    <a:pt x="451" y="19"/>
                  </a:lnTo>
                  <a:lnTo>
                    <a:pt x="471" y="14"/>
                  </a:lnTo>
                  <a:lnTo>
                    <a:pt x="492" y="9"/>
                  </a:lnTo>
                  <a:lnTo>
                    <a:pt x="513" y="5"/>
                  </a:lnTo>
                  <a:lnTo>
                    <a:pt x="534" y="3"/>
                  </a:lnTo>
                  <a:lnTo>
                    <a:pt x="555" y="0"/>
                  </a:lnTo>
                  <a:lnTo>
                    <a:pt x="576" y="0"/>
                  </a:lnTo>
                  <a:lnTo>
                    <a:pt x="597" y="0"/>
                  </a:lnTo>
                  <a:lnTo>
                    <a:pt x="618" y="3"/>
                  </a:lnTo>
                  <a:lnTo>
                    <a:pt x="639" y="5"/>
                  </a:lnTo>
                  <a:lnTo>
                    <a:pt x="660" y="9"/>
                  </a:lnTo>
                  <a:lnTo>
                    <a:pt x="681" y="14"/>
                  </a:lnTo>
                  <a:lnTo>
                    <a:pt x="702" y="19"/>
                  </a:lnTo>
                  <a:lnTo>
                    <a:pt x="723" y="26"/>
                  </a:lnTo>
                  <a:lnTo>
                    <a:pt x="744" y="35"/>
                  </a:lnTo>
                  <a:lnTo>
                    <a:pt x="764" y="43"/>
                  </a:lnTo>
                  <a:lnTo>
                    <a:pt x="784" y="53"/>
                  </a:lnTo>
                  <a:lnTo>
                    <a:pt x="804" y="63"/>
                  </a:lnTo>
                  <a:lnTo>
                    <a:pt x="823" y="76"/>
                  </a:lnTo>
                  <a:lnTo>
                    <a:pt x="843" y="89"/>
                  </a:lnTo>
                  <a:lnTo>
                    <a:pt x="862" y="102"/>
                  </a:lnTo>
                  <a:lnTo>
                    <a:pt x="881" y="116"/>
                  </a:lnTo>
                  <a:lnTo>
                    <a:pt x="900" y="132"/>
                  </a:lnTo>
                  <a:lnTo>
                    <a:pt x="917" y="148"/>
                  </a:lnTo>
                  <a:lnTo>
                    <a:pt x="935" y="166"/>
                  </a:lnTo>
                  <a:lnTo>
                    <a:pt x="952" y="184"/>
                  </a:lnTo>
                  <a:lnTo>
                    <a:pt x="968" y="204"/>
                  </a:lnTo>
                  <a:lnTo>
                    <a:pt x="985" y="223"/>
                  </a:lnTo>
                  <a:lnTo>
                    <a:pt x="1000" y="243"/>
                  </a:lnTo>
                  <a:lnTo>
                    <a:pt x="1015" y="265"/>
                  </a:lnTo>
                  <a:lnTo>
                    <a:pt x="1029" y="287"/>
                  </a:lnTo>
                  <a:lnTo>
                    <a:pt x="1043" y="311"/>
                  </a:lnTo>
                  <a:lnTo>
                    <a:pt x="1055" y="335"/>
                  </a:lnTo>
                  <a:lnTo>
                    <a:pt x="1068" y="359"/>
                  </a:lnTo>
                  <a:lnTo>
                    <a:pt x="1080" y="386"/>
                  </a:lnTo>
                  <a:lnTo>
                    <a:pt x="1091" y="411"/>
                  </a:lnTo>
                  <a:lnTo>
                    <a:pt x="1101" y="439"/>
                  </a:lnTo>
                  <a:lnTo>
                    <a:pt x="1110" y="466"/>
                  </a:lnTo>
                  <a:lnTo>
                    <a:pt x="1118" y="495"/>
                  </a:lnTo>
                  <a:close/>
                </a:path>
              </a:pathLst>
            </a:custGeom>
            <a:solidFill>
              <a:srgbClr val="54B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7" name="Freeform 288">
              <a:extLst>
                <a:ext uri="{FF2B5EF4-FFF2-40B4-BE49-F238E27FC236}">
                  <a16:creationId xmlns:a16="http://schemas.microsoft.com/office/drawing/2014/main" id="{D6703FDF-1E7F-85C6-BF71-C077DB6AEC37}"/>
                </a:ext>
              </a:extLst>
            </p:cNvPr>
            <p:cNvSpPr>
              <a:spLocks/>
            </p:cNvSpPr>
            <p:nvPr/>
          </p:nvSpPr>
          <p:spPr bwMode="auto">
            <a:xfrm>
              <a:off x="8786400" y="2828434"/>
              <a:ext cx="315162" cy="449646"/>
            </a:xfrm>
            <a:custGeom>
              <a:avLst/>
              <a:gdLst>
                <a:gd name="T0" fmla="*/ 539 w 1131"/>
                <a:gd name="T1" fmla="*/ 0 h 1496"/>
                <a:gd name="T2" fmla="*/ 588 w 1131"/>
                <a:gd name="T3" fmla="*/ 11 h 1496"/>
                <a:gd name="T4" fmla="*/ 638 w 1131"/>
                <a:gd name="T5" fmla="*/ 30 h 1496"/>
                <a:gd name="T6" fmla="*/ 685 w 1131"/>
                <a:gd name="T7" fmla="*/ 55 h 1496"/>
                <a:gd name="T8" fmla="*/ 730 w 1131"/>
                <a:gd name="T9" fmla="*/ 84 h 1496"/>
                <a:gd name="T10" fmla="*/ 773 w 1131"/>
                <a:gd name="T11" fmla="*/ 122 h 1496"/>
                <a:gd name="T12" fmla="*/ 813 w 1131"/>
                <a:gd name="T13" fmla="*/ 165 h 1496"/>
                <a:gd name="T14" fmla="*/ 848 w 1131"/>
                <a:gd name="T15" fmla="*/ 212 h 1496"/>
                <a:gd name="T16" fmla="*/ 879 w 1131"/>
                <a:gd name="T17" fmla="*/ 266 h 1496"/>
                <a:gd name="T18" fmla="*/ 905 w 1131"/>
                <a:gd name="T19" fmla="*/ 325 h 1496"/>
                <a:gd name="T20" fmla="*/ 926 w 1131"/>
                <a:gd name="T21" fmla="*/ 389 h 1496"/>
                <a:gd name="T22" fmla="*/ 943 w 1131"/>
                <a:gd name="T23" fmla="*/ 470 h 1496"/>
                <a:gd name="T24" fmla="*/ 952 w 1131"/>
                <a:gd name="T25" fmla="*/ 578 h 1496"/>
                <a:gd name="T26" fmla="*/ 946 w 1131"/>
                <a:gd name="T27" fmla="*/ 686 h 1496"/>
                <a:gd name="T28" fmla="*/ 926 w 1131"/>
                <a:gd name="T29" fmla="*/ 791 h 1496"/>
                <a:gd name="T30" fmla="*/ 893 w 1131"/>
                <a:gd name="T31" fmla="*/ 890 h 1496"/>
                <a:gd name="T32" fmla="*/ 847 w 1131"/>
                <a:gd name="T33" fmla="*/ 983 h 1496"/>
                <a:gd name="T34" fmla="*/ 788 w 1131"/>
                <a:gd name="T35" fmla="*/ 1066 h 1496"/>
                <a:gd name="T36" fmla="*/ 719 w 1131"/>
                <a:gd name="T37" fmla="*/ 1136 h 1496"/>
                <a:gd name="T38" fmla="*/ 639 w 1131"/>
                <a:gd name="T39" fmla="*/ 1192 h 1496"/>
                <a:gd name="T40" fmla="*/ 549 w 1131"/>
                <a:gd name="T41" fmla="*/ 1229 h 1496"/>
                <a:gd name="T42" fmla="*/ 449 w 1131"/>
                <a:gd name="T43" fmla="*/ 1248 h 1496"/>
                <a:gd name="T44" fmla="*/ 380 w 1131"/>
                <a:gd name="T45" fmla="*/ 1248 h 1496"/>
                <a:gd name="T46" fmla="*/ 329 w 1131"/>
                <a:gd name="T47" fmla="*/ 1240 h 1496"/>
                <a:gd name="T48" fmla="*/ 280 w 1131"/>
                <a:gd name="T49" fmla="*/ 1227 h 1496"/>
                <a:gd name="T50" fmla="*/ 235 w 1131"/>
                <a:gd name="T51" fmla="*/ 1208 h 1496"/>
                <a:gd name="T52" fmla="*/ 192 w 1131"/>
                <a:gd name="T53" fmla="*/ 1184 h 1496"/>
                <a:gd name="T54" fmla="*/ 152 w 1131"/>
                <a:gd name="T55" fmla="*/ 1155 h 1496"/>
                <a:gd name="T56" fmla="*/ 116 w 1131"/>
                <a:gd name="T57" fmla="*/ 1122 h 1496"/>
                <a:gd name="T58" fmla="*/ 82 w 1131"/>
                <a:gd name="T59" fmla="*/ 1085 h 1496"/>
                <a:gd name="T60" fmla="*/ 32 w 1131"/>
                <a:gd name="T61" fmla="*/ 1013 h 1496"/>
                <a:gd name="T62" fmla="*/ 6 w 1131"/>
                <a:gd name="T63" fmla="*/ 977 h 1496"/>
                <a:gd name="T64" fmla="*/ 31 w 1131"/>
                <a:gd name="T65" fmla="*/ 1059 h 1496"/>
                <a:gd name="T66" fmla="*/ 62 w 1131"/>
                <a:gd name="T67" fmla="*/ 1138 h 1496"/>
                <a:gd name="T68" fmla="*/ 99 w 1131"/>
                <a:gd name="T69" fmla="*/ 1210 h 1496"/>
                <a:gd name="T70" fmla="*/ 144 w 1131"/>
                <a:gd name="T71" fmla="*/ 1277 h 1496"/>
                <a:gd name="T72" fmla="*/ 194 w 1131"/>
                <a:gd name="T73" fmla="*/ 1336 h 1496"/>
                <a:gd name="T74" fmla="*/ 250 w 1131"/>
                <a:gd name="T75" fmla="*/ 1387 h 1496"/>
                <a:gd name="T76" fmla="*/ 312 w 1131"/>
                <a:gd name="T77" fmla="*/ 1430 h 1496"/>
                <a:gd name="T78" fmla="*/ 380 w 1131"/>
                <a:gd name="T79" fmla="*/ 1463 h 1496"/>
                <a:gd name="T80" fmla="*/ 451 w 1131"/>
                <a:gd name="T81" fmla="*/ 1485 h 1496"/>
                <a:gd name="T82" fmla="*/ 528 w 1131"/>
                <a:gd name="T83" fmla="*/ 1495 h 1496"/>
                <a:gd name="T84" fmla="*/ 636 w 1131"/>
                <a:gd name="T85" fmla="*/ 1490 h 1496"/>
                <a:gd name="T86" fmla="*/ 747 w 1131"/>
                <a:gd name="T87" fmla="*/ 1458 h 1496"/>
                <a:gd name="T88" fmla="*/ 847 w 1131"/>
                <a:gd name="T89" fmla="*/ 1402 h 1496"/>
                <a:gd name="T90" fmla="*/ 931 w 1131"/>
                <a:gd name="T91" fmla="*/ 1327 h 1496"/>
                <a:gd name="T92" fmla="*/ 1001 w 1131"/>
                <a:gd name="T93" fmla="*/ 1234 h 1496"/>
                <a:gd name="T94" fmla="*/ 1058 w 1131"/>
                <a:gd name="T95" fmla="*/ 1128 h 1496"/>
                <a:gd name="T96" fmla="*/ 1098 w 1131"/>
                <a:gd name="T97" fmla="*/ 1009 h 1496"/>
                <a:gd name="T98" fmla="*/ 1122 w 1131"/>
                <a:gd name="T99" fmla="*/ 884 h 1496"/>
                <a:gd name="T100" fmla="*/ 1131 w 1131"/>
                <a:gd name="T101" fmla="*/ 754 h 1496"/>
                <a:gd name="T102" fmla="*/ 1122 w 1131"/>
                <a:gd name="T103" fmla="*/ 624 h 1496"/>
                <a:gd name="T104" fmla="*/ 1095 w 1131"/>
                <a:gd name="T105" fmla="*/ 495 h 1496"/>
                <a:gd name="T106" fmla="*/ 1068 w 1131"/>
                <a:gd name="T107" fmla="*/ 411 h 1496"/>
                <a:gd name="T108" fmla="*/ 1032 w 1131"/>
                <a:gd name="T109" fmla="*/ 335 h 1496"/>
                <a:gd name="T110" fmla="*/ 992 w 1131"/>
                <a:gd name="T111" fmla="*/ 265 h 1496"/>
                <a:gd name="T112" fmla="*/ 945 w 1131"/>
                <a:gd name="T113" fmla="*/ 204 h 1496"/>
                <a:gd name="T114" fmla="*/ 894 w 1131"/>
                <a:gd name="T115" fmla="*/ 148 h 1496"/>
                <a:gd name="T116" fmla="*/ 839 w 1131"/>
                <a:gd name="T117" fmla="*/ 102 h 1496"/>
                <a:gd name="T118" fmla="*/ 781 w 1131"/>
                <a:gd name="T119" fmla="*/ 63 h 1496"/>
                <a:gd name="T120" fmla="*/ 721 w 1131"/>
                <a:gd name="T121" fmla="*/ 35 h 1496"/>
                <a:gd name="T122" fmla="*/ 658 w 1131"/>
                <a:gd name="T123" fmla="*/ 14 h 1496"/>
                <a:gd name="T124" fmla="*/ 595 w 1131"/>
                <a:gd name="T125" fmla="*/ 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1" h="1496">
                  <a:moveTo>
                    <a:pt x="553" y="0"/>
                  </a:moveTo>
                  <a:lnTo>
                    <a:pt x="545" y="0"/>
                  </a:lnTo>
                  <a:lnTo>
                    <a:pt x="539" y="0"/>
                  </a:lnTo>
                  <a:lnTo>
                    <a:pt x="555" y="4"/>
                  </a:lnTo>
                  <a:lnTo>
                    <a:pt x="572" y="7"/>
                  </a:lnTo>
                  <a:lnTo>
                    <a:pt x="588" y="11"/>
                  </a:lnTo>
                  <a:lnTo>
                    <a:pt x="605" y="17"/>
                  </a:lnTo>
                  <a:lnTo>
                    <a:pt x="622" y="24"/>
                  </a:lnTo>
                  <a:lnTo>
                    <a:pt x="638" y="30"/>
                  </a:lnTo>
                  <a:lnTo>
                    <a:pt x="654" y="37"/>
                  </a:lnTo>
                  <a:lnTo>
                    <a:pt x="669" y="46"/>
                  </a:lnTo>
                  <a:lnTo>
                    <a:pt x="685" y="55"/>
                  </a:lnTo>
                  <a:lnTo>
                    <a:pt x="700" y="63"/>
                  </a:lnTo>
                  <a:lnTo>
                    <a:pt x="715" y="74"/>
                  </a:lnTo>
                  <a:lnTo>
                    <a:pt x="730" y="84"/>
                  </a:lnTo>
                  <a:lnTo>
                    <a:pt x="745" y="96"/>
                  </a:lnTo>
                  <a:lnTo>
                    <a:pt x="759" y="109"/>
                  </a:lnTo>
                  <a:lnTo>
                    <a:pt x="773" y="122"/>
                  </a:lnTo>
                  <a:lnTo>
                    <a:pt x="786" y="135"/>
                  </a:lnTo>
                  <a:lnTo>
                    <a:pt x="799" y="149"/>
                  </a:lnTo>
                  <a:lnTo>
                    <a:pt x="813" y="165"/>
                  </a:lnTo>
                  <a:lnTo>
                    <a:pt x="825" y="180"/>
                  </a:lnTo>
                  <a:lnTo>
                    <a:pt x="837" y="196"/>
                  </a:lnTo>
                  <a:lnTo>
                    <a:pt x="848" y="212"/>
                  </a:lnTo>
                  <a:lnTo>
                    <a:pt x="859" y="230"/>
                  </a:lnTo>
                  <a:lnTo>
                    <a:pt x="869" y="248"/>
                  </a:lnTo>
                  <a:lnTo>
                    <a:pt x="879" y="266"/>
                  </a:lnTo>
                  <a:lnTo>
                    <a:pt x="889" y="285"/>
                  </a:lnTo>
                  <a:lnTo>
                    <a:pt x="898" y="305"/>
                  </a:lnTo>
                  <a:lnTo>
                    <a:pt x="905" y="325"/>
                  </a:lnTo>
                  <a:lnTo>
                    <a:pt x="913" y="346"/>
                  </a:lnTo>
                  <a:lnTo>
                    <a:pt x="920" y="367"/>
                  </a:lnTo>
                  <a:lnTo>
                    <a:pt x="926" y="389"/>
                  </a:lnTo>
                  <a:lnTo>
                    <a:pt x="932" y="411"/>
                  </a:lnTo>
                  <a:lnTo>
                    <a:pt x="937" y="434"/>
                  </a:lnTo>
                  <a:lnTo>
                    <a:pt x="943" y="470"/>
                  </a:lnTo>
                  <a:lnTo>
                    <a:pt x="948" y="506"/>
                  </a:lnTo>
                  <a:lnTo>
                    <a:pt x="951" y="541"/>
                  </a:lnTo>
                  <a:lnTo>
                    <a:pt x="952" y="578"/>
                  </a:lnTo>
                  <a:lnTo>
                    <a:pt x="952" y="614"/>
                  </a:lnTo>
                  <a:lnTo>
                    <a:pt x="950" y="650"/>
                  </a:lnTo>
                  <a:lnTo>
                    <a:pt x="946" y="686"/>
                  </a:lnTo>
                  <a:lnTo>
                    <a:pt x="941" y="721"/>
                  </a:lnTo>
                  <a:lnTo>
                    <a:pt x="934" y="756"/>
                  </a:lnTo>
                  <a:lnTo>
                    <a:pt x="926" y="791"/>
                  </a:lnTo>
                  <a:lnTo>
                    <a:pt x="916" y="825"/>
                  </a:lnTo>
                  <a:lnTo>
                    <a:pt x="905" y="858"/>
                  </a:lnTo>
                  <a:lnTo>
                    <a:pt x="893" y="890"/>
                  </a:lnTo>
                  <a:lnTo>
                    <a:pt x="879" y="922"/>
                  </a:lnTo>
                  <a:lnTo>
                    <a:pt x="863" y="953"/>
                  </a:lnTo>
                  <a:lnTo>
                    <a:pt x="847" y="983"/>
                  </a:lnTo>
                  <a:lnTo>
                    <a:pt x="829" y="1012"/>
                  </a:lnTo>
                  <a:lnTo>
                    <a:pt x="809" y="1039"/>
                  </a:lnTo>
                  <a:lnTo>
                    <a:pt x="788" y="1066"/>
                  </a:lnTo>
                  <a:lnTo>
                    <a:pt x="766" y="1091"/>
                  </a:lnTo>
                  <a:lnTo>
                    <a:pt x="743" y="1114"/>
                  </a:lnTo>
                  <a:lnTo>
                    <a:pt x="719" y="1136"/>
                  </a:lnTo>
                  <a:lnTo>
                    <a:pt x="693" y="1156"/>
                  </a:lnTo>
                  <a:lnTo>
                    <a:pt x="667" y="1175"/>
                  </a:lnTo>
                  <a:lnTo>
                    <a:pt x="639" y="1192"/>
                  </a:lnTo>
                  <a:lnTo>
                    <a:pt x="611" y="1206"/>
                  </a:lnTo>
                  <a:lnTo>
                    <a:pt x="580" y="1219"/>
                  </a:lnTo>
                  <a:lnTo>
                    <a:pt x="549" y="1229"/>
                  </a:lnTo>
                  <a:lnTo>
                    <a:pt x="517" y="1238"/>
                  </a:lnTo>
                  <a:lnTo>
                    <a:pt x="484" y="1245"/>
                  </a:lnTo>
                  <a:lnTo>
                    <a:pt x="449" y="1248"/>
                  </a:lnTo>
                  <a:lnTo>
                    <a:pt x="414" y="1249"/>
                  </a:lnTo>
                  <a:lnTo>
                    <a:pt x="396" y="1249"/>
                  </a:lnTo>
                  <a:lnTo>
                    <a:pt x="380" y="1248"/>
                  </a:lnTo>
                  <a:lnTo>
                    <a:pt x="362" y="1246"/>
                  </a:lnTo>
                  <a:lnTo>
                    <a:pt x="345" y="1243"/>
                  </a:lnTo>
                  <a:lnTo>
                    <a:pt x="329" y="1240"/>
                  </a:lnTo>
                  <a:lnTo>
                    <a:pt x="312" y="1237"/>
                  </a:lnTo>
                  <a:lnTo>
                    <a:pt x="297" y="1232"/>
                  </a:lnTo>
                  <a:lnTo>
                    <a:pt x="280" y="1227"/>
                  </a:lnTo>
                  <a:lnTo>
                    <a:pt x="265" y="1221"/>
                  </a:lnTo>
                  <a:lnTo>
                    <a:pt x="250" y="1215"/>
                  </a:lnTo>
                  <a:lnTo>
                    <a:pt x="235" y="1208"/>
                  </a:lnTo>
                  <a:lnTo>
                    <a:pt x="221" y="1200"/>
                  </a:lnTo>
                  <a:lnTo>
                    <a:pt x="206" y="1193"/>
                  </a:lnTo>
                  <a:lnTo>
                    <a:pt x="192" y="1184"/>
                  </a:lnTo>
                  <a:lnTo>
                    <a:pt x="179" y="1175"/>
                  </a:lnTo>
                  <a:lnTo>
                    <a:pt x="165" y="1165"/>
                  </a:lnTo>
                  <a:lnTo>
                    <a:pt x="152" y="1155"/>
                  </a:lnTo>
                  <a:lnTo>
                    <a:pt x="140" y="1145"/>
                  </a:lnTo>
                  <a:lnTo>
                    <a:pt x="127" y="1133"/>
                  </a:lnTo>
                  <a:lnTo>
                    <a:pt x="116" y="1122"/>
                  </a:lnTo>
                  <a:lnTo>
                    <a:pt x="104" y="1110"/>
                  </a:lnTo>
                  <a:lnTo>
                    <a:pt x="93" y="1098"/>
                  </a:lnTo>
                  <a:lnTo>
                    <a:pt x="82" y="1085"/>
                  </a:lnTo>
                  <a:lnTo>
                    <a:pt x="70" y="1071"/>
                  </a:lnTo>
                  <a:lnTo>
                    <a:pt x="51" y="1043"/>
                  </a:lnTo>
                  <a:lnTo>
                    <a:pt x="32" y="1013"/>
                  </a:lnTo>
                  <a:lnTo>
                    <a:pt x="15" y="982"/>
                  </a:lnTo>
                  <a:lnTo>
                    <a:pt x="0" y="949"/>
                  </a:lnTo>
                  <a:lnTo>
                    <a:pt x="6" y="977"/>
                  </a:lnTo>
                  <a:lnTo>
                    <a:pt x="13" y="1005"/>
                  </a:lnTo>
                  <a:lnTo>
                    <a:pt x="22" y="1033"/>
                  </a:lnTo>
                  <a:lnTo>
                    <a:pt x="31" y="1059"/>
                  </a:lnTo>
                  <a:lnTo>
                    <a:pt x="40" y="1086"/>
                  </a:lnTo>
                  <a:lnTo>
                    <a:pt x="51" y="1112"/>
                  </a:lnTo>
                  <a:lnTo>
                    <a:pt x="62" y="1138"/>
                  </a:lnTo>
                  <a:lnTo>
                    <a:pt x="74" y="1162"/>
                  </a:lnTo>
                  <a:lnTo>
                    <a:pt x="86" y="1186"/>
                  </a:lnTo>
                  <a:lnTo>
                    <a:pt x="99" y="1210"/>
                  </a:lnTo>
                  <a:lnTo>
                    <a:pt x="114" y="1232"/>
                  </a:lnTo>
                  <a:lnTo>
                    <a:pt x="129" y="1256"/>
                  </a:lnTo>
                  <a:lnTo>
                    <a:pt x="144" y="1277"/>
                  </a:lnTo>
                  <a:lnTo>
                    <a:pt x="160" y="1298"/>
                  </a:lnTo>
                  <a:lnTo>
                    <a:pt x="178" y="1317"/>
                  </a:lnTo>
                  <a:lnTo>
                    <a:pt x="194" y="1336"/>
                  </a:lnTo>
                  <a:lnTo>
                    <a:pt x="213" y="1354"/>
                  </a:lnTo>
                  <a:lnTo>
                    <a:pt x="232" y="1372"/>
                  </a:lnTo>
                  <a:lnTo>
                    <a:pt x="250" y="1387"/>
                  </a:lnTo>
                  <a:lnTo>
                    <a:pt x="270" y="1402"/>
                  </a:lnTo>
                  <a:lnTo>
                    <a:pt x="291" y="1417"/>
                  </a:lnTo>
                  <a:lnTo>
                    <a:pt x="312" y="1430"/>
                  </a:lnTo>
                  <a:lnTo>
                    <a:pt x="334" y="1442"/>
                  </a:lnTo>
                  <a:lnTo>
                    <a:pt x="357" y="1453"/>
                  </a:lnTo>
                  <a:lnTo>
                    <a:pt x="380" y="1463"/>
                  </a:lnTo>
                  <a:lnTo>
                    <a:pt x="403" y="1471"/>
                  </a:lnTo>
                  <a:lnTo>
                    <a:pt x="427" y="1479"/>
                  </a:lnTo>
                  <a:lnTo>
                    <a:pt x="451" y="1485"/>
                  </a:lnTo>
                  <a:lnTo>
                    <a:pt x="476" y="1490"/>
                  </a:lnTo>
                  <a:lnTo>
                    <a:pt x="501" y="1493"/>
                  </a:lnTo>
                  <a:lnTo>
                    <a:pt x="528" y="1495"/>
                  </a:lnTo>
                  <a:lnTo>
                    <a:pt x="553" y="1496"/>
                  </a:lnTo>
                  <a:lnTo>
                    <a:pt x="595" y="1494"/>
                  </a:lnTo>
                  <a:lnTo>
                    <a:pt x="636" y="1490"/>
                  </a:lnTo>
                  <a:lnTo>
                    <a:pt x="675" y="1482"/>
                  </a:lnTo>
                  <a:lnTo>
                    <a:pt x="712" y="1471"/>
                  </a:lnTo>
                  <a:lnTo>
                    <a:pt x="747" y="1458"/>
                  </a:lnTo>
                  <a:lnTo>
                    <a:pt x="782" y="1442"/>
                  </a:lnTo>
                  <a:lnTo>
                    <a:pt x="815" y="1423"/>
                  </a:lnTo>
                  <a:lnTo>
                    <a:pt x="847" y="1402"/>
                  </a:lnTo>
                  <a:lnTo>
                    <a:pt x="877" y="1379"/>
                  </a:lnTo>
                  <a:lnTo>
                    <a:pt x="904" y="1354"/>
                  </a:lnTo>
                  <a:lnTo>
                    <a:pt x="931" y="1327"/>
                  </a:lnTo>
                  <a:lnTo>
                    <a:pt x="956" y="1298"/>
                  </a:lnTo>
                  <a:lnTo>
                    <a:pt x="979" y="1267"/>
                  </a:lnTo>
                  <a:lnTo>
                    <a:pt x="1001" y="1234"/>
                  </a:lnTo>
                  <a:lnTo>
                    <a:pt x="1022" y="1199"/>
                  </a:lnTo>
                  <a:lnTo>
                    <a:pt x="1040" y="1164"/>
                  </a:lnTo>
                  <a:lnTo>
                    <a:pt x="1058" y="1128"/>
                  </a:lnTo>
                  <a:lnTo>
                    <a:pt x="1072" y="1089"/>
                  </a:lnTo>
                  <a:lnTo>
                    <a:pt x="1087" y="1049"/>
                  </a:lnTo>
                  <a:lnTo>
                    <a:pt x="1098" y="1009"/>
                  </a:lnTo>
                  <a:lnTo>
                    <a:pt x="1107" y="969"/>
                  </a:lnTo>
                  <a:lnTo>
                    <a:pt x="1115" y="927"/>
                  </a:lnTo>
                  <a:lnTo>
                    <a:pt x="1122" y="884"/>
                  </a:lnTo>
                  <a:lnTo>
                    <a:pt x="1126" y="842"/>
                  </a:lnTo>
                  <a:lnTo>
                    <a:pt x="1130" y="797"/>
                  </a:lnTo>
                  <a:lnTo>
                    <a:pt x="1131" y="754"/>
                  </a:lnTo>
                  <a:lnTo>
                    <a:pt x="1130" y="711"/>
                  </a:lnTo>
                  <a:lnTo>
                    <a:pt x="1126" y="667"/>
                  </a:lnTo>
                  <a:lnTo>
                    <a:pt x="1122" y="624"/>
                  </a:lnTo>
                  <a:lnTo>
                    <a:pt x="1114" y="580"/>
                  </a:lnTo>
                  <a:lnTo>
                    <a:pt x="1106" y="537"/>
                  </a:lnTo>
                  <a:lnTo>
                    <a:pt x="1095" y="495"/>
                  </a:lnTo>
                  <a:lnTo>
                    <a:pt x="1087" y="466"/>
                  </a:lnTo>
                  <a:lnTo>
                    <a:pt x="1078" y="439"/>
                  </a:lnTo>
                  <a:lnTo>
                    <a:pt x="1068" y="411"/>
                  </a:lnTo>
                  <a:lnTo>
                    <a:pt x="1057" y="386"/>
                  </a:lnTo>
                  <a:lnTo>
                    <a:pt x="1045" y="359"/>
                  </a:lnTo>
                  <a:lnTo>
                    <a:pt x="1032" y="335"/>
                  </a:lnTo>
                  <a:lnTo>
                    <a:pt x="1020" y="311"/>
                  </a:lnTo>
                  <a:lnTo>
                    <a:pt x="1006" y="287"/>
                  </a:lnTo>
                  <a:lnTo>
                    <a:pt x="992" y="265"/>
                  </a:lnTo>
                  <a:lnTo>
                    <a:pt x="977" y="243"/>
                  </a:lnTo>
                  <a:lnTo>
                    <a:pt x="962" y="223"/>
                  </a:lnTo>
                  <a:lnTo>
                    <a:pt x="945" y="204"/>
                  </a:lnTo>
                  <a:lnTo>
                    <a:pt x="929" y="184"/>
                  </a:lnTo>
                  <a:lnTo>
                    <a:pt x="912" y="166"/>
                  </a:lnTo>
                  <a:lnTo>
                    <a:pt x="894" y="148"/>
                  </a:lnTo>
                  <a:lnTo>
                    <a:pt x="877" y="132"/>
                  </a:lnTo>
                  <a:lnTo>
                    <a:pt x="858" y="116"/>
                  </a:lnTo>
                  <a:lnTo>
                    <a:pt x="839" y="102"/>
                  </a:lnTo>
                  <a:lnTo>
                    <a:pt x="820" y="89"/>
                  </a:lnTo>
                  <a:lnTo>
                    <a:pt x="800" y="76"/>
                  </a:lnTo>
                  <a:lnTo>
                    <a:pt x="781" y="63"/>
                  </a:lnTo>
                  <a:lnTo>
                    <a:pt x="761" y="53"/>
                  </a:lnTo>
                  <a:lnTo>
                    <a:pt x="741" y="43"/>
                  </a:lnTo>
                  <a:lnTo>
                    <a:pt x="721" y="35"/>
                  </a:lnTo>
                  <a:lnTo>
                    <a:pt x="700" y="26"/>
                  </a:lnTo>
                  <a:lnTo>
                    <a:pt x="679" y="19"/>
                  </a:lnTo>
                  <a:lnTo>
                    <a:pt x="658" y="14"/>
                  </a:lnTo>
                  <a:lnTo>
                    <a:pt x="637" y="9"/>
                  </a:lnTo>
                  <a:lnTo>
                    <a:pt x="616" y="5"/>
                  </a:lnTo>
                  <a:lnTo>
                    <a:pt x="595" y="3"/>
                  </a:lnTo>
                  <a:lnTo>
                    <a:pt x="574" y="0"/>
                  </a:lnTo>
                  <a:lnTo>
                    <a:pt x="553" y="0"/>
                  </a:lnTo>
                  <a:close/>
                </a:path>
              </a:pathLst>
            </a:custGeom>
            <a:solidFill>
              <a:srgbClr val="49A8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97392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urviving digital -  landscape powerpoint.potx" id="{1D4B4119-D1A6-FE49-944E-44D0450B8D70}" vid="{BE5704CA-28D9-BF4E-9D78-EE5BB38933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b2737a-dcf8-4a07-819b-0c656bac1781" xsi:nil="true"/>
    <lcf76f155ced4ddcb4097134ff3c332f xmlns="5ef36c65-2ebb-4adf-9d59-815159be37b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A5D448FF4D9854492C17C5187EF5566" ma:contentTypeVersion="12" ma:contentTypeDescription="Create a new document." ma:contentTypeScope="" ma:versionID="e51c7bef96f5b722fb941898f17a50a1">
  <xsd:schema xmlns:xsd="http://www.w3.org/2001/XMLSchema" xmlns:xs="http://www.w3.org/2001/XMLSchema" xmlns:p="http://schemas.microsoft.com/office/2006/metadata/properties" xmlns:ns2="5ef36c65-2ebb-4adf-9d59-815159be37b0" xmlns:ns3="23b2737a-dcf8-4a07-819b-0c656bac1781" targetNamespace="http://schemas.microsoft.com/office/2006/metadata/properties" ma:root="true" ma:fieldsID="49dd165fdf916d6e7a8350a132dd72fd" ns2:_="" ns3:_="">
    <xsd:import namespace="5ef36c65-2ebb-4adf-9d59-815159be37b0"/>
    <xsd:import namespace="23b2737a-dcf8-4a07-819b-0c656bac17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f36c65-2ebb-4adf-9d59-815159be37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2ebe027-fa64-4e30-bdb2-92b74caeb8c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b2737a-dcf8-4a07-819b-0c656bac178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362a160-b759-4121-9b0f-25f399baeb7c}" ma:internalName="TaxCatchAll" ma:showField="CatchAllData" ma:web="23b2737a-dcf8-4a07-819b-0c656bac17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375A3CB-9CE1-47A4-A161-C5B0DE4BE3D3}">
  <ds:schemaRefs>
    <ds:schemaRef ds:uri="http://schemas.microsoft.com/sharepoint/v3/contenttype/forms"/>
  </ds:schemaRefs>
</ds:datastoreItem>
</file>

<file path=customXml/itemProps2.xml><?xml version="1.0" encoding="utf-8"?>
<ds:datastoreItem xmlns:ds="http://schemas.openxmlformats.org/officeDocument/2006/customXml" ds:itemID="{86223608-AB81-4FD1-84CA-235C34DB5B6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23b2737a-dcf8-4a07-819b-0c656bac1781"/>
    <ds:schemaRef ds:uri="5ef36c65-2ebb-4adf-9d59-815159be37b0"/>
    <ds:schemaRef ds:uri="http://www.w3.org/XML/1998/namespace"/>
    <ds:schemaRef ds:uri="http://purl.org/dc/dcmitype/"/>
  </ds:schemaRefs>
</ds:datastoreItem>
</file>

<file path=customXml/itemProps3.xml><?xml version="1.0" encoding="utf-8"?>
<ds:datastoreItem xmlns:ds="http://schemas.openxmlformats.org/officeDocument/2006/customXml" ds:itemID="{FC32F499-EA4E-4031-8667-E249F79915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f36c65-2ebb-4adf-9d59-815159be37b0"/>
    <ds:schemaRef ds:uri="23b2737a-dcf8-4a07-819b-0c656bac17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956</TotalTime>
  <Words>6129</Words>
  <Application>Microsoft Office PowerPoint</Application>
  <PresentationFormat>Widescreen</PresentationFormat>
  <Paragraphs>994</Paragraphs>
  <Slides>71</Slides>
  <Notes>5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1</vt:i4>
      </vt:variant>
    </vt:vector>
  </HeadingPairs>
  <TitlesOfParts>
    <vt:vector size="81" baseType="lpstr">
      <vt:lpstr>Arial</vt:lpstr>
      <vt:lpstr>Calibri</vt:lpstr>
      <vt:lpstr>Montserrat</vt:lpstr>
      <vt:lpstr>Montserrat Light</vt:lpstr>
      <vt:lpstr>Roboto</vt:lpstr>
      <vt:lpstr>Roboto Cn</vt:lpstr>
      <vt:lpstr>Segoe UI Light</vt:lpstr>
      <vt:lpstr>Times New Roman</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aine hamill</cp:lastModifiedBy>
  <cp:revision>306</cp:revision>
  <dcterms:created xsi:type="dcterms:W3CDTF">2022-05-09T10:29:33Z</dcterms:created>
  <dcterms:modified xsi:type="dcterms:W3CDTF">2026-05-29T10:5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5D448FF4D9854492C17C5187EF5566</vt:lpwstr>
  </property>
  <property fmtid="{D5CDD505-2E9C-101B-9397-08002B2CF9AE}" pid="3" name="MediaServiceImageTags">
    <vt:lpwstr/>
  </property>
</Properties>
</file>